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58" r:id="rId1"/>
  </p:sldMasterIdLst>
  <p:notesMasterIdLst>
    <p:notesMasterId r:id="rId31"/>
  </p:notesMasterIdLst>
  <p:handoutMasterIdLst>
    <p:handoutMasterId r:id="rId32"/>
  </p:handoutMasterIdLst>
  <p:sldIdLst>
    <p:sldId id="6651" r:id="rId2"/>
    <p:sldId id="1781" r:id="rId3"/>
    <p:sldId id="225565604" r:id="rId4"/>
    <p:sldId id="225565615" r:id="rId5"/>
    <p:sldId id="225565602" r:id="rId6"/>
    <p:sldId id="1782" r:id="rId7"/>
    <p:sldId id="6650" r:id="rId8"/>
    <p:sldId id="225565623" r:id="rId9"/>
    <p:sldId id="6843" r:id="rId10"/>
    <p:sldId id="6842" r:id="rId11"/>
    <p:sldId id="225565616" r:id="rId12"/>
    <p:sldId id="225565613" r:id="rId13"/>
    <p:sldId id="6652" r:id="rId14"/>
    <p:sldId id="6656" r:id="rId15"/>
    <p:sldId id="298" r:id="rId16"/>
    <p:sldId id="225565617" r:id="rId17"/>
    <p:sldId id="6654" r:id="rId18"/>
    <p:sldId id="225565618" r:id="rId19"/>
    <p:sldId id="300" r:id="rId20"/>
    <p:sldId id="225565601" r:id="rId21"/>
    <p:sldId id="225565626" r:id="rId22"/>
    <p:sldId id="225565609" r:id="rId23"/>
    <p:sldId id="225565608" r:id="rId24"/>
    <p:sldId id="225565610" r:id="rId25"/>
    <p:sldId id="225565620" r:id="rId26"/>
    <p:sldId id="225565621" r:id="rId27"/>
    <p:sldId id="225565622" r:id="rId28"/>
    <p:sldId id="225565625" r:id="rId29"/>
    <p:sldId id="1783" r:id="rId30"/>
  </p:sldIdLst>
  <p:sldSz cx="9144000" cy="5143500" type="screen16x9"/>
  <p:notesSz cx="6797675" cy="9926638"/>
  <p:custDataLst>
    <p:tags r:id="rId33"/>
  </p:custDataLst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2880" userDrawn="1">
          <p15:clr>
            <a:srgbClr val="A4A3A4"/>
          </p15:clr>
        </p15:guide>
        <p15:guide id="3" orient="horz" pos="16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C027E38-DF03-8513-3D82-16C3BE3A942F}" name="VERGNE, Frederique" initials="VF" userId="S::Frederique.VERGNE@FromEarthToLife.net::31efa6c5-3038-4101-89c9-9063222aeaf6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VERGNE, Frederique" initials="VF" lastIdx="185" clrIdx="0"/>
  <p:cmAuthor id="1" name="LAVILLONNIERE, Gilles" initials="LG" lastIdx="17" clrIdx="1">
    <p:extLst>
      <p:ext uri="{19B8F6BF-5375-455C-9EA6-DF929625EA0E}">
        <p15:presenceInfo xmlns:p15="http://schemas.microsoft.com/office/powerpoint/2012/main" userId="S-1-5-21-3646894847-3385745438-3572752260-17117" providerId="AD"/>
      </p:ext>
    </p:extLst>
  </p:cmAuthor>
  <p:cmAuthor id="2" name="LAVILLONNIERE, Gilles" initials="LG [2]" lastIdx="63" clrIdx="2">
    <p:extLst>
      <p:ext uri="{19B8F6BF-5375-455C-9EA6-DF929625EA0E}">
        <p15:presenceInfo xmlns:p15="http://schemas.microsoft.com/office/powerpoint/2012/main" userId="S::g.lavillonniere@fromearthtolife.net::80383507-2a95-4ddc-a18e-72c7ca4034cf" providerId="AD"/>
      </p:ext>
    </p:extLst>
  </p:cmAuthor>
  <p:cmAuthor id="3" name="DARPOUX, Valerie" initials="DV" lastIdx="8" clrIdx="3">
    <p:extLst>
      <p:ext uri="{19B8F6BF-5375-455C-9EA6-DF929625EA0E}">
        <p15:presenceInfo xmlns:p15="http://schemas.microsoft.com/office/powerpoint/2012/main" userId="S::valerie.darpoux@fromearthtolife.net::4f2501d8-f3f4-48e9-83d6-94ac00fb804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9D9D9"/>
    <a:srgbClr val="E4032D"/>
    <a:srgbClr val="FFFFFF"/>
    <a:srgbClr val="E6E22E"/>
    <a:srgbClr val="DED81B"/>
    <a:srgbClr val="77777A"/>
    <a:srgbClr val="E6D89E"/>
    <a:srgbClr val="D7C167"/>
    <a:srgbClr val="BC0024"/>
    <a:srgbClr val="CC002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EB3B988-7EE4-44CF-967E-850159844B7F}" v="10" dt="2023-07-05T12:03:47.30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Aucun style, grille du tableau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17292A2E-F333-43FB-9621-5CBBE7FDCDCB}" styleName="Style léger 2 - Accentuation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223" autoAdjust="0"/>
    <p:restoredTop sz="91304" autoAdjust="0"/>
  </p:normalViewPr>
  <p:slideViewPr>
    <p:cSldViewPr snapToGrid="0" showGuides="1">
      <p:cViewPr varScale="1">
        <p:scale>
          <a:sx n="146" d="100"/>
          <a:sy n="146" d="100"/>
        </p:scale>
        <p:origin x="492" y="120"/>
      </p:cViewPr>
      <p:guideLst>
        <p:guide pos="2880"/>
        <p:guide orient="horz" pos="16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47" d="100"/>
          <a:sy n="47" d="100"/>
        </p:scale>
        <p:origin x="2792" y="40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microsoft.com/office/2015/10/relationships/revisionInfo" Target="revisionInfo.xml"/><Relationship Id="rId21" Type="http://schemas.openxmlformats.org/officeDocument/2006/relationships/slide" Target="slides/slide20.xml"/><Relationship Id="rId34" Type="http://schemas.openxmlformats.org/officeDocument/2006/relationships/commentAuthors" Target="commentAuthor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gs" Target="tags/tag1.xml"/><Relationship Id="rId38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handoutMaster" Target="handoutMasters/handoutMaster1.xml"/><Relationship Id="rId37" Type="http://schemas.openxmlformats.org/officeDocument/2006/relationships/theme" Target="theme/theme1.xml"/><Relationship Id="rId40" Type="http://schemas.microsoft.com/office/2018/10/relationships/authors" Target="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presProps" Target="presProp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image" Target="../media/image40.jpeg"/><Relationship Id="rId1" Type="http://schemas.openxmlformats.org/officeDocument/2006/relationships/image" Target="../media/image39.jpeg"/></Relationships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image" Target="../media/image43.jpeg"/><Relationship Id="rId1" Type="http://schemas.openxmlformats.org/officeDocument/2006/relationships/image" Target="../media/image42.jpe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image" Target="../media/image40.jpeg"/><Relationship Id="rId1" Type="http://schemas.openxmlformats.org/officeDocument/2006/relationships/image" Target="../media/image39.jpeg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image" Target="../media/image43.jpeg"/><Relationship Id="rId1" Type="http://schemas.openxmlformats.org/officeDocument/2006/relationships/image" Target="../media/image42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7932D71-D693-4697-A79B-CF72EBFFE676}" type="doc">
      <dgm:prSet loTypeId="urn:microsoft.com/office/officeart/2005/8/layout/vList3" loCatId="list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BCF5ED3E-2C15-4824-A0B0-9849DE788CE2}">
      <dgm:prSet phldrT="[Texte]" custT="1"/>
      <dgm:spPr/>
      <dgm:t>
        <a:bodyPr/>
        <a:lstStyle/>
        <a:p>
          <a:pPr algn="l">
            <a:lnSpc>
              <a:spcPct val="150000"/>
            </a:lnSpc>
          </a:pPr>
          <a:r>
            <a:rPr lang="es-ES" sz="1000" b="1" dirty="0"/>
            <a:t>Los cultivos COLZA en toda Europa están generalmente bien establecidos</a:t>
          </a:r>
          <a:r>
            <a:rPr lang="fr-FR" sz="1000" b="1" dirty="0"/>
            <a:t> </a:t>
          </a:r>
          <a:r>
            <a:rPr lang="es-ES" sz="1000" b="0" dirty="0"/>
            <a:t>este año debido a las precipitaciones suficientes a finales de verano y otoño</a:t>
          </a:r>
          <a:endParaRPr lang="fr-FR" sz="1000" b="0" dirty="0"/>
        </a:p>
      </dgm:t>
    </dgm:pt>
    <dgm:pt modelId="{3F243B9D-C59A-4AB7-B6FA-201598D77C8B}" type="parTrans" cxnId="{21B6133E-7A3A-440B-9DD9-2B0A3F9261F0}">
      <dgm:prSet/>
      <dgm:spPr/>
      <dgm:t>
        <a:bodyPr/>
        <a:lstStyle/>
        <a:p>
          <a:endParaRPr lang="fr-FR"/>
        </a:p>
      </dgm:t>
    </dgm:pt>
    <dgm:pt modelId="{58CAA772-1F2C-4B50-9DE5-87BA6B1A2041}" type="sibTrans" cxnId="{21B6133E-7A3A-440B-9DD9-2B0A3F9261F0}">
      <dgm:prSet/>
      <dgm:spPr/>
      <dgm:t>
        <a:bodyPr/>
        <a:lstStyle/>
        <a:p>
          <a:endParaRPr lang="fr-FR"/>
        </a:p>
      </dgm:t>
    </dgm:pt>
    <dgm:pt modelId="{5D04E3C5-DBBB-4F00-A2C2-32798A7AEE40}">
      <dgm:prSet phldrT="[Texte]" custT="1"/>
      <dgm:spPr/>
      <dgm:t>
        <a:bodyPr/>
        <a:lstStyle/>
        <a:p>
          <a:pPr algn="l"/>
          <a:r>
            <a:rPr lang="fr-FR" sz="900" b="0" dirty="0"/>
            <a:t>- </a:t>
          </a:r>
          <a:r>
            <a:rPr lang="es-ES" sz="900" b="1" dirty="0"/>
            <a:t>Alta presión de </a:t>
          </a:r>
          <a:r>
            <a:rPr lang="es-ES" sz="900" b="1" dirty="0" err="1"/>
            <a:t>TuYV</a:t>
          </a:r>
          <a:r>
            <a:rPr lang="es-ES" sz="900" b="1" dirty="0"/>
            <a:t> en nuestra encuesta de otoño y primavera, se ha observado una mayor actividad de pulgones este año</a:t>
          </a:r>
          <a:endParaRPr lang="fr-FR" sz="900" b="0" dirty="0"/>
        </a:p>
        <a:p>
          <a:pPr algn="l"/>
          <a:r>
            <a:rPr lang="fr-FR" sz="900" b="0" dirty="0"/>
            <a:t>- </a:t>
          </a:r>
          <a:r>
            <a:rPr lang="es-ES" sz="900" b="0" dirty="0"/>
            <a:t>Debido al invierno suave y húmedo</a:t>
          </a:r>
          <a:r>
            <a:rPr lang="fr-FR" sz="900" b="0" dirty="0"/>
            <a:t>, </a:t>
          </a:r>
          <a:r>
            <a:rPr lang="es-ES" sz="900" b="1" dirty="0"/>
            <a:t>alta presión de LLS/CYL en UK,FR,DE</a:t>
          </a:r>
          <a:r>
            <a:rPr lang="fr-FR" sz="900" b="0" dirty="0"/>
            <a:t>. </a:t>
          </a:r>
        </a:p>
        <a:p>
          <a:pPr algn="l"/>
          <a:r>
            <a:rPr lang="fr-FR" sz="900" b="1" dirty="0"/>
            <a:t>Gran </a:t>
          </a:r>
          <a:r>
            <a:rPr lang="fr-FR" sz="900" b="1" dirty="0" err="1"/>
            <a:t>oportunidad</a:t>
          </a:r>
          <a:r>
            <a:rPr lang="fr-FR" sz="900" b="1" dirty="0"/>
            <a:t> </a:t>
          </a:r>
          <a:r>
            <a:rPr lang="es-ES" sz="900" b="0" dirty="0"/>
            <a:t>para </a:t>
          </a:r>
          <a:r>
            <a:rPr lang="es-ES" sz="900" b="0" dirty="0" err="1"/>
            <a:t>Limagrain</a:t>
          </a:r>
          <a:r>
            <a:rPr lang="es-ES" sz="900" b="0" dirty="0"/>
            <a:t> ya que tenemos los mejores híbridos resistentes en LLS/CYL</a:t>
          </a:r>
          <a:endParaRPr lang="fr-FR" sz="900" b="0" dirty="0"/>
        </a:p>
      </dgm:t>
    </dgm:pt>
    <dgm:pt modelId="{39D0EF2C-58F4-4AED-9F3F-5B8609912FF0}" type="parTrans" cxnId="{70A6C107-8FE1-4146-AD4A-3D5A9DDFCD9E}">
      <dgm:prSet/>
      <dgm:spPr/>
      <dgm:t>
        <a:bodyPr/>
        <a:lstStyle/>
        <a:p>
          <a:endParaRPr lang="fr-FR"/>
        </a:p>
      </dgm:t>
    </dgm:pt>
    <dgm:pt modelId="{86A0E80D-91D9-4FEF-A76F-00FFEF4E3378}" type="sibTrans" cxnId="{70A6C107-8FE1-4146-AD4A-3D5A9DDFCD9E}">
      <dgm:prSet/>
      <dgm:spPr/>
      <dgm:t>
        <a:bodyPr/>
        <a:lstStyle/>
        <a:p>
          <a:endParaRPr lang="fr-FR"/>
        </a:p>
      </dgm:t>
    </dgm:pt>
    <dgm:pt modelId="{A8BB3263-CB22-4427-94A5-0319EDB524A5}">
      <dgm:prSet phldrT="[Texte]" custT="1"/>
      <dgm:spPr/>
      <dgm:t>
        <a:bodyPr/>
        <a:lstStyle/>
        <a:p>
          <a:pPr algn="l">
            <a:lnSpc>
              <a:spcPct val="100000"/>
            </a:lnSpc>
            <a:spcBef>
              <a:spcPts val="0"/>
            </a:spcBef>
            <a:spcAft>
              <a:spcPts val="1200"/>
            </a:spcAft>
          </a:pPr>
          <a:r>
            <a:rPr lang="es-ES" sz="1000" b="1" dirty="0"/>
            <a:t>Gracias a las precipitaciones significativas en marzo y abril, el cultivo se está desarrollando bien, con un alto potencial de rendimiento (Excepto : LT, SE, SP debido a la muerte por frío invernal o a la sequía) </a:t>
          </a:r>
          <a:endParaRPr lang="fr-FR" sz="1000" b="1" dirty="0"/>
        </a:p>
      </dgm:t>
    </dgm:pt>
    <dgm:pt modelId="{F18AAB1F-A707-46B1-8E59-069E4943B9B1}" type="parTrans" cxnId="{4D9640F2-BB4B-47FE-B612-803880D56CBA}">
      <dgm:prSet/>
      <dgm:spPr/>
      <dgm:t>
        <a:bodyPr/>
        <a:lstStyle/>
        <a:p>
          <a:endParaRPr lang="fr-FR"/>
        </a:p>
      </dgm:t>
    </dgm:pt>
    <dgm:pt modelId="{29D4BE19-6829-4DB3-BC4E-1929FCC82477}" type="sibTrans" cxnId="{4D9640F2-BB4B-47FE-B612-803880D56CBA}">
      <dgm:prSet/>
      <dgm:spPr/>
      <dgm:t>
        <a:bodyPr/>
        <a:lstStyle/>
        <a:p>
          <a:endParaRPr lang="fr-FR"/>
        </a:p>
      </dgm:t>
    </dgm:pt>
    <dgm:pt modelId="{A397930F-384D-4A0B-BAED-C09D30B9AC7C}" type="pres">
      <dgm:prSet presAssocID="{57932D71-D693-4697-A79B-CF72EBFFE676}" presName="linearFlow" presStyleCnt="0">
        <dgm:presLayoutVars>
          <dgm:dir/>
          <dgm:resizeHandles val="exact"/>
        </dgm:presLayoutVars>
      </dgm:prSet>
      <dgm:spPr/>
    </dgm:pt>
    <dgm:pt modelId="{83BCF21B-BA63-49ED-AB37-09E03C19548A}" type="pres">
      <dgm:prSet presAssocID="{BCF5ED3E-2C15-4824-A0B0-9849DE788CE2}" presName="composite" presStyleCnt="0"/>
      <dgm:spPr/>
    </dgm:pt>
    <dgm:pt modelId="{07FAF936-891A-4D46-8064-03A24E44554A}" type="pres">
      <dgm:prSet presAssocID="{BCF5ED3E-2C15-4824-A0B0-9849DE788CE2}" presName="imgShp" presStyleLbl="fgImgPlace1" presStyleIdx="0" presStyleCnt="3"/>
      <dgm:spPr>
        <a:blipFill dpi="0" rotWithShape="1"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</dgm:spPr>
    </dgm:pt>
    <dgm:pt modelId="{C872B418-EDFF-404F-B307-F14300C6C32E}" type="pres">
      <dgm:prSet presAssocID="{BCF5ED3E-2C15-4824-A0B0-9849DE788CE2}" presName="txShp" presStyleLbl="node1" presStyleIdx="0" presStyleCnt="3" custScaleX="96978" custScaleY="121408">
        <dgm:presLayoutVars>
          <dgm:bulletEnabled val="1"/>
        </dgm:presLayoutVars>
      </dgm:prSet>
      <dgm:spPr/>
    </dgm:pt>
    <dgm:pt modelId="{79C9650A-B75D-4B1A-9D83-6AC4941412CF}" type="pres">
      <dgm:prSet presAssocID="{58CAA772-1F2C-4B50-9DE5-87BA6B1A2041}" presName="spacing" presStyleCnt="0"/>
      <dgm:spPr/>
    </dgm:pt>
    <dgm:pt modelId="{0C673B02-8620-4CBF-BD66-8ED147F94B7D}" type="pres">
      <dgm:prSet presAssocID="{5D04E3C5-DBBB-4F00-A2C2-32798A7AEE40}" presName="composite" presStyleCnt="0"/>
      <dgm:spPr/>
    </dgm:pt>
    <dgm:pt modelId="{1E07F1C7-8597-47C4-B49A-FC54AC87018E}" type="pres">
      <dgm:prSet presAssocID="{5D04E3C5-DBBB-4F00-A2C2-32798A7AEE40}" presName="imgShp" presStyleLbl="fgImgPlace1" presStyleIdx="1" presStyleCnt="3"/>
      <dgm:spPr>
        <a:blipFill dpi="0" rotWithShape="1"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</dgm:spPr>
    </dgm:pt>
    <dgm:pt modelId="{94CB2742-5366-4024-BECF-E000DC81D768}" type="pres">
      <dgm:prSet presAssocID="{5D04E3C5-DBBB-4F00-A2C2-32798A7AEE40}" presName="txShp" presStyleLbl="node1" presStyleIdx="1" presStyleCnt="3" custScaleY="136157">
        <dgm:presLayoutVars>
          <dgm:bulletEnabled val="1"/>
        </dgm:presLayoutVars>
      </dgm:prSet>
      <dgm:spPr/>
    </dgm:pt>
    <dgm:pt modelId="{C4CB3AD9-7234-4258-889E-603359A65E2D}" type="pres">
      <dgm:prSet presAssocID="{86A0E80D-91D9-4FEF-A76F-00FFEF4E3378}" presName="spacing" presStyleCnt="0"/>
      <dgm:spPr/>
    </dgm:pt>
    <dgm:pt modelId="{FF8B160B-83BC-4794-9F95-0B0DE3279B0C}" type="pres">
      <dgm:prSet presAssocID="{A8BB3263-CB22-4427-94A5-0319EDB524A5}" presName="composite" presStyleCnt="0"/>
      <dgm:spPr/>
    </dgm:pt>
    <dgm:pt modelId="{6D0B7E18-7353-4514-8358-C61274283FFF}" type="pres">
      <dgm:prSet presAssocID="{A8BB3263-CB22-4427-94A5-0319EDB524A5}" presName="imgShp" presStyleLbl="fgImgPlace1" presStyleIdx="2" presStyleCnt="3"/>
      <dgm:spPr>
        <a:blipFill dpi="0" rotWithShape="1"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</dgm:spPr>
    </dgm:pt>
    <dgm:pt modelId="{204244EE-1E68-4356-AD1C-CDB49660EF3D}" type="pres">
      <dgm:prSet presAssocID="{A8BB3263-CB22-4427-94A5-0319EDB524A5}" presName="txShp" presStyleLbl="node1" presStyleIdx="2" presStyleCnt="3" custScaleY="144682">
        <dgm:presLayoutVars>
          <dgm:bulletEnabled val="1"/>
        </dgm:presLayoutVars>
      </dgm:prSet>
      <dgm:spPr/>
    </dgm:pt>
  </dgm:ptLst>
  <dgm:cxnLst>
    <dgm:cxn modelId="{70A6C107-8FE1-4146-AD4A-3D5A9DDFCD9E}" srcId="{57932D71-D693-4697-A79B-CF72EBFFE676}" destId="{5D04E3C5-DBBB-4F00-A2C2-32798A7AEE40}" srcOrd="1" destOrd="0" parTransId="{39D0EF2C-58F4-4AED-9F3F-5B8609912FF0}" sibTransId="{86A0E80D-91D9-4FEF-A76F-00FFEF4E3378}"/>
    <dgm:cxn modelId="{21B6133E-7A3A-440B-9DD9-2B0A3F9261F0}" srcId="{57932D71-D693-4697-A79B-CF72EBFFE676}" destId="{BCF5ED3E-2C15-4824-A0B0-9849DE788CE2}" srcOrd="0" destOrd="0" parTransId="{3F243B9D-C59A-4AB7-B6FA-201598D77C8B}" sibTransId="{58CAA772-1F2C-4B50-9DE5-87BA6B1A2041}"/>
    <dgm:cxn modelId="{7368E64A-737B-4D93-9063-2882F3014129}" type="presOf" srcId="{57932D71-D693-4697-A79B-CF72EBFFE676}" destId="{A397930F-384D-4A0B-BAED-C09D30B9AC7C}" srcOrd="0" destOrd="0" presId="urn:microsoft.com/office/officeart/2005/8/layout/vList3"/>
    <dgm:cxn modelId="{10D66A8B-11B5-49A5-A398-24489F15166D}" type="presOf" srcId="{5D04E3C5-DBBB-4F00-A2C2-32798A7AEE40}" destId="{94CB2742-5366-4024-BECF-E000DC81D768}" srcOrd="0" destOrd="0" presId="urn:microsoft.com/office/officeart/2005/8/layout/vList3"/>
    <dgm:cxn modelId="{5A9602C0-6469-43E6-9999-A4B1F24285C2}" type="presOf" srcId="{BCF5ED3E-2C15-4824-A0B0-9849DE788CE2}" destId="{C872B418-EDFF-404F-B307-F14300C6C32E}" srcOrd="0" destOrd="0" presId="urn:microsoft.com/office/officeart/2005/8/layout/vList3"/>
    <dgm:cxn modelId="{51EA22E4-A323-4200-AF0A-91A7FBD1C033}" type="presOf" srcId="{A8BB3263-CB22-4427-94A5-0319EDB524A5}" destId="{204244EE-1E68-4356-AD1C-CDB49660EF3D}" srcOrd="0" destOrd="0" presId="urn:microsoft.com/office/officeart/2005/8/layout/vList3"/>
    <dgm:cxn modelId="{4D9640F2-BB4B-47FE-B612-803880D56CBA}" srcId="{57932D71-D693-4697-A79B-CF72EBFFE676}" destId="{A8BB3263-CB22-4427-94A5-0319EDB524A5}" srcOrd="2" destOrd="0" parTransId="{F18AAB1F-A707-46B1-8E59-069E4943B9B1}" sibTransId="{29D4BE19-6829-4DB3-BC4E-1929FCC82477}"/>
    <dgm:cxn modelId="{AB929EB1-D620-4270-879A-283248589B2A}" type="presParOf" srcId="{A397930F-384D-4A0B-BAED-C09D30B9AC7C}" destId="{83BCF21B-BA63-49ED-AB37-09E03C19548A}" srcOrd="0" destOrd="0" presId="urn:microsoft.com/office/officeart/2005/8/layout/vList3"/>
    <dgm:cxn modelId="{BBE8E773-42BB-49BE-9A5E-3D86F37C54A0}" type="presParOf" srcId="{83BCF21B-BA63-49ED-AB37-09E03C19548A}" destId="{07FAF936-891A-4D46-8064-03A24E44554A}" srcOrd="0" destOrd="0" presId="urn:microsoft.com/office/officeart/2005/8/layout/vList3"/>
    <dgm:cxn modelId="{4DA5A94A-C008-4C47-B720-7B8C09A9E125}" type="presParOf" srcId="{83BCF21B-BA63-49ED-AB37-09E03C19548A}" destId="{C872B418-EDFF-404F-B307-F14300C6C32E}" srcOrd="1" destOrd="0" presId="urn:microsoft.com/office/officeart/2005/8/layout/vList3"/>
    <dgm:cxn modelId="{FF466EC9-EEF2-48DF-A37F-0326E526C737}" type="presParOf" srcId="{A397930F-384D-4A0B-BAED-C09D30B9AC7C}" destId="{79C9650A-B75D-4B1A-9D83-6AC4941412CF}" srcOrd="1" destOrd="0" presId="urn:microsoft.com/office/officeart/2005/8/layout/vList3"/>
    <dgm:cxn modelId="{E114162A-A6EE-4E29-AF5E-824AFBDA0931}" type="presParOf" srcId="{A397930F-384D-4A0B-BAED-C09D30B9AC7C}" destId="{0C673B02-8620-4CBF-BD66-8ED147F94B7D}" srcOrd="2" destOrd="0" presId="urn:microsoft.com/office/officeart/2005/8/layout/vList3"/>
    <dgm:cxn modelId="{47781FBD-96F4-4A72-894E-F52AF47F79A3}" type="presParOf" srcId="{0C673B02-8620-4CBF-BD66-8ED147F94B7D}" destId="{1E07F1C7-8597-47C4-B49A-FC54AC87018E}" srcOrd="0" destOrd="0" presId="urn:microsoft.com/office/officeart/2005/8/layout/vList3"/>
    <dgm:cxn modelId="{7BB645BF-9537-4ED3-AB2C-5D958F4AD2BF}" type="presParOf" srcId="{0C673B02-8620-4CBF-BD66-8ED147F94B7D}" destId="{94CB2742-5366-4024-BECF-E000DC81D768}" srcOrd="1" destOrd="0" presId="urn:microsoft.com/office/officeart/2005/8/layout/vList3"/>
    <dgm:cxn modelId="{90D51E90-D97B-414D-81D9-7CE8D669D8D1}" type="presParOf" srcId="{A397930F-384D-4A0B-BAED-C09D30B9AC7C}" destId="{C4CB3AD9-7234-4258-889E-603359A65E2D}" srcOrd="3" destOrd="0" presId="urn:microsoft.com/office/officeart/2005/8/layout/vList3"/>
    <dgm:cxn modelId="{8B72CEC3-372D-447D-BA24-4F272133B40A}" type="presParOf" srcId="{A397930F-384D-4A0B-BAED-C09D30B9AC7C}" destId="{FF8B160B-83BC-4794-9F95-0B0DE3279B0C}" srcOrd="4" destOrd="0" presId="urn:microsoft.com/office/officeart/2005/8/layout/vList3"/>
    <dgm:cxn modelId="{567B1482-4486-46D1-943D-3F5F09C1132E}" type="presParOf" srcId="{FF8B160B-83BC-4794-9F95-0B0DE3279B0C}" destId="{6D0B7E18-7353-4514-8358-C61274283FFF}" srcOrd="0" destOrd="0" presId="urn:microsoft.com/office/officeart/2005/8/layout/vList3"/>
    <dgm:cxn modelId="{7B4E4B7B-2E5E-4EB0-BA83-941FDDEF0B30}" type="presParOf" srcId="{FF8B160B-83BC-4794-9F95-0B0DE3279B0C}" destId="{204244EE-1E68-4356-AD1C-CDB49660EF3D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7932D71-D693-4697-A79B-CF72EBFFE676}" type="doc">
      <dgm:prSet loTypeId="urn:microsoft.com/office/officeart/2005/8/layout/vList3" loCatId="list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BCF5ED3E-2C15-4824-A0B0-9849DE788CE2}">
      <dgm:prSet phldrT="[Texte]" custT="1"/>
      <dgm:spPr/>
      <dgm:t>
        <a:bodyPr/>
        <a:lstStyle/>
        <a:p>
          <a:pPr algn="l">
            <a:lnSpc>
              <a:spcPct val="150000"/>
            </a:lnSpc>
          </a:pPr>
          <a:r>
            <a:rPr lang="fr-FR" sz="1000" b="0" dirty="0" err="1"/>
            <a:t>Siembras</a:t>
          </a:r>
          <a:r>
            <a:rPr lang="fr-FR" sz="1000" b="0" dirty="0"/>
            <a:t> </a:t>
          </a:r>
          <a:r>
            <a:rPr lang="fr-FR" sz="1000" b="0" dirty="0" err="1"/>
            <a:t>irregulares</a:t>
          </a:r>
          <a:r>
            <a:rPr lang="fr-FR" sz="1000" b="0" dirty="0"/>
            <a:t> y en muchas zonas </a:t>
          </a:r>
          <a:r>
            <a:rPr lang="fr-FR" sz="1000" b="0" dirty="0" err="1"/>
            <a:t>tardías</a:t>
          </a:r>
          <a:r>
            <a:rPr lang="fr-FR" sz="1000" b="0" dirty="0"/>
            <a:t>.</a:t>
          </a:r>
        </a:p>
      </dgm:t>
    </dgm:pt>
    <dgm:pt modelId="{3F243B9D-C59A-4AB7-B6FA-201598D77C8B}" type="parTrans" cxnId="{21B6133E-7A3A-440B-9DD9-2B0A3F9261F0}">
      <dgm:prSet/>
      <dgm:spPr/>
      <dgm:t>
        <a:bodyPr/>
        <a:lstStyle/>
        <a:p>
          <a:endParaRPr lang="fr-FR"/>
        </a:p>
      </dgm:t>
    </dgm:pt>
    <dgm:pt modelId="{58CAA772-1F2C-4B50-9DE5-87BA6B1A2041}" type="sibTrans" cxnId="{21B6133E-7A3A-440B-9DD9-2B0A3F9261F0}">
      <dgm:prSet/>
      <dgm:spPr/>
      <dgm:t>
        <a:bodyPr/>
        <a:lstStyle/>
        <a:p>
          <a:endParaRPr lang="fr-FR"/>
        </a:p>
      </dgm:t>
    </dgm:pt>
    <dgm:pt modelId="{5D04E3C5-DBBB-4F00-A2C2-32798A7AEE40}">
      <dgm:prSet phldrT="[Texte]" custT="1"/>
      <dgm:spPr/>
      <dgm:t>
        <a:bodyPr/>
        <a:lstStyle/>
        <a:p>
          <a:pPr algn="l"/>
          <a:r>
            <a:rPr lang="fr-FR" sz="900" b="0" dirty="0" err="1"/>
            <a:t>Daños</a:t>
          </a:r>
          <a:r>
            <a:rPr lang="fr-FR" sz="900" b="0" dirty="0"/>
            <a:t> </a:t>
          </a:r>
          <a:r>
            <a:rPr lang="fr-FR" sz="900" b="0" dirty="0" err="1"/>
            <a:t>por</a:t>
          </a:r>
          <a:r>
            <a:rPr lang="fr-FR" sz="900" b="0" dirty="0"/>
            <a:t> </a:t>
          </a:r>
          <a:r>
            <a:rPr lang="fr-FR" sz="900" b="0" dirty="0" err="1"/>
            <a:t>heladas</a:t>
          </a:r>
          <a:r>
            <a:rPr lang="fr-FR" sz="900" b="0" dirty="0"/>
            <a:t> </a:t>
          </a:r>
          <a:r>
            <a:rPr lang="fr-FR" sz="900" b="0" dirty="0" err="1"/>
            <a:t>fuertes</a:t>
          </a:r>
          <a:r>
            <a:rPr lang="fr-FR" sz="900" b="0" dirty="0"/>
            <a:t> en el </a:t>
          </a:r>
          <a:r>
            <a:rPr lang="fr-FR" sz="900" b="0" dirty="0" err="1"/>
            <a:t>arranque</a:t>
          </a:r>
          <a:r>
            <a:rPr lang="fr-FR" sz="900" b="0" dirty="0"/>
            <a:t> de </a:t>
          </a:r>
          <a:r>
            <a:rPr lang="fr-FR" sz="900" b="0" dirty="0" err="1"/>
            <a:t>primavera</a:t>
          </a:r>
          <a:r>
            <a:rPr lang="fr-FR" sz="900" b="0" dirty="0"/>
            <a:t>.</a:t>
          </a:r>
        </a:p>
        <a:p>
          <a:pPr algn="l"/>
          <a:r>
            <a:rPr lang="fr-FR" sz="900" b="0" dirty="0" err="1"/>
            <a:t>Daños</a:t>
          </a:r>
          <a:r>
            <a:rPr lang="fr-FR" sz="900" b="0" dirty="0"/>
            <a:t> </a:t>
          </a:r>
          <a:r>
            <a:rPr lang="fr-FR" sz="900" b="0" dirty="0" err="1"/>
            <a:t>fuertes</a:t>
          </a:r>
          <a:r>
            <a:rPr lang="fr-FR" sz="900" b="0" dirty="0"/>
            <a:t> </a:t>
          </a:r>
          <a:r>
            <a:rPr lang="fr-FR" sz="900" b="0" dirty="0" err="1"/>
            <a:t>por</a:t>
          </a:r>
          <a:r>
            <a:rPr lang="fr-FR" sz="900" b="0" dirty="0"/>
            <a:t> </a:t>
          </a:r>
          <a:r>
            <a:rPr lang="fr-FR" sz="900" b="0" dirty="0" err="1"/>
            <a:t>plagas</a:t>
          </a:r>
          <a:r>
            <a:rPr lang="fr-FR" sz="900" b="0" dirty="0"/>
            <a:t>: </a:t>
          </a:r>
          <a:r>
            <a:rPr lang="fr-FR" sz="900" b="0" dirty="0" err="1"/>
            <a:t>gorgojo</a:t>
          </a:r>
          <a:r>
            <a:rPr lang="fr-FR" sz="900" b="0" dirty="0"/>
            <a:t> del </a:t>
          </a:r>
          <a:r>
            <a:rPr lang="fr-FR" sz="900" b="0" dirty="0" err="1"/>
            <a:t>tallo</a:t>
          </a:r>
          <a:r>
            <a:rPr lang="fr-FR" sz="900" b="0" dirty="0"/>
            <a:t>, </a:t>
          </a:r>
          <a:r>
            <a:rPr lang="fr-FR" sz="900" b="0" dirty="0" err="1"/>
            <a:t>pulgones</a:t>
          </a:r>
          <a:endParaRPr lang="fr-FR" sz="900" b="0" dirty="0"/>
        </a:p>
        <a:p>
          <a:pPr algn="l"/>
          <a:r>
            <a:rPr lang="fr-FR" sz="900" b="0" dirty="0" err="1"/>
            <a:t>Pérdida</a:t>
          </a:r>
          <a:r>
            <a:rPr lang="fr-FR" sz="900" b="0" dirty="0"/>
            <a:t> </a:t>
          </a:r>
          <a:r>
            <a:rPr lang="fr-FR" sz="900" b="0" dirty="0" err="1"/>
            <a:t>por</a:t>
          </a:r>
          <a:r>
            <a:rPr lang="fr-FR" sz="900" b="0" dirty="0"/>
            <a:t> </a:t>
          </a:r>
          <a:r>
            <a:rPr lang="fr-FR" sz="900" b="0" dirty="0" err="1"/>
            <a:t>sequía</a:t>
          </a:r>
          <a:r>
            <a:rPr lang="fr-FR" sz="900" b="0" dirty="0"/>
            <a:t> en </a:t>
          </a:r>
          <a:r>
            <a:rPr lang="fr-FR" sz="900" b="0" dirty="0" err="1"/>
            <a:t>Andalucía</a:t>
          </a:r>
          <a:r>
            <a:rPr lang="fr-FR" sz="900" b="0" dirty="0"/>
            <a:t>. </a:t>
          </a:r>
        </a:p>
      </dgm:t>
    </dgm:pt>
    <dgm:pt modelId="{39D0EF2C-58F4-4AED-9F3F-5B8609912FF0}" type="parTrans" cxnId="{70A6C107-8FE1-4146-AD4A-3D5A9DDFCD9E}">
      <dgm:prSet/>
      <dgm:spPr/>
      <dgm:t>
        <a:bodyPr/>
        <a:lstStyle/>
        <a:p>
          <a:endParaRPr lang="fr-FR"/>
        </a:p>
      </dgm:t>
    </dgm:pt>
    <dgm:pt modelId="{86A0E80D-91D9-4FEF-A76F-00FFEF4E3378}" type="sibTrans" cxnId="{70A6C107-8FE1-4146-AD4A-3D5A9DDFCD9E}">
      <dgm:prSet/>
      <dgm:spPr/>
      <dgm:t>
        <a:bodyPr/>
        <a:lstStyle/>
        <a:p>
          <a:endParaRPr lang="fr-FR"/>
        </a:p>
      </dgm:t>
    </dgm:pt>
    <dgm:pt modelId="{A8BB3263-CB22-4427-94A5-0319EDB524A5}">
      <dgm:prSet phldrT="[Texte]" custT="1"/>
      <dgm:spPr/>
      <dgm:t>
        <a:bodyPr/>
        <a:lstStyle/>
        <a:p>
          <a:pPr algn="l">
            <a:lnSpc>
              <a:spcPct val="100000"/>
            </a:lnSpc>
            <a:spcBef>
              <a:spcPts val="0"/>
            </a:spcBef>
            <a:spcAft>
              <a:spcPts val="1200"/>
            </a:spcAft>
          </a:pPr>
          <a:r>
            <a:rPr lang="es-ES" sz="1000" b="1" dirty="0"/>
            <a:t>Maduraciones correctas gracias a la lluvia de las últimas semanas.</a:t>
          </a:r>
          <a:endParaRPr lang="fr-FR" sz="1000" b="1" dirty="0"/>
        </a:p>
      </dgm:t>
    </dgm:pt>
    <dgm:pt modelId="{F18AAB1F-A707-46B1-8E59-069E4943B9B1}" type="parTrans" cxnId="{4D9640F2-BB4B-47FE-B612-803880D56CBA}">
      <dgm:prSet/>
      <dgm:spPr/>
      <dgm:t>
        <a:bodyPr/>
        <a:lstStyle/>
        <a:p>
          <a:endParaRPr lang="fr-FR"/>
        </a:p>
      </dgm:t>
    </dgm:pt>
    <dgm:pt modelId="{29D4BE19-6829-4DB3-BC4E-1929FCC82477}" type="sibTrans" cxnId="{4D9640F2-BB4B-47FE-B612-803880D56CBA}">
      <dgm:prSet/>
      <dgm:spPr/>
      <dgm:t>
        <a:bodyPr/>
        <a:lstStyle/>
        <a:p>
          <a:endParaRPr lang="fr-FR"/>
        </a:p>
      </dgm:t>
    </dgm:pt>
    <dgm:pt modelId="{A397930F-384D-4A0B-BAED-C09D30B9AC7C}" type="pres">
      <dgm:prSet presAssocID="{57932D71-D693-4697-A79B-CF72EBFFE676}" presName="linearFlow" presStyleCnt="0">
        <dgm:presLayoutVars>
          <dgm:dir/>
          <dgm:resizeHandles val="exact"/>
        </dgm:presLayoutVars>
      </dgm:prSet>
      <dgm:spPr/>
    </dgm:pt>
    <dgm:pt modelId="{83BCF21B-BA63-49ED-AB37-09E03C19548A}" type="pres">
      <dgm:prSet presAssocID="{BCF5ED3E-2C15-4824-A0B0-9849DE788CE2}" presName="composite" presStyleCnt="0"/>
      <dgm:spPr/>
    </dgm:pt>
    <dgm:pt modelId="{07FAF936-891A-4D46-8064-03A24E44554A}" type="pres">
      <dgm:prSet presAssocID="{BCF5ED3E-2C15-4824-A0B0-9849DE788CE2}" presName="imgShp" presStyleLbl="fgImgPlace1" presStyleIdx="0" presStyleCnt="3"/>
      <dgm:spPr>
        <a:blipFill dpi="0" rotWithShape="1">
          <a:blip xmlns:r="http://schemas.openxmlformats.org/officeDocument/2006/relationships" r:embed="rId1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</dgm:spPr>
    </dgm:pt>
    <dgm:pt modelId="{C872B418-EDFF-404F-B307-F14300C6C32E}" type="pres">
      <dgm:prSet presAssocID="{BCF5ED3E-2C15-4824-A0B0-9849DE788CE2}" presName="txShp" presStyleLbl="node1" presStyleIdx="0" presStyleCnt="3" custScaleX="96978" custScaleY="121408">
        <dgm:presLayoutVars>
          <dgm:bulletEnabled val="1"/>
        </dgm:presLayoutVars>
      </dgm:prSet>
      <dgm:spPr/>
    </dgm:pt>
    <dgm:pt modelId="{79C9650A-B75D-4B1A-9D83-6AC4941412CF}" type="pres">
      <dgm:prSet presAssocID="{58CAA772-1F2C-4B50-9DE5-87BA6B1A2041}" presName="spacing" presStyleCnt="0"/>
      <dgm:spPr/>
    </dgm:pt>
    <dgm:pt modelId="{0C673B02-8620-4CBF-BD66-8ED147F94B7D}" type="pres">
      <dgm:prSet presAssocID="{5D04E3C5-DBBB-4F00-A2C2-32798A7AEE40}" presName="composite" presStyleCnt="0"/>
      <dgm:spPr/>
    </dgm:pt>
    <dgm:pt modelId="{1E07F1C7-8597-47C4-B49A-FC54AC87018E}" type="pres">
      <dgm:prSet presAssocID="{5D04E3C5-DBBB-4F00-A2C2-32798A7AEE40}" presName="imgShp" presStyleLbl="fgImgPlace1" presStyleIdx="1" presStyleCnt="3"/>
      <dgm:spPr>
        <a:blipFill dpi="0" rotWithShape="1">
          <a:blip xmlns:r="http://schemas.openxmlformats.org/officeDocument/2006/relationships"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</dgm:spPr>
    </dgm:pt>
    <dgm:pt modelId="{94CB2742-5366-4024-BECF-E000DC81D768}" type="pres">
      <dgm:prSet presAssocID="{5D04E3C5-DBBB-4F00-A2C2-32798A7AEE40}" presName="txShp" presStyleLbl="node1" presStyleIdx="1" presStyleCnt="3" custScaleY="136157">
        <dgm:presLayoutVars>
          <dgm:bulletEnabled val="1"/>
        </dgm:presLayoutVars>
      </dgm:prSet>
      <dgm:spPr/>
    </dgm:pt>
    <dgm:pt modelId="{C4CB3AD9-7234-4258-889E-603359A65E2D}" type="pres">
      <dgm:prSet presAssocID="{86A0E80D-91D9-4FEF-A76F-00FFEF4E3378}" presName="spacing" presStyleCnt="0"/>
      <dgm:spPr/>
    </dgm:pt>
    <dgm:pt modelId="{FF8B160B-83BC-4794-9F95-0B0DE3279B0C}" type="pres">
      <dgm:prSet presAssocID="{A8BB3263-CB22-4427-94A5-0319EDB524A5}" presName="composite" presStyleCnt="0"/>
      <dgm:spPr/>
    </dgm:pt>
    <dgm:pt modelId="{6D0B7E18-7353-4514-8358-C61274283FFF}" type="pres">
      <dgm:prSet presAssocID="{A8BB3263-CB22-4427-94A5-0319EDB524A5}" presName="imgShp" presStyleLbl="fgImgPlace1" presStyleIdx="2" presStyleCnt="3"/>
      <dgm:spPr>
        <a:blipFill dpi="0" rotWithShape="1">
          <a:blip xmlns:r="http://schemas.openxmlformats.org/officeDocument/2006/relationships"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</dgm:spPr>
    </dgm:pt>
    <dgm:pt modelId="{204244EE-1E68-4356-AD1C-CDB49660EF3D}" type="pres">
      <dgm:prSet presAssocID="{A8BB3263-CB22-4427-94A5-0319EDB524A5}" presName="txShp" presStyleLbl="node1" presStyleIdx="2" presStyleCnt="3" custScaleY="144682">
        <dgm:presLayoutVars>
          <dgm:bulletEnabled val="1"/>
        </dgm:presLayoutVars>
      </dgm:prSet>
      <dgm:spPr/>
    </dgm:pt>
  </dgm:ptLst>
  <dgm:cxnLst>
    <dgm:cxn modelId="{70A6C107-8FE1-4146-AD4A-3D5A9DDFCD9E}" srcId="{57932D71-D693-4697-A79B-CF72EBFFE676}" destId="{5D04E3C5-DBBB-4F00-A2C2-32798A7AEE40}" srcOrd="1" destOrd="0" parTransId="{39D0EF2C-58F4-4AED-9F3F-5B8609912FF0}" sibTransId="{86A0E80D-91D9-4FEF-A76F-00FFEF4E3378}"/>
    <dgm:cxn modelId="{21B6133E-7A3A-440B-9DD9-2B0A3F9261F0}" srcId="{57932D71-D693-4697-A79B-CF72EBFFE676}" destId="{BCF5ED3E-2C15-4824-A0B0-9849DE788CE2}" srcOrd="0" destOrd="0" parTransId="{3F243B9D-C59A-4AB7-B6FA-201598D77C8B}" sibTransId="{58CAA772-1F2C-4B50-9DE5-87BA6B1A2041}"/>
    <dgm:cxn modelId="{7368E64A-737B-4D93-9063-2882F3014129}" type="presOf" srcId="{57932D71-D693-4697-A79B-CF72EBFFE676}" destId="{A397930F-384D-4A0B-BAED-C09D30B9AC7C}" srcOrd="0" destOrd="0" presId="urn:microsoft.com/office/officeart/2005/8/layout/vList3"/>
    <dgm:cxn modelId="{10D66A8B-11B5-49A5-A398-24489F15166D}" type="presOf" srcId="{5D04E3C5-DBBB-4F00-A2C2-32798A7AEE40}" destId="{94CB2742-5366-4024-BECF-E000DC81D768}" srcOrd="0" destOrd="0" presId="urn:microsoft.com/office/officeart/2005/8/layout/vList3"/>
    <dgm:cxn modelId="{5A9602C0-6469-43E6-9999-A4B1F24285C2}" type="presOf" srcId="{BCF5ED3E-2C15-4824-A0B0-9849DE788CE2}" destId="{C872B418-EDFF-404F-B307-F14300C6C32E}" srcOrd="0" destOrd="0" presId="urn:microsoft.com/office/officeart/2005/8/layout/vList3"/>
    <dgm:cxn modelId="{51EA22E4-A323-4200-AF0A-91A7FBD1C033}" type="presOf" srcId="{A8BB3263-CB22-4427-94A5-0319EDB524A5}" destId="{204244EE-1E68-4356-AD1C-CDB49660EF3D}" srcOrd="0" destOrd="0" presId="urn:microsoft.com/office/officeart/2005/8/layout/vList3"/>
    <dgm:cxn modelId="{4D9640F2-BB4B-47FE-B612-803880D56CBA}" srcId="{57932D71-D693-4697-A79B-CF72EBFFE676}" destId="{A8BB3263-CB22-4427-94A5-0319EDB524A5}" srcOrd="2" destOrd="0" parTransId="{F18AAB1F-A707-46B1-8E59-069E4943B9B1}" sibTransId="{29D4BE19-6829-4DB3-BC4E-1929FCC82477}"/>
    <dgm:cxn modelId="{AB929EB1-D620-4270-879A-283248589B2A}" type="presParOf" srcId="{A397930F-384D-4A0B-BAED-C09D30B9AC7C}" destId="{83BCF21B-BA63-49ED-AB37-09E03C19548A}" srcOrd="0" destOrd="0" presId="urn:microsoft.com/office/officeart/2005/8/layout/vList3"/>
    <dgm:cxn modelId="{BBE8E773-42BB-49BE-9A5E-3D86F37C54A0}" type="presParOf" srcId="{83BCF21B-BA63-49ED-AB37-09E03C19548A}" destId="{07FAF936-891A-4D46-8064-03A24E44554A}" srcOrd="0" destOrd="0" presId="urn:microsoft.com/office/officeart/2005/8/layout/vList3"/>
    <dgm:cxn modelId="{4DA5A94A-C008-4C47-B720-7B8C09A9E125}" type="presParOf" srcId="{83BCF21B-BA63-49ED-AB37-09E03C19548A}" destId="{C872B418-EDFF-404F-B307-F14300C6C32E}" srcOrd="1" destOrd="0" presId="urn:microsoft.com/office/officeart/2005/8/layout/vList3"/>
    <dgm:cxn modelId="{FF466EC9-EEF2-48DF-A37F-0326E526C737}" type="presParOf" srcId="{A397930F-384D-4A0B-BAED-C09D30B9AC7C}" destId="{79C9650A-B75D-4B1A-9D83-6AC4941412CF}" srcOrd="1" destOrd="0" presId="urn:microsoft.com/office/officeart/2005/8/layout/vList3"/>
    <dgm:cxn modelId="{E114162A-A6EE-4E29-AF5E-824AFBDA0931}" type="presParOf" srcId="{A397930F-384D-4A0B-BAED-C09D30B9AC7C}" destId="{0C673B02-8620-4CBF-BD66-8ED147F94B7D}" srcOrd="2" destOrd="0" presId="urn:microsoft.com/office/officeart/2005/8/layout/vList3"/>
    <dgm:cxn modelId="{47781FBD-96F4-4A72-894E-F52AF47F79A3}" type="presParOf" srcId="{0C673B02-8620-4CBF-BD66-8ED147F94B7D}" destId="{1E07F1C7-8597-47C4-B49A-FC54AC87018E}" srcOrd="0" destOrd="0" presId="urn:microsoft.com/office/officeart/2005/8/layout/vList3"/>
    <dgm:cxn modelId="{7BB645BF-9537-4ED3-AB2C-5D958F4AD2BF}" type="presParOf" srcId="{0C673B02-8620-4CBF-BD66-8ED147F94B7D}" destId="{94CB2742-5366-4024-BECF-E000DC81D768}" srcOrd="1" destOrd="0" presId="urn:microsoft.com/office/officeart/2005/8/layout/vList3"/>
    <dgm:cxn modelId="{90D51E90-D97B-414D-81D9-7CE8D669D8D1}" type="presParOf" srcId="{A397930F-384D-4A0B-BAED-C09D30B9AC7C}" destId="{C4CB3AD9-7234-4258-889E-603359A65E2D}" srcOrd="3" destOrd="0" presId="urn:microsoft.com/office/officeart/2005/8/layout/vList3"/>
    <dgm:cxn modelId="{8B72CEC3-372D-447D-BA24-4F272133B40A}" type="presParOf" srcId="{A397930F-384D-4A0B-BAED-C09D30B9AC7C}" destId="{FF8B160B-83BC-4794-9F95-0B0DE3279B0C}" srcOrd="4" destOrd="0" presId="urn:microsoft.com/office/officeart/2005/8/layout/vList3"/>
    <dgm:cxn modelId="{567B1482-4486-46D1-943D-3F5F09C1132E}" type="presParOf" srcId="{FF8B160B-83BC-4794-9F95-0B0DE3279B0C}" destId="{6D0B7E18-7353-4514-8358-C61274283FFF}" srcOrd="0" destOrd="0" presId="urn:microsoft.com/office/officeart/2005/8/layout/vList3"/>
    <dgm:cxn modelId="{7B4E4B7B-2E5E-4EB0-BA83-941FDDEF0B30}" type="presParOf" srcId="{FF8B160B-83BC-4794-9F95-0B0DE3279B0C}" destId="{204244EE-1E68-4356-AD1C-CDB49660EF3D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872B418-EDFF-404F-B307-F14300C6C32E}">
      <dsp:nvSpPr>
        <dsp:cNvPr id="0" name=""/>
        <dsp:cNvSpPr/>
      </dsp:nvSpPr>
      <dsp:spPr>
        <a:xfrm rot="10800000">
          <a:off x="1258956" y="255"/>
          <a:ext cx="3938864" cy="698651"/>
        </a:xfrm>
        <a:prstGeom prst="homePlat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53761" tIns="38100" rIns="71120" bIns="38100" numCol="1" spcCol="1270" anchor="ctr" anchorCtr="0">
          <a:noAutofit/>
        </a:bodyPr>
        <a:lstStyle/>
        <a:p>
          <a:pPr marL="0" lvl="0" indent="0" algn="l" defTabSz="444500">
            <a:lnSpc>
              <a:spcPct val="15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000" b="1" kern="1200" dirty="0"/>
            <a:t>Los cultivos COLZA en toda Europa están generalmente bien establecidos</a:t>
          </a:r>
          <a:r>
            <a:rPr lang="fr-FR" sz="1000" b="1" kern="1200" dirty="0"/>
            <a:t> </a:t>
          </a:r>
          <a:r>
            <a:rPr lang="es-ES" sz="1000" b="0" kern="1200" dirty="0"/>
            <a:t>este año debido a las precipitaciones suficientes a finales de verano y otoño</a:t>
          </a:r>
          <a:endParaRPr lang="fr-FR" sz="1000" b="0" kern="1200" dirty="0"/>
        </a:p>
      </dsp:txBody>
      <dsp:txXfrm rot="10800000">
        <a:off x="1433619" y="255"/>
        <a:ext cx="3764201" cy="698651"/>
      </dsp:txXfrm>
    </dsp:sp>
    <dsp:sp modelId="{07FAF936-891A-4D46-8064-03A24E44554A}">
      <dsp:nvSpPr>
        <dsp:cNvPr id="0" name=""/>
        <dsp:cNvSpPr/>
      </dsp:nvSpPr>
      <dsp:spPr>
        <a:xfrm>
          <a:off x="909857" y="61852"/>
          <a:ext cx="575457" cy="575457"/>
        </a:xfrm>
        <a:prstGeom prst="ellipse">
          <a:avLst/>
        </a:prstGeom>
        <a:blipFill dpi="0" rotWithShape="1"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ln w="95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94CB2742-5366-4024-BECF-E000DC81D768}">
      <dsp:nvSpPr>
        <dsp:cNvPr id="0" name=""/>
        <dsp:cNvSpPr/>
      </dsp:nvSpPr>
      <dsp:spPr>
        <a:xfrm rot="10800000">
          <a:off x="1166900" y="870685"/>
          <a:ext cx="4061605" cy="783526"/>
        </a:xfrm>
        <a:prstGeom prst="homePlat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53761" tIns="34290" rIns="64008" bIns="34290" numCol="1" spcCol="1270" anchor="ctr" anchorCtr="0">
          <a:noAutofit/>
        </a:bodyPr>
        <a:lstStyle/>
        <a:p>
          <a:pPr marL="0" lvl="0" indent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900" b="0" kern="1200" dirty="0"/>
            <a:t>- </a:t>
          </a:r>
          <a:r>
            <a:rPr lang="es-ES" sz="900" b="1" kern="1200" dirty="0"/>
            <a:t>Alta presión de </a:t>
          </a:r>
          <a:r>
            <a:rPr lang="es-ES" sz="900" b="1" kern="1200" dirty="0" err="1"/>
            <a:t>TuYV</a:t>
          </a:r>
          <a:r>
            <a:rPr lang="es-ES" sz="900" b="1" kern="1200" dirty="0"/>
            <a:t> en nuestra encuesta de otoño y primavera, se ha observado una mayor actividad de pulgones este año</a:t>
          </a:r>
          <a:endParaRPr lang="fr-FR" sz="900" b="0" kern="1200" dirty="0"/>
        </a:p>
        <a:p>
          <a:pPr marL="0" lvl="0" indent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900" b="0" kern="1200" dirty="0"/>
            <a:t>- </a:t>
          </a:r>
          <a:r>
            <a:rPr lang="es-ES" sz="900" b="0" kern="1200" dirty="0"/>
            <a:t>Debido al invierno suave y húmedo</a:t>
          </a:r>
          <a:r>
            <a:rPr lang="fr-FR" sz="900" b="0" kern="1200" dirty="0"/>
            <a:t>, </a:t>
          </a:r>
          <a:r>
            <a:rPr lang="es-ES" sz="900" b="1" kern="1200" dirty="0"/>
            <a:t>alta presión de LLS/CYL en UK,FR,DE</a:t>
          </a:r>
          <a:r>
            <a:rPr lang="fr-FR" sz="900" b="0" kern="1200" dirty="0"/>
            <a:t>. </a:t>
          </a:r>
        </a:p>
        <a:p>
          <a:pPr marL="0" lvl="0" indent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900" b="1" kern="1200" dirty="0"/>
            <a:t>Gran </a:t>
          </a:r>
          <a:r>
            <a:rPr lang="fr-FR" sz="900" b="1" kern="1200" dirty="0" err="1"/>
            <a:t>oportunidad</a:t>
          </a:r>
          <a:r>
            <a:rPr lang="fr-FR" sz="900" b="1" kern="1200" dirty="0"/>
            <a:t> </a:t>
          </a:r>
          <a:r>
            <a:rPr lang="es-ES" sz="900" b="0" kern="1200" dirty="0"/>
            <a:t>para </a:t>
          </a:r>
          <a:r>
            <a:rPr lang="es-ES" sz="900" b="0" kern="1200" dirty="0" err="1"/>
            <a:t>Limagrain</a:t>
          </a:r>
          <a:r>
            <a:rPr lang="es-ES" sz="900" b="0" kern="1200" dirty="0"/>
            <a:t> ya que tenemos los mejores híbridos resistentes en LLS/CYL</a:t>
          </a:r>
          <a:endParaRPr lang="fr-FR" sz="900" b="0" kern="1200" dirty="0"/>
        </a:p>
      </dsp:txBody>
      <dsp:txXfrm rot="10800000">
        <a:off x="1362781" y="870685"/>
        <a:ext cx="3865724" cy="783526"/>
      </dsp:txXfrm>
    </dsp:sp>
    <dsp:sp modelId="{1E07F1C7-8597-47C4-B49A-FC54AC87018E}">
      <dsp:nvSpPr>
        <dsp:cNvPr id="0" name=""/>
        <dsp:cNvSpPr/>
      </dsp:nvSpPr>
      <dsp:spPr>
        <a:xfrm>
          <a:off x="879171" y="974720"/>
          <a:ext cx="575457" cy="575457"/>
        </a:xfrm>
        <a:prstGeom prst="ellipse">
          <a:avLst/>
        </a:prstGeom>
        <a:blipFill dpi="0" rotWithShape="1"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ln w="95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204244EE-1E68-4356-AD1C-CDB49660EF3D}">
      <dsp:nvSpPr>
        <dsp:cNvPr id="0" name=""/>
        <dsp:cNvSpPr/>
      </dsp:nvSpPr>
      <dsp:spPr>
        <a:xfrm rot="10800000">
          <a:off x="1166900" y="1825990"/>
          <a:ext cx="4061605" cy="832583"/>
        </a:xfrm>
        <a:prstGeom prst="homePlat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53761" tIns="38100" rIns="71120" bIns="38100" numCol="1" spcCol="1270" anchor="ctr" anchorCtr="0">
          <a:noAutofit/>
        </a:bodyPr>
        <a:lstStyle/>
        <a:p>
          <a:pPr marL="0" lvl="0" indent="0" algn="l" defTabSz="444500">
            <a:lnSpc>
              <a:spcPct val="100000"/>
            </a:lnSpc>
            <a:spcBef>
              <a:spcPct val="0"/>
            </a:spcBef>
            <a:spcAft>
              <a:spcPts val="1200"/>
            </a:spcAft>
            <a:buNone/>
          </a:pPr>
          <a:r>
            <a:rPr lang="es-ES" sz="1000" b="1" kern="1200" dirty="0"/>
            <a:t>Gracias a las precipitaciones significativas en marzo y abril, el cultivo se está desarrollando bien, con un alto potencial de rendimiento (Excepto : LT, SE, SP debido a la muerte por frío invernal o a la sequía) </a:t>
          </a:r>
          <a:endParaRPr lang="fr-FR" sz="1000" b="1" kern="1200" dirty="0"/>
        </a:p>
      </dsp:txBody>
      <dsp:txXfrm rot="10800000">
        <a:off x="1375046" y="1825990"/>
        <a:ext cx="3853459" cy="832583"/>
      </dsp:txXfrm>
    </dsp:sp>
    <dsp:sp modelId="{6D0B7E18-7353-4514-8358-C61274283FFF}">
      <dsp:nvSpPr>
        <dsp:cNvPr id="0" name=""/>
        <dsp:cNvSpPr/>
      </dsp:nvSpPr>
      <dsp:spPr>
        <a:xfrm>
          <a:off x="879171" y="1954553"/>
          <a:ext cx="575457" cy="575457"/>
        </a:xfrm>
        <a:prstGeom prst="ellipse">
          <a:avLst/>
        </a:prstGeom>
        <a:blipFill dpi="0" rotWithShape="1"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ln w="95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872B418-EDFF-404F-B307-F14300C6C32E}">
      <dsp:nvSpPr>
        <dsp:cNvPr id="0" name=""/>
        <dsp:cNvSpPr/>
      </dsp:nvSpPr>
      <dsp:spPr>
        <a:xfrm rot="10800000">
          <a:off x="907621" y="70"/>
          <a:ext cx="2884573" cy="441918"/>
        </a:xfrm>
        <a:prstGeom prst="homePlat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60511" tIns="38100" rIns="71120" bIns="38100" numCol="1" spcCol="1270" anchor="ctr" anchorCtr="0">
          <a:noAutofit/>
        </a:bodyPr>
        <a:lstStyle/>
        <a:p>
          <a:pPr marL="0" lvl="0" indent="0" algn="l" defTabSz="444500">
            <a:lnSpc>
              <a:spcPct val="15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000" b="0" kern="1200" dirty="0" err="1"/>
            <a:t>Siembras</a:t>
          </a:r>
          <a:r>
            <a:rPr lang="fr-FR" sz="1000" b="0" kern="1200" dirty="0"/>
            <a:t> </a:t>
          </a:r>
          <a:r>
            <a:rPr lang="fr-FR" sz="1000" b="0" kern="1200" dirty="0" err="1"/>
            <a:t>irregulares</a:t>
          </a:r>
          <a:r>
            <a:rPr lang="fr-FR" sz="1000" b="0" kern="1200" dirty="0"/>
            <a:t> y en muchas zonas </a:t>
          </a:r>
          <a:r>
            <a:rPr lang="fr-FR" sz="1000" b="0" kern="1200" dirty="0" err="1"/>
            <a:t>tardías</a:t>
          </a:r>
          <a:r>
            <a:rPr lang="fr-FR" sz="1000" b="0" kern="1200" dirty="0"/>
            <a:t>.</a:t>
          </a:r>
        </a:p>
      </dsp:txBody>
      <dsp:txXfrm rot="10800000">
        <a:off x="1018100" y="70"/>
        <a:ext cx="2774094" cy="441918"/>
      </dsp:txXfrm>
    </dsp:sp>
    <dsp:sp modelId="{07FAF936-891A-4D46-8064-03A24E44554A}">
      <dsp:nvSpPr>
        <dsp:cNvPr id="0" name=""/>
        <dsp:cNvSpPr/>
      </dsp:nvSpPr>
      <dsp:spPr>
        <a:xfrm>
          <a:off x="680680" y="39032"/>
          <a:ext cx="363994" cy="363994"/>
        </a:xfrm>
        <a:prstGeom prst="ellipse">
          <a:avLst/>
        </a:prstGeom>
        <a:blipFill dpi="0" rotWithShape="1">
          <a:blip xmlns:r="http://schemas.openxmlformats.org/officeDocument/2006/relationships" r:embed="rId1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ln w="95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94CB2742-5366-4024-BECF-E000DC81D768}">
      <dsp:nvSpPr>
        <dsp:cNvPr id="0" name=""/>
        <dsp:cNvSpPr/>
      </dsp:nvSpPr>
      <dsp:spPr>
        <a:xfrm rot="10800000">
          <a:off x="840205" y="543209"/>
          <a:ext cx="2974461" cy="495603"/>
        </a:xfrm>
        <a:prstGeom prst="homePlat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60511" tIns="34290" rIns="64008" bIns="34290" numCol="1" spcCol="1270" anchor="ctr" anchorCtr="0">
          <a:noAutofit/>
        </a:bodyPr>
        <a:lstStyle/>
        <a:p>
          <a:pPr marL="0" lvl="0" indent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900" b="0" kern="1200" dirty="0" err="1"/>
            <a:t>Daños</a:t>
          </a:r>
          <a:r>
            <a:rPr lang="fr-FR" sz="900" b="0" kern="1200" dirty="0"/>
            <a:t> </a:t>
          </a:r>
          <a:r>
            <a:rPr lang="fr-FR" sz="900" b="0" kern="1200" dirty="0" err="1"/>
            <a:t>por</a:t>
          </a:r>
          <a:r>
            <a:rPr lang="fr-FR" sz="900" b="0" kern="1200" dirty="0"/>
            <a:t> </a:t>
          </a:r>
          <a:r>
            <a:rPr lang="fr-FR" sz="900" b="0" kern="1200" dirty="0" err="1"/>
            <a:t>heladas</a:t>
          </a:r>
          <a:r>
            <a:rPr lang="fr-FR" sz="900" b="0" kern="1200" dirty="0"/>
            <a:t> </a:t>
          </a:r>
          <a:r>
            <a:rPr lang="fr-FR" sz="900" b="0" kern="1200" dirty="0" err="1"/>
            <a:t>fuertes</a:t>
          </a:r>
          <a:r>
            <a:rPr lang="fr-FR" sz="900" b="0" kern="1200" dirty="0"/>
            <a:t> en el </a:t>
          </a:r>
          <a:r>
            <a:rPr lang="fr-FR" sz="900" b="0" kern="1200" dirty="0" err="1"/>
            <a:t>arranque</a:t>
          </a:r>
          <a:r>
            <a:rPr lang="fr-FR" sz="900" b="0" kern="1200" dirty="0"/>
            <a:t> de </a:t>
          </a:r>
          <a:r>
            <a:rPr lang="fr-FR" sz="900" b="0" kern="1200" dirty="0" err="1"/>
            <a:t>primavera</a:t>
          </a:r>
          <a:r>
            <a:rPr lang="fr-FR" sz="900" b="0" kern="1200" dirty="0"/>
            <a:t>.</a:t>
          </a:r>
        </a:p>
        <a:p>
          <a:pPr marL="0" lvl="0" indent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900" b="0" kern="1200" dirty="0" err="1"/>
            <a:t>Daños</a:t>
          </a:r>
          <a:r>
            <a:rPr lang="fr-FR" sz="900" b="0" kern="1200" dirty="0"/>
            <a:t> </a:t>
          </a:r>
          <a:r>
            <a:rPr lang="fr-FR" sz="900" b="0" kern="1200" dirty="0" err="1"/>
            <a:t>fuertes</a:t>
          </a:r>
          <a:r>
            <a:rPr lang="fr-FR" sz="900" b="0" kern="1200" dirty="0"/>
            <a:t> </a:t>
          </a:r>
          <a:r>
            <a:rPr lang="fr-FR" sz="900" b="0" kern="1200" dirty="0" err="1"/>
            <a:t>por</a:t>
          </a:r>
          <a:r>
            <a:rPr lang="fr-FR" sz="900" b="0" kern="1200" dirty="0"/>
            <a:t> </a:t>
          </a:r>
          <a:r>
            <a:rPr lang="fr-FR" sz="900" b="0" kern="1200" dirty="0" err="1"/>
            <a:t>plagas</a:t>
          </a:r>
          <a:r>
            <a:rPr lang="fr-FR" sz="900" b="0" kern="1200" dirty="0"/>
            <a:t>: </a:t>
          </a:r>
          <a:r>
            <a:rPr lang="fr-FR" sz="900" b="0" kern="1200" dirty="0" err="1"/>
            <a:t>gorgojo</a:t>
          </a:r>
          <a:r>
            <a:rPr lang="fr-FR" sz="900" b="0" kern="1200" dirty="0"/>
            <a:t> del </a:t>
          </a:r>
          <a:r>
            <a:rPr lang="fr-FR" sz="900" b="0" kern="1200" dirty="0" err="1"/>
            <a:t>tallo</a:t>
          </a:r>
          <a:r>
            <a:rPr lang="fr-FR" sz="900" b="0" kern="1200" dirty="0"/>
            <a:t>, </a:t>
          </a:r>
          <a:r>
            <a:rPr lang="fr-FR" sz="900" b="0" kern="1200" dirty="0" err="1"/>
            <a:t>pulgones</a:t>
          </a:r>
          <a:endParaRPr lang="fr-FR" sz="900" b="0" kern="1200" dirty="0"/>
        </a:p>
        <a:p>
          <a:pPr marL="0" lvl="0" indent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900" b="0" kern="1200" dirty="0" err="1"/>
            <a:t>Pérdida</a:t>
          </a:r>
          <a:r>
            <a:rPr lang="fr-FR" sz="900" b="0" kern="1200" dirty="0"/>
            <a:t> </a:t>
          </a:r>
          <a:r>
            <a:rPr lang="fr-FR" sz="900" b="0" kern="1200" dirty="0" err="1"/>
            <a:t>por</a:t>
          </a:r>
          <a:r>
            <a:rPr lang="fr-FR" sz="900" b="0" kern="1200" dirty="0"/>
            <a:t> </a:t>
          </a:r>
          <a:r>
            <a:rPr lang="fr-FR" sz="900" b="0" kern="1200" dirty="0" err="1"/>
            <a:t>sequía</a:t>
          </a:r>
          <a:r>
            <a:rPr lang="fr-FR" sz="900" b="0" kern="1200" dirty="0"/>
            <a:t> en </a:t>
          </a:r>
          <a:r>
            <a:rPr lang="fr-FR" sz="900" b="0" kern="1200" dirty="0" err="1"/>
            <a:t>Andalucía</a:t>
          </a:r>
          <a:r>
            <a:rPr lang="fr-FR" sz="900" b="0" kern="1200" dirty="0"/>
            <a:t>. </a:t>
          </a:r>
        </a:p>
      </dsp:txBody>
      <dsp:txXfrm rot="10800000">
        <a:off x="964106" y="543209"/>
        <a:ext cx="2850560" cy="495603"/>
      </dsp:txXfrm>
    </dsp:sp>
    <dsp:sp modelId="{1E07F1C7-8597-47C4-B49A-FC54AC87018E}">
      <dsp:nvSpPr>
        <dsp:cNvPr id="0" name=""/>
        <dsp:cNvSpPr/>
      </dsp:nvSpPr>
      <dsp:spPr>
        <a:xfrm>
          <a:off x="658207" y="609014"/>
          <a:ext cx="363994" cy="363994"/>
        </a:xfrm>
        <a:prstGeom prst="ellipse">
          <a:avLst/>
        </a:prstGeom>
        <a:blipFill dpi="0" rotWithShape="1">
          <a:blip xmlns:r="http://schemas.openxmlformats.org/officeDocument/2006/relationships"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ln w="95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204244EE-1E68-4356-AD1C-CDB49660EF3D}">
      <dsp:nvSpPr>
        <dsp:cNvPr id="0" name=""/>
        <dsp:cNvSpPr/>
      </dsp:nvSpPr>
      <dsp:spPr>
        <a:xfrm rot="10800000">
          <a:off x="840205" y="1140034"/>
          <a:ext cx="2974461" cy="526634"/>
        </a:xfrm>
        <a:prstGeom prst="homePlat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60511" tIns="38100" rIns="71120" bIns="38100" numCol="1" spcCol="1270" anchor="ctr" anchorCtr="0">
          <a:noAutofit/>
        </a:bodyPr>
        <a:lstStyle/>
        <a:p>
          <a:pPr marL="0" lvl="0" indent="0" algn="l" defTabSz="444500">
            <a:lnSpc>
              <a:spcPct val="100000"/>
            </a:lnSpc>
            <a:spcBef>
              <a:spcPct val="0"/>
            </a:spcBef>
            <a:spcAft>
              <a:spcPts val="1200"/>
            </a:spcAft>
            <a:buNone/>
          </a:pPr>
          <a:r>
            <a:rPr lang="es-ES" sz="1000" b="1" kern="1200" dirty="0"/>
            <a:t>Maduraciones correctas gracias a la lluvia de las últimas semanas.</a:t>
          </a:r>
          <a:endParaRPr lang="fr-FR" sz="1000" b="1" kern="1200" dirty="0"/>
        </a:p>
      </dsp:txBody>
      <dsp:txXfrm rot="10800000">
        <a:off x="971863" y="1140034"/>
        <a:ext cx="2842803" cy="526634"/>
      </dsp:txXfrm>
    </dsp:sp>
    <dsp:sp modelId="{6D0B7E18-7353-4514-8358-C61274283FFF}">
      <dsp:nvSpPr>
        <dsp:cNvPr id="0" name=""/>
        <dsp:cNvSpPr/>
      </dsp:nvSpPr>
      <dsp:spPr>
        <a:xfrm>
          <a:off x="658207" y="1221354"/>
          <a:ext cx="363994" cy="363994"/>
        </a:xfrm>
        <a:prstGeom prst="ellipse">
          <a:avLst/>
        </a:prstGeom>
        <a:blipFill dpi="0" rotWithShape="1">
          <a:blip xmlns:r="http://schemas.openxmlformats.org/officeDocument/2006/relationships"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ln w="95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45659" cy="496332"/>
          </a:xfrm>
          <a:prstGeom prst="rect">
            <a:avLst/>
          </a:prstGeom>
        </p:spPr>
        <p:txBody>
          <a:bodyPr vert="horz" lIns="91303" tIns="45651" rIns="91303" bIns="45651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4" y="1"/>
            <a:ext cx="2945659" cy="496332"/>
          </a:xfrm>
          <a:prstGeom prst="rect">
            <a:avLst/>
          </a:prstGeom>
        </p:spPr>
        <p:txBody>
          <a:bodyPr vert="horz" lIns="91303" tIns="45651" rIns="91303" bIns="45651" rtlCol="0"/>
          <a:lstStyle>
            <a:lvl1pPr algn="r">
              <a:defRPr sz="1200"/>
            </a:lvl1pPr>
          </a:lstStyle>
          <a:p>
            <a:fld id="{46638154-367A-B046-9B0F-679C819B2CE2}" type="datetime1">
              <a:rPr lang="de-DE" smtClean="0"/>
              <a:pPr/>
              <a:t>05.07.2023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2" y="9428584"/>
            <a:ext cx="2945659" cy="496332"/>
          </a:xfrm>
          <a:prstGeom prst="rect">
            <a:avLst/>
          </a:prstGeom>
        </p:spPr>
        <p:txBody>
          <a:bodyPr vert="horz" lIns="91303" tIns="45651" rIns="91303" bIns="45651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4" y="9428584"/>
            <a:ext cx="2945659" cy="496332"/>
          </a:xfrm>
          <a:prstGeom prst="rect">
            <a:avLst/>
          </a:prstGeom>
        </p:spPr>
        <p:txBody>
          <a:bodyPr vert="horz" lIns="91303" tIns="45651" rIns="91303" bIns="45651" rtlCol="0" anchor="b"/>
          <a:lstStyle>
            <a:lvl1pPr algn="r">
              <a:defRPr sz="1200"/>
            </a:lvl1pPr>
          </a:lstStyle>
          <a:p>
            <a:fld id="{7E87B607-AE3D-C343-8D2B-EB089DA10BD1}" type="slidenum">
              <a:rPr lang="de-DE" smtClean="0"/>
              <a:pPr/>
              <a:t>‹Nº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9690990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45659" cy="496332"/>
          </a:xfrm>
          <a:prstGeom prst="rect">
            <a:avLst/>
          </a:prstGeom>
        </p:spPr>
        <p:txBody>
          <a:bodyPr vert="horz" lIns="91303" tIns="45651" rIns="91303" bIns="45651" rtlCol="0"/>
          <a:lstStyle>
            <a:lvl1pPr algn="l" eaLnBrk="1">
              <a:defRPr sz="1200"/>
            </a:lvl1pPr>
          </a:lstStyle>
          <a:p>
            <a:endParaRPr lang="fr-FR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4" y="1"/>
            <a:ext cx="2945659" cy="496332"/>
          </a:xfrm>
          <a:prstGeom prst="rect">
            <a:avLst/>
          </a:prstGeom>
        </p:spPr>
        <p:txBody>
          <a:bodyPr vert="horz" lIns="91303" tIns="45651" rIns="91303" bIns="45651" rtlCol="0"/>
          <a:lstStyle>
            <a:lvl1pPr algn="r">
              <a:defRPr sz="1200"/>
            </a:lvl1pPr>
          </a:lstStyle>
          <a:p>
            <a:fld id="{A4A90879-7BAA-6A4D-AA37-628797FCA952}" type="datetime1">
              <a:rPr lang="fr-FR" smtClean="0"/>
              <a:pPr/>
              <a:t>05/07/2023</a:t>
            </a:fld>
            <a:endParaRPr lang="fr-FR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88900" y="744538"/>
            <a:ext cx="6621463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303" tIns="45651" rIns="91303" bIns="45651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155"/>
            <a:ext cx="5438140" cy="4466987"/>
          </a:xfrm>
          <a:prstGeom prst="rect">
            <a:avLst/>
          </a:prstGeom>
        </p:spPr>
        <p:txBody>
          <a:bodyPr vert="horz" lIns="91303" tIns="45651" rIns="91303" bIns="45651" rtlCol="0"/>
          <a:lstStyle/>
          <a:p>
            <a:pPr lvl="0"/>
            <a:r>
              <a:rPr lang="fr-FR" dirty="0" err="1"/>
              <a:t>Mastertextformat</a:t>
            </a:r>
            <a:r>
              <a:rPr lang="fr-FR" dirty="0"/>
              <a:t> </a:t>
            </a:r>
            <a:r>
              <a:rPr lang="fr-FR" dirty="0" err="1"/>
              <a:t>bearbeiten</a:t>
            </a:r>
            <a:endParaRPr lang="fr-FR" dirty="0"/>
          </a:p>
          <a:p>
            <a:pPr lvl="1"/>
            <a:r>
              <a:rPr lang="fr-FR" dirty="0" err="1"/>
              <a:t>Zweite</a:t>
            </a:r>
            <a:r>
              <a:rPr lang="fr-FR" dirty="0"/>
              <a:t> </a:t>
            </a:r>
            <a:r>
              <a:rPr lang="fr-FR" dirty="0" err="1"/>
              <a:t>Ebene</a:t>
            </a:r>
            <a:endParaRPr lang="fr-FR" dirty="0"/>
          </a:p>
          <a:p>
            <a:pPr lvl="2"/>
            <a:r>
              <a:rPr lang="fr-FR" dirty="0" err="1"/>
              <a:t>Dritte</a:t>
            </a:r>
            <a:r>
              <a:rPr lang="fr-FR" dirty="0"/>
              <a:t> </a:t>
            </a:r>
            <a:r>
              <a:rPr lang="fr-FR" dirty="0" err="1"/>
              <a:t>Ebene</a:t>
            </a:r>
            <a:endParaRPr lang="fr-FR" dirty="0"/>
          </a:p>
          <a:p>
            <a:pPr lvl="3"/>
            <a:r>
              <a:rPr lang="fr-FR" dirty="0" err="1"/>
              <a:t>Vierte</a:t>
            </a:r>
            <a:r>
              <a:rPr lang="fr-FR" dirty="0"/>
              <a:t> </a:t>
            </a:r>
            <a:r>
              <a:rPr lang="fr-FR" dirty="0" err="1"/>
              <a:t>Ebene</a:t>
            </a:r>
            <a:endParaRPr lang="fr-FR" dirty="0"/>
          </a:p>
          <a:p>
            <a:pPr lvl="4"/>
            <a:r>
              <a:rPr lang="fr-FR" dirty="0" err="1"/>
              <a:t>Fünfte</a:t>
            </a:r>
            <a:r>
              <a:rPr lang="fr-FR" dirty="0"/>
              <a:t> </a:t>
            </a:r>
            <a:r>
              <a:rPr lang="fr-FR" dirty="0" err="1"/>
              <a:t>Ebene</a:t>
            </a:r>
            <a:endParaRPr lang="fr-FR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9428584"/>
            <a:ext cx="2945659" cy="496332"/>
          </a:xfrm>
          <a:prstGeom prst="rect">
            <a:avLst/>
          </a:prstGeom>
        </p:spPr>
        <p:txBody>
          <a:bodyPr vert="horz" lIns="91303" tIns="45651" rIns="91303" bIns="45651" rtlCol="0" anchor="b"/>
          <a:lstStyle>
            <a:lvl1pPr algn="l" eaLnBrk="1">
              <a:defRPr sz="1200"/>
            </a:lvl1pPr>
          </a:lstStyle>
          <a:p>
            <a:endParaRPr lang="fr-FR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4" y="9428584"/>
            <a:ext cx="2945659" cy="496332"/>
          </a:xfrm>
          <a:prstGeom prst="rect">
            <a:avLst/>
          </a:prstGeom>
        </p:spPr>
        <p:txBody>
          <a:bodyPr vert="horz" lIns="91303" tIns="45651" rIns="91303" bIns="45651" rtlCol="0" anchor="b"/>
          <a:lstStyle>
            <a:lvl1pPr algn="r">
              <a:defRPr sz="1200"/>
            </a:lvl1pPr>
          </a:lstStyle>
          <a:p>
            <a:fld id="{F9A6A7E8-472F-3841-8202-304F511408B2}" type="slidenum">
              <a:rPr lang="fr-FR" smtClean="0"/>
              <a:pPr/>
              <a:t>‹Nº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7687742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png"/><Relationship Id="rId5" Type="http://schemas.openxmlformats.org/officeDocument/2006/relationships/image" Target="../media/image4.jpg"/><Relationship Id="rId10" Type="http://schemas.openxmlformats.org/officeDocument/2006/relationships/image" Target="../media/image9.png"/><Relationship Id="rId4" Type="http://schemas.openxmlformats.org/officeDocument/2006/relationships/image" Target="../media/image3.emf"/><Relationship Id="rId9" Type="http://schemas.openxmlformats.org/officeDocument/2006/relationships/image" Target="../media/image8.sv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10.jpg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5.png"/><Relationship Id="rId5" Type="http://schemas.openxmlformats.org/officeDocument/2006/relationships/image" Target="../media/image3.emf"/><Relationship Id="rId10" Type="http://schemas.openxmlformats.org/officeDocument/2006/relationships/image" Target="../media/image8.svg"/><Relationship Id="rId4" Type="http://schemas.openxmlformats.org/officeDocument/2006/relationships/oleObject" Target="../embeddings/oleObject3.bin"/><Relationship Id="rId9" Type="http://schemas.openxmlformats.org/officeDocument/2006/relationships/image" Target="../media/image7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1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5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oleObject" Target="../embeddings/oleObject5.bin"/><Relationship Id="rId7" Type="http://schemas.openxmlformats.org/officeDocument/2006/relationships/image" Target="../media/image1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2.png"/><Relationship Id="rId5" Type="http://schemas.openxmlformats.org/officeDocument/2006/relationships/image" Target="../media/image13.jpe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openxmlformats.org/officeDocument/2006/relationships/image" Target="../media/image21.png"/><Relationship Id="rId3" Type="http://schemas.openxmlformats.org/officeDocument/2006/relationships/image" Target="../media/image5.png"/><Relationship Id="rId7" Type="http://schemas.openxmlformats.org/officeDocument/2006/relationships/image" Target="../media/image17.png"/><Relationship Id="rId12" Type="http://schemas.openxmlformats.org/officeDocument/2006/relationships/image" Target="../media/image8.sv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11" Type="http://schemas.openxmlformats.org/officeDocument/2006/relationships/image" Target="../media/image7.png"/><Relationship Id="rId5" Type="http://schemas.openxmlformats.org/officeDocument/2006/relationships/image" Target="../media/image16.png"/><Relationship Id="rId10" Type="http://schemas.openxmlformats.org/officeDocument/2006/relationships/image" Target="../media/image20.png"/><Relationship Id="rId4" Type="http://schemas.openxmlformats.org/officeDocument/2006/relationships/image" Target="../media/image15.png"/><Relationship Id="rId9" Type="http://schemas.openxmlformats.org/officeDocument/2006/relationships/image" Target="../media/image19.png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oleObject" Target="../embeddings/oleObject6.bin"/><Relationship Id="rId7" Type="http://schemas.openxmlformats.org/officeDocument/2006/relationships/image" Target="../media/image1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2.png"/><Relationship Id="rId5" Type="http://schemas.openxmlformats.org/officeDocument/2006/relationships/image" Target="../media/image22.jpe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7" Type="http://schemas.openxmlformats.org/officeDocument/2006/relationships/image" Target="../media/image1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General Chapter Heading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FDC2B3C-0A56-4185-82C1-E3CCC4207C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493277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55" progId="TCLayout.ActiveDocument.1">
                  <p:embed/>
                </p:oleObj>
              </mc:Choice>
              <mc:Fallback>
                <p:oleObj name="think-cell Slide" r:id="rId3" imgW="359" imgH="35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FDC2B3C-0A56-4185-82C1-E3CCC4207C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A small bird on a plant&#10;&#10;Description automatically generated with low confidence">
            <a:extLst>
              <a:ext uri="{FF2B5EF4-FFF2-40B4-BE49-F238E27FC236}">
                <a16:creationId xmlns:a16="http://schemas.microsoft.com/office/drawing/2014/main" id="{B4720183-3216-95F7-88C0-E5DD82D15078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18" name="Bild 11" descr="Limagrain_Logo.png">
            <a:extLst>
              <a:ext uri="{FF2B5EF4-FFF2-40B4-BE49-F238E27FC236}">
                <a16:creationId xmlns:a16="http://schemas.microsoft.com/office/drawing/2014/main" id="{B042D52A-89C4-42CA-9822-5EA428E7C0B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75323" y="4834378"/>
            <a:ext cx="969994" cy="24104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796CDA11-A779-440A-A8B0-2D9B8F353F6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6885" y="4751073"/>
            <a:ext cx="1803400" cy="279400"/>
          </a:xfrm>
          <a:prstGeom prst="rect">
            <a:avLst/>
          </a:prstGeom>
        </p:spPr>
      </p:pic>
      <p:sp>
        <p:nvSpPr>
          <p:cNvPr id="20" name="Rechteck 15">
            <a:extLst>
              <a:ext uri="{FF2B5EF4-FFF2-40B4-BE49-F238E27FC236}">
                <a16:creationId xmlns:a16="http://schemas.microsoft.com/office/drawing/2014/main" id="{36290C1F-C7CA-48D9-82BB-7F7DDA7B233F}"/>
              </a:ext>
            </a:extLst>
          </p:cNvPr>
          <p:cNvSpPr/>
          <p:nvPr userDrawn="1"/>
        </p:nvSpPr>
        <p:spPr>
          <a:xfrm>
            <a:off x="914400" y="3093931"/>
            <a:ext cx="8229600" cy="1648430"/>
          </a:xfrm>
          <a:prstGeom prst="rect">
            <a:avLst/>
          </a:prstGeom>
          <a:solidFill>
            <a:srgbClr val="E3002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/>
              <a:t> </a:t>
            </a:r>
          </a:p>
        </p:txBody>
      </p:sp>
      <p:cxnSp>
        <p:nvCxnSpPr>
          <p:cNvPr id="21" name="Gerade Verbindung 13">
            <a:extLst>
              <a:ext uri="{FF2B5EF4-FFF2-40B4-BE49-F238E27FC236}">
                <a16:creationId xmlns:a16="http://schemas.microsoft.com/office/drawing/2014/main" id="{B8220319-85D7-4DB4-9217-6EFDEF2BC053}"/>
              </a:ext>
            </a:extLst>
          </p:cNvPr>
          <p:cNvCxnSpPr/>
          <p:nvPr userDrawn="1"/>
        </p:nvCxnSpPr>
        <p:spPr>
          <a:xfrm>
            <a:off x="1079506" y="4070914"/>
            <a:ext cx="7960995" cy="0"/>
          </a:xfrm>
          <a:prstGeom prst="line">
            <a:avLst/>
          </a:prstGeom>
          <a:ln w="25400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Freihandform 19">
            <a:extLst>
              <a:ext uri="{FF2B5EF4-FFF2-40B4-BE49-F238E27FC236}">
                <a16:creationId xmlns:a16="http://schemas.microsoft.com/office/drawing/2014/main" id="{8F36FDE7-DB00-40EB-9EE4-363E8961FECC}"/>
              </a:ext>
            </a:extLst>
          </p:cNvPr>
          <p:cNvSpPr/>
          <p:nvPr userDrawn="1"/>
        </p:nvSpPr>
        <p:spPr>
          <a:xfrm>
            <a:off x="1079308" y="3272862"/>
            <a:ext cx="7958455" cy="6852"/>
          </a:xfrm>
          <a:custGeom>
            <a:avLst/>
            <a:gdLst>
              <a:gd name="connsiteX0" fmla="*/ 0 w 7958455"/>
              <a:gd name="connsiteY0" fmla="*/ 0 h 9136"/>
              <a:gd name="connsiteX1" fmla="*/ 7958455 w 7958455"/>
              <a:gd name="connsiteY1" fmla="*/ 9136 h 9136"/>
              <a:gd name="connsiteX2" fmla="*/ 7958455 w 7958455"/>
              <a:gd name="connsiteY2" fmla="*/ 9136 h 91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958455" h="9136">
                <a:moveTo>
                  <a:pt x="0" y="0"/>
                </a:moveTo>
                <a:lnTo>
                  <a:pt x="7958455" y="9136"/>
                </a:lnTo>
                <a:lnTo>
                  <a:pt x="7958455" y="9136"/>
                </a:lnTo>
              </a:path>
            </a:pathLst>
          </a:custGeom>
          <a:ln w="254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1"/>
            <a:endParaRPr lang="fr-FR" sz="1800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6E38F0E-87D9-4C3D-BFD6-E4EFE32D8E7E}"/>
              </a:ext>
            </a:extLst>
          </p:cNvPr>
          <p:cNvSpPr txBox="1"/>
          <p:nvPr userDrawn="1"/>
        </p:nvSpPr>
        <p:spPr>
          <a:xfrm>
            <a:off x="3927163" y="4926132"/>
            <a:ext cx="0" cy="0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rmAutofit fontScale="25000" lnSpcReduction="20000"/>
          </a:bodyPr>
          <a:lstStyle/>
          <a:p>
            <a:endParaRPr lang="en-US" dirty="0">
              <a:solidFill>
                <a:srgbClr val="77777A"/>
              </a:solidFill>
            </a:endParaRPr>
          </a:p>
        </p:txBody>
      </p:sp>
      <p:sp>
        <p:nvSpPr>
          <p:cNvPr id="25" name="Titel 1">
            <a:extLst>
              <a:ext uri="{FF2B5EF4-FFF2-40B4-BE49-F238E27FC236}">
                <a16:creationId xmlns:a16="http://schemas.microsoft.com/office/drawing/2014/main" id="{6BD179F6-3D55-46D4-B012-D663AD88D30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79506" y="4104802"/>
            <a:ext cx="7958455" cy="512576"/>
          </a:xfrm>
          <a:prstGeom prst="rect">
            <a:avLst/>
          </a:prstGeom>
        </p:spPr>
        <p:txBody>
          <a:bodyPr vert="horz" lIns="36000" tIns="0" rIns="0" bIns="0" anchor="ctr">
            <a:normAutofit/>
          </a:bodyPr>
          <a:lstStyle>
            <a:lvl1pPr algn="l">
              <a:spcBef>
                <a:spcPts val="0"/>
              </a:spcBef>
              <a:defRPr sz="1800" baseline="0">
                <a:solidFill>
                  <a:srgbClr val="FFFFFF"/>
                </a:solidFill>
              </a:defRPr>
            </a:lvl1pPr>
          </a:lstStyle>
          <a:p>
            <a:r>
              <a:rPr lang="fr-FR" dirty="0" err="1"/>
              <a:t>Subheadline</a:t>
            </a:r>
            <a:br>
              <a:rPr lang="fr-FR" dirty="0"/>
            </a:br>
            <a:r>
              <a:rPr lang="fr-FR" dirty="0" err="1"/>
              <a:t>Subheadline</a:t>
            </a:r>
            <a:endParaRPr lang="fr-FR" dirty="0"/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9E136EE1-4ACF-475B-9DA1-9E5E3C6D067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79506" y="3313603"/>
            <a:ext cx="7958455" cy="723422"/>
          </a:xfrm>
        </p:spPr>
        <p:txBody>
          <a:bodyPr lIns="36000" tIns="0" rIns="0" bIns="0" anchor="ctr">
            <a:noAutofit/>
          </a:bodyPr>
          <a:lstStyle>
            <a:lvl1pPr marL="0" indent="0" algn="l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General </a:t>
            </a:r>
            <a:r>
              <a:rPr lang="fr-FR" dirty="0" err="1"/>
              <a:t>Chapter</a:t>
            </a:r>
            <a:r>
              <a:rPr lang="fr-FR" dirty="0"/>
              <a:t> </a:t>
            </a:r>
            <a:r>
              <a:rPr lang="fr-FR" dirty="0" err="1"/>
              <a:t>Heading</a:t>
            </a:r>
            <a:endParaRPr lang="fr-FR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B4E296B0-1969-45BD-887B-EA9FE1E3AE4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78753" y="2644506"/>
            <a:ext cx="661955" cy="661955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CC4695A8-AFB7-48C0-B15A-20997881DA91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604" y="114299"/>
            <a:ext cx="976163" cy="8743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55627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ilseed Rape Chapter Heading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FDC2B3C-0A56-4185-82C1-E3CCC4207C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55823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55" progId="TCLayout.ActiveDocument.1">
                  <p:embed/>
                </p:oleObj>
              </mc:Choice>
              <mc:Fallback>
                <p:oleObj name="think-cell Slide" r:id="rId4" imgW="359" imgH="35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FDC2B3C-0A56-4185-82C1-E3CCC4207C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Bild 11" descr="Limagrain_Logo.png">
            <a:extLst>
              <a:ext uri="{FF2B5EF4-FFF2-40B4-BE49-F238E27FC236}">
                <a16:creationId xmlns:a16="http://schemas.microsoft.com/office/drawing/2014/main" id="{B042D52A-89C4-42CA-9822-5EA428E7C0B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75323" y="4834378"/>
            <a:ext cx="969994" cy="24104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796CDA11-A779-440A-A8B0-2D9B8F353F6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0535" y="4815198"/>
            <a:ext cx="1803400" cy="279400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16E38F0E-87D9-4C3D-BFD6-E4EFE32D8E7E}"/>
              </a:ext>
            </a:extLst>
          </p:cNvPr>
          <p:cNvSpPr txBox="1"/>
          <p:nvPr userDrawn="1"/>
        </p:nvSpPr>
        <p:spPr>
          <a:xfrm>
            <a:off x="3927163" y="4926132"/>
            <a:ext cx="0" cy="0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rmAutofit fontScale="25000" lnSpcReduction="20000"/>
          </a:bodyPr>
          <a:lstStyle/>
          <a:p>
            <a:endParaRPr lang="en-US" dirty="0">
              <a:solidFill>
                <a:srgbClr val="77777A"/>
              </a:solidFill>
            </a:endParaRP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CC4695A8-AFB7-48C0-B15A-20997881DA91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604" y="114299"/>
            <a:ext cx="976163" cy="874396"/>
          </a:xfrm>
          <a:prstGeom prst="rect">
            <a:avLst/>
          </a:prstGeom>
        </p:spPr>
      </p:pic>
      <p:sp>
        <p:nvSpPr>
          <p:cNvPr id="15" name="Rechteck 15">
            <a:extLst>
              <a:ext uri="{FF2B5EF4-FFF2-40B4-BE49-F238E27FC236}">
                <a16:creationId xmlns:a16="http://schemas.microsoft.com/office/drawing/2014/main" id="{9EA8CFF2-3C03-4E03-84EC-F5F0092D02A3}"/>
              </a:ext>
            </a:extLst>
          </p:cNvPr>
          <p:cNvSpPr/>
          <p:nvPr userDrawn="1"/>
        </p:nvSpPr>
        <p:spPr>
          <a:xfrm>
            <a:off x="914400" y="3093931"/>
            <a:ext cx="8229600" cy="1648430"/>
          </a:xfrm>
          <a:prstGeom prst="rect">
            <a:avLst/>
          </a:prstGeom>
          <a:solidFill>
            <a:srgbClr val="E3002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/>
              <a:t> </a:t>
            </a:r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5C0184E4-F6C5-4723-B2CF-0D1683C462E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79506" y="4104802"/>
            <a:ext cx="7958455" cy="512576"/>
          </a:xfrm>
          <a:prstGeom prst="rect">
            <a:avLst/>
          </a:prstGeom>
        </p:spPr>
        <p:txBody>
          <a:bodyPr lIns="36000" tIns="0" rIns="0" bIns="0" anchor="ctr">
            <a:normAutofit/>
          </a:bodyPr>
          <a:lstStyle>
            <a:lvl1pPr algn="l">
              <a:spcBef>
                <a:spcPts val="0"/>
              </a:spcBef>
              <a:defRPr sz="1800" baseline="0">
                <a:solidFill>
                  <a:srgbClr val="FFFFFF"/>
                </a:solidFill>
              </a:defRPr>
            </a:lvl1pPr>
          </a:lstStyle>
          <a:p>
            <a:r>
              <a:rPr lang="fr-FR" dirty="0" err="1"/>
              <a:t>Subheadline</a:t>
            </a:r>
            <a:br>
              <a:rPr lang="fr-FR" dirty="0"/>
            </a:br>
            <a:r>
              <a:rPr lang="fr-FR" dirty="0" err="1"/>
              <a:t>Subheadline</a:t>
            </a:r>
            <a:endParaRPr lang="fr-FR" dirty="0"/>
          </a:p>
        </p:txBody>
      </p:sp>
      <p:sp>
        <p:nvSpPr>
          <p:cNvPr id="28" name="Untertitel 2">
            <a:extLst>
              <a:ext uri="{FF2B5EF4-FFF2-40B4-BE49-F238E27FC236}">
                <a16:creationId xmlns:a16="http://schemas.microsoft.com/office/drawing/2014/main" id="{7B29E1F7-8D50-4AD6-A2C7-C8C6ECC50C2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79506" y="3313603"/>
            <a:ext cx="7958455" cy="723422"/>
          </a:xfrm>
        </p:spPr>
        <p:txBody>
          <a:bodyPr lIns="36000" tIns="0" rIns="0" bIns="0" anchor="ctr">
            <a:noAutofit/>
          </a:bodyPr>
          <a:lstStyle>
            <a:lvl1pPr marL="0" indent="0" algn="l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err="1"/>
              <a:t>Chapter</a:t>
            </a:r>
            <a:r>
              <a:rPr lang="fr-FR" dirty="0"/>
              <a:t> for </a:t>
            </a:r>
            <a:r>
              <a:rPr lang="fr-FR" dirty="0" err="1"/>
              <a:t>oilseed</a:t>
            </a:r>
            <a:r>
              <a:rPr lang="fr-FR" dirty="0"/>
              <a:t> </a:t>
            </a:r>
            <a:r>
              <a:rPr lang="fr-FR" dirty="0" err="1"/>
              <a:t>rape</a:t>
            </a:r>
            <a:endParaRPr lang="fr-FR" dirty="0"/>
          </a:p>
          <a:p>
            <a:r>
              <a:rPr lang="fr-FR" dirty="0"/>
              <a:t>In </a:t>
            </a:r>
            <a:r>
              <a:rPr lang="fr-FR" dirty="0" err="1"/>
              <a:t>two</a:t>
            </a:r>
            <a:r>
              <a:rPr lang="fr-FR" dirty="0"/>
              <a:t> </a:t>
            </a:r>
            <a:r>
              <a:rPr lang="fr-FR" dirty="0" err="1"/>
              <a:t>rows</a:t>
            </a:r>
            <a:endParaRPr lang="fr-FR" dirty="0"/>
          </a:p>
        </p:txBody>
      </p:sp>
      <p:sp>
        <p:nvSpPr>
          <p:cNvPr id="29" name="Freihandform 19">
            <a:extLst>
              <a:ext uri="{FF2B5EF4-FFF2-40B4-BE49-F238E27FC236}">
                <a16:creationId xmlns:a16="http://schemas.microsoft.com/office/drawing/2014/main" id="{B3977EEB-927F-4105-8EBE-1949552B8E32}"/>
              </a:ext>
            </a:extLst>
          </p:cNvPr>
          <p:cNvSpPr/>
          <p:nvPr userDrawn="1"/>
        </p:nvSpPr>
        <p:spPr>
          <a:xfrm>
            <a:off x="1079506" y="3272862"/>
            <a:ext cx="7958455" cy="6852"/>
          </a:xfrm>
          <a:custGeom>
            <a:avLst/>
            <a:gdLst>
              <a:gd name="connsiteX0" fmla="*/ 0 w 7958455"/>
              <a:gd name="connsiteY0" fmla="*/ 0 h 9136"/>
              <a:gd name="connsiteX1" fmla="*/ 7958455 w 7958455"/>
              <a:gd name="connsiteY1" fmla="*/ 9136 h 9136"/>
              <a:gd name="connsiteX2" fmla="*/ 7958455 w 7958455"/>
              <a:gd name="connsiteY2" fmla="*/ 9136 h 91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958455" h="9136">
                <a:moveTo>
                  <a:pt x="0" y="0"/>
                </a:moveTo>
                <a:lnTo>
                  <a:pt x="7958455" y="9136"/>
                </a:lnTo>
                <a:lnTo>
                  <a:pt x="7958455" y="9136"/>
                </a:lnTo>
              </a:path>
            </a:pathLst>
          </a:custGeom>
          <a:ln w="254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1"/>
            <a:endParaRPr lang="fr-FR" sz="1800" dirty="0"/>
          </a:p>
        </p:txBody>
      </p:sp>
      <p:cxnSp>
        <p:nvCxnSpPr>
          <p:cNvPr id="30" name="Gerade Verbindung 13">
            <a:extLst>
              <a:ext uri="{FF2B5EF4-FFF2-40B4-BE49-F238E27FC236}">
                <a16:creationId xmlns:a16="http://schemas.microsoft.com/office/drawing/2014/main" id="{C10A476D-FAAA-4E57-A571-6B48034F32DC}"/>
              </a:ext>
            </a:extLst>
          </p:cNvPr>
          <p:cNvCxnSpPr/>
          <p:nvPr userDrawn="1"/>
        </p:nvCxnSpPr>
        <p:spPr>
          <a:xfrm>
            <a:off x="1079506" y="4070914"/>
            <a:ext cx="7958455" cy="0"/>
          </a:xfrm>
          <a:prstGeom prst="line">
            <a:avLst/>
          </a:prstGeom>
          <a:ln w="25400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1" name="Graphic 30">
            <a:extLst>
              <a:ext uri="{FF2B5EF4-FFF2-40B4-BE49-F238E27FC236}">
                <a16:creationId xmlns:a16="http://schemas.microsoft.com/office/drawing/2014/main" id="{D38E463A-82E5-4F87-ABE8-B025F8E136D4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78753" y="2644506"/>
            <a:ext cx="661955" cy="661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93418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2299047"/>
              </p:ext>
            </p:extLst>
          </p:nvPr>
        </p:nvGraphicFramePr>
        <p:xfrm>
          <a:off x="1591" y="1194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1" name="Object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194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reihandform 8"/>
          <p:cNvSpPr/>
          <p:nvPr userDrawn="1"/>
        </p:nvSpPr>
        <p:spPr>
          <a:xfrm>
            <a:off x="603057" y="3622129"/>
            <a:ext cx="7958455" cy="6852"/>
          </a:xfrm>
          <a:custGeom>
            <a:avLst/>
            <a:gdLst>
              <a:gd name="connsiteX0" fmla="*/ 0 w 7958455"/>
              <a:gd name="connsiteY0" fmla="*/ 0 h 9136"/>
              <a:gd name="connsiteX1" fmla="*/ 7958455 w 7958455"/>
              <a:gd name="connsiteY1" fmla="*/ 9136 h 9136"/>
              <a:gd name="connsiteX2" fmla="*/ 7958455 w 7958455"/>
              <a:gd name="connsiteY2" fmla="*/ 9136 h 91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958455" h="9136">
                <a:moveTo>
                  <a:pt x="0" y="0"/>
                </a:moveTo>
                <a:lnTo>
                  <a:pt x="7958455" y="9136"/>
                </a:lnTo>
                <a:lnTo>
                  <a:pt x="7958455" y="9136"/>
                </a:lnTo>
              </a:path>
            </a:pathLst>
          </a:cu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1"/>
            <a:endParaRPr lang="fr-FR" sz="1800" dirty="0"/>
          </a:p>
        </p:txBody>
      </p:sp>
      <p:sp>
        <p:nvSpPr>
          <p:cNvPr id="10" name="Freihandform 9"/>
          <p:cNvSpPr/>
          <p:nvPr userDrawn="1"/>
        </p:nvSpPr>
        <p:spPr>
          <a:xfrm>
            <a:off x="603057" y="3992156"/>
            <a:ext cx="7958455" cy="6852"/>
          </a:xfrm>
          <a:custGeom>
            <a:avLst/>
            <a:gdLst>
              <a:gd name="connsiteX0" fmla="*/ 0 w 7958455"/>
              <a:gd name="connsiteY0" fmla="*/ 0 h 9136"/>
              <a:gd name="connsiteX1" fmla="*/ 7958455 w 7958455"/>
              <a:gd name="connsiteY1" fmla="*/ 9136 h 9136"/>
              <a:gd name="connsiteX2" fmla="*/ 7958455 w 7958455"/>
              <a:gd name="connsiteY2" fmla="*/ 9136 h 91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958455" h="9136">
                <a:moveTo>
                  <a:pt x="0" y="0"/>
                </a:moveTo>
                <a:lnTo>
                  <a:pt x="7958455" y="9136"/>
                </a:lnTo>
                <a:lnTo>
                  <a:pt x="7958455" y="9136"/>
                </a:lnTo>
              </a:path>
            </a:pathLst>
          </a:cu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1"/>
            <a:endParaRPr lang="fr-FR" sz="1800" dirty="0"/>
          </a:p>
        </p:txBody>
      </p:sp>
      <p:sp>
        <p:nvSpPr>
          <p:cNvPr id="28" name="Titel 1"/>
          <p:cNvSpPr>
            <a:spLocks noGrp="1"/>
          </p:cNvSpPr>
          <p:nvPr>
            <p:ph type="title" hasCustomPrompt="1"/>
          </p:nvPr>
        </p:nvSpPr>
        <p:spPr>
          <a:xfrm>
            <a:off x="1179767" y="144738"/>
            <a:ext cx="7062335" cy="404136"/>
          </a:xfrm>
          <a:prstGeom prst="rect">
            <a:avLst/>
          </a:prstGeom>
          <a:noFill/>
        </p:spPr>
        <p:txBody>
          <a:bodyPr anchor="t">
            <a:noAutofit/>
          </a:bodyPr>
          <a:lstStyle>
            <a:lvl1pPr algn="l">
              <a:lnSpc>
                <a:spcPct val="90000"/>
              </a:lnSpc>
              <a:defRPr sz="2800" b="1">
                <a:solidFill>
                  <a:schemeClr val="tx2"/>
                </a:solidFill>
              </a:defRPr>
            </a:lvl1pPr>
          </a:lstStyle>
          <a:p>
            <a:r>
              <a:rPr lang="fr-FR" dirty="0"/>
              <a:t>Headline</a:t>
            </a:r>
          </a:p>
        </p:txBody>
      </p:sp>
      <p:sp>
        <p:nvSpPr>
          <p:cNvPr id="21" name="Textplatzhalter 32"/>
          <p:cNvSpPr txBox="1">
            <a:spLocks/>
          </p:cNvSpPr>
          <p:nvPr userDrawn="1"/>
        </p:nvSpPr>
        <p:spPr>
          <a:xfrm>
            <a:off x="386398" y="4841366"/>
            <a:ext cx="1565770" cy="21703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1200" kern="1200" baseline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fr-FR" sz="1000" dirty="0" err="1">
                <a:solidFill>
                  <a:srgbClr val="7F7F7F"/>
                </a:solidFill>
              </a:rPr>
              <a:t>Limagrain</a:t>
            </a:r>
            <a:r>
              <a:rPr lang="fr-FR" sz="1000" dirty="0">
                <a:solidFill>
                  <a:srgbClr val="7F7F7F"/>
                </a:solidFill>
              </a:rPr>
              <a:t> Field </a:t>
            </a:r>
            <a:r>
              <a:rPr lang="fr-FR" sz="1000" dirty="0" err="1">
                <a:solidFill>
                  <a:srgbClr val="7F7F7F"/>
                </a:solidFill>
              </a:rPr>
              <a:t>Seeds</a:t>
            </a:r>
            <a:endParaRPr lang="fr-FR" sz="1000" dirty="0">
              <a:solidFill>
                <a:srgbClr val="7F7F7F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179767" y="549130"/>
            <a:ext cx="7062335" cy="538163"/>
          </a:xfrm>
        </p:spPr>
        <p:txBody>
          <a:bodyPr>
            <a:noAutofit/>
          </a:bodyPr>
          <a:lstStyle>
            <a:lvl1pPr marL="0" indent="0">
              <a:buNone/>
              <a:defRPr b="1">
                <a:solidFill>
                  <a:srgbClr val="77777A"/>
                </a:solidFill>
              </a:defRPr>
            </a:lvl1pPr>
          </a:lstStyle>
          <a:p>
            <a:pPr lvl="0"/>
            <a:r>
              <a:rPr lang="fr-FR" dirty="0" err="1"/>
              <a:t>Subhead</a:t>
            </a:r>
            <a:endParaRPr lang="fr-FR" dirty="0"/>
          </a:p>
        </p:txBody>
      </p:sp>
      <p:cxnSp>
        <p:nvCxnSpPr>
          <p:cNvPr id="16" name="Gerade Verbindung 15"/>
          <p:cNvCxnSpPr/>
          <p:nvPr userDrawn="1"/>
        </p:nvCxnSpPr>
        <p:spPr>
          <a:xfrm flipV="1">
            <a:off x="386398" y="4785780"/>
            <a:ext cx="8757603" cy="4739"/>
          </a:xfrm>
          <a:prstGeom prst="line">
            <a:avLst/>
          </a:prstGeom>
          <a:ln w="12700" cmpd="sng">
            <a:solidFill>
              <a:srgbClr val="E3002C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platzhalter 2"/>
          <p:cNvSpPr>
            <a:spLocks noGrp="1"/>
          </p:cNvSpPr>
          <p:nvPr>
            <p:ph idx="1" hasCustomPrompt="1"/>
          </p:nvPr>
        </p:nvSpPr>
        <p:spPr>
          <a:xfrm>
            <a:off x="457200" y="1200154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891" indent="-342891">
              <a:buSzPct val="75000"/>
              <a:buFontTx/>
              <a:buBlip>
                <a:blip r:embed="rId5"/>
              </a:buBlip>
              <a:defRPr baseline="0"/>
            </a:lvl1pPr>
            <a:lvl2pPr>
              <a:defRPr/>
            </a:lvl2pPr>
          </a:lstStyle>
          <a:p>
            <a:pPr lvl="0"/>
            <a:r>
              <a:rPr lang="fr-FR" dirty="0"/>
              <a:t>First </a:t>
            </a:r>
            <a:r>
              <a:rPr lang="fr-FR" dirty="0" err="1"/>
              <a:t>bullet</a:t>
            </a:r>
            <a:r>
              <a:rPr lang="fr-FR" dirty="0"/>
              <a:t> point</a:t>
            </a:r>
          </a:p>
          <a:p>
            <a:pPr lvl="1"/>
            <a:r>
              <a:rPr lang="fr-FR" dirty="0"/>
              <a:t>Second </a:t>
            </a:r>
            <a:r>
              <a:rPr lang="fr-FR" dirty="0" err="1"/>
              <a:t>bullet</a:t>
            </a:r>
            <a:r>
              <a:rPr lang="fr-FR" dirty="0"/>
              <a:t> point</a:t>
            </a:r>
          </a:p>
        </p:txBody>
      </p:sp>
      <p:pic>
        <p:nvPicPr>
          <p:cNvPr id="15" name="Bild 11" descr="Limagrain_Logo.pn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75323" y="4834378"/>
            <a:ext cx="969994" cy="24104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653F31D7-B1B5-9B46-A80B-94D663AB77F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604" y="114299"/>
            <a:ext cx="976163" cy="8743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93589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3622468"/>
              </p:ext>
            </p:extLst>
          </p:nvPr>
        </p:nvGraphicFramePr>
        <p:xfrm>
          <a:off x="1591" y="1194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1" name="Object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194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Content Placeholder 5">
            <a:extLst>
              <a:ext uri="{FF2B5EF4-FFF2-40B4-BE49-F238E27FC236}">
                <a16:creationId xmlns:a16="http://schemas.microsoft.com/office/drawing/2014/main" id="{DF89C186-97AB-9B74-C50B-6F256D7831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698317" y="498650"/>
            <a:ext cx="445683" cy="4282900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9532EB09-875B-31E5-9824-496F59DDF646}"/>
              </a:ext>
            </a:extLst>
          </p:cNvPr>
          <p:cNvSpPr/>
          <p:nvPr userDrawn="1"/>
        </p:nvSpPr>
        <p:spPr>
          <a:xfrm>
            <a:off x="8698317" y="-914"/>
            <a:ext cx="445683" cy="689314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16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ihandform 8"/>
          <p:cNvSpPr/>
          <p:nvPr userDrawn="1"/>
        </p:nvSpPr>
        <p:spPr>
          <a:xfrm>
            <a:off x="603057" y="3622129"/>
            <a:ext cx="7958455" cy="6852"/>
          </a:xfrm>
          <a:custGeom>
            <a:avLst/>
            <a:gdLst>
              <a:gd name="connsiteX0" fmla="*/ 0 w 7958455"/>
              <a:gd name="connsiteY0" fmla="*/ 0 h 9136"/>
              <a:gd name="connsiteX1" fmla="*/ 7958455 w 7958455"/>
              <a:gd name="connsiteY1" fmla="*/ 9136 h 9136"/>
              <a:gd name="connsiteX2" fmla="*/ 7958455 w 7958455"/>
              <a:gd name="connsiteY2" fmla="*/ 9136 h 91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958455" h="9136">
                <a:moveTo>
                  <a:pt x="0" y="0"/>
                </a:moveTo>
                <a:lnTo>
                  <a:pt x="7958455" y="9136"/>
                </a:lnTo>
                <a:lnTo>
                  <a:pt x="7958455" y="9136"/>
                </a:lnTo>
              </a:path>
            </a:pathLst>
          </a:cu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1"/>
            <a:endParaRPr lang="fr-FR" sz="1800" dirty="0"/>
          </a:p>
        </p:txBody>
      </p:sp>
      <p:sp>
        <p:nvSpPr>
          <p:cNvPr id="10" name="Freihandform 9"/>
          <p:cNvSpPr/>
          <p:nvPr userDrawn="1"/>
        </p:nvSpPr>
        <p:spPr>
          <a:xfrm>
            <a:off x="603057" y="3992156"/>
            <a:ext cx="7958455" cy="6852"/>
          </a:xfrm>
          <a:custGeom>
            <a:avLst/>
            <a:gdLst>
              <a:gd name="connsiteX0" fmla="*/ 0 w 7958455"/>
              <a:gd name="connsiteY0" fmla="*/ 0 h 9136"/>
              <a:gd name="connsiteX1" fmla="*/ 7958455 w 7958455"/>
              <a:gd name="connsiteY1" fmla="*/ 9136 h 9136"/>
              <a:gd name="connsiteX2" fmla="*/ 7958455 w 7958455"/>
              <a:gd name="connsiteY2" fmla="*/ 9136 h 91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958455" h="9136">
                <a:moveTo>
                  <a:pt x="0" y="0"/>
                </a:moveTo>
                <a:lnTo>
                  <a:pt x="7958455" y="9136"/>
                </a:lnTo>
                <a:lnTo>
                  <a:pt x="7958455" y="9136"/>
                </a:lnTo>
              </a:path>
            </a:pathLst>
          </a:cu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1"/>
            <a:endParaRPr lang="fr-FR" sz="1800" dirty="0"/>
          </a:p>
        </p:txBody>
      </p:sp>
      <p:sp>
        <p:nvSpPr>
          <p:cNvPr id="28" name="Titel 1"/>
          <p:cNvSpPr>
            <a:spLocks noGrp="1"/>
          </p:cNvSpPr>
          <p:nvPr>
            <p:ph type="title" hasCustomPrompt="1"/>
          </p:nvPr>
        </p:nvSpPr>
        <p:spPr>
          <a:xfrm>
            <a:off x="1179767" y="144738"/>
            <a:ext cx="7062335" cy="375010"/>
          </a:xfrm>
          <a:prstGeom prst="rect">
            <a:avLst/>
          </a:prstGeom>
          <a:noFill/>
        </p:spPr>
        <p:txBody>
          <a:bodyPr vert="horz" anchor="t">
            <a:noAutofit/>
          </a:bodyPr>
          <a:lstStyle>
            <a:lvl1pPr algn="l">
              <a:lnSpc>
                <a:spcPct val="90000"/>
              </a:lnSpc>
              <a:defRPr sz="2800" b="1">
                <a:solidFill>
                  <a:schemeClr val="tx2"/>
                </a:solidFill>
              </a:defRPr>
            </a:lvl1pPr>
          </a:lstStyle>
          <a:p>
            <a:r>
              <a:rPr lang="fr-FR" dirty="0"/>
              <a:t>Headline</a:t>
            </a:r>
          </a:p>
        </p:txBody>
      </p:sp>
      <p:sp>
        <p:nvSpPr>
          <p:cNvPr id="21" name="Textplatzhalter 32"/>
          <p:cNvSpPr txBox="1">
            <a:spLocks/>
          </p:cNvSpPr>
          <p:nvPr userDrawn="1"/>
        </p:nvSpPr>
        <p:spPr>
          <a:xfrm>
            <a:off x="329537" y="4846383"/>
            <a:ext cx="1565770" cy="21703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1200" kern="1200" baseline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fr-FR" sz="1000" dirty="0" err="1">
                <a:solidFill>
                  <a:srgbClr val="7F7F7F"/>
                </a:solidFill>
              </a:rPr>
              <a:t>Limagrain</a:t>
            </a:r>
            <a:r>
              <a:rPr lang="fr-FR" sz="1000" dirty="0">
                <a:solidFill>
                  <a:srgbClr val="7F7F7F"/>
                </a:solidFill>
              </a:rPr>
              <a:t> Field </a:t>
            </a:r>
            <a:r>
              <a:rPr lang="fr-FR" sz="1000" dirty="0" err="1">
                <a:solidFill>
                  <a:srgbClr val="7F7F7F"/>
                </a:solidFill>
              </a:rPr>
              <a:t>Seeds</a:t>
            </a:r>
            <a:endParaRPr lang="fr-FR" sz="1000" dirty="0">
              <a:solidFill>
                <a:srgbClr val="7F7F7F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179767" y="549130"/>
            <a:ext cx="7062335" cy="538163"/>
          </a:xfrm>
        </p:spPr>
        <p:txBody>
          <a:bodyPr>
            <a:noAutofit/>
          </a:bodyPr>
          <a:lstStyle>
            <a:lvl1pPr marL="0" indent="0">
              <a:buNone/>
              <a:defRPr b="1">
                <a:solidFill>
                  <a:srgbClr val="77777A"/>
                </a:solidFill>
              </a:defRPr>
            </a:lvl1pPr>
          </a:lstStyle>
          <a:p>
            <a:pPr lvl="0"/>
            <a:r>
              <a:rPr lang="fr-FR" dirty="0" err="1"/>
              <a:t>Subhead</a:t>
            </a:r>
            <a:endParaRPr lang="fr-FR" dirty="0"/>
          </a:p>
        </p:txBody>
      </p:sp>
      <p:sp>
        <p:nvSpPr>
          <p:cNvPr id="14" name="Textplatzhalter 2"/>
          <p:cNvSpPr>
            <a:spLocks noGrp="1"/>
          </p:cNvSpPr>
          <p:nvPr>
            <p:ph idx="1" hasCustomPrompt="1"/>
          </p:nvPr>
        </p:nvSpPr>
        <p:spPr>
          <a:xfrm>
            <a:off x="457200" y="1200154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891" indent="-342891">
              <a:buSzPct val="75000"/>
              <a:buFontTx/>
              <a:buBlip>
                <a:blip r:embed="rId6"/>
              </a:buBlip>
              <a:defRPr baseline="0"/>
            </a:lvl1pPr>
            <a:lvl2pPr>
              <a:defRPr/>
            </a:lvl2pPr>
          </a:lstStyle>
          <a:p>
            <a:pPr lvl="0"/>
            <a:r>
              <a:rPr lang="fr-FR" dirty="0"/>
              <a:t>First </a:t>
            </a:r>
            <a:r>
              <a:rPr lang="fr-FR" dirty="0" err="1"/>
              <a:t>bullet</a:t>
            </a:r>
            <a:r>
              <a:rPr lang="fr-FR" dirty="0"/>
              <a:t> point</a:t>
            </a:r>
          </a:p>
          <a:p>
            <a:pPr lvl="1"/>
            <a:r>
              <a:rPr lang="fr-FR" dirty="0"/>
              <a:t>Second </a:t>
            </a:r>
            <a:r>
              <a:rPr lang="fr-FR" dirty="0" err="1"/>
              <a:t>bullet</a:t>
            </a:r>
            <a:r>
              <a:rPr lang="fr-FR" dirty="0"/>
              <a:t> point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53F31D7-B1B5-9B46-A80B-94D663AB77F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604" y="114299"/>
            <a:ext cx="976163" cy="874396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C51C5268-C2A8-4957-916D-DD1BE54D2BB4}"/>
              </a:ext>
            </a:extLst>
          </p:cNvPr>
          <p:cNvSpPr/>
          <p:nvPr userDrawn="1"/>
        </p:nvSpPr>
        <p:spPr>
          <a:xfrm>
            <a:off x="8764695" y="4785780"/>
            <a:ext cx="379307" cy="35772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6" name="Gerade Verbindung 15"/>
          <p:cNvCxnSpPr/>
          <p:nvPr userDrawn="1"/>
        </p:nvCxnSpPr>
        <p:spPr>
          <a:xfrm flipV="1">
            <a:off x="386398" y="4785780"/>
            <a:ext cx="8757603" cy="4739"/>
          </a:xfrm>
          <a:prstGeom prst="line">
            <a:avLst/>
          </a:prstGeom>
          <a:ln w="12700" cmpd="sng">
            <a:solidFill>
              <a:srgbClr val="E3002C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5" name="Bild 11" descr="Limagrain_Logo.png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75323" y="4834378"/>
            <a:ext cx="969994" cy="241040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251C47C5-6441-14EC-9F12-890C919884E0}"/>
              </a:ext>
            </a:extLst>
          </p:cNvPr>
          <p:cNvSpPr/>
          <p:nvPr userDrawn="1"/>
        </p:nvSpPr>
        <p:spPr>
          <a:xfrm>
            <a:off x="8698317" y="2466975"/>
            <a:ext cx="445683" cy="2314575"/>
          </a:xfrm>
          <a:prstGeom prst="rect">
            <a:avLst/>
          </a:prstGeom>
          <a:gradFill>
            <a:gsLst>
              <a:gs pos="43000">
                <a:srgbClr val="D7BE16">
                  <a:alpha val="63000"/>
                </a:srgbClr>
              </a:gs>
              <a:gs pos="0">
                <a:srgbClr val="D7BE16"/>
              </a:gs>
              <a:gs pos="100000">
                <a:srgbClr val="D7BE16">
                  <a:alpha val="0"/>
                </a:srgbClr>
              </a:gs>
            </a:gsLst>
            <a:lin ang="16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26596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ontact version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eck 18"/>
          <p:cNvSpPr/>
          <p:nvPr userDrawn="1"/>
        </p:nvSpPr>
        <p:spPr>
          <a:xfrm>
            <a:off x="914400" y="2969230"/>
            <a:ext cx="8229600" cy="1773133"/>
          </a:xfrm>
          <a:prstGeom prst="rect">
            <a:avLst/>
          </a:prstGeom>
          <a:solidFill>
            <a:srgbClr val="E3002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b="1" dirty="0" err="1">
                <a:solidFill>
                  <a:prstClr val="white"/>
                </a:solidFill>
              </a:rPr>
              <a:t>Limagrain</a:t>
            </a:r>
            <a:r>
              <a:rPr lang="de-DE" sz="2000" b="1" dirty="0">
                <a:solidFill>
                  <a:prstClr val="white"/>
                </a:solidFill>
              </a:rPr>
              <a:t> </a:t>
            </a:r>
            <a:r>
              <a:rPr lang="de-DE" sz="2000" b="1" dirty="0" err="1">
                <a:solidFill>
                  <a:prstClr val="white"/>
                </a:solidFill>
              </a:rPr>
              <a:t>Ibérica</a:t>
            </a:r>
            <a:r>
              <a:rPr lang="de-DE" sz="2000" b="1" dirty="0">
                <a:solidFill>
                  <a:prstClr val="white"/>
                </a:solidFill>
              </a:rPr>
              <a:t> – </a:t>
            </a:r>
            <a:r>
              <a:rPr lang="de-DE" sz="2000" b="0" dirty="0" err="1">
                <a:solidFill>
                  <a:prstClr val="white"/>
                </a:solidFill>
              </a:rPr>
              <a:t>Dpto</a:t>
            </a:r>
            <a:r>
              <a:rPr lang="de-DE" sz="2000" b="0">
                <a:solidFill>
                  <a:prstClr val="white"/>
                </a:solidFill>
              </a:rPr>
              <a:t>. </a:t>
            </a:r>
            <a:r>
              <a:rPr lang="de-DE" sz="2000" b="0" dirty="0">
                <a:solidFill>
                  <a:prstClr val="white"/>
                </a:solidFill>
              </a:rPr>
              <a:t>Marketing-</a:t>
            </a:r>
            <a:r>
              <a:rPr lang="de-DE" sz="2000" b="0" dirty="0" err="1">
                <a:solidFill>
                  <a:prstClr val="white"/>
                </a:solidFill>
              </a:rPr>
              <a:t>Comercial</a:t>
            </a:r>
            <a:endParaRPr lang="de-DE" sz="2000" b="0" dirty="0">
              <a:solidFill>
                <a:prstClr val="white"/>
              </a:solidFill>
            </a:endParaRPr>
          </a:p>
          <a:p>
            <a:pPr algn="ctr"/>
            <a:r>
              <a:rPr lang="fr-FR" sz="1600" dirty="0" err="1">
                <a:solidFill>
                  <a:prstClr val="white"/>
                </a:solidFill>
              </a:rPr>
              <a:t>Ctra</a:t>
            </a:r>
            <a:r>
              <a:rPr lang="fr-FR" sz="1600" dirty="0">
                <a:solidFill>
                  <a:prstClr val="white"/>
                </a:solidFill>
              </a:rPr>
              <a:t>. Pamplona-Huesca, Km 12 - 31.470 </a:t>
            </a:r>
            <a:r>
              <a:rPr lang="fr-FR" sz="1600" dirty="0" err="1">
                <a:solidFill>
                  <a:prstClr val="white"/>
                </a:solidFill>
              </a:rPr>
              <a:t>Elorz</a:t>
            </a:r>
            <a:r>
              <a:rPr lang="fr-FR" sz="1600" dirty="0">
                <a:solidFill>
                  <a:prstClr val="white"/>
                </a:solidFill>
              </a:rPr>
              <a:t> (</a:t>
            </a:r>
            <a:r>
              <a:rPr lang="fr-FR" sz="1600" dirty="0" err="1">
                <a:solidFill>
                  <a:prstClr val="white"/>
                </a:solidFill>
              </a:rPr>
              <a:t>Navarra</a:t>
            </a:r>
            <a:r>
              <a:rPr lang="fr-FR" sz="1600" dirty="0">
                <a:solidFill>
                  <a:prstClr val="white"/>
                </a:solidFill>
              </a:rPr>
              <a:t>) - España</a:t>
            </a:r>
          </a:p>
          <a:p>
            <a:pPr algn="ctr"/>
            <a:r>
              <a:rPr lang="fr-FR" sz="1600" dirty="0">
                <a:solidFill>
                  <a:prstClr val="white"/>
                </a:solidFill>
              </a:rPr>
              <a:t>Tel. : +948 36 82 99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500" i="1" dirty="0">
                <a:solidFill>
                  <a:prstClr val="white"/>
                </a:solidFill>
              </a:rPr>
              <a:t>Photos : </a:t>
            </a:r>
            <a:r>
              <a:rPr lang="fr-FR" sz="500" i="1" dirty="0" err="1">
                <a:solidFill>
                  <a:prstClr val="white"/>
                </a:solidFill>
              </a:rPr>
              <a:t>Istock</a:t>
            </a:r>
            <a:endParaRPr lang="fr-FR" sz="2400" dirty="0">
              <a:solidFill>
                <a:prstClr val="white">
                  <a:lumMod val="75000"/>
                </a:prstClr>
              </a:solidFill>
            </a:endParaRPr>
          </a:p>
          <a:p>
            <a:pPr algn="ctr"/>
            <a:r>
              <a:rPr lang="fr-FR" sz="500" i="1" dirty="0">
                <a:solidFill>
                  <a:prstClr val="white"/>
                </a:solidFill>
              </a:rPr>
              <a:t>S.A.S. au </a:t>
            </a:r>
            <a:r>
              <a:rPr lang="fr-FR" sz="500" i="1" kern="1200" dirty="0">
                <a:solidFill>
                  <a:prstClr val="white"/>
                </a:solidFill>
                <a:latin typeface="+mn-lt"/>
                <a:ea typeface="+mn-ea"/>
                <a:cs typeface="+mn-cs"/>
              </a:rPr>
              <a:t>capital de 10 543 346,75 </a:t>
            </a:r>
            <a:r>
              <a:rPr lang="fr-FR" sz="500" i="1" dirty="0">
                <a:solidFill>
                  <a:prstClr val="white"/>
                </a:solidFill>
              </a:rPr>
              <a:t>€ - SIREN 542 009 824  RCS Clermont-Ferrand- APE : 0111Z  - N° TVA </a:t>
            </a:r>
            <a:r>
              <a:rPr lang="fr-FR" sz="500" i="1" dirty="0" err="1">
                <a:solidFill>
                  <a:prstClr val="white"/>
                </a:solidFill>
              </a:rPr>
              <a:t>intracomm</a:t>
            </a:r>
            <a:r>
              <a:rPr lang="fr-FR" sz="500" i="1" dirty="0">
                <a:solidFill>
                  <a:prstClr val="white"/>
                </a:solidFill>
              </a:rPr>
              <a:t>. FR54 542 009 824</a:t>
            </a:r>
            <a:endParaRPr lang="fr-FR" sz="300" i="1" dirty="0">
              <a:solidFill>
                <a:prstClr val="white"/>
              </a:solidFill>
            </a:endParaRPr>
          </a:p>
          <a:p>
            <a:pPr algn="ctr"/>
            <a:endParaRPr lang="fr-FR" sz="300" dirty="0">
              <a:solidFill>
                <a:prstClr val="white"/>
              </a:solidFill>
            </a:endParaRPr>
          </a:p>
          <a:p>
            <a:pPr algn="ctr">
              <a:defRPr/>
            </a:pPr>
            <a:r>
              <a:rPr lang="de-DE" sz="2000" b="1" dirty="0">
                <a:solidFill>
                  <a:prstClr val="white"/>
                </a:solidFill>
              </a:rPr>
              <a:t>www.lgseeds.es</a:t>
            </a:r>
          </a:p>
        </p:txBody>
      </p:sp>
      <p:sp>
        <p:nvSpPr>
          <p:cNvPr id="21" name="Freihandform 20"/>
          <p:cNvSpPr/>
          <p:nvPr userDrawn="1"/>
        </p:nvSpPr>
        <p:spPr>
          <a:xfrm>
            <a:off x="1069783" y="3138362"/>
            <a:ext cx="7958455" cy="6852"/>
          </a:xfrm>
          <a:custGeom>
            <a:avLst/>
            <a:gdLst>
              <a:gd name="connsiteX0" fmla="*/ 0 w 7958455"/>
              <a:gd name="connsiteY0" fmla="*/ 0 h 9136"/>
              <a:gd name="connsiteX1" fmla="*/ 7958455 w 7958455"/>
              <a:gd name="connsiteY1" fmla="*/ 9136 h 9136"/>
              <a:gd name="connsiteX2" fmla="*/ 7958455 w 7958455"/>
              <a:gd name="connsiteY2" fmla="*/ 9136 h 91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958455" h="9136">
                <a:moveTo>
                  <a:pt x="0" y="0"/>
                </a:moveTo>
                <a:lnTo>
                  <a:pt x="7958455" y="9136"/>
                </a:lnTo>
                <a:lnTo>
                  <a:pt x="7958455" y="9136"/>
                </a:lnTo>
              </a:path>
            </a:pathLst>
          </a:custGeom>
          <a:ln w="254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1"/>
            <a:endParaRPr lang="fr-FR" sz="1800" dirty="0"/>
          </a:p>
        </p:txBody>
      </p:sp>
      <p:sp>
        <p:nvSpPr>
          <p:cNvPr id="22" name="Freihandform 21"/>
          <p:cNvSpPr/>
          <p:nvPr userDrawn="1"/>
        </p:nvSpPr>
        <p:spPr>
          <a:xfrm>
            <a:off x="1069783" y="4554284"/>
            <a:ext cx="7958455" cy="6852"/>
          </a:xfrm>
          <a:custGeom>
            <a:avLst/>
            <a:gdLst>
              <a:gd name="connsiteX0" fmla="*/ 0 w 7958455"/>
              <a:gd name="connsiteY0" fmla="*/ 0 h 9136"/>
              <a:gd name="connsiteX1" fmla="*/ 7958455 w 7958455"/>
              <a:gd name="connsiteY1" fmla="*/ 9136 h 9136"/>
              <a:gd name="connsiteX2" fmla="*/ 7958455 w 7958455"/>
              <a:gd name="connsiteY2" fmla="*/ 9136 h 91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958455" h="9136">
                <a:moveTo>
                  <a:pt x="0" y="0"/>
                </a:moveTo>
                <a:lnTo>
                  <a:pt x="7958455" y="9136"/>
                </a:lnTo>
                <a:lnTo>
                  <a:pt x="7958455" y="9136"/>
                </a:lnTo>
              </a:path>
            </a:pathLst>
          </a:custGeom>
          <a:ln w="254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1"/>
            <a:endParaRPr lang="fr-FR" sz="1800" dirty="0"/>
          </a:p>
        </p:txBody>
      </p:sp>
      <p:pic>
        <p:nvPicPr>
          <p:cNvPr id="27" name="Bild 11" descr="Limagrain_Logo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75323" y="4834378"/>
            <a:ext cx="969994" cy="241040"/>
          </a:xfrm>
          <a:prstGeom prst="rect">
            <a:avLst/>
          </a:prstGeom>
        </p:spPr>
      </p:pic>
      <p:pic>
        <p:nvPicPr>
          <p:cNvPr id="30" name="Bild 1" descr="facebook_icon_white.png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59369" y="4297226"/>
            <a:ext cx="207264" cy="210312"/>
          </a:xfrm>
          <a:prstGeom prst="rect">
            <a:avLst/>
          </a:prstGeom>
        </p:spPr>
      </p:pic>
      <p:pic>
        <p:nvPicPr>
          <p:cNvPr id="31" name="Bild 3" descr="youtube_icon_white.png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50083" y="4299085"/>
            <a:ext cx="179832" cy="210312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073A1649-B976-C14D-AE85-ECE6F0D5B01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0804" y="4775542"/>
            <a:ext cx="1803400" cy="2794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694F13E-F447-D34F-822F-D9EED8033B1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604" y="114299"/>
            <a:ext cx="976163" cy="874396"/>
          </a:xfrm>
          <a:prstGeom prst="rect">
            <a:avLst/>
          </a:prstGeom>
        </p:spPr>
      </p:pic>
      <p:grpSp>
        <p:nvGrpSpPr>
          <p:cNvPr id="44" name="Graphic 4">
            <a:extLst>
              <a:ext uri="{FF2B5EF4-FFF2-40B4-BE49-F238E27FC236}">
                <a16:creationId xmlns:a16="http://schemas.microsoft.com/office/drawing/2014/main" id="{2ACF96BA-CEC3-A468-FB69-A4764D1645BB}"/>
              </a:ext>
            </a:extLst>
          </p:cNvPr>
          <p:cNvGrpSpPr/>
          <p:nvPr/>
        </p:nvGrpSpPr>
        <p:grpSpPr>
          <a:xfrm>
            <a:off x="2491137" y="2662399"/>
            <a:ext cx="493021" cy="475963"/>
            <a:chOff x="1988523" y="2649510"/>
            <a:chExt cx="493021" cy="475963"/>
          </a:xfrm>
        </p:grpSpPr>
        <p:pic>
          <p:nvPicPr>
            <p:cNvPr id="59" name="Picture 58">
              <a:extLst>
                <a:ext uri="{FF2B5EF4-FFF2-40B4-BE49-F238E27FC236}">
                  <a16:creationId xmlns:a16="http://schemas.microsoft.com/office/drawing/2014/main" id="{C97486A2-1E46-D92B-B901-E0593201C57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alphaModFix amt="6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988523" y="2649510"/>
              <a:ext cx="493021" cy="475963"/>
            </a:xfrm>
            <a:custGeom>
              <a:avLst/>
              <a:gdLst>
                <a:gd name="connsiteX0" fmla="*/ 62 w 493021"/>
                <a:gd name="connsiteY0" fmla="*/ -43 h 475963"/>
                <a:gd name="connsiteX1" fmla="*/ 493084 w 493021"/>
                <a:gd name="connsiteY1" fmla="*/ -43 h 475963"/>
                <a:gd name="connsiteX2" fmla="*/ 493084 w 493021"/>
                <a:gd name="connsiteY2" fmla="*/ 475921 h 475963"/>
                <a:gd name="connsiteX3" fmla="*/ 62 w 493021"/>
                <a:gd name="connsiteY3" fmla="*/ 475921 h 4759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93021" h="475963">
                  <a:moveTo>
                    <a:pt x="62" y="-43"/>
                  </a:moveTo>
                  <a:lnTo>
                    <a:pt x="493084" y="-43"/>
                  </a:lnTo>
                  <a:lnTo>
                    <a:pt x="493084" y="475921"/>
                  </a:lnTo>
                  <a:lnTo>
                    <a:pt x="62" y="475921"/>
                  </a:lnTo>
                  <a:close/>
                </a:path>
              </a:pathLst>
            </a:custGeom>
          </p:spPr>
        </p:pic>
        <p:grpSp>
          <p:nvGrpSpPr>
            <p:cNvPr id="60" name="Graphic 4">
              <a:extLst>
                <a:ext uri="{FF2B5EF4-FFF2-40B4-BE49-F238E27FC236}">
                  <a16:creationId xmlns:a16="http://schemas.microsoft.com/office/drawing/2014/main" id="{304E1EA4-453C-C0A5-F4F7-46049AED92EA}"/>
                </a:ext>
              </a:extLst>
            </p:cNvPr>
            <p:cNvGrpSpPr/>
            <p:nvPr/>
          </p:nvGrpSpPr>
          <p:grpSpPr>
            <a:xfrm>
              <a:off x="2028052" y="2689287"/>
              <a:ext cx="379094" cy="362276"/>
              <a:chOff x="2028052" y="2689287"/>
              <a:chExt cx="379094" cy="362276"/>
            </a:xfrm>
          </p:grpSpPr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5D421B76-135F-55EB-75AC-997D14AF2465}"/>
                  </a:ext>
                </a:extLst>
              </p:cNvPr>
              <p:cNvSpPr/>
              <p:nvPr/>
            </p:nvSpPr>
            <p:spPr>
              <a:xfrm>
                <a:off x="2028052" y="2689287"/>
                <a:ext cx="379094" cy="362276"/>
              </a:xfrm>
              <a:custGeom>
                <a:avLst/>
                <a:gdLst>
                  <a:gd name="connsiteX0" fmla="*/ 189548 w 379094"/>
                  <a:gd name="connsiteY0" fmla="*/ 362277 h 362276"/>
                  <a:gd name="connsiteX1" fmla="*/ 61913 w 379094"/>
                  <a:gd name="connsiteY1" fmla="*/ 315105 h 362276"/>
                  <a:gd name="connsiteX2" fmla="*/ 85725 w 379094"/>
                  <a:gd name="connsiteY2" fmla="*/ 294350 h 362276"/>
                  <a:gd name="connsiteX3" fmla="*/ 86677 w 379094"/>
                  <a:gd name="connsiteY3" fmla="*/ 290576 h 362276"/>
                  <a:gd name="connsiteX4" fmla="*/ 83820 w 379094"/>
                  <a:gd name="connsiteY4" fmla="*/ 293406 h 362276"/>
                  <a:gd name="connsiteX5" fmla="*/ 57150 w 379094"/>
                  <a:gd name="connsiteY5" fmla="*/ 313218 h 362276"/>
                  <a:gd name="connsiteX6" fmla="*/ 0 w 379094"/>
                  <a:gd name="connsiteY6" fmla="*/ 182082 h 362276"/>
                  <a:gd name="connsiteX7" fmla="*/ 189548 w 379094"/>
                  <a:gd name="connsiteY7" fmla="*/ 0 h 362276"/>
                  <a:gd name="connsiteX8" fmla="*/ 379095 w 379094"/>
                  <a:gd name="connsiteY8" fmla="*/ 182082 h 362276"/>
                  <a:gd name="connsiteX9" fmla="*/ 189548 w 379094"/>
                  <a:gd name="connsiteY9" fmla="*/ 362277 h 3622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79094" h="362276">
                    <a:moveTo>
                      <a:pt x="189548" y="362277"/>
                    </a:moveTo>
                    <a:cubicBezTo>
                      <a:pt x="140018" y="362277"/>
                      <a:pt x="96202" y="343408"/>
                      <a:pt x="61913" y="315105"/>
                    </a:cubicBezTo>
                    <a:cubicBezTo>
                      <a:pt x="75248" y="308501"/>
                      <a:pt x="68580" y="311331"/>
                      <a:pt x="85725" y="294350"/>
                    </a:cubicBezTo>
                    <a:cubicBezTo>
                      <a:pt x="89535" y="290576"/>
                      <a:pt x="86677" y="290576"/>
                      <a:pt x="86677" y="290576"/>
                    </a:cubicBezTo>
                    <a:lnTo>
                      <a:pt x="83820" y="293406"/>
                    </a:lnTo>
                    <a:cubicBezTo>
                      <a:pt x="66675" y="309445"/>
                      <a:pt x="71438" y="305671"/>
                      <a:pt x="57150" y="313218"/>
                    </a:cubicBezTo>
                    <a:cubicBezTo>
                      <a:pt x="22860" y="280198"/>
                      <a:pt x="0" y="233970"/>
                      <a:pt x="0" y="182082"/>
                    </a:cubicBezTo>
                    <a:cubicBezTo>
                      <a:pt x="0" y="82078"/>
                      <a:pt x="85725" y="0"/>
                      <a:pt x="189548" y="0"/>
                    </a:cubicBezTo>
                    <a:cubicBezTo>
                      <a:pt x="293370" y="0"/>
                      <a:pt x="379095" y="82078"/>
                      <a:pt x="379095" y="182082"/>
                    </a:cubicBezTo>
                    <a:cubicBezTo>
                      <a:pt x="378143" y="280198"/>
                      <a:pt x="294323" y="362277"/>
                      <a:pt x="189548" y="362277"/>
                    </a:cubicBezTo>
                  </a:path>
                </a:pathLst>
              </a:custGeom>
              <a:solidFill>
                <a:srgbClr val="E3061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3562433A-986E-14AE-94A5-A3F3930F1A68}"/>
                  </a:ext>
                </a:extLst>
              </p:cNvPr>
              <p:cNvSpPr/>
              <p:nvPr/>
            </p:nvSpPr>
            <p:spPr>
              <a:xfrm>
                <a:off x="2084249" y="2744005"/>
                <a:ext cx="228273" cy="256612"/>
              </a:xfrm>
              <a:custGeom>
                <a:avLst/>
                <a:gdLst>
                  <a:gd name="connsiteX0" fmla="*/ 0 w 228273"/>
                  <a:gd name="connsiteY0" fmla="*/ 254726 h 256612"/>
                  <a:gd name="connsiteX1" fmla="*/ 26670 w 228273"/>
                  <a:gd name="connsiteY1" fmla="*/ 234914 h 256612"/>
                  <a:gd name="connsiteX2" fmla="*/ 29527 w 228273"/>
                  <a:gd name="connsiteY2" fmla="*/ 232083 h 256612"/>
                  <a:gd name="connsiteX3" fmla="*/ 28575 w 228273"/>
                  <a:gd name="connsiteY3" fmla="*/ 235857 h 256612"/>
                  <a:gd name="connsiteX4" fmla="*/ 4763 w 228273"/>
                  <a:gd name="connsiteY4" fmla="*/ 256613 h 256612"/>
                  <a:gd name="connsiteX5" fmla="*/ 0 w 228273"/>
                  <a:gd name="connsiteY5" fmla="*/ 254726 h 256612"/>
                  <a:gd name="connsiteX6" fmla="*/ 55245 w 228273"/>
                  <a:gd name="connsiteY6" fmla="*/ 220762 h 256612"/>
                  <a:gd name="connsiteX7" fmla="*/ 34290 w 228273"/>
                  <a:gd name="connsiteY7" fmla="*/ 233027 h 256612"/>
                  <a:gd name="connsiteX8" fmla="*/ 55245 w 228273"/>
                  <a:gd name="connsiteY8" fmla="*/ 245291 h 256612"/>
                  <a:gd name="connsiteX9" fmla="*/ 88583 w 228273"/>
                  <a:gd name="connsiteY9" fmla="*/ 226423 h 256612"/>
                  <a:gd name="connsiteX10" fmla="*/ 55245 w 228273"/>
                  <a:gd name="connsiteY10" fmla="*/ 220762 h 256612"/>
                  <a:gd name="connsiteX11" fmla="*/ 46672 w 228273"/>
                  <a:gd name="connsiteY11" fmla="*/ 217932 h 256612"/>
                  <a:gd name="connsiteX12" fmla="*/ 40005 w 228273"/>
                  <a:gd name="connsiteY12" fmla="*/ 195290 h 256612"/>
                  <a:gd name="connsiteX13" fmla="*/ 60960 w 228273"/>
                  <a:gd name="connsiteY13" fmla="*/ 168874 h 256612"/>
                  <a:gd name="connsiteX14" fmla="*/ 63817 w 228273"/>
                  <a:gd name="connsiteY14" fmla="*/ 200950 h 256612"/>
                  <a:gd name="connsiteX15" fmla="*/ 46672 w 228273"/>
                  <a:gd name="connsiteY15" fmla="*/ 217932 h 256612"/>
                  <a:gd name="connsiteX16" fmla="*/ 32385 w 228273"/>
                  <a:gd name="connsiteY16" fmla="*/ 191516 h 256612"/>
                  <a:gd name="connsiteX17" fmla="*/ 36195 w 228273"/>
                  <a:gd name="connsiteY17" fmla="*/ 215102 h 256612"/>
                  <a:gd name="connsiteX18" fmla="*/ 26670 w 228273"/>
                  <a:gd name="connsiteY18" fmla="*/ 228310 h 256612"/>
                  <a:gd name="connsiteX19" fmla="*/ 20002 w 228273"/>
                  <a:gd name="connsiteY19" fmla="*/ 212271 h 256612"/>
                  <a:gd name="connsiteX20" fmla="*/ 32385 w 228273"/>
                  <a:gd name="connsiteY20" fmla="*/ 191516 h 256612"/>
                  <a:gd name="connsiteX21" fmla="*/ 85725 w 228273"/>
                  <a:gd name="connsiteY21" fmla="*/ 195290 h 256612"/>
                  <a:gd name="connsiteX22" fmla="*/ 120015 w 228273"/>
                  <a:gd name="connsiteY22" fmla="*/ 199063 h 256612"/>
                  <a:gd name="connsiteX23" fmla="*/ 87630 w 228273"/>
                  <a:gd name="connsiteY23" fmla="*/ 218875 h 256612"/>
                  <a:gd name="connsiteX24" fmla="*/ 66675 w 228273"/>
                  <a:gd name="connsiteY24" fmla="*/ 208498 h 256612"/>
                  <a:gd name="connsiteX25" fmla="*/ 85725 w 228273"/>
                  <a:gd name="connsiteY25" fmla="*/ 195290 h 256612"/>
                  <a:gd name="connsiteX26" fmla="*/ 78105 w 228273"/>
                  <a:gd name="connsiteY26" fmla="*/ 192459 h 256612"/>
                  <a:gd name="connsiteX27" fmla="*/ 70485 w 228273"/>
                  <a:gd name="connsiteY27" fmla="*/ 169817 h 256612"/>
                  <a:gd name="connsiteX28" fmla="*/ 90488 w 228273"/>
                  <a:gd name="connsiteY28" fmla="*/ 142458 h 256612"/>
                  <a:gd name="connsiteX29" fmla="*/ 94297 w 228273"/>
                  <a:gd name="connsiteY29" fmla="*/ 175478 h 256612"/>
                  <a:gd name="connsiteX30" fmla="*/ 78105 w 228273"/>
                  <a:gd name="connsiteY30" fmla="*/ 192459 h 256612"/>
                  <a:gd name="connsiteX31" fmla="*/ 115252 w 228273"/>
                  <a:gd name="connsiteY31" fmla="*/ 167930 h 256612"/>
                  <a:gd name="connsiteX32" fmla="*/ 149542 w 228273"/>
                  <a:gd name="connsiteY32" fmla="*/ 168874 h 256612"/>
                  <a:gd name="connsiteX33" fmla="*/ 117158 w 228273"/>
                  <a:gd name="connsiteY33" fmla="*/ 191516 h 256612"/>
                  <a:gd name="connsiteX34" fmla="*/ 94297 w 228273"/>
                  <a:gd name="connsiteY34" fmla="*/ 182082 h 256612"/>
                  <a:gd name="connsiteX35" fmla="*/ 115252 w 228273"/>
                  <a:gd name="connsiteY35" fmla="*/ 167930 h 256612"/>
                  <a:gd name="connsiteX36" fmla="*/ 105727 w 228273"/>
                  <a:gd name="connsiteY36" fmla="*/ 165100 h 256612"/>
                  <a:gd name="connsiteX37" fmla="*/ 95250 w 228273"/>
                  <a:gd name="connsiteY37" fmla="*/ 144345 h 256612"/>
                  <a:gd name="connsiteX38" fmla="*/ 112395 w 228273"/>
                  <a:gd name="connsiteY38" fmla="*/ 115098 h 256612"/>
                  <a:gd name="connsiteX39" fmla="*/ 119063 w 228273"/>
                  <a:gd name="connsiteY39" fmla="*/ 147175 h 256612"/>
                  <a:gd name="connsiteX40" fmla="*/ 105727 w 228273"/>
                  <a:gd name="connsiteY40" fmla="*/ 165100 h 256612"/>
                  <a:gd name="connsiteX41" fmla="*/ 140017 w 228273"/>
                  <a:gd name="connsiteY41" fmla="*/ 138684 h 256612"/>
                  <a:gd name="connsiteX42" fmla="*/ 174308 w 228273"/>
                  <a:gd name="connsiteY42" fmla="*/ 137741 h 256612"/>
                  <a:gd name="connsiteX43" fmla="*/ 144780 w 228273"/>
                  <a:gd name="connsiteY43" fmla="*/ 161326 h 256612"/>
                  <a:gd name="connsiteX44" fmla="*/ 121920 w 228273"/>
                  <a:gd name="connsiteY44" fmla="*/ 153779 h 256612"/>
                  <a:gd name="connsiteX45" fmla="*/ 140017 w 228273"/>
                  <a:gd name="connsiteY45" fmla="*/ 138684 h 256612"/>
                  <a:gd name="connsiteX46" fmla="*/ 132397 w 228273"/>
                  <a:gd name="connsiteY46" fmla="*/ 136797 h 256612"/>
                  <a:gd name="connsiteX47" fmla="*/ 120015 w 228273"/>
                  <a:gd name="connsiteY47" fmla="*/ 116042 h 256612"/>
                  <a:gd name="connsiteX48" fmla="*/ 136208 w 228273"/>
                  <a:gd name="connsiteY48" fmla="*/ 85852 h 256612"/>
                  <a:gd name="connsiteX49" fmla="*/ 143827 w 228273"/>
                  <a:gd name="connsiteY49" fmla="*/ 117929 h 256612"/>
                  <a:gd name="connsiteX50" fmla="*/ 132397 w 228273"/>
                  <a:gd name="connsiteY50" fmla="*/ 136797 h 256612"/>
                  <a:gd name="connsiteX51" fmla="*/ 166688 w 228273"/>
                  <a:gd name="connsiteY51" fmla="*/ 105664 h 256612"/>
                  <a:gd name="connsiteX52" fmla="*/ 200977 w 228273"/>
                  <a:gd name="connsiteY52" fmla="*/ 102834 h 256612"/>
                  <a:gd name="connsiteX53" fmla="*/ 173355 w 228273"/>
                  <a:gd name="connsiteY53" fmla="*/ 129250 h 256612"/>
                  <a:gd name="connsiteX54" fmla="*/ 149542 w 228273"/>
                  <a:gd name="connsiteY54" fmla="*/ 122646 h 256612"/>
                  <a:gd name="connsiteX55" fmla="*/ 166688 w 228273"/>
                  <a:gd name="connsiteY55" fmla="*/ 105664 h 256612"/>
                  <a:gd name="connsiteX56" fmla="*/ 159067 w 228273"/>
                  <a:gd name="connsiteY56" fmla="*/ 103777 h 256612"/>
                  <a:gd name="connsiteX57" fmla="*/ 145733 w 228273"/>
                  <a:gd name="connsiteY57" fmla="*/ 83965 h 256612"/>
                  <a:gd name="connsiteX58" fmla="*/ 159067 w 228273"/>
                  <a:gd name="connsiteY58" fmla="*/ 51889 h 256612"/>
                  <a:gd name="connsiteX59" fmla="*/ 169545 w 228273"/>
                  <a:gd name="connsiteY59" fmla="*/ 83965 h 256612"/>
                  <a:gd name="connsiteX60" fmla="*/ 159067 w 228273"/>
                  <a:gd name="connsiteY60" fmla="*/ 103777 h 256612"/>
                  <a:gd name="connsiteX61" fmla="*/ 173355 w 228273"/>
                  <a:gd name="connsiteY61" fmla="*/ 90569 h 256612"/>
                  <a:gd name="connsiteX62" fmla="*/ 189547 w 228273"/>
                  <a:gd name="connsiteY62" fmla="*/ 71701 h 256612"/>
                  <a:gd name="connsiteX63" fmla="*/ 222885 w 228273"/>
                  <a:gd name="connsiteY63" fmla="*/ 66040 h 256612"/>
                  <a:gd name="connsiteX64" fmla="*/ 197167 w 228273"/>
                  <a:gd name="connsiteY64" fmla="*/ 93399 h 256612"/>
                  <a:gd name="connsiteX65" fmla="*/ 173355 w 228273"/>
                  <a:gd name="connsiteY65" fmla="*/ 90569 h 256612"/>
                  <a:gd name="connsiteX66" fmla="*/ 198120 w 228273"/>
                  <a:gd name="connsiteY66" fmla="*/ 63210 h 256612"/>
                  <a:gd name="connsiteX67" fmla="*/ 203835 w 228273"/>
                  <a:gd name="connsiteY67" fmla="*/ 46228 h 256612"/>
                  <a:gd name="connsiteX68" fmla="*/ 226695 w 228273"/>
                  <a:gd name="connsiteY68" fmla="*/ 32077 h 256612"/>
                  <a:gd name="connsiteX69" fmla="*/ 217170 w 228273"/>
                  <a:gd name="connsiteY69" fmla="*/ 58493 h 256612"/>
                  <a:gd name="connsiteX70" fmla="*/ 198120 w 228273"/>
                  <a:gd name="connsiteY70" fmla="*/ 63210 h 256612"/>
                  <a:gd name="connsiteX71" fmla="*/ 214313 w 228273"/>
                  <a:gd name="connsiteY71" fmla="*/ 16038 h 256612"/>
                  <a:gd name="connsiteX72" fmla="*/ 227647 w 228273"/>
                  <a:gd name="connsiteY72" fmla="*/ 0 h 256612"/>
                  <a:gd name="connsiteX73" fmla="*/ 226695 w 228273"/>
                  <a:gd name="connsiteY73" fmla="*/ 22642 h 256612"/>
                  <a:gd name="connsiteX74" fmla="*/ 213360 w 228273"/>
                  <a:gd name="connsiteY74" fmla="*/ 30190 h 256612"/>
                  <a:gd name="connsiteX75" fmla="*/ 214313 w 228273"/>
                  <a:gd name="connsiteY75" fmla="*/ 16038 h 256612"/>
                  <a:gd name="connsiteX76" fmla="*/ 195263 w 228273"/>
                  <a:gd name="connsiteY76" fmla="*/ 43398 h 256612"/>
                  <a:gd name="connsiteX77" fmla="*/ 189547 w 228273"/>
                  <a:gd name="connsiteY77" fmla="*/ 26416 h 256612"/>
                  <a:gd name="connsiteX78" fmla="*/ 205740 w 228273"/>
                  <a:gd name="connsiteY78" fmla="*/ 5661 h 256612"/>
                  <a:gd name="connsiteX79" fmla="*/ 206692 w 228273"/>
                  <a:gd name="connsiteY79" fmla="*/ 32077 h 256612"/>
                  <a:gd name="connsiteX80" fmla="*/ 195263 w 228273"/>
                  <a:gd name="connsiteY80" fmla="*/ 43398 h 256612"/>
                  <a:gd name="connsiteX81" fmla="*/ 180022 w 228273"/>
                  <a:gd name="connsiteY81" fmla="*/ 72644 h 256612"/>
                  <a:gd name="connsiteX82" fmla="*/ 165735 w 228273"/>
                  <a:gd name="connsiteY82" fmla="*/ 53775 h 256612"/>
                  <a:gd name="connsiteX83" fmla="*/ 178117 w 228273"/>
                  <a:gd name="connsiteY83" fmla="*/ 20755 h 256612"/>
                  <a:gd name="connsiteX84" fmla="*/ 190500 w 228273"/>
                  <a:gd name="connsiteY84" fmla="*/ 50945 h 256612"/>
                  <a:gd name="connsiteX85" fmla="*/ 180022 w 228273"/>
                  <a:gd name="connsiteY85" fmla="*/ 72644 h 2566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</a:cxnLst>
                <a:rect l="l" t="t" r="r" b="b"/>
                <a:pathLst>
                  <a:path w="228273" h="256612">
                    <a:moveTo>
                      <a:pt x="0" y="254726"/>
                    </a:moveTo>
                    <a:cubicBezTo>
                      <a:pt x="14288" y="247178"/>
                      <a:pt x="10477" y="250952"/>
                      <a:pt x="26670" y="234914"/>
                    </a:cubicBezTo>
                    <a:lnTo>
                      <a:pt x="29527" y="232083"/>
                    </a:lnTo>
                    <a:cubicBezTo>
                      <a:pt x="29527" y="232083"/>
                      <a:pt x="32385" y="232083"/>
                      <a:pt x="28575" y="235857"/>
                    </a:cubicBezTo>
                    <a:cubicBezTo>
                      <a:pt x="11430" y="252839"/>
                      <a:pt x="18097" y="250009"/>
                      <a:pt x="4763" y="256613"/>
                    </a:cubicBezTo>
                    <a:lnTo>
                      <a:pt x="0" y="254726"/>
                    </a:lnTo>
                    <a:close/>
                    <a:moveTo>
                      <a:pt x="55245" y="220762"/>
                    </a:moveTo>
                    <a:cubicBezTo>
                      <a:pt x="48577" y="221706"/>
                      <a:pt x="35242" y="224536"/>
                      <a:pt x="34290" y="233027"/>
                    </a:cubicBezTo>
                    <a:cubicBezTo>
                      <a:pt x="34290" y="242461"/>
                      <a:pt x="47625" y="246235"/>
                      <a:pt x="55245" y="245291"/>
                    </a:cubicBezTo>
                    <a:cubicBezTo>
                      <a:pt x="67627" y="244348"/>
                      <a:pt x="79058" y="234914"/>
                      <a:pt x="88583" y="226423"/>
                    </a:cubicBezTo>
                    <a:cubicBezTo>
                      <a:pt x="79058" y="222649"/>
                      <a:pt x="65722" y="218875"/>
                      <a:pt x="55245" y="220762"/>
                    </a:cubicBezTo>
                    <a:moveTo>
                      <a:pt x="46672" y="217932"/>
                    </a:moveTo>
                    <a:cubicBezTo>
                      <a:pt x="39052" y="215102"/>
                      <a:pt x="37147" y="201894"/>
                      <a:pt x="40005" y="195290"/>
                    </a:cubicBezTo>
                    <a:cubicBezTo>
                      <a:pt x="43815" y="184912"/>
                      <a:pt x="53340" y="175478"/>
                      <a:pt x="60960" y="168874"/>
                    </a:cubicBezTo>
                    <a:cubicBezTo>
                      <a:pt x="63817" y="178308"/>
                      <a:pt x="66675" y="191516"/>
                      <a:pt x="63817" y="200950"/>
                    </a:cubicBezTo>
                    <a:cubicBezTo>
                      <a:pt x="61913" y="207554"/>
                      <a:pt x="56197" y="218875"/>
                      <a:pt x="46672" y="217932"/>
                    </a:cubicBezTo>
                    <a:moveTo>
                      <a:pt x="32385" y="191516"/>
                    </a:moveTo>
                    <a:cubicBezTo>
                      <a:pt x="35242" y="199063"/>
                      <a:pt x="38100" y="207554"/>
                      <a:pt x="36195" y="215102"/>
                    </a:cubicBezTo>
                    <a:cubicBezTo>
                      <a:pt x="36195" y="218875"/>
                      <a:pt x="32385" y="229253"/>
                      <a:pt x="26670" y="228310"/>
                    </a:cubicBezTo>
                    <a:cubicBezTo>
                      <a:pt x="20955" y="227366"/>
                      <a:pt x="19050" y="217932"/>
                      <a:pt x="20002" y="212271"/>
                    </a:cubicBezTo>
                    <a:cubicBezTo>
                      <a:pt x="21907" y="205667"/>
                      <a:pt x="26670" y="198120"/>
                      <a:pt x="32385" y="191516"/>
                    </a:cubicBezTo>
                    <a:moveTo>
                      <a:pt x="85725" y="195290"/>
                    </a:moveTo>
                    <a:cubicBezTo>
                      <a:pt x="96202" y="192459"/>
                      <a:pt x="108585" y="196233"/>
                      <a:pt x="120015" y="199063"/>
                    </a:cubicBezTo>
                    <a:cubicBezTo>
                      <a:pt x="110490" y="206611"/>
                      <a:pt x="100013" y="217932"/>
                      <a:pt x="87630" y="218875"/>
                    </a:cubicBezTo>
                    <a:cubicBezTo>
                      <a:pt x="80010" y="219819"/>
                      <a:pt x="66675" y="217932"/>
                      <a:pt x="66675" y="208498"/>
                    </a:cubicBezTo>
                    <a:cubicBezTo>
                      <a:pt x="65722" y="199063"/>
                      <a:pt x="79058" y="196233"/>
                      <a:pt x="85725" y="195290"/>
                    </a:cubicBezTo>
                    <a:moveTo>
                      <a:pt x="78105" y="192459"/>
                    </a:moveTo>
                    <a:cubicBezTo>
                      <a:pt x="70485" y="191516"/>
                      <a:pt x="67627" y="178308"/>
                      <a:pt x="70485" y="169817"/>
                    </a:cubicBezTo>
                    <a:cubicBezTo>
                      <a:pt x="73342" y="159439"/>
                      <a:pt x="82867" y="150005"/>
                      <a:pt x="90488" y="142458"/>
                    </a:cubicBezTo>
                    <a:cubicBezTo>
                      <a:pt x="94297" y="152835"/>
                      <a:pt x="97155" y="165100"/>
                      <a:pt x="94297" y="175478"/>
                    </a:cubicBezTo>
                    <a:cubicBezTo>
                      <a:pt x="91440" y="181138"/>
                      <a:pt x="85725" y="194346"/>
                      <a:pt x="78105" y="192459"/>
                    </a:cubicBezTo>
                    <a:moveTo>
                      <a:pt x="115252" y="167930"/>
                    </a:moveTo>
                    <a:cubicBezTo>
                      <a:pt x="125730" y="165100"/>
                      <a:pt x="138113" y="166987"/>
                      <a:pt x="149542" y="168874"/>
                    </a:cubicBezTo>
                    <a:cubicBezTo>
                      <a:pt x="140017" y="178308"/>
                      <a:pt x="129540" y="188686"/>
                      <a:pt x="117158" y="191516"/>
                    </a:cubicBezTo>
                    <a:cubicBezTo>
                      <a:pt x="109538" y="192459"/>
                      <a:pt x="96202" y="191516"/>
                      <a:pt x="94297" y="182082"/>
                    </a:cubicBezTo>
                    <a:cubicBezTo>
                      <a:pt x="95250" y="172647"/>
                      <a:pt x="108585" y="168874"/>
                      <a:pt x="115252" y="167930"/>
                    </a:cubicBezTo>
                    <a:moveTo>
                      <a:pt x="105727" y="165100"/>
                    </a:moveTo>
                    <a:cubicBezTo>
                      <a:pt x="98108" y="164157"/>
                      <a:pt x="93345" y="150949"/>
                      <a:pt x="95250" y="144345"/>
                    </a:cubicBezTo>
                    <a:cubicBezTo>
                      <a:pt x="96202" y="133967"/>
                      <a:pt x="105727" y="123589"/>
                      <a:pt x="112395" y="115098"/>
                    </a:cubicBezTo>
                    <a:cubicBezTo>
                      <a:pt x="116205" y="124533"/>
                      <a:pt x="120015" y="137741"/>
                      <a:pt x="119063" y="147175"/>
                    </a:cubicBezTo>
                    <a:cubicBezTo>
                      <a:pt x="119063" y="152835"/>
                      <a:pt x="115252" y="166043"/>
                      <a:pt x="105727" y="165100"/>
                    </a:cubicBezTo>
                    <a:moveTo>
                      <a:pt x="140017" y="138684"/>
                    </a:moveTo>
                    <a:cubicBezTo>
                      <a:pt x="150495" y="134910"/>
                      <a:pt x="162877" y="135854"/>
                      <a:pt x="174308" y="137741"/>
                    </a:cubicBezTo>
                    <a:cubicBezTo>
                      <a:pt x="166688" y="147175"/>
                      <a:pt x="157163" y="157553"/>
                      <a:pt x="144780" y="161326"/>
                    </a:cubicBezTo>
                    <a:cubicBezTo>
                      <a:pt x="138113" y="164157"/>
                      <a:pt x="123825" y="162270"/>
                      <a:pt x="121920" y="153779"/>
                    </a:cubicBezTo>
                    <a:cubicBezTo>
                      <a:pt x="121920" y="145288"/>
                      <a:pt x="133350" y="141514"/>
                      <a:pt x="140017" y="138684"/>
                    </a:cubicBezTo>
                    <a:moveTo>
                      <a:pt x="132397" y="136797"/>
                    </a:moveTo>
                    <a:cubicBezTo>
                      <a:pt x="122872" y="136797"/>
                      <a:pt x="120015" y="123589"/>
                      <a:pt x="120015" y="116042"/>
                    </a:cubicBezTo>
                    <a:cubicBezTo>
                      <a:pt x="120967" y="105664"/>
                      <a:pt x="129540" y="95286"/>
                      <a:pt x="136208" y="85852"/>
                    </a:cubicBezTo>
                    <a:cubicBezTo>
                      <a:pt x="141922" y="95286"/>
                      <a:pt x="145733" y="106607"/>
                      <a:pt x="143827" y="117929"/>
                    </a:cubicBezTo>
                    <a:cubicBezTo>
                      <a:pt x="144780" y="123589"/>
                      <a:pt x="141922" y="136797"/>
                      <a:pt x="132397" y="136797"/>
                    </a:cubicBezTo>
                    <a:moveTo>
                      <a:pt x="166688" y="105664"/>
                    </a:moveTo>
                    <a:cubicBezTo>
                      <a:pt x="177165" y="101890"/>
                      <a:pt x="189547" y="101890"/>
                      <a:pt x="200977" y="102834"/>
                    </a:cubicBezTo>
                    <a:cubicBezTo>
                      <a:pt x="194310" y="112268"/>
                      <a:pt x="184785" y="123589"/>
                      <a:pt x="173355" y="129250"/>
                    </a:cubicBezTo>
                    <a:cubicBezTo>
                      <a:pt x="166688" y="132080"/>
                      <a:pt x="152400" y="132080"/>
                      <a:pt x="149542" y="122646"/>
                    </a:cubicBezTo>
                    <a:cubicBezTo>
                      <a:pt x="148590" y="113211"/>
                      <a:pt x="160020" y="108494"/>
                      <a:pt x="166688" y="105664"/>
                    </a:cubicBezTo>
                    <a:moveTo>
                      <a:pt x="159067" y="103777"/>
                    </a:moveTo>
                    <a:cubicBezTo>
                      <a:pt x="149542" y="103777"/>
                      <a:pt x="145733" y="90569"/>
                      <a:pt x="145733" y="83965"/>
                    </a:cubicBezTo>
                    <a:cubicBezTo>
                      <a:pt x="145733" y="73587"/>
                      <a:pt x="153352" y="61323"/>
                      <a:pt x="159067" y="51889"/>
                    </a:cubicBezTo>
                    <a:cubicBezTo>
                      <a:pt x="164783" y="61323"/>
                      <a:pt x="169545" y="72644"/>
                      <a:pt x="169545" y="83965"/>
                    </a:cubicBezTo>
                    <a:cubicBezTo>
                      <a:pt x="169545" y="90569"/>
                      <a:pt x="168592" y="103777"/>
                      <a:pt x="159067" y="103777"/>
                    </a:cubicBezTo>
                    <a:moveTo>
                      <a:pt x="173355" y="90569"/>
                    </a:moveTo>
                    <a:cubicBezTo>
                      <a:pt x="170497" y="83022"/>
                      <a:pt x="182880" y="76418"/>
                      <a:pt x="189547" y="71701"/>
                    </a:cubicBezTo>
                    <a:cubicBezTo>
                      <a:pt x="199072" y="66040"/>
                      <a:pt x="212408" y="66040"/>
                      <a:pt x="222885" y="66040"/>
                    </a:cubicBezTo>
                    <a:cubicBezTo>
                      <a:pt x="216217" y="76418"/>
                      <a:pt x="208597" y="88682"/>
                      <a:pt x="197167" y="93399"/>
                    </a:cubicBezTo>
                    <a:cubicBezTo>
                      <a:pt x="191452" y="99060"/>
                      <a:pt x="176213" y="99060"/>
                      <a:pt x="173355" y="90569"/>
                    </a:cubicBezTo>
                    <a:moveTo>
                      <a:pt x="198120" y="63210"/>
                    </a:moveTo>
                    <a:cubicBezTo>
                      <a:pt x="194310" y="57549"/>
                      <a:pt x="200977" y="50002"/>
                      <a:pt x="203835" y="46228"/>
                    </a:cubicBezTo>
                    <a:cubicBezTo>
                      <a:pt x="209550" y="39624"/>
                      <a:pt x="218122" y="35850"/>
                      <a:pt x="226695" y="32077"/>
                    </a:cubicBezTo>
                    <a:cubicBezTo>
                      <a:pt x="225742" y="41511"/>
                      <a:pt x="222885" y="51889"/>
                      <a:pt x="217170" y="58493"/>
                    </a:cubicBezTo>
                    <a:cubicBezTo>
                      <a:pt x="212408" y="63210"/>
                      <a:pt x="201930" y="66983"/>
                      <a:pt x="198120" y="63210"/>
                    </a:cubicBezTo>
                    <a:moveTo>
                      <a:pt x="214313" y="16038"/>
                    </a:moveTo>
                    <a:cubicBezTo>
                      <a:pt x="217170" y="9434"/>
                      <a:pt x="221933" y="3774"/>
                      <a:pt x="227647" y="0"/>
                    </a:cubicBezTo>
                    <a:cubicBezTo>
                      <a:pt x="228600" y="6604"/>
                      <a:pt x="228600" y="16038"/>
                      <a:pt x="226695" y="22642"/>
                    </a:cubicBezTo>
                    <a:cubicBezTo>
                      <a:pt x="225742" y="26416"/>
                      <a:pt x="219075" y="33020"/>
                      <a:pt x="213360" y="30190"/>
                    </a:cubicBezTo>
                    <a:cubicBezTo>
                      <a:pt x="209550" y="29246"/>
                      <a:pt x="211455" y="22642"/>
                      <a:pt x="214313" y="16038"/>
                    </a:cubicBezTo>
                    <a:moveTo>
                      <a:pt x="195263" y="43398"/>
                    </a:moveTo>
                    <a:cubicBezTo>
                      <a:pt x="188595" y="42454"/>
                      <a:pt x="187642" y="31133"/>
                      <a:pt x="189547" y="26416"/>
                    </a:cubicBezTo>
                    <a:cubicBezTo>
                      <a:pt x="192405" y="18869"/>
                      <a:pt x="200025" y="10378"/>
                      <a:pt x="205740" y="5661"/>
                    </a:cubicBezTo>
                    <a:cubicBezTo>
                      <a:pt x="208597" y="13208"/>
                      <a:pt x="209550" y="24529"/>
                      <a:pt x="206692" y="32077"/>
                    </a:cubicBezTo>
                    <a:cubicBezTo>
                      <a:pt x="205740" y="33963"/>
                      <a:pt x="201930" y="44341"/>
                      <a:pt x="195263" y="43398"/>
                    </a:cubicBezTo>
                    <a:moveTo>
                      <a:pt x="180022" y="72644"/>
                    </a:moveTo>
                    <a:cubicBezTo>
                      <a:pt x="170497" y="73587"/>
                      <a:pt x="165735" y="60379"/>
                      <a:pt x="165735" y="53775"/>
                    </a:cubicBezTo>
                    <a:cubicBezTo>
                      <a:pt x="165735" y="43398"/>
                      <a:pt x="172402" y="31133"/>
                      <a:pt x="178117" y="20755"/>
                    </a:cubicBezTo>
                    <a:cubicBezTo>
                      <a:pt x="184785" y="30190"/>
                      <a:pt x="190500" y="40567"/>
                      <a:pt x="190500" y="50945"/>
                    </a:cubicBezTo>
                    <a:cubicBezTo>
                      <a:pt x="191452" y="57549"/>
                      <a:pt x="189547" y="72644"/>
                      <a:pt x="180022" y="72644"/>
                    </a:cubicBezTo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46" name="Graphic 4">
            <a:extLst>
              <a:ext uri="{FF2B5EF4-FFF2-40B4-BE49-F238E27FC236}">
                <a16:creationId xmlns:a16="http://schemas.microsoft.com/office/drawing/2014/main" id="{CBAA13F5-B3FF-4EA3-D5B4-4B2A7399E96D}"/>
              </a:ext>
            </a:extLst>
          </p:cNvPr>
          <p:cNvGrpSpPr/>
          <p:nvPr/>
        </p:nvGrpSpPr>
        <p:grpSpPr>
          <a:xfrm>
            <a:off x="1988198" y="2652233"/>
            <a:ext cx="490613" cy="473638"/>
            <a:chOff x="1007382" y="2651361"/>
            <a:chExt cx="490613" cy="473638"/>
          </a:xfrm>
        </p:grpSpPr>
        <p:pic>
          <p:nvPicPr>
            <p:cNvPr id="51" name="Picture 50">
              <a:extLst>
                <a:ext uri="{FF2B5EF4-FFF2-40B4-BE49-F238E27FC236}">
                  <a16:creationId xmlns:a16="http://schemas.microsoft.com/office/drawing/2014/main" id="{EC710CCF-0FBE-D665-C0E2-0AEF7092E92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alphaModFix amt="6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7382" y="2651361"/>
              <a:ext cx="490613" cy="473638"/>
            </a:xfrm>
            <a:custGeom>
              <a:avLst/>
              <a:gdLst>
                <a:gd name="connsiteX0" fmla="*/ -41 w 490613"/>
                <a:gd name="connsiteY0" fmla="*/ -43 h 473638"/>
                <a:gd name="connsiteX1" fmla="*/ 490573 w 490613"/>
                <a:gd name="connsiteY1" fmla="*/ -43 h 473638"/>
                <a:gd name="connsiteX2" fmla="*/ 490573 w 490613"/>
                <a:gd name="connsiteY2" fmla="*/ 473596 h 473638"/>
                <a:gd name="connsiteX3" fmla="*/ -41 w 490613"/>
                <a:gd name="connsiteY3" fmla="*/ 473596 h 473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90613" h="473638">
                  <a:moveTo>
                    <a:pt x="-41" y="-43"/>
                  </a:moveTo>
                  <a:lnTo>
                    <a:pt x="490573" y="-43"/>
                  </a:lnTo>
                  <a:lnTo>
                    <a:pt x="490573" y="473596"/>
                  </a:lnTo>
                  <a:lnTo>
                    <a:pt x="-41" y="473596"/>
                  </a:lnTo>
                  <a:close/>
                </a:path>
              </a:pathLst>
            </a:custGeom>
          </p:spPr>
        </p:pic>
        <p:grpSp>
          <p:nvGrpSpPr>
            <p:cNvPr id="52" name="Graphic 4">
              <a:extLst>
                <a:ext uri="{FF2B5EF4-FFF2-40B4-BE49-F238E27FC236}">
                  <a16:creationId xmlns:a16="http://schemas.microsoft.com/office/drawing/2014/main" id="{561638E7-7127-19B8-1834-759FF7D5AC49}"/>
                </a:ext>
              </a:extLst>
            </p:cNvPr>
            <p:cNvGrpSpPr/>
            <p:nvPr/>
          </p:nvGrpSpPr>
          <p:grpSpPr>
            <a:xfrm>
              <a:off x="1046976" y="2689287"/>
              <a:ext cx="375284" cy="362276"/>
              <a:chOff x="1046976" y="2689287"/>
              <a:chExt cx="375284" cy="362276"/>
            </a:xfrm>
          </p:grpSpPr>
          <p:sp>
            <p:nvSpPr>
              <p:cNvPr id="53" name="Freeform: Shape 52">
                <a:extLst>
                  <a:ext uri="{FF2B5EF4-FFF2-40B4-BE49-F238E27FC236}">
                    <a16:creationId xmlns:a16="http://schemas.microsoft.com/office/drawing/2014/main" id="{E2AF42E3-1220-44BB-385D-E28F39D5DB0F}"/>
                  </a:ext>
                </a:extLst>
              </p:cNvPr>
              <p:cNvSpPr/>
              <p:nvPr/>
            </p:nvSpPr>
            <p:spPr>
              <a:xfrm>
                <a:off x="1046976" y="2689287"/>
                <a:ext cx="375284" cy="362276"/>
              </a:xfrm>
              <a:custGeom>
                <a:avLst/>
                <a:gdLst>
                  <a:gd name="connsiteX0" fmla="*/ 187642 w 375284"/>
                  <a:gd name="connsiteY0" fmla="*/ 362277 h 362276"/>
                  <a:gd name="connsiteX1" fmla="*/ 0 w 375284"/>
                  <a:gd name="connsiteY1" fmla="*/ 182082 h 362276"/>
                  <a:gd name="connsiteX2" fmla="*/ 187642 w 375284"/>
                  <a:gd name="connsiteY2" fmla="*/ 0 h 362276"/>
                  <a:gd name="connsiteX3" fmla="*/ 375285 w 375284"/>
                  <a:gd name="connsiteY3" fmla="*/ 181138 h 362276"/>
                  <a:gd name="connsiteX4" fmla="*/ 187642 w 375284"/>
                  <a:gd name="connsiteY4" fmla="*/ 362277 h 3622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75284" h="362276">
                    <a:moveTo>
                      <a:pt x="187642" y="362277"/>
                    </a:moveTo>
                    <a:cubicBezTo>
                      <a:pt x="83820" y="362277"/>
                      <a:pt x="0" y="282085"/>
                      <a:pt x="0" y="182082"/>
                    </a:cubicBezTo>
                    <a:cubicBezTo>
                      <a:pt x="0" y="82078"/>
                      <a:pt x="83820" y="0"/>
                      <a:pt x="187642" y="0"/>
                    </a:cubicBezTo>
                    <a:cubicBezTo>
                      <a:pt x="291465" y="0"/>
                      <a:pt x="375285" y="82078"/>
                      <a:pt x="375285" y="181138"/>
                    </a:cubicBezTo>
                    <a:cubicBezTo>
                      <a:pt x="375285" y="280198"/>
                      <a:pt x="291465" y="362277"/>
                      <a:pt x="187642" y="362277"/>
                    </a:cubicBezTo>
                  </a:path>
                </a:pathLst>
              </a:custGeom>
              <a:solidFill>
                <a:srgbClr val="E3061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4" name="Freeform: Shape 53">
                <a:extLst>
                  <a:ext uri="{FF2B5EF4-FFF2-40B4-BE49-F238E27FC236}">
                    <a16:creationId xmlns:a16="http://schemas.microsoft.com/office/drawing/2014/main" id="{F56EA1AB-7374-5F53-90F9-1548A5F8DAEF}"/>
                  </a:ext>
                </a:extLst>
              </p:cNvPr>
              <p:cNvSpPr/>
              <p:nvPr/>
            </p:nvSpPr>
            <p:spPr>
              <a:xfrm>
                <a:off x="1106984" y="2751199"/>
                <a:ext cx="244587" cy="236210"/>
              </a:xfrm>
              <a:custGeom>
                <a:avLst/>
                <a:gdLst>
                  <a:gd name="connsiteX0" fmla="*/ 162877 w 244587"/>
                  <a:gd name="connsiteY0" fmla="*/ 62620 h 236210"/>
                  <a:gd name="connsiteX1" fmla="*/ 173355 w 244587"/>
                  <a:gd name="connsiteY1" fmla="*/ 62620 h 236210"/>
                  <a:gd name="connsiteX2" fmla="*/ 179070 w 244587"/>
                  <a:gd name="connsiteY2" fmla="*/ 68281 h 236210"/>
                  <a:gd name="connsiteX3" fmla="*/ 179070 w 244587"/>
                  <a:gd name="connsiteY3" fmla="*/ 77715 h 236210"/>
                  <a:gd name="connsiteX4" fmla="*/ 176213 w 244587"/>
                  <a:gd name="connsiteY4" fmla="*/ 78658 h 236210"/>
                  <a:gd name="connsiteX5" fmla="*/ 165735 w 244587"/>
                  <a:gd name="connsiteY5" fmla="*/ 78658 h 236210"/>
                  <a:gd name="connsiteX6" fmla="*/ 160020 w 244587"/>
                  <a:gd name="connsiteY6" fmla="*/ 72998 h 236210"/>
                  <a:gd name="connsiteX7" fmla="*/ 162877 w 244587"/>
                  <a:gd name="connsiteY7" fmla="*/ 62620 h 236210"/>
                  <a:gd name="connsiteX8" fmla="*/ 162877 w 244587"/>
                  <a:gd name="connsiteY8" fmla="*/ 62620 h 236210"/>
                  <a:gd name="connsiteX9" fmla="*/ 147638 w 244587"/>
                  <a:gd name="connsiteY9" fmla="*/ 76772 h 236210"/>
                  <a:gd name="connsiteX10" fmla="*/ 145733 w 244587"/>
                  <a:gd name="connsiteY10" fmla="*/ 77715 h 236210"/>
                  <a:gd name="connsiteX11" fmla="*/ 145733 w 244587"/>
                  <a:gd name="connsiteY11" fmla="*/ 88093 h 236210"/>
                  <a:gd name="connsiteX12" fmla="*/ 151447 w 244587"/>
                  <a:gd name="connsiteY12" fmla="*/ 93753 h 236210"/>
                  <a:gd name="connsiteX13" fmla="*/ 161925 w 244587"/>
                  <a:gd name="connsiteY13" fmla="*/ 93753 h 236210"/>
                  <a:gd name="connsiteX14" fmla="*/ 162877 w 244587"/>
                  <a:gd name="connsiteY14" fmla="*/ 92810 h 236210"/>
                  <a:gd name="connsiteX15" fmla="*/ 162877 w 244587"/>
                  <a:gd name="connsiteY15" fmla="*/ 82432 h 236210"/>
                  <a:gd name="connsiteX16" fmla="*/ 158115 w 244587"/>
                  <a:gd name="connsiteY16" fmla="*/ 76772 h 236210"/>
                  <a:gd name="connsiteX17" fmla="*/ 147638 w 244587"/>
                  <a:gd name="connsiteY17" fmla="*/ 76772 h 236210"/>
                  <a:gd name="connsiteX18" fmla="*/ 131445 w 244587"/>
                  <a:gd name="connsiteY18" fmla="*/ 90923 h 236210"/>
                  <a:gd name="connsiteX19" fmla="*/ 130493 w 244587"/>
                  <a:gd name="connsiteY19" fmla="*/ 91866 h 236210"/>
                  <a:gd name="connsiteX20" fmla="*/ 130493 w 244587"/>
                  <a:gd name="connsiteY20" fmla="*/ 102244 h 236210"/>
                  <a:gd name="connsiteX21" fmla="*/ 137160 w 244587"/>
                  <a:gd name="connsiteY21" fmla="*/ 108848 h 236210"/>
                  <a:gd name="connsiteX22" fmla="*/ 147638 w 244587"/>
                  <a:gd name="connsiteY22" fmla="*/ 108848 h 236210"/>
                  <a:gd name="connsiteX23" fmla="*/ 148590 w 244587"/>
                  <a:gd name="connsiteY23" fmla="*/ 107905 h 236210"/>
                  <a:gd name="connsiteX24" fmla="*/ 148590 w 244587"/>
                  <a:gd name="connsiteY24" fmla="*/ 97527 h 236210"/>
                  <a:gd name="connsiteX25" fmla="*/ 141922 w 244587"/>
                  <a:gd name="connsiteY25" fmla="*/ 90923 h 236210"/>
                  <a:gd name="connsiteX26" fmla="*/ 131445 w 244587"/>
                  <a:gd name="connsiteY26" fmla="*/ 90923 h 236210"/>
                  <a:gd name="connsiteX27" fmla="*/ 116205 w 244587"/>
                  <a:gd name="connsiteY27" fmla="*/ 106961 h 236210"/>
                  <a:gd name="connsiteX28" fmla="*/ 113347 w 244587"/>
                  <a:gd name="connsiteY28" fmla="*/ 107905 h 236210"/>
                  <a:gd name="connsiteX29" fmla="*/ 113347 w 244587"/>
                  <a:gd name="connsiteY29" fmla="*/ 118282 h 236210"/>
                  <a:gd name="connsiteX30" fmla="*/ 120015 w 244587"/>
                  <a:gd name="connsiteY30" fmla="*/ 124886 h 236210"/>
                  <a:gd name="connsiteX31" fmla="*/ 130493 w 244587"/>
                  <a:gd name="connsiteY31" fmla="*/ 124886 h 236210"/>
                  <a:gd name="connsiteX32" fmla="*/ 133350 w 244587"/>
                  <a:gd name="connsiteY32" fmla="*/ 123943 h 236210"/>
                  <a:gd name="connsiteX33" fmla="*/ 133350 w 244587"/>
                  <a:gd name="connsiteY33" fmla="*/ 113565 h 236210"/>
                  <a:gd name="connsiteX34" fmla="*/ 126683 w 244587"/>
                  <a:gd name="connsiteY34" fmla="*/ 106961 h 236210"/>
                  <a:gd name="connsiteX35" fmla="*/ 116205 w 244587"/>
                  <a:gd name="connsiteY35" fmla="*/ 106961 h 236210"/>
                  <a:gd name="connsiteX36" fmla="*/ 113347 w 244587"/>
                  <a:gd name="connsiteY36" fmla="*/ 142812 h 236210"/>
                  <a:gd name="connsiteX37" fmla="*/ 116205 w 244587"/>
                  <a:gd name="connsiteY37" fmla="*/ 139981 h 236210"/>
                  <a:gd name="connsiteX38" fmla="*/ 116205 w 244587"/>
                  <a:gd name="connsiteY38" fmla="*/ 129603 h 236210"/>
                  <a:gd name="connsiteX39" fmla="*/ 107633 w 244587"/>
                  <a:gd name="connsiteY39" fmla="*/ 122056 h 236210"/>
                  <a:gd name="connsiteX40" fmla="*/ 97155 w 244587"/>
                  <a:gd name="connsiteY40" fmla="*/ 122056 h 236210"/>
                  <a:gd name="connsiteX41" fmla="*/ 94297 w 244587"/>
                  <a:gd name="connsiteY41" fmla="*/ 124886 h 236210"/>
                  <a:gd name="connsiteX42" fmla="*/ 94297 w 244587"/>
                  <a:gd name="connsiteY42" fmla="*/ 135264 h 236210"/>
                  <a:gd name="connsiteX43" fmla="*/ 101918 w 244587"/>
                  <a:gd name="connsiteY43" fmla="*/ 142812 h 236210"/>
                  <a:gd name="connsiteX44" fmla="*/ 113347 w 244587"/>
                  <a:gd name="connsiteY44" fmla="*/ 142812 h 236210"/>
                  <a:gd name="connsiteX45" fmla="*/ 79058 w 244587"/>
                  <a:gd name="connsiteY45" fmla="*/ 139038 h 236210"/>
                  <a:gd name="connsiteX46" fmla="*/ 76200 w 244587"/>
                  <a:gd name="connsiteY46" fmla="*/ 141868 h 236210"/>
                  <a:gd name="connsiteX47" fmla="*/ 76200 w 244587"/>
                  <a:gd name="connsiteY47" fmla="*/ 152246 h 236210"/>
                  <a:gd name="connsiteX48" fmla="*/ 83820 w 244587"/>
                  <a:gd name="connsiteY48" fmla="*/ 159793 h 236210"/>
                  <a:gd name="connsiteX49" fmla="*/ 94297 w 244587"/>
                  <a:gd name="connsiteY49" fmla="*/ 159793 h 236210"/>
                  <a:gd name="connsiteX50" fmla="*/ 97155 w 244587"/>
                  <a:gd name="connsiteY50" fmla="*/ 156963 h 236210"/>
                  <a:gd name="connsiteX51" fmla="*/ 97155 w 244587"/>
                  <a:gd name="connsiteY51" fmla="*/ 146585 h 236210"/>
                  <a:gd name="connsiteX52" fmla="*/ 89535 w 244587"/>
                  <a:gd name="connsiteY52" fmla="*/ 139038 h 236210"/>
                  <a:gd name="connsiteX53" fmla="*/ 79058 w 244587"/>
                  <a:gd name="connsiteY53" fmla="*/ 139038 h 236210"/>
                  <a:gd name="connsiteX54" fmla="*/ 80010 w 244587"/>
                  <a:gd name="connsiteY54" fmla="*/ 175832 h 236210"/>
                  <a:gd name="connsiteX55" fmla="*/ 80010 w 244587"/>
                  <a:gd name="connsiteY55" fmla="*/ 165454 h 236210"/>
                  <a:gd name="connsiteX56" fmla="*/ 70485 w 244587"/>
                  <a:gd name="connsiteY56" fmla="*/ 156020 h 236210"/>
                  <a:gd name="connsiteX57" fmla="*/ 60007 w 244587"/>
                  <a:gd name="connsiteY57" fmla="*/ 156020 h 236210"/>
                  <a:gd name="connsiteX58" fmla="*/ 57150 w 244587"/>
                  <a:gd name="connsiteY58" fmla="*/ 158850 h 236210"/>
                  <a:gd name="connsiteX59" fmla="*/ 57150 w 244587"/>
                  <a:gd name="connsiteY59" fmla="*/ 169228 h 236210"/>
                  <a:gd name="connsiteX60" fmla="*/ 66675 w 244587"/>
                  <a:gd name="connsiteY60" fmla="*/ 176775 h 236210"/>
                  <a:gd name="connsiteX61" fmla="*/ 77152 w 244587"/>
                  <a:gd name="connsiteY61" fmla="*/ 176775 h 236210"/>
                  <a:gd name="connsiteX62" fmla="*/ 80010 w 244587"/>
                  <a:gd name="connsiteY62" fmla="*/ 175832 h 236210"/>
                  <a:gd name="connsiteX63" fmla="*/ 191452 w 244587"/>
                  <a:gd name="connsiteY63" fmla="*/ 97527 h 236210"/>
                  <a:gd name="connsiteX64" fmla="*/ 191452 w 244587"/>
                  <a:gd name="connsiteY64" fmla="*/ 97527 h 236210"/>
                  <a:gd name="connsiteX65" fmla="*/ 191452 w 244587"/>
                  <a:gd name="connsiteY65" fmla="*/ 87149 h 236210"/>
                  <a:gd name="connsiteX66" fmla="*/ 185738 w 244587"/>
                  <a:gd name="connsiteY66" fmla="*/ 83376 h 236210"/>
                  <a:gd name="connsiteX67" fmla="*/ 176213 w 244587"/>
                  <a:gd name="connsiteY67" fmla="*/ 84319 h 236210"/>
                  <a:gd name="connsiteX68" fmla="*/ 176213 w 244587"/>
                  <a:gd name="connsiteY68" fmla="*/ 86206 h 236210"/>
                  <a:gd name="connsiteX69" fmla="*/ 177165 w 244587"/>
                  <a:gd name="connsiteY69" fmla="*/ 95640 h 236210"/>
                  <a:gd name="connsiteX70" fmla="*/ 182880 w 244587"/>
                  <a:gd name="connsiteY70" fmla="*/ 99414 h 236210"/>
                  <a:gd name="connsiteX71" fmla="*/ 191452 w 244587"/>
                  <a:gd name="connsiteY71" fmla="*/ 97527 h 236210"/>
                  <a:gd name="connsiteX72" fmla="*/ 179070 w 244587"/>
                  <a:gd name="connsiteY72" fmla="*/ 113565 h 236210"/>
                  <a:gd name="connsiteX73" fmla="*/ 180022 w 244587"/>
                  <a:gd name="connsiteY73" fmla="*/ 112622 h 236210"/>
                  <a:gd name="connsiteX74" fmla="*/ 179070 w 244587"/>
                  <a:gd name="connsiteY74" fmla="*/ 103188 h 236210"/>
                  <a:gd name="connsiteX75" fmla="*/ 172402 w 244587"/>
                  <a:gd name="connsiteY75" fmla="*/ 97527 h 236210"/>
                  <a:gd name="connsiteX76" fmla="*/ 162877 w 244587"/>
                  <a:gd name="connsiteY76" fmla="*/ 97527 h 236210"/>
                  <a:gd name="connsiteX77" fmla="*/ 161925 w 244587"/>
                  <a:gd name="connsiteY77" fmla="*/ 98470 h 236210"/>
                  <a:gd name="connsiteX78" fmla="*/ 162877 w 244587"/>
                  <a:gd name="connsiteY78" fmla="*/ 107905 h 236210"/>
                  <a:gd name="connsiteX79" fmla="*/ 169545 w 244587"/>
                  <a:gd name="connsiteY79" fmla="*/ 113565 h 236210"/>
                  <a:gd name="connsiteX80" fmla="*/ 179070 w 244587"/>
                  <a:gd name="connsiteY80" fmla="*/ 113565 h 236210"/>
                  <a:gd name="connsiteX81" fmla="*/ 165735 w 244587"/>
                  <a:gd name="connsiteY81" fmla="*/ 128660 h 236210"/>
                  <a:gd name="connsiteX82" fmla="*/ 166688 w 244587"/>
                  <a:gd name="connsiteY82" fmla="*/ 127717 h 236210"/>
                  <a:gd name="connsiteX83" fmla="*/ 165735 w 244587"/>
                  <a:gd name="connsiteY83" fmla="*/ 118282 h 236210"/>
                  <a:gd name="connsiteX84" fmla="*/ 159068 w 244587"/>
                  <a:gd name="connsiteY84" fmla="*/ 112622 h 236210"/>
                  <a:gd name="connsiteX85" fmla="*/ 148590 w 244587"/>
                  <a:gd name="connsiteY85" fmla="*/ 112622 h 236210"/>
                  <a:gd name="connsiteX86" fmla="*/ 147638 w 244587"/>
                  <a:gd name="connsiteY86" fmla="*/ 114509 h 236210"/>
                  <a:gd name="connsiteX87" fmla="*/ 148590 w 244587"/>
                  <a:gd name="connsiteY87" fmla="*/ 123943 h 236210"/>
                  <a:gd name="connsiteX88" fmla="*/ 155258 w 244587"/>
                  <a:gd name="connsiteY88" fmla="*/ 129603 h 236210"/>
                  <a:gd name="connsiteX89" fmla="*/ 165735 w 244587"/>
                  <a:gd name="connsiteY89" fmla="*/ 128660 h 236210"/>
                  <a:gd name="connsiteX90" fmla="*/ 151447 w 244587"/>
                  <a:gd name="connsiteY90" fmla="*/ 145642 h 236210"/>
                  <a:gd name="connsiteX91" fmla="*/ 152400 w 244587"/>
                  <a:gd name="connsiteY91" fmla="*/ 144698 h 236210"/>
                  <a:gd name="connsiteX92" fmla="*/ 151447 w 244587"/>
                  <a:gd name="connsiteY92" fmla="*/ 134321 h 236210"/>
                  <a:gd name="connsiteX93" fmla="*/ 143827 w 244587"/>
                  <a:gd name="connsiteY93" fmla="*/ 127717 h 236210"/>
                  <a:gd name="connsiteX94" fmla="*/ 133350 w 244587"/>
                  <a:gd name="connsiteY94" fmla="*/ 127717 h 236210"/>
                  <a:gd name="connsiteX95" fmla="*/ 132397 w 244587"/>
                  <a:gd name="connsiteY95" fmla="*/ 128660 h 236210"/>
                  <a:gd name="connsiteX96" fmla="*/ 132397 w 244587"/>
                  <a:gd name="connsiteY96" fmla="*/ 139038 h 236210"/>
                  <a:gd name="connsiteX97" fmla="*/ 139065 w 244587"/>
                  <a:gd name="connsiteY97" fmla="*/ 145642 h 236210"/>
                  <a:gd name="connsiteX98" fmla="*/ 151447 w 244587"/>
                  <a:gd name="connsiteY98" fmla="*/ 145642 h 236210"/>
                  <a:gd name="connsiteX99" fmla="*/ 127635 w 244587"/>
                  <a:gd name="connsiteY99" fmla="*/ 165454 h 236210"/>
                  <a:gd name="connsiteX100" fmla="*/ 138113 w 244587"/>
                  <a:gd name="connsiteY100" fmla="*/ 158850 h 236210"/>
                  <a:gd name="connsiteX101" fmla="*/ 135255 w 244587"/>
                  <a:gd name="connsiteY101" fmla="*/ 151302 h 236210"/>
                  <a:gd name="connsiteX102" fmla="*/ 127635 w 244587"/>
                  <a:gd name="connsiteY102" fmla="*/ 142812 h 236210"/>
                  <a:gd name="connsiteX103" fmla="*/ 117158 w 244587"/>
                  <a:gd name="connsiteY103" fmla="*/ 142812 h 236210"/>
                  <a:gd name="connsiteX104" fmla="*/ 116205 w 244587"/>
                  <a:gd name="connsiteY104" fmla="*/ 145642 h 236210"/>
                  <a:gd name="connsiteX105" fmla="*/ 116205 w 244587"/>
                  <a:gd name="connsiteY105" fmla="*/ 156020 h 236210"/>
                  <a:gd name="connsiteX106" fmla="*/ 123825 w 244587"/>
                  <a:gd name="connsiteY106" fmla="*/ 163567 h 236210"/>
                  <a:gd name="connsiteX107" fmla="*/ 127635 w 244587"/>
                  <a:gd name="connsiteY107" fmla="*/ 165454 h 236210"/>
                  <a:gd name="connsiteX108" fmla="*/ 120968 w 244587"/>
                  <a:gd name="connsiteY108" fmla="*/ 169228 h 236210"/>
                  <a:gd name="connsiteX109" fmla="*/ 120015 w 244587"/>
                  <a:gd name="connsiteY109" fmla="*/ 166397 h 236210"/>
                  <a:gd name="connsiteX110" fmla="*/ 112395 w 244587"/>
                  <a:gd name="connsiteY110" fmla="*/ 158850 h 236210"/>
                  <a:gd name="connsiteX111" fmla="*/ 101918 w 244587"/>
                  <a:gd name="connsiteY111" fmla="*/ 158850 h 236210"/>
                  <a:gd name="connsiteX112" fmla="*/ 99060 w 244587"/>
                  <a:gd name="connsiteY112" fmla="*/ 161680 h 236210"/>
                  <a:gd name="connsiteX113" fmla="*/ 99060 w 244587"/>
                  <a:gd name="connsiteY113" fmla="*/ 172058 h 236210"/>
                  <a:gd name="connsiteX114" fmla="*/ 106680 w 244587"/>
                  <a:gd name="connsiteY114" fmla="*/ 179605 h 236210"/>
                  <a:gd name="connsiteX115" fmla="*/ 120968 w 244587"/>
                  <a:gd name="connsiteY115" fmla="*/ 169228 h 236210"/>
                  <a:gd name="connsiteX116" fmla="*/ 82867 w 244587"/>
                  <a:gd name="connsiteY116" fmla="*/ 188096 h 236210"/>
                  <a:gd name="connsiteX117" fmla="*/ 96202 w 244587"/>
                  <a:gd name="connsiteY117" fmla="*/ 182436 h 236210"/>
                  <a:gd name="connsiteX118" fmla="*/ 96202 w 244587"/>
                  <a:gd name="connsiteY118" fmla="*/ 182436 h 236210"/>
                  <a:gd name="connsiteX119" fmla="*/ 101918 w 244587"/>
                  <a:gd name="connsiteY119" fmla="*/ 179605 h 236210"/>
                  <a:gd name="connsiteX120" fmla="*/ 95250 w 244587"/>
                  <a:gd name="connsiteY120" fmla="*/ 173001 h 236210"/>
                  <a:gd name="connsiteX121" fmla="*/ 84773 w 244587"/>
                  <a:gd name="connsiteY121" fmla="*/ 173001 h 236210"/>
                  <a:gd name="connsiteX122" fmla="*/ 81915 w 244587"/>
                  <a:gd name="connsiteY122" fmla="*/ 175832 h 236210"/>
                  <a:gd name="connsiteX123" fmla="*/ 81915 w 244587"/>
                  <a:gd name="connsiteY123" fmla="*/ 186209 h 236210"/>
                  <a:gd name="connsiteX124" fmla="*/ 82867 w 244587"/>
                  <a:gd name="connsiteY124" fmla="*/ 188096 h 236210"/>
                  <a:gd name="connsiteX125" fmla="*/ 145733 w 244587"/>
                  <a:gd name="connsiteY125" fmla="*/ 63564 h 236210"/>
                  <a:gd name="connsiteX126" fmla="*/ 155258 w 244587"/>
                  <a:gd name="connsiteY126" fmla="*/ 64507 h 236210"/>
                  <a:gd name="connsiteX127" fmla="*/ 156210 w 244587"/>
                  <a:gd name="connsiteY127" fmla="*/ 63564 h 236210"/>
                  <a:gd name="connsiteX128" fmla="*/ 157163 w 244587"/>
                  <a:gd name="connsiteY128" fmla="*/ 54129 h 236210"/>
                  <a:gd name="connsiteX129" fmla="*/ 153352 w 244587"/>
                  <a:gd name="connsiteY129" fmla="*/ 48469 h 236210"/>
                  <a:gd name="connsiteX130" fmla="*/ 143827 w 244587"/>
                  <a:gd name="connsiteY130" fmla="*/ 47525 h 236210"/>
                  <a:gd name="connsiteX131" fmla="*/ 142875 w 244587"/>
                  <a:gd name="connsiteY131" fmla="*/ 48469 h 236210"/>
                  <a:gd name="connsiteX132" fmla="*/ 141922 w 244587"/>
                  <a:gd name="connsiteY132" fmla="*/ 57903 h 236210"/>
                  <a:gd name="connsiteX133" fmla="*/ 145733 w 244587"/>
                  <a:gd name="connsiteY133" fmla="*/ 63564 h 236210"/>
                  <a:gd name="connsiteX134" fmla="*/ 176213 w 244587"/>
                  <a:gd name="connsiteY134" fmla="*/ 51299 h 236210"/>
                  <a:gd name="connsiteX135" fmla="*/ 176213 w 244587"/>
                  <a:gd name="connsiteY135" fmla="*/ 51299 h 236210"/>
                  <a:gd name="connsiteX136" fmla="*/ 175260 w 244587"/>
                  <a:gd name="connsiteY136" fmla="*/ 61677 h 236210"/>
                  <a:gd name="connsiteX137" fmla="*/ 180975 w 244587"/>
                  <a:gd name="connsiteY137" fmla="*/ 67337 h 236210"/>
                  <a:gd name="connsiteX138" fmla="*/ 190500 w 244587"/>
                  <a:gd name="connsiteY138" fmla="*/ 67337 h 236210"/>
                  <a:gd name="connsiteX139" fmla="*/ 191452 w 244587"/>
                  <a:gd name="connsiteY139" fmla="*/ 66394 h 236210"/>
                  <a:gd name="connsiteX140" fmla="*/ 191452 w 244587"/>
                  <a:gd name="connsiteY140" fmla="*/ 56960 h 236210"/>
                  <a:gd name="connsiteX141" fmla="*/ 185738 w 244587"/>
                  <a:gd name="connsiteY141" fmla="*/ 51299 h 236210"/>
                  <a:gd name="connsiteX142" fmla="*/ 176213 w 244587"/>
                  <a:gd name="connsiteY142" fmla="*/ 51299 h 236210"/>
                  <a:gd name="connsiteX143" fmla="*/ 203835 w 244587"/>
                  <a:gd name="connsiteY143" fmla="*/ 83376 h 236210"/>
                  <a:gd name="connsiteX144" fmla="*/ 203835 w 244587"/>
                  <a:gd name="connsiteY144" fmla="*/ 83376 h 236210"/>
                  <a:gd name="connsiteX145" fmla="*/ 203835 w 244587"/>
                  <a:gd name="connsiteY145" fmla="*/ 72998 h 236210"/>
                  <a:gd name="connsiteX146" fmla="*/ 198120 w 244587"/>
                  <a:gd name="connsiteY146" fmla="*/ 69224 h 236210"/>
                  <a:gd name="connsiteX147" fmla="*/ 188595 w 244587"/>
                  <a:gd name="connsiteY147" fmla="*/ 70168 h 236210"/>
                  <a:gd name="connsiteX148" fmla="*/ 187643 w 244587"/>
                  <a:gd name="connsiteY148" fmla="*/ 71111 h 236210"/>
                  <a:gd name="connsiteX149" fmla="*/ 188595 w 244587"/>
                  <a:gd name="connsiteY149" fmla="*/ 80545 h 236210"/>
                  <a:gd name="connsiteX150" fmla="*/ 194310 w 244587"/>
                  <a:gd name="connsiteY150" fmla="*/ 84319 h 236210"/>
                  <a:gd name="connsiteX151" fmla="*/ 203835 w 244587"/>
                  <a:gd name="connsiteY151" fmla="*/ 83376 h 236210"/>
                  <a:gd name="connsiteX152" fmla="*/ 160020 w 244587"/>
                  <a:gd name="connsiteY152" fmla="*/ 52242 h 236210"/>
                  <a:gd name="connsiteX153" fmla="*/ 169545 w 244587"/>
                  <a:gd name="connsiteY153" fmla="*/ 53186 h 236210"/>
                  <a:gd name="connsiteX154" fmla="*/ 170497 w 244587"/>
                  <a:gd name="connsiteY154" fmla="*/ 52242 h 236210"/>
                  <a:gd name="connsiteX155" fmla="*/ 171450 w 244587"/>
                  <a:gd name="connsiteY155" fmla="*/ 42808 h 236210"/>
                  <a:gd name="connsiteX156" fmla="*/ 167640 w 244587"/>
                  <a:gd name="connsiteY156" fmla="*/ 37147 h 236210"/>
                  <a:gd name="connsiteX157" fmla="*/ 158115 w 244587"/>
                  <a:gd name="connsiteY157" fmla="*/ 36204 h 236210"/>
                  <a:gd name="connsiteX158" fmla="*/ 157163 w 244587"/>
                  <a:gd name="connsiteY158" fmla="*/ 37147 h 236210"/>
                  <a:gd name="connsiteX159" fmla="*/ 156210 w 244587"/>
                  <a:gd name="connsiteY159" fmla="*/ 46582 h 236210"/>
                  <a:gd name="connsiteX160" fmla="*/ 160020 w 244587"/>
                  <a:gd name="connsiteY160" fmla="*/ 52242 h 236210"/>
                  <a:gd name="connsiteX161" fmla="*/ 231458 w 244587"/>
                  <a:gd name="connsiteY161" fmla="*/ 14505 h 236210"/>
                  <a:gd name="connsiteX162" fmla="*/ 240983 w 244587"/>
                  <a:gd name="connsiteY162" fmla="*/ 14505 h 236210"/>
                  <a:gd name="connsiteX163" fmla="*/ 240983 w 244587"/>
                  <a:gd name="connsiteY163" fmla="*/ 6958 h 236210"/>
                  <a:gd name="connsiteX164" fmla="*/ 238125 w 244587"/>
                  <a:gd name="connsiteY164" fmla="*/ 4127 h 236210"/>
                  <a:gd name="connsiteX165" fmla="*/ 228600 w 244587"/>
                  <a:gd name="connsiteY165" fmla="*/ 4127 h 236210"/>
                  <a:gd name="connsiteX166" fmla="*/ 228600 w 244587"/>
                  <a:gd name="connsiteY166" fmla="*/ 11675 h 236210"/>
                  <a:gd name="connsiteX167" fmla="*/ 231458 w 244587"/>
                  <a:gd name="connsiteY167" fmla="*/ 14505 h 236210"/>
                  <a:gd name="connsiteX168" fmla="*/ 211455 w 244587"/>
                  <a:gd name="connsiteY168" fmla="*/ 25826 h 236210"/>
                  <a:gd name="connsiteX169" fmla="*/ 201930 w 244587"/>
                  <a:gd name="connsiteY169" fmla="*/ 25826 h 236210"/>
                  <a:gd name="connsiteX170" fmla="*/ 201930 w 244587"/>
                  <a:gd name="connsiteY170" fmla="*/ 25826 h 236210"/>
                  <a:gd name="connsiteX171" fmla="*/ 201930 w 244587"/>
                  <a:gd name="connsiteY171" fmla="*/ 35261 h 236210"/>
                  <a:gd name="connsiteX172" fmla="*/ 205740 w 244587"/>
                  <a:gd name="connsiteY172" fmla="*/ 39034 h 236210"/>
                  <a:gd name="connsiteX173" fmla="*/ 215265 w 244587"/>
                  <a:gd name="connsiteY173" fmla="*/ 39034 h 236210"/>
                  <a:gd name="connsiteX174" fmla="*/ 215265 w 244587"/>
                  <a:gd name="connsiteY174" fmla="*/ 39034 h 236210"/>
                  <a:gd name="connsiteX175" fmla="*/ 215265 w 244587"/>
                  <a:gd name="connsiteY175" fmla="*/ 29600 h 236210"/>
                  <a:gd name="connsiteX176" fmla="*/ 211455 w 244587"/>
                  <a:gd name="connsiteY176" fmla="*/ 25826 h 236210"/>
                  <a:gd name="connsiteX177" fmla="*/ 201930 w 244587"/>
                  <a:gd name="connsiteY177" fmla="*/ 52242 h 236210"/>
                  <a:gd name="connsiteX178" fmla="*/ 201930 w 244587"/>
                  <a:gd name="connsiteY178" fmla="*/ 52242 h 236210"/>
                  <a:gd name="connsiteX179" fmla="*/ 202883 w 244587"/>
                  <a:gd name="connsiteY179" fmla="*/ 42808 h 236210"/>
                  <a:gd name="connsiteX180" fmla="*/ 197168 w 244587"/>
                  <a:gd name="connsiteY180" fmla="*/ 37147 h 236210"/>
                  <a:gd name="connsiteX181" fmla="*/ 187643 w 244587"/>
                  <a:gd name="connsiteY181" fmla="*/ 37147 h 236210"/>
                  <a:gd name="connsiteX182" fmla="*/ 187643 w 244587"/>
                  <a:gd name="connsiteY182" fmla="*/ 39034 h 236210"/>
                  <a:gd name="connsiteX183" fmla="*/ 187643 w 244587"/>
                  <a:gd name="connsiteY183" fmla="*/ 48469 h 236210"/>
                  <a:gd name="connsiteX184" fmla="*/ 193358 w 244587"/>
                  <a:gd name="connsiteY184" fmla="*/ 52242 h 236210"/>
                  <a:gd name="connsiteX185" fmla="*/ 201930 w 244587"/>
                  <a:gd name="connsiteY185" fmla="*/ 52242 h 236210"/>
                  <a:gd name="connsiteX186" fmla="*/ 222885 w 244587"/>
                  <a:gd name="connsiteY186" fmla="*/ 40921 h 236210"/>
                  <a:gd name="connsiteX187" fmla="*/ 226695 w 244587"/>
                  <a:gd name="connsiteY187" fmla="*/ 43752 h 236210"/>
                  <a:gd name="connsiteX188" fmla="*/ 234315 w 244587"/>
                  <a:gd name="connsiteY188" fmla="*/ 42808 h 236210"/>
                  <a:gd name="connsiteX189" fmla="*/ 234315 w 244587"/>
                  <a:gd name="connsiteY189" fmla="*/ 42808 h 236210"/>
                  <a:gd name="connsiteX190" fmla="*/ 231458 w 244587"/>
                  <a:gd name="connsiteY190" fmla="*/ 35261 h 236210"/>
                  <a:gd name="connsiteX191" fmla="*/ 227647 w 244587"/>
                  <a:gd name="connsiteY191" fmla="*/ 32430 h 236210"/>
                  <a:gd name="connsiteX192" fmla="*/ 220027 w 244587"/>
                  <a:gd name="connsiteY192" fmla="*/ 33374 h 236210"/>
                  <a:gd name="connsiteX193" fmla="*/ 220027 w 244587"/>
                  <a:gd name="connsiteY193" fmla="*/ 33374 h 236210"/>
                  <a:gd name="connsiteX194" fmla="*/ 222885 w 244587"/>
                  <a:gd name="connsiteY194" fmla="*/ 40921 h 236210"/>
                  <a:gd name="connsiteX195" fmla="*/ 211455 w 244587"/>
                  <a:gd name="connsiteY195" fmla="*/ 44695 h 236210"/>
                  <a:gd name="connsiteX196" fmla="*/ 211455 w 244587"/>
                  <a:gd name="connsiteY196" fmla="*/ 44695 h 236210"/>
                  <a:gd name="connsiteX197" fmla="*/ 212408 w 244587"/>
                  <a:gd name="connsiteY197" fmla="*/ 54129 h 236210"/>
                  <a:gd name="connsiteX198" fmla="*/ 218122 w 244587"/>
                  <a:gd name="connsiteY198" fmla="*/ 57903 h 236210"/>
                  <a:gd name="connsiteX199" fmla="*/ 227647 w 244587"/>
                  <a:gd name="connsiteY199" fmla="*/ 56960 h 236210"/>
                  <a:gd name="connsiteX200" fmla="*/ 227647 w 244587"/>
                  <a:gd name="connsiteY200" fmla="*/ 56016 h 236210"/>
                  <a:gd name="connsiteX201" fmla="*/ 226695 w 244587"/>
                  <a:gd name="connsiteY201" fmla="*/ 48469 h 236210"/>
                  <a:gd name="connsiteX202" fmla="*/ 220980 w 244587"/>
                  <a:gd name="connsiteY202" fmla="*/ 45638 h 236210"/>
                  <a:gd name="connsiteX203" fmla="*/ 211455 w 244587"/>
                  <a:gd name="connsiteY203" fmla="*/ 44695 h 236210"/>
                  <a:gd name="connsiteX204" fmla="*/ 215265 w 244587"/>
                  <a:gd name="connsiteY204" fmla="*/ 70168 h 236210"/>
                  <a:gd name="connsiteX205" fmla="*/ 215265 w 244587"/>
                  <a:gd name="connsiteY205" fmla="*/ 70168 h 236210"/>
                  <a:gd name="connsiteX206" fmla="*/ 215265 w 244587"/>
                  <a:gd name="connsiteY206" fmla="*/ 60733 h 236210"/>
                  <a:gd name="connsiteX207" fmla="*/ 209550 w 244587"/>
                  <a:gd name="connsiteY207" fmla="*/ 56960 h 236210"/>
                  <a:gd name="connsiteX208" fmla="*/ 200025 w 244587"/>
                  <a:gd name="connsiteY208" fmla="*/ 57903 h 236210"/>
                  <a:gd name="connsiteX209" fmla="*/ 199072 w 244587"/>
                  <a:gd name="connsiteY209" fmla="*/ 58846 h 236210"/>
                  <a:gd name="connsiteX210" fmla="*/ 200025 w 244587"/>
                  <a:gd name="connsiteY210" fmla="*/ 66394 h 236210"/>
                  <a:gd name="connsiteX211" fmla="*/ 205740 w 244587"/>
                  <a:gd name="connsiteY211" fmla="*/ 70168 h 236210"/>
                  <a:gd name="connsiteX212" fmla="*/ 215265 w 244587"/>
                  <a:gd name="connsiteY212" fmla="*/ 70168 h 236210"/>
                  <a:gd name="connsiteX213" fmla="*/ 240030 w 244587"/>
                  <a:gd name="connsiteY213" fmla="*/ 18279 h 236210"/>
                  <a:gd name="connsiteX214" fmla="*/ 236220 w 244587"/>
                  <a:gd name="connsiteY214" fmla="*/ 17336 h 236210"/>
                  <a:gd name="connsiteX215" fmla="*/ 228600 w 244587"/>
                  <a:gd name="connsiteY215" fmla="*/ 20166 h 236210"/>
                  <a:gd name="connsiteX216" fmla="*/ 228600 w 244587"/>
                  <a:gd name="connsiteY216" fmla="*/ 20166 h 236210"/>
                  <a:gd name="connsiteX217" fmla="*/ 227647 w 244587"/>
                  <a:gd name="connsiteY217" fmla="*/ 19222 h 236210"/>
                  <a:gd name="connsiteX218" fmla="*/ 223838 w 244587"/>
                  <a:gd name="connsiteY218" fmla="*/ 15449 h 236210"/>
                  <a:gd name="connsiteX219" fmla="*/ 221933 w 244587"/>
                  <a:gd name="connsiteY219" fmla="*/ 13562 h 236210"/>
                  <a:gd name="connsiteX220" fmla="*/ 221933 w 244587"/>
                  <a:gd name="connsiteY220" fmla="*/ 13562 h 236210"/>
                  <a:gd name="connsiteX221" fmla="*/ 224790 w 244587"/>
                  <a:gd name="connsiteY221" fmla="*/ 6014 h 236210"/>
                  <a:gd name="connsiteX222" fmla="*/ 223838 w 244587"/>
                  <a:gd name="connsiteY222" fmla="*/ 3184 h 236210"/>
                  <a:gd name="connsiteX223" fmla="*/ 216218 w 244587"/>
                  <a:gd name="connsiteY223" fmla="*/ 354 h 236210"/>
                  <a:gd name="connsiteX224" fmla="*/ 212408 w 244587"/>
                  <a:gd name="connsiteY224" fmla="*/ 7901 h 236210"/>
                  <a:gd name="connsiteX225" fmla="*/ 215265 w 244587"/>
                  <a:gd name="connsiteY225" fmla="*/ 11675 h 236210"/>
                  <a:gd name="connsiteX226" fmla="*/ 218122 w 244587"/>
                  <a:gd name="connsiteY226" fmla="*/ 14505 h 236210"/>
                  <a:gd name="connsiteX227" fmla="*/ 215265 w 244587"/>
                  <a:gd name="connsiteY227" fmla="*/ 15449 h 236210"/>
                  <a:gd name="connsiteX228" fmla="*/ 215265 w 244587"/>
                  <a:gd name="connsiteY228" fmla="*/ 15449 h 236210"/>
                  <a:gd name="connsiteX229" fmla="*/ 215265 w 244587"/>
                  <a:gd name="connsiteY229" fmla="*/ 22996 h 236210"/>
                  <a:gd name="connsiteX230" fmla="*/ 219075 w 244587"/>
                  <a:gd name="connsiteY230" fmla="*/ 26770 h 236210"/>
                  <a:gd name="connsiteX231" fmla="*/ 228600 w 244587"/>
                  <a:gd name="connsiteY231" fmla="*/ 26770 h 236210"/>
                  <a:gd name="connsiteX232" fmla="*/ 228600 w 244587"/>
                  <a:gd name="connsiteY232" fmla="*/ 26770 h 236210"/>
                  <a:gd name="connsiteX233" fmla="*/ 229552 w 244587"/>
                  <a:gd name="connsiteY233" fmla="*/ 23940 h 236210"/>
                  <a:gd name="connsiteX234" fmla="*/ 232410 w 244587"/>
                  <a:gd name="connsiteY234" fmla="*/ 26770 h 236210"/>
                  <a:gd name="connsiteX235" fmla="*/ 236220 w 244587"/>
                  <a:gd name="connsiteY235" fmla="*/ 29600 h 236210"/>
                  <a:gd name="connsiteX236" fmla="*/ 243840 w 244587"/>
                  <a:gd name="connsiteY236" fmla="*/ 26770 h 236210"/>
                  <a:gd name="connsiteX237" fmla="*/ 240030 w 244587"/>
                  <a:gd name="connsiteY237" fmla="*/ 18279 h 236210"/>
                  <a:gd name="connsiteX238" fmla="*/ 200977 w 244587"/>
                  <a:gd name="connsiteY238" fmla="*/ 20166 h 236210"/>
                  <a:gd name="connsiteX239" fmla="*/ 208597 w 244587"/>
                  <a:gd name="connsiteY239" fmla="*/ 22996 h 236210"/>
                  <a:gd name="connsiteX240" fmla="*/ 208597 w 244587"/>
                  <a:gd name="connsiteY240" fmla="*/ 22996 h 236210"/>
                  <a:gd name="connsiteX241" fmla="*/ 209550 w 244587"/>
                  <a:gd name="connsiteY241" fmla="*/ 15449 h 236210"/>
                  <a:gd name="connsiteX242" fmla="*/ 207645 w 244587"/>
                  <a:gd name="connsiteY242" fmla="*/ 10732 h 236210"/>
                  <a:gd name="connsiteX243" fmla="*/ 200025 w 244587"/>
                  <a:gd name="connsiteY243" fmla="*/ 7901 h 236210"/>
                  <a:gd name="connsiteX244" fmla="*/ 200025 w 244587"/>
                  <a:gd name="connsiteY244" fmla="*/ 7901 h 236210"/>
                  <a:gd name="connsiteX245" fmla="*/ 199072 w 244587"/>
                  <a:gd name="connsiteY245" fmla="*/ 15449 h 236210"/>
                  <a:gd name="connsiteX246" fmla="*/ 200977 w 244587"/>
                  <a:gd name="connsiteY246" fmla="*/ 20166 h 236210"/>
                  <a:gd name="connsiteX247" fmla="*/ 187643 w 244587"/>
                  <a:gd name="connsiteY247" fmla="*/ 28657 h 236210"/>
                  <a:gd name="connsiteX248" fmla="*/ 195263 w 244587"/>
                  <a:gd name="connsiteY248" fmla="*/ 29600 h 236210"/>
                  <a:gd name="connsiteX249" fmla="*/ 195263 w 244587"/>
                  <a:gd name="connsiteY249" fmla="*/ 29600 h 236210"/>
                  <a:gd name="connsiteX250" fmla="*/ 196215 w 244587"/>
                  <a:gd name="connsiteY250" fmla="*/ 22053 h 236210"/>
                  <a:gd name="connsiteX251" fmla="*/ 193358 w 244587"/>
                  <a:gd name="connsiteY251" fmla="*/ 17336 h 236210"/>
                  <a:gd name="connsiteX252" fmla="*/ 183833 w 244587"/>
                  <a:gd name="connsiteY252" fmla="*/ 16392 h 236210"/>
                  <a:gd name="connsiteX253" fmla="*/ 183833 w 244587"/>
                  <a:gd name="connsiteY253" fmla="*/ 16392 h 236210"/>
                  <a:gd name="connsiteX254" fmla="*/ 182880 w 244587"/>
                  <a:gd name="connsiteY254" fmla="*/ 23940 h 236210"/>
                  <a:gd name="connsiteX255" fmla="*/ 187643 w 244587"/>
                  <a:gd name="connsiteY255" fmla="*/ 28657 h 236210"/>
                  <a:gd name="connsiteX256" fmla="*/ 173355 w 244587"/>
                  <a:gd name="connsiteY256" fmla="*/ 40921 h 236210"/>
                  <a:gd name="connsiteX257" fmla="*/ 182880 w 244587"/>
                  <a:gd name="connsiteY257" fmla="*/ 41865 h 236210"/>
                  <a:gd name="connsiteX258" fmla="*/ 183833 w 244587"/>
                  <a:gd name="connsiteY258" fmla="*/ 40921 h 236210"/>
                  <a:gd name="connsiteX259" fmla="*/ 184785 w 244587"/>
                  <a:gd name="connsiteY259" fmla="*/ 31487 h 236210"/>
                  <a:gd name="connsiteX260" fmla="*/ 180975 w 244587"/>
                  <a:gd name="connsiteY260" fmla="*/ 25826 h 236210"/>
                  <a:gd name="connsiteX261" fmla="*/ 171450 w 244587"/>
                  <a:gd name="connsiteY261" fmla="*/ 24883 h 236210"/>
                  <a:gd name="connsiteX262" fmla="*/ 170497 w 244587"/>
                  <a:gd name="connsiteY262" fmla="*/ 25826 h 236210"/>
                  <a:gd name="connsiteX263" fmla="*/ 169545 w 244587"/>
                  <a:gd name="connsiteY263" fmla="*/ 35261 h 236210"/>
                  <a:gd name="connsiteX264" fmla="*/ 173355 w 244587"/>
                  <a:gd name="connsiteY264" fmla="*/ 40921 h 236210"/>
                  <a:gd name="connsiteX265" fmla="*/ 130493 w 244587"/>
                  <a:gd name="connsiteY265" fmla="*/ 76772 h 236210"/>
                  <a:gd name="connsiteX266" fmla="*/ 140018 w 244587"/>
                  <a:gd name="connsiteY266" fmla="*/ 77715 h 236210"/>
                  <a:gd name="connsiteX267" fmla="*/ 140970 w 244587"/>
                  <a:gd name="connsiteY267" fmla="*/ 76772 h 236210"/>
                  <a:gd name="connsiteX268" fmla="*/ 140970 w 244587"/>
                  <a:gd name="connsiteY268" fmla="*/ 67337 h 236210"/>
                  <a:gd name="connsiteX269" fmla="*/ 137160 w 244587"/>
                  <a:gd name="connsiteY269" fmla="*/ 60733 h 236210"/>
                  <a:gd name="connsiteX270" fmla="*/ 126683 w 244587"/>
                  <a:gd name="connsiteY270" fmla="*/ 59790 h 236210"/>
                  <a:gd name="connsiteX271" fmla="*/ 125730 w 244587"/>
                  <a:gd name="connsiteY271" fmla="*/ 60733 h 236210"/>
                  <a:gd name="connsiteX272" fmla="*/ 125730 w 244587"/>
                  <a:gd name="connsiteY272" fmla="*/ 70168 h 236210"/>
                  <a:gd name="connsiteX273" fmla="*/ 130493 w 244587"/>
                  <a:gd name="connsiteY273" fmla="*/ 76772 h 236210"/>
                  <a:gd name="connsiteX274" fmla="*/ 116205 w 244587"/>
                  <a:gd name="connsiteY274" fmla="*/ 90923 h 236210"/>
                  <a:gd name="connsiteX275" fmla="*/ 126683 w 244587"/>
                  <a:gd name="connsiteY275" fmla="*/ 91866 h 236210"/>
                  <a:gd name="connsiteX276" fmla="*/ 127635 w 244587"/>
                  <a:gd name="connsiteY276" fmla="*/ 90923 h 236210"/>
                  <a:gd name="connsiteX277" fmla="*/ 127635 w 244587"/>
                  <a:gd name="connsiteY277" fmla="*/ 81489 h 236210"/>
                  <a:gd name="connsiteX278" fmla="*/ 121920 w 244587"/>
                  <a:gd name="connsiteY278" fmla="*/ 74885 h 236210"/>
                  <a:gd name="connsiteX279" fmla="*/ 111443 w 244587"/>
                  <a:gd name="connsiteY279" fmla="*/ 73941 h 236210"/>
                  <a:gd name="connsiteX280" fmla="*/ 110490 w 244587"/>
                  <a:gd name="connsiteY280" fmla="*/ 74885 h 236210"/>
                  <a:gd name="connsiteX281" fmla="*/ 110490 w 244587"/>
                  <a:gd name="connsiteY281" fmla="*/ 85262 h 236210"/>
                  <a:gd name="connsiteX282" fmla="*/ 116205 w 244587"/>
                  <a:gd name="connsiteY282" fmla="*/ 90923 h 236210"/>
                  <a:gd name="connsiteX283" fmla="*/ 105727 w 244587"/>
                  <a:gd name="connsiteY283" fmla="*/ 87149 h 236210"/>
                  <a:gd name="connsiteX284" fmla="*/ 95250 w 244587"/>
                  <a:gd name="connsiteY284" fmla="*/ 87149 h 236210"/>
                  <a:gd name="connsiteX285" fmla="*/ 92393 w 244587"/>
                  <a:gd name="connsiteY285" fmla="*/ 88093 h 236210"/>
                  <a:gd name="connsiteX286" fmla="*/ 92393 w 244587"/>
                  <a:gd name="connsiteY286" fmla="*/ 98470 h 236210"/>
                  <a:gd name="connsiteX287" fmla="*/ 99060 w 244587"/>
                  <a:gd name="connsiteY287" fmla="*/ 105074 h 236210"/>
                  <a:gd name="connsiteX288" fmla="*/ 109538 w 244587"/>
                  <a:gd name="connsiteY288" fmla="*/ 106018 h 236210"/>
                  <a:gd name="connsiteX289" fmla="*/ 110490 w 244587"/>
                  <a:gd name="connsiteY289" fmla="*/ 105074 h 236210"/>
                  <a:gd name="connsiteX290" fmla="*/ 110490 w 244587"/>
                  <a:gd name="connsiteY290" fmla="*/ 94697 h 236210"/>
                  <a:gd name="connsiteX291" fmla="*/ 105727 w 244587"/>
                  <a:gd name="connsiteY291" fmla="*/ 87149 h 236210"/>
                  <a:gd name="connsiteX292" fmla="*/ 80010 w 244587"/>
                  <a:gd name="connsiteY292" fmla="*/ 100357 h 236210"/>
                  <a:gd name="connsiteX293" fmla="*/ 72390 w 244587"/>
                  <a:gd name="connsiteY293" fmla="*/ 110735 h 236210"/>
                  <a:gd name="connsiteX294" fmla="*/ 72390 w 244587"/>
                  <a:gd name="connsiteY294" fmla="*/ 110735 h 236210"/>
                  <a:gd name="connsiteX295" fmla="*/ 72390 w 244587"/>
                  <a:gd name="connsiteY295" fmla="*/ 110735 h 236210"/>
                  <a:gd name="connsiteX296" fmla="*/ 73342 w 244587"/>
                  <a:gd name="connsiteY296" fmla="*/ 113565 h 236210"/>
                  <a:gd name="connsiteX297" fmla="*/ 80963 w 244587"/>
                  <a:gd name="connsiteY297" fmla="*/ 121113 h 236210"/>
                  <a:gd name="connsiteX298" fmla="*/ 91440 w 244587"/>
                  <a:gd name="connsiteY298" fmla="*/ 121113 h 236210"/>
                  <a:gd name="connsiteX299" fmla="*/ 94297 w 244587"/>
                  <a:gd name="connsiteY299" fmla="*/ 118282 h 236210"/>
                  <a:gd name="connsiteX300" fmla="*/ 94297 w 244587"/>
                  <a:gd name="connsiteY300" fmla="*/ 107905 h 236210"/>
                  <a:gd name="connsiteX301" fmla="*/ 86677 w 244587"/>
                  <a:gd name="connsiteY301" fmla="*/ 100357 h 236210"/>
                  <a:gd name="connsiteX302" fmla="*/ 80010 w 244587"/>
                  <a:gd name="connsiteY302" fmla="*/ 100357 h 236210"/>
                  <a:gd name="connsiteX303" fmla="*/ 68580 w 244587"/>
                  <a:gd name="connsiteY303" fmla="*/ 117339 h 236210"/>
                  <a:gd name="connsiteX304" fmla="*/ 58102 w 244587"/>
                  <a:gd name="connsiteY304" fmla="*/ 133377 h 236210"/>
                  <a:gd name="connsiteX305" fmla="*/ 64770 w 244587"/>
                  <a:gd name="connsiteY305" fmla="*/ 139981 h 236210"/>
                  <a:gd name="connsiteX306" fmla="*/ 75248 w 244587"/>
                  <a:gd name="connsiteY306" fmla="*/ 139981 h 236210"/>
                  <a:gd name="connsiteX307" fmla="*/ 78105 w 244587"/>
                  <a:gd name="connsiteY307" fmla="*/ 137151 h 236210"/>
                  <a:gd name="connsiteX308" fmla="*/ 78105 w 244587"/>
                  <a:gd name="connsiteY308" fmla="*/ 126773 h 236210"/>
                  <a:gd name="connsiteX309" fmla="*/ 69533 w 244587"/>
                  <a:gd name="connsiteY309" fmla="*/ 118282 h 236210"/>
                  <a:gd name="connsiteX310" fmla="*/ 68580 w 244587"/>
                  <a:gd name="connsiteY310" fmla="*/ 117339 h 236210"/>
                  <a:gd name="connsiteX311" fmla="*/ 53340 w 244587"/>
                  <a:gd name="connsiteY311" fmla="*/ 141868 h 236210"/>
                  <a:gd name="connsiteX312" fmla="*/ 53340 w 244587"/>
                  <a:gd name="connsiteY312" fmla="*/ 141868 h 236210"/>
                  <a:gd name="connsiteX313" fmla="*/ 47625 w 244587"/>
                  <a:gd name="connsiteY313" fmla="*/ 155076 h 236210"/>
                  <a:gd name="connsiteX314" fmla="*/ 48577 w 244587"/>
                  <a:gd name="connsiteY314" fmla="*/ 156020 h 236210"/>
                  <a:gd name="connsiteX315" fmla="*/ 59055 w 244587"/>
                  <a:gd name="connsiteY315" fmla="*/ 156020 h 236210"/>
                  <a:gd name="connsiteX316" fmla="*/ 61913 w 244587"/>
                  <a:gd name="connsiteY316" fmla="*/ 153189 h 236210"/>
                  <a:gd name="connsiteX317" fmla="*/ 60960 w 244587"/>
                  <a:gd name="connsiteY317" fmla="*/ 142812 h 236210"/>
                  <a:gd name="connsiteX318" fmla="*/ 54292 w 244587"/>
                  <a:gd name="connsiteY318" fmla="*/ 136208 h 236210"/>
                  <a:gd name="connsiteX319" fmla="*/ 53340 w 244587"/>
                  <a:gd name="connsiteY319" fmla="*/ 141868 h 236210"/>
                  <a:gd name="connsiteX320" fmla="*/ 46673 w 244587"/>
                  <a:gd name="connsiteY320" fmla="*/ 171114 h 236210"/>
                  <a:gd name="connsiteX321" fmla="*/ 46673 w 244587"/>
                  <a:gd name="connsiteY321" fmla="*/ 172058 h 236210"/>
                  <a:gd name="connsiteX322" fmla="*/ 47625 w 244587"/>
                  <a:gd name="connsiteY322" fmla="*/ 179605 h 236210"/>
                  <a:gd name="connsiteX323" fmla="*/ 48577 w 244587"/>
                  <a:gd name="connsiteY323" fmla="*/ 187153 h 236210"/>
                  <a:gd name="connsiteX324" fmla="*/ 48577 w 244587"/>
                  <a:gd name="connsiteY324" fmla="*/ 187153 h 236210"/>
                  <a:gd name="connsiteX325" fmla="*/ 48577 w 244587"/>
                  <a:gd name="connsiteY325" fmla="*/ 187153 h 236210"/>
                  <a:gd name="connsiteX326" fmla="*/ 56198 w 244587"/>
                  <a:gd name="connsiteY326" fmla="*/ 188096 h 236210"/>
                  <a:gd name="connsiteX327" fmla="*/ 62865 w 244587"/>
                  <a:gd name="connsiteY327" fmla="*/ 189040 h 236210"/>
                  <a:gd name="connsiteX328" fmla="*/ 63817 w 244587"/>
                  <a:gd name="connsiteY328" fmla="*/ 189040 h 236210"/>
                  <a:gd name="connsiteX329" fmla="*/ 77152 w 244587"/>
                  <a:gd name="connsiteY329" fmla="*/ 188096 h 236210"/>
                  <a:gd name="connsiteX330" fmla="*/ 77152 w 244587"/>
                  <a:gd name="connsiteY330" fmla="*/ 188096 h 236210"/>
                  <a:gd name="connsiteX331" fmla="*/ 66675 w 244587"/>
                  <a:gd name="connsiteY331" fmla="*/ 187153 h 236210"/>
                  <a:gd name="connsiteX332" fmla="*/ 66675 w 244587"/>
                  <a:gd name="connsiteY332" fmla="*/ 187153 h 236210"/>
                  <a:gd name="connsiteX333" fmla="*/ 63817 w 244587"/>
                  <a:gd name="connsiteY333" fmla="*/ 180549 h 236210"/>
                  <a:gd name="connsiteX334" fmla="*/ 54292 w 244587"/>
                  <a:gd name="connsiteY334" fmla="*/ 171114 h 236210"/>
                  <a:gd name="connsiteX335" fmla="*/ 47625 w 244587"/>
                  <a:gd name="connsiteY335" fmla="*/ 168284 h 236210"/>
                  <a:gd name="connsiteX336" fmla="*/ 47625 w 244587"/>
                  <a:gd name="connsiteY336" fmla="*/ 168284 h 236210"/>
                  <a:gd name="connsiteX337" fmla="*/ 46673 w 244587"/>
                  <a:gd name="connsiteY337" fmla="*/ 157906 h 236210"/>
                  <a:gd name="connsiteX338" fmla="*/ 46673 w 244587"/>
                  <a:gd name="connsiteY338" fmla="*/ 171114 h 236210"/>
                  <a:gd name="connsiteX339" fmla="*/ 177165 w 244587"/>
                  <a:gd name="connsiteY339" fmla="*/ 144698 h 236210"/>
                  <a:gd name="connsiteX340" fmla="*/ 131445 w 244587"/>
                  <a:gd name="connsiteY340" fmla="*/ 171114 h 236210"/>
                  <a:gd name="connsiteX341" fmla="*/ 117158 w 244587"/>
                  <a:gd name="connsiteY341" fmla="*/ 180549 h 236210"/>
                  <a:gd name="connsiteX342" fmla="*/ 114300 w 244587"/>
                  <a:gd name="connsiteY342" fmla="*/ 180549 h 236210"/>
                  <a:gd name="connsiteX343" fmla="*/ 104775 w 244587"/>
                  <a:gd name="connsiteY343" fmla="*/ 186209 h 236210"/>
                  <a:gd name="connsiteX344" fmla="*/ 98108 w 244587"/>
                  <a:gd name="connsiteY344" fmla="*/ 189040 h 236210"/>
                  <a:gd name="connsiteX345" fmla="*/ 87630 w 244587"/>
                  <a:gd name="connsiteY345" fmla="*/ 192813 h 236210"/>
                  <a:gd name="connsiteX346" fmla="*/ 81915 w 244587"/>
                  <a:gd name="connsiteY346" fmla="*/ 193757 h 236210"/>
                  <a:gd name="connsiteX347" fmla="*/ 60007 w 244587"/>
                  <a:gd name="connsiteY347" fmla="*/ 194700 h 236210"/>
                  <a:gd name="connsiteX348" fmla="*/ 59055 w 244587"/>
                  <a:gd name="connsiteY348" fmla="*/ 194700 h 236210"/>
                  <a:gd name="connsiteX349" fmla="*/ 55245 w 244587"/>
                  <a:gd name="connsiteY349" fmla="*/ 193757 h 236210"/>
                  <a:gd name="connsiteX350" fmla="*/ 49530 w 244587"/>
                  <a:gd name="connsiteY350" fmla="*/ 192813 h 236210"/>
                  <a:gd name="connsiteX351" fmla="*/ 49530 w 244587"/>
                  <a:gd name="connsiteY351" fmla="*/ 195643 h 236210"/>
                  <a:gd name="connsiteX352" fmla="*/ 45720 w 244587"/>
                  <a:gd name="connsiteY352" fmla="*/ 206965 h 236210"/>
                  <a:gd name="connsiteX353" fmla="*/ 44767 w 244587"/>
                  <a:gd name="connsiteY353" fmla="*/ 207908 h 236210"/>
                  <a:gd name="connsiteX354" fmla="*/ 41910 w 244587"/>
                  <a:gd name="connsiteY354" fmla="*/ 202248 h 236210"/>
                  <a:gd name="connsiteX355" fmla="*/ 41910 w 244587"/>
                  <a:gd name="connsiteY355" fmla="*/ 202248 h 236210"/>
                  <a:gd name="connsiteX356" fmla="*/ 42863 w 244587"/>
                  <a:gd name="connsiteY356" fmla="*/ 202248 h 236210"/>
                  <a:gd name="connsiteX357" fmla="*/ 42863 w 244587"/>
                  <a:gd name="connsiteY357" fmla="*/ 190926 h 236210"/>
                  <a:gd name="connsiteX358" fmla="*/ 41910 w 244587"/>
                  <a:gd name="connsiteY358" fmla="*/ 187153 h 236210"/>
                  <a:gd name="connsiteX359" fmla="*/ 40957 w 244587"/>
                  <a:gd name="connsiteY359" fmla="*/ 183379 h 236210"/>
                  <a:gd name="connsiteX360" fmla="*/ 40005 w 244587"/>
                  <a:gd name="connsiteY360" fmla="*/ 177718 h 236210"/>
                  <a:gd name="connsiteX361" fmla="*/ 39052 w 244587"/>
                  <a:gd name="connsiteY361" fmla="*/ 172058 h 236210"/>
                  <a:gd name="connsiteX362" fmla="*/ 39052 w 244587"/>
                  <a:gd name="connsiteY362" fmla="*/ 172058 h 236210"/>
                  <a:gd name="connsiteX363" fmla="*/ 40005 w 244587"/>
                  <a:gd name="connsiteY363" fmla="*/ 151302 h 236210"/>
                  <a:gd name="connsiteX364" fmla="*/ 40957 w 244587"/>
                  <a:gd name="connsiteY364" fmla="*/ 145642 h 236210"/>
                  <a:gd name="connsiteX365" fmla="*/ 44767 w 244587"/>
                  <a:gd name="connsiteY365" fmla="*/ 135264 h 236210"/>
                  <a:gd name="connsiteX366" fmla="*/ 48577 w 244587"/>
                  <a:gd name="connsiteY366" fmla="*/ 128660 h 236210"/>
                  <a:gd name="connsiteX367" fmla="*/ 52388 w 244587"/>
                  <a:gd name="connsiteY367" fmla="*/ 121113 h 236210"/>
                  <a:gd name="connsiteX368" fmla="*/ 58102 w 244587"/>
                  <a:gd name="connsiteY368" fmla="*/ 113565 h 236210"/>
                  <a:gd name="connsiteX369" fmla="*/ 65723 w 244587"/>
                  <a:gd name="connsiteY369" fmla="*/ 103188 h 236210"/>
                  <a:gd name="connsiteX370" fmla="*/ 92393 w 244587"/>
                  <a:gd name="connsiteY370" fmla="*/ 58846 h 236210"/>
                  <a:gd name="connsiteX371" fmla="*/ 103822 w 244587"/>
                  <a:gd name="connsiteY371" fmla="*/ 17336 h 236210"/>
                  <a:gd name="connsiteX372" fmla="*/ 100013 w 244587"/>
                  <a:gd name="connsiteY372" fmla="*/ 1297 h 236210"/>
                  <a:gd name="connsiteX373" fmla="*/ 100013 w 244587"/>
                  <a:gd name="connsiteY373" fmla="*/ 18279 h 236210"/>
                  <a:gd name="connsiteX374" fmla="*/ 80010 w 244587"/>
                  <a:gd name="connsiteY374" fmla="*/ 53186 h 236210"/>
                  <a:gd name="connsiteX375" fmla="*/ 47625 w 244587"/>
                  <a:gd name="connsiteY375" fmla="*/ 88093 h 236210"/>
                  <a:gd name="connsiteX376" fmla="*/ 20002 w 244587"/>
                  <a:gd name="connsiteY376" fmla="*/ 123000 h 236210"/>
                  <a:gd name="connsiteX377" fmla="*/ 12382 w 244587"/>
                  <a:gd name="connsiteY377" fmla="*/ 156963 h 236210"/>
                  <a:gd name="connsiteX378" fmla="*/ 21907 w 244587"/>
                  <a:gd name="connsiteY378" fmla="*/ 184322 h 236210"/>
                  <a:gd name="connsiteX379" fmla="*/ 21907 w 244587"/>
                  <a:gd name="connsiteY379" fmla="*/ 184322 h 236210"/>
                  <a:gd name="connsiteX380" fmla="*/ 15240 w 244587"/>
                  <a:gd name="connsiteY380" fmla="*/ 185266 h 236210"/>
                  <a:gd name="connsiteX381" fmla="*/ 12382 w 244587"/>
                  <a:gd name="connsiteY381" fmla="*/ 186209 h 236210"/>
                  <a:gd name="connsiteX382" fmla="*/ 11430 w 244587"/>
                  <a:gd name="connsiteY382" fmla="*/ 187153 h 236210"/>
                  <a:gd name="connsiteX383" fmla="*/ 8573 w 244587"/>
                  <a:gd name="connsiteY383" fmla="*/ 198474 h 236210"/>
                  <a:gd name="connsiteX384" fmla="*/ 4763 w 244587"/>
                  <a:gd name="connsiteY384" fmla="*/ 201304 h 236210"/>
                  <a:gd name="connsiteX385" fmla="*/ 2857 w 244587"/>
                  <a:gd name="connsiteY385" fmla="*/ 210738 h 236210"/>
                  <a:gd name="connsiteX386" fmla="*/ 2857 w 244587"/>
                  <a:gd name="connsiteY386" fmla="*/ 223946 h 236210"/>
                  <a:gd name="connsiteX387" fmla="*/ 12382 w 244587"/>
                  <a:gd name="connsiteY387" fmla="*/ 233381 h 236210"/>
                  <a:gd name="connsiteX388" fmla="*/ 25717 w 244587"/>
                  <a:gd name="connsiteY388" fmla="*/ 233381 h 236210"/>
                  <a:gd name="connsiteX389" fmla="*/ 26670 w 244587"/>
                  <a:gd name="connsiteY389" fmla="*/ 232437 h 236210"/>
                  <a:gd name="connsiteX390" fmla="*/ 29527 w 244587"/>
                  <a:gd name="connsiteY390" fmla="*/ 228663 h 236210"/>
                  <a:gd name="connsiteX391" fmla="*/ 42863 w 244587"/>
                  <a:gd name="connsiteY391" fmla="*/ 225833 h 236210"/>
                  <a:gd name="connsiteX392" fmla="*/ 43815 w 244587"/>
                  <a:gd name="connsiteY392" fmla="*/ 224890 h 236210"/>
                  <a:gd name="connsiteX393" fmla="*/ 44767 w 244587"/>
                  <a:gd name="connsiteY393" fmla="*/ 222060 h 236210"/>
                  <a:gd name="connsiteX394" fmla="*/ 45720 w 244587"/>
                  <a:gd name="connsiteY394" fmla="*/ 215456 h 236210"/>
                  <a:gd name="connsiteX395" fmla="*/ 46673 w 244587"/>
                  <a:gd name="connsiteY395" fmla="*/ 216399 h 236210"/>
                  <a:gd name="connsiteX396" fmla="*/ 75248 w 244587"/>
                  <a:gd name="connsiteY396" fmla="*/ 225833 h 236210"/>
                  <a:gd name="connsiteX397" fmla="*/ 110490 w 244587"/>
                  <a:gd name="connsiteY397" fmla="*/ 218286 h 236210"/>
                  <a:gd name="connsiteX398" fmla="*/ 147638 w 244587"/>
                  <a:gd name="connsiteY398" fmla="*/ 190926 h 236210"/>
                  <a:gd name="connsiteX399" fmla="*/ 184785 w 244587"/>
                  <a:gd name="connsiteY399" fmla="*/ 159793 h 236210"/>
                  <a:gd name="connsiteX400" fmla="*/ 221933 w 244587"/>
                  <a:gd name="connsiteY400" fmla="*/ 139981 h 236210"/>
                  <a:gd name="connsiteX401" fmla="*/ 239077 w 244587"/>
                  <a:gd name="connsiteY401" fmla="*/ 139981 h 236210"/>
                  <a:gd name="connsiteX402" fmla="*/ 220980 w 244587"/>
                  <a:gd name="connsiteY402" fmla="*/ 136208 h 236210"/>
                  <a:gd name="connsiteX403" fmla="*/ 177165 w 244587"/>
                  <a:gd name="connsiteY403" fmla="*/ 144698 h 2362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</a:cxnLst>
                <a:rect l="l" t="t" r="r" b="b"/>
                <a:pathLst>
                  <a:path w="244587" h="236210">
                    <a:moveTo>
                      <a:pt x="162877" y="62620"/>
                    </a:moveTo>
                    <a:cubicBezTo>
                      <a:pt x="165735" y="59790"/>
                      <a:pt x="169545" y="59790"/>
                      <a:pt x="173355" y="62620"/>
                    </a:cubicBezTo>
                    <a:lnTo>
                      <a:pt x="179070" y="68281"/>
                    </a:lnTo>
                    <a:cubicBezTo>
                      <a:pt x="181927" y="71111"/>
                      <a:pt x="181927" y="74885"/>
                      <a:pt x="179070" y="77715"/>
                    </a:cubicBezTo>
                    <a:lnTo>
                      <a:pt x="176213" y="78658"/>
                    </a:lnTo>
                    <a:cubicBezTo>
                      <a:pt x="173355" y="81489"/>
                      <a:pt x="169545" y="81489"/>
                      <a:pt x="165735" y="78658"/>
                    </a:cubicBezTo>
                    <a:lnTo>
                      <a:pt x="160020" y="72998"/>
                    </a:lnTo>
                    <a:cubicBezTo>
                      <a:pt x="159068" y="70168"/>
                      <a:pt x="159068" y="66394"/>
                      <a:pt x="162877" y="62620"/>
                    </a:cubicBezTo>
                    <a:lnTo>
                      <a:pt x="162877" y="62620"/>
                    </a:lnTo>
                    <a:moveTo>
                      <a:pt x="147638" y="76772"/>
                    </a:moveTo>
                    <a:lnTo>
                      <a:pt x="145733" y="77715"/>
                    </a:lnTo>
                    <a:cubicBezTo>
                      <a:pt x="142875" y="80545"/>
                      <a:pt x="142875" y="84319"/>
                      <a:pt x="145733" y="88093"/>
                    </a:cubicBezTo>
                    <a:lnTo>
                      <a:pt x="151447" y="93753"/>
                    </a:lnTo>
                    <a:cubicBezTo>
                      <a:pt x="154305" y="96584"/>
                      <a:pt x="159068" y="96584"/>
                      <a:pt x="161925" y="93753"/>
                    </a:cubicBezTo>
                    <a:lnTo>
                      <a:pt x="162877" y="92810"/>
                    </a:lnTo>
                    <a:cubicBezTo>
                      <a:pt x="165735" y="89980"/>
                      <a:pt x="165735" y="86206"/>
                      <a:pt x="162877" y="82432"/>
                    </a:cubicBezTo>
                    <a:lnTo>
                      <a:pt x="158115" y="76772"/>
                    </a:lnTo>
                    <a:cubicBezTo>
                      <a:pt x="155258" y="73941"/>
                      <a:pt x="149543" y="73941"/>
                      <a:pt x="147638" y="76772"/>
                    </a:cubicBezTo>
                    <a:moveTo>
                      <a:pt x="131445" y="90923"/>
                    </a:moveTo>
                    <a:lnTo>
                      <a:pt x="130493" y="91866"/>
                    </a:lnTo>
                    <a:cubicBezTo>
                      <a:pt x="127635" y="94697"/>
                      <a:pt x="127635" y="99414"/>
                      <a:pt x="130493" y="102244"/>
                    </a:cubicBezTo>
                    <a:lnTo>
                      <a:pt x="137160" y="108848"/>
                    </a:lnTo>
                    <a:cubicBezTo>
                      <a:pt x="140018" y="111678"/>
                      <a:pt x="144780" y="111678"/>
                      <a:pt x="147638" y="108848"/>
                    </a:cubicBezTo>
                    <a:lnTo>
                      <a:pt x="148590" y="107905"/>
                    </a:lnTo>
                    <a:cubicBezTo>
                      <a:pt x="151447" y="105074"/>
                      <a:pt x="151447" y="100357"/>
                      <a:pt x="148590" y="97527"/>
                    </a:cubicBezTo>
                    <a:lnTo>
                      <a:pt x="141922" y="90923"/>
                    </a:lnTo>
                    <a:cubicBezTo>
                      <a:pt x="139065" y="88093"/>
                      <a:pt x="134302" y="88093"/>
                      <a:pt x="131445" y="90923"/>
                    </a:cubicBezTo>
                    <a:moveTo>
                      <a:pt x="116205" y="106961"/>
                    </a:moveTo>
                    <a:lnTo>
                      <a:pt x="113347" y="107905"/>
                    </a:lnTo>
                    <a:cubicBezTo>
                      <a:pt x="110490" y="110735"/>
                      <a:pt x="110490" y="115452"/>
                      <a:pt x="113347" y="118282"/>
                    </a:cubicBezTo>
                    <a:lnTo>
                      <a:pt x="120015" y="124886"/>
                    </a:lnTo>
                    <a:cubicBezTo>
                      <a:pt x="122872" y="127717"/>
                      <a:pt x="127635" y="127717"/>
                      <a:pt x="130493" y="124886"/>
                    </a:cubicBezTo>
                    <a:lnTo>
                      <a:pt x="133350" y="123943"/>
                    </a:lnTo>
                    <a:cubicBezTo>
                      <a:pt x="136208" y="121113"/>
                      <a:pt x="136208" y="116396"/>
                      <a:pt x="133350" y="113565"/>
                    </a:cubicBezTo>
                    <a:lnTo>
                      <a:pt x="126683" y="106961"/>
                    </a:lnTo>
                    <a:cubicBezTo>
                      <a:pt x="121920" y="103188"/>
                      <a:pt x="118110" y="103188"/>
                      <a:pt x="116205" y="106961"/>
                    </a:cubicBezTo>
                    <a:moveTo>
                      <a:pt x="113347" y="142812"/>
                    </a:moveTo>
                    <a:lnTo>
                      <a:pt x="116205" y="139981"/>
                    </a:lnTo>
                    <a:cubicBezTo>
                      <a:pt x="119063" y="137151"/>
                      <a:pt x="119063" y="132434"/>
                      <a:pt x="116205" y="129603"/>
                    </a:cubicBezTo>
                    <a:lnTo>
                      <a:pt x="107633" y="122056"/>
                    </a:lnTo>
                    <a:cubicBezTo>
                      <a:pt x="104775" y="119226"/>
                      <a:pt x="100013" y="119226"/>
                      <a:pt x="97155" y="122056"/>
                    </a:cubicBezTo>
                    <a:lnTo>
                      <a:pt x="94297" y="124886"/>
                    </a:lnTo>
                    <a:cubicBezTo>
                      <a:pt x="91440" y="127717"/>
                      <a:pt x="91440" y="132434"/>
                      <a:pt x="94297" y="135264"/>
                    </a:cubicBezTo>
                    <a:lnTo>
                      <a:pt x="101918" y="142812"/>
                    </a:lnTo>
                    <a:cubicBezTo>
                      <a:pt x="105727" y="145642"/>
                      <a:pt x="110490" y="145642"/>
                      <a:pt x="113347" y="142812"/>
                    </a:cubicBezTo>
                    <a:moveTo>
                      <a:pt x="79058" y="139038"/>
                    </a:moveTo>
                    <a:lnTo>
                      <a:pt x="76200" y="141868"/>
                    </a:lnTo>
                    <a:cubicBezTo>
                      <a:pt x="73342" y="144698"/>
                      <a:pt x="73342" y="149416"/>
                      <a:pt x="76200" y="152246"/>
                    </a:cubicBezTo>
                    <a:lnTo>
                      <a:pt x="83820" y="159793"/>
                    </a:lnTo>
                    <a:cubicBezTo>
                      <a:pt x="86677" y="162623"/>
                      <a:pt x="91440" y="162623"/>
                      <a:pt x="94297" y="159793"/>
                    </a:cubicBezTo>
                    <a:lnTo>
                      <a:pt x="97155" y="156963"/>
                    </a:lnTo>
                    <a:cubicBezTo>
                      <a:pt x="100013" y="154133"/>
                      <a:pt x="100013" y="149416"/>
                      <a:pt x="97155" y="146585"/>
                    </a:cubicBezTo>
                    <a:lnTo>
                      <a:pt x="89535" y="139038"/>
                    </a:lnTo>
                    <a:cubicBezTo>
                      <a:pt x="86677" y="136208"/>
                      <a:pt x="81915" y="136208"/>
                      <a:pt x="79058" y="139038"/>
                    </a:cubicBezTo>
                    <a:moveTo>
                      <a:pt x="80010" y="175832"/>
                    </a:moveTo>
                    <a:cubicBezTo>
                      <a:pt x="82867" y="173001"/>
                      <a:pt x="82867" y="168284"/>
                      <a:pt x="80010" y="165454"/>
                    </a:cubicBezTo>
                    <a:lnTo>
                      <a:pt x="70485" y="156020"/>
                    </a:lnTo>
                    <a:cubicBezTo>
                      <a:pt x="67627" y="153189"/>
                      <a:pt x="62865" y="153189"/>
                      <a:pt x="60007" y="156020"/>
                    </a:cubicBezTo>
                    <a:lnTo>
                      <a:pt x="57150" y="158850"/>
                    </a:lnTo>
                    <a:cubicBezTo>
                      <a:pt x="54292" y="161680"/>
                      <a:pt x="54292" y="166397"/>
                      <a:pt x="57150" y="169228"/>
                    </a:cubicBezTo>
                    <a:lnTo>
                      <a:pt x="66675" y="176775"/>
                    </a:lnTo>
                    <a:cubicBezTo>
                      <a:pt x="69533" y="179605"/>
                      <a:pt x="74295" y="179605"/>
                      <a:pt x="77152" y="176775"/>
                    </a:cubicBezTo>
                    <a:lnTo>
                      <a:pt x="80010" y="175832"/>
                    </a:lnTo>
                    <a:close/>
                    <a:moveTo>
                      <a:pt x="191452" y="97527"/>
                    </a:moveTo>
                    <a:lnTo>
                      <a:pt x="191452" y="97527"/>
                    </a:lnTo>
                    <a:cubicBezTo>
                      <a:pt x="194310" y="93753"/>
                      <a:pt x="194310" y="89980"/>
                      <a:pt x="191452" y="87149"/>
                    </a:cubicBezTo>
                    <a:lnTo>
                      <a:pt x="185738" y="83376"/>
                    </a:lnTo>
                    <a:cubicBezTo>
                      <a:pt x="182880" y="80545"/>
                      <a:pt x="178118" y="82432"/>
                      <a:pt x="176213" y="84319"/>
                    </a:cubicBezTo>
                    <a:lnTo>
                      <a:pt x="176213" y="86206"/>
                    </a:lnTo>
                    <a:cubicBezTo>
                      <a:pt x="173355" y="89036"/>
                      <a:pt x="175260" y="92810"/>
                      <a:pt x="177165" y="95640"/>
                    </a:cubicBezTo>
                    <a:lnTo>
                      <a:pt x="182880" y="99414"/>
                    </a:lnTo>
                    <a:cubicBezTo>
                      <a:pt x="184785" y="100357"/>
                      <a:pt x="189547" y="100357"/>
                      <a:pt x="191452" y="97527"/>
                    </a:cubicBezTo>
                    <a:moveTo>
                      <a:pt x="179070" y="113565"/>
                    </a:moveTo>
                    <a:lnTo>
                      <a:pt x="180022" y="112622"/>
                    </a:lnTo>
                    <a:cubicBezTo>
                      <a:pt x="182880" y="109792"/>
                      <a:pt x="180975" y="106018"/>
                      <a:pt x="179070" y="103188"/>
                    </a:cubicBezTo>
                    <a:lnTo>
                      <a:pt x="172402" y="97527"/>
                    </a:lnTo>
                    <a:cubicBezTo>
                      <a:pt x="169545" y="94697"/>
                      <a:pt x="164783" y="94697"/>
                      <a:pt x="162877" y="97527"/>
                    </a:cubicBezTo>
                    <a:lnTo>
                      <a:pt x="161925" y="98470"/>
                    </a:lnTo>
                    <a:cubicBezTo>
                      <a:pt x="159068" y="101301"/>
                      <a:pt x="160972" y="105074"/>
                      <a:pt x="162877" y="107905"/>
                    </a:cubicBezTo>
                    <a:lnTo>
                      <a:pt x="169545" y="113565"/>
                    </a:lnTo>
                    <a:cubicBezTo>
                      <a:pt x="172402" y="115452"/>
                      <a:pt x="176213" y="115452"/>
                      <a:pt x="179070" y="113565"/>
                    </a:cubicBezTo>
                    <a:moveTo>
                      <a:pt x="165735" y="128660"/>
                    </a:moveTo>
                    <a:lnTo>
                      <a:pt x="166688" y="127717"/>
                    </a:lnTo>
                    <a:cubicBezTo>
                      <a:pt x="169545" y="124886"/>
                      <a:pt x="169545" y="120169"/>
                      <a:pt x="165735" y="118282"/>
                    </a:cubicBezTo>
                    <a:lnTo>
                      <a:pt x="159068" y="112622"/>
                    </a:lnTo>
                    <a:cubicBezTo>
                      <a:pt x="156210" y="109792"/>
                      <a:pt x="151447" y="109792"/>
                      <a:pt x="148590" y="112622"/>
                    </a:cubicBezTo>
                    <a:lnTo>
                      <a:pt x="147638" y="114509"/>
                    </a:lnTo>
                    <a:cubicBezTo>
                      <a:pt x="144780" y="117339"/>
                      <a:pt x="144780" y="121113"/>
                      <a:pt x="148590" y="123943"/>
                    </a:cubicBezTo>
                    <a:lnTo>
                      <a:pt x="155258" y="129603"/>
                    </a:lnTo>
                    <a:cubicBezTo>
                      <a:pt x="159068" y="131490"/>
                      <a:pt x="162877" y="131490"/>
                      <a:pt x="165735" y="128660"/>
                    </a:cubicBezTo>
                    <a:moveTo>
                      <a:pt x="151447" y="145642"/>
                    </a:moveTo>
                    <a:lnTo>
                      <a:pt x="152400" y="144698"/>
                    </a:lnTo>
                    <a:cubicBezTo>
                      <a:pt x="155258" y="141868"/>
                      <a:pt x="155258" y="137151"/>
                      <a:pt x="151447" y="134321"/>
                    </a:cubicBezTo>
                    <a:lnTo>
                      <a:pt x="143827" y="127717"/>
                    </a:lnTo>
                    <a:cubicBezTo>
                      <a:pt x="140970" y="124886"/>
                      <a:pt x="136208" y="124886"/>
                      <a:pt x="133350" y="127717"/>
                    </a:cubicBezTo>
                    <a:lnTo>
                      <a:pt x="132397" y="128660"/>
                    </a:lnTo>
                    <a:cubicBezTo>
                      <a:pt x="129540" y="131490"/>
                      <a:pt x="129540" y="135264"/>
                      <a:pt x="132397" y="139038"/>
                    </a:cubicBezTo>
                    <a:lnTo>
                      <a:pt x="139065" y="145642"/>
                    </a:lnTo>
                    <a:cubicBezTo>
                      <a:pt x="142875" y="148472"/>
                      <a:pt x="148590" y="148472"/>
                      <a:pt x="151447" y="145642"/>
                    </a:cubicBezTo>
                    <a:moveTo>
                      <a:pt x="127635" y="165454"/>
                    </a:moveTo>
                    <a:cubicBezTo>
                      <a:pt x="130493" y="162623"/>
                      <a:pt x="134302" y="161680"/>
                      <a:pt x="138113" y="158850"/>
                    </a:cubicBezTo>
                    <a:cubicBezTo>
                      <a:pt x="139065" y="156020"/>
                      <a:pt x="138113" y="153189"/>
                      <a:pt x="135255" y="151302"/>
                    </a:cubicBezTo>
                    <a:lnTo>
                      <a:pt x="127635" y="142812"/>
                    </a:lnTo>
                    <a:cubicBezTo>
                      <a:pt x="124777" y="139981"/>
                      <a:pt x="120015" y="139981"/>
                      <a:pt x="117158" y="142812"/>
                    </a:cubicBezTo>
                    <a:lnTo>
                      <a:pt x="116205" y="145642"/>
                    </a:lnTo>
                    <a:cubicBezTo>
                      <a:pt x="113347" y="148472"/>
                      <a:pt x="113347" y="153189"/>
                      <a:pt x="116205" y="156020"/>
                    </a:cubicBezTo>
                    <a:lnTo>
                      <a:pt x="123825" y="163567"/>
                    </a:lnTo>
                    <a:cubicBezTo>
                      <a:pt x="124777" y="163567"/>
                      <a:pt x="126683" y="163567"/>
                      <a:pt x="127635" y="165454"/>
                    </a:cubicBezTo>
                    <a:moveTo>
                      <a:pt x="120968" y="169228"/>
                    </a:moveTo>
                    <a:cubicBezTo>
                      <a:pt x="120968" y="168284"/>
                      <a:pt x="120015" y="168284"/>
                      <a:pt x="120015" y="166397"/>
                    </a:cubicBezTo>
                    <a:lnTo>
                      <a:pt x="112395" y="158850"/>
                    </a:lnTo>
                    <a:cubicBezTo>
                      <a:pt x="109538" y="156020"/>
                      <a:pt x="104775" y="156020"/>
                      <a:pt x="101918" y="158850"/>
                    </a:cubicBezTo>
                    <a:lnTo>
                      <a:pt x="99060" y="161680"/>
                    </a:lnTo>
                    <a:cubicBezTo>
                      <a:pt x="96202" y="164510"/>
                      <a:pt x="96202" y="169228"/>
                      <a:pt x="99060" y="172058"/>
                    </a:cubicBezTo>
                    <a:lnTo>
                      <a:pt x="106680" y="179605"/>
                    </a:lnTo>
                    <a:cubicBezTo>
                      <a:pt x="110490" y="176775"/>
                      <a:pt x="116205" y="173001"/>
                      <a:pt x="120968" y="169228"/>
                    </a:cubicBezTo>
                    <a:moveTo>
                      <a:pt x="82867" y="188096"/>
                    </a:moveTo>
                    <a:cubicBezTo>
                      <a:pt x="86677" y="187153"/>
                      <a:pt x="92393" y="185266"/>
                      <a:pt x="96202" y="182436"/>
                    </a:cubicBezTo>
                    <a:lnTo>
                      <a:pt x="96202" y="182436"/>
                    </a:lnTo>
                    <a:cubicBezTo>
                      <a:pt x="97155" y="181492"/>
                      <a:pt x="100013" y="181492"/>
                      <a:pt x="101918" y="179605"/>
                    </a:cubicBezTo>
                    <a:lnTo>
                      <a:pt x="95250" y="173001"/>
                    </a:lnTo>
                    <a:cubicBezTo>
                      <a:pt x="92393" y="170171"/>
                      <a:pt x="87630" y="169228"/>
                      <a:pt x="84773" y="173001"/>
                    </a:cubicBezTo>
                    <a:lnTo>
                      <a:pt x="81915" y="175832"/>
                    </a:lnTo>
                    <a:cubicBezTo>
                      <a:pt x="79058" y="178662"/>
                      <a:pt x="79058" y="183379"/>
                      <a:pt x="81915" y="186209"/>
                    </a:cubicBezTo>
                    <a:lnTo>
                      <a:pt x="82867" y="188096"/>
                    </a:lnTo>
                    <a:close/>
                    <a:moveTo>
                      <a:pt x="145733" y="63564"/>
                    </a:moveTo>
                    <a:cubicBezTo>
                      <a:pt x="148590" y="66394"/>
                      <a:pt x="152400" y="67337"/>
                      <a:pt x="155258" y="64507"/>
                    </a:cubicBezTo>
                    <a:lnTo>
                      <a:pt x="156210" y="63564"/>
                    </a:lnTo>
                    <a:cubicBezTo>
                      <a:pt x="159068" y="60733"/>
                      <a:pt x="159068" y="56960"/>
                      <a:pt x="157163" y="54129"/>
                    </a:cubicBezTo>
                    <a:lnTo>
                      <a:pt x="153352" y="48469"/>
                    </a:lnTo>
                    <a:cubicBezTo>
                      <a:pt x="150495" y="45638"/>
                      <a:pt x="146685" y="44695"/>
                      <a:pt x="143827" y="47525"/>
                    </a:cubicBezTo>
                    <a:lnTo>
                      <a:pt x="142875" y="48469"/>
                    </a:lnTo>
                    <a:cubicBezTo>
                      <a:pt x="140018" y="51299"/>
                      <a:pt x="139065" y="55073"/>
                      <a:pt x="141922" y="57903"/>
                    </a:cubicBezTo>
                    <a:lnTo>
                      <a:pt x="145733" y="63564"/>
                    </a:lnTo>
                    <a:close/>
                    <a:moveTo>
                      <a:pt x="176213" y="51299"/>
                    </a:moveTo>
                    <a:lnTo>
                      <a:pt x="176213" y="51299"/>
                    </a:lnTo>
                    <a:cubicBezTo>
                      <a:pt x="172402" y="55073"/>
                      <a:pt x="172402" y="58846"/>
                      <a:pt x="175260" y="61677"/>
                    </a:cubicBezTo>
                    <a:lnTo>
                      <a:pt x="180975" y="67337"/>
                    </a:lnTo>
                    <a:cubicBezTo>
                      <a:pt x="183833" y="70168"/>
                      <a:pt x="187643" y="70168"/>
                      <a:pt x="190500" y="67337"/>
                    </a:cubicBezTo>
                    <a:lnTo>
                      <a:pt x="191452" y="66394"/>
                    </a:lnTo>
                    <a:cubicBezTo>
                      <a:pt x="194310" y="63564"/>
                      <a:pt x="194310" y="59790"/>
                      <a:pt x="191452" y="56960"/>
                    </a:cubicBezTo>
                    <a:lnTo>
                      <a:pt x="185738" y="51299"/>
                    </a:lnTo>
                    <a:cubicBezTo>
                      <a:pt x="182880" y="48469"/>
                      <a:pt x="179070" y="48469"/>
                      <a:pt x="176213" y="51299"/>
                    </a:cubicBezTo>
                    <a:moveTo>
                      <a:pt x="203835" y="83376"/>
                    </a:moveTo>
                    <a:lnTo>
                      <a:pt x="203835" y="83376"/>
                    </a:lnTo>
                    <a:cubicBezTo>
                      <a:pt x="206693" y="79602"/>
                      <a:pt x="206693" y="75828"/>
                      <a:pt x="203835" y="72998"/>
                    </a:cubicBezTo>
                    <a:lnTo>
                      <a:pt x="198120" y="69224"/>
                    </a:lnTo>
                    <a:cubicBezTo>
                      <a:pt x="195263" y="66394"/>
                      <a:pt x="191452" y="68281"/>
                      <a:pt x="188595" y="70168"/>
                    </a:cubicBezTo>
                    <a:lnTo>
                      <a:pt x="187643" y="71111"/>
                    </a:lnTo>
                    <a:cubicBezTo>
                      <a:pt x="184785" y="73941"/>
                      <a:pt x="186690" y="77715"/>
                      <a:pt x="188595" y="80545"/>
                    </a:cubicBezTo>
                    <a:lnTo>
                      <a:pt x="194310" y="84319"/>
                    </a:lnTo>
                    <a:cubicBezTo>
                      <a:pt x="197168" y="86206"/>
                      <a:pt x="200977" y="86206"/>
                      <a:pt x="203835" y="83376"/>
                    </a:cubicBezTo>
                    <a:moveTo>
                      <a:pt x="160020" y="52242"/>
                    </a:moveTo>
                    <a:cubicBezTo>
                      <a:pt x="162877" y="55073"/>
                      <a:pt x="166688" y="56016"/>
                      <a:pt x="169545" y="53186"/>
                    </a:cubicBezTo>
                    <a:lnTo>
                      <a:pt x="170497" y="52242"/>
                    </a:lnTo>
                    <a:cubicBezTo>
                      <a:pt x="173355" y="49412"/>
                      <a:pt x="173355" y="45638"/>
                      <a:pt x="171450" y="42808"/>
                    </a:cubicBezTo>
                    <a:lnTo>
                      <a:pt x="167640" y="37147"/>
                    </a:lnTo>
                    <a:cubicBezTo>
                      <a:pt x="164783" y="34317"/>
                      <a:pt x="160972" y="33374"/>
                      <a:pt x="158115" y="36204"/>
                    </a:cubicBezTo>
                    <a:lnTo>
                      <a:pt x="157163" y="37147"/>
                    </a:lnTo>
                    <a:cubicBezTo>
                      <a:pt x="154305" y="39978"/>
                      <a:pt x="154305" y="43752"/>
                      <a:pt x="156210" y="46582"/>
                    </a:cubicBezTo>
                    <a:lnTo>
                      <a:pt x="160020" y="52242"/>
                    </a:lnTo>
                    <a:close/>
                    <a:moveTo>
                      <a:pt x="231458" y="14505"/>
                    </a:moveTo>
                    <a:cubicBezTo>
                      <a:pt x="234315" y="17336"/>
                      <a:pt x="238125" y="17336"/>
                      <a:pt x="240983" y="14505"/>
                    </a:cubicBezTo>
                    <a:cubicBezTo>
                      <a:pt x="243840" y="11675"/>
                      <a:pt x="243840" y="7901"/>
                      <a:pt x="240983" y="6958"/>
                    </a:cubicBezTo>
                    <a:lnTo>
                      <a:pt x="238125" y="4127"/>
                    </a:lnTo>
                    <a:cubicBezTo>
                      <a:pt x="235268" y="1297"/>
                      <a:pt x="231458" y="1297"/>
                      <a:pt x="228600" y="4127"/>
                    </a:cubicBezTo>
                    <a:cubicBezTo>
                      <a:pt x="225743" y="6958"/>
                      <a:pt x="225743" y="10732"/>
                      <a:pt x="228600" y="11675"/>
                    </a:cubicBezTo>
                    <a:lnTo>
                      <a:pt x="231458" y="14505"/>
                    </a:lnTo>
                    <a:close/>
                    <a:moveTo>
                      <a:pt x="211455" y="25826"/>
                    </a:moveTo>
                    <a:cubicBezTo>
                      <a:pt x="208597" y="22996"/>
                      <a:pt x="204788" y="22996"/>
                      <a:pt x="201930" y="25826"/>
                    </a:cubicBezTo>
                    <a:lnTo>
                      <a:pt x="201930" y="25826"/>
                    </a:lnTo>
                    <a:cubicBezTo>
                      <a:pt x="199072" y="28657"/>
                      <a:pt x="199072" y="32430"/>
                      <a:pt x="201930" y="35261"/>
                    </a:cubicBezTo>
                    <a:lnTo>
                      <a:pt x="205740" y="39034"/>
                    </a:lnTo>
                    <a:cubicBezTo>
                      <a:pt x="208597" y="41865"/>
                      <a:pt x="212408" y="41865"/>
                      <a:pt x="215265" y="39034"/>
                    </a:cubicBezTo>
                    <a:lnTo>
                      <a:pt x="215265" y="39034"/>
                    </a:lnTo>
                    <a:cubicBezTo>
                      <a:pt x="218122" y="36204"/>
                      <a:pt x="218122" y="32430"/>
                      <a:pt x="215265" y="29600"/>
                    </a:cubicBezTo>
                    <a:lnTo>
                      <a:pt x="211455" y="25826"/>
                    </a:lnTo>
                    <a:close/>
                    <a:moveTo>
                      <a:pt x="201930" y="52242"/>
                    </a:moveTo>
                    <a:lnTo>
                      <a:pt x="201930" y="52242"/>
                    </a:lnTo>
                    <a:cubicBezTo>
                      <a:pt x="205740" y="48469"/>
                      <a:pt x="205740" y="44695"/>
                      <a:pt x="202883" y="42808"/>
                    </a:cubicBezTo>
                    <a:lnTo>
                      <a:pt x="197168" y="37147"/>
                    </a:lnTo>
                    <a:cubicBezTo>
                      <a:pt x="194310" y="34317"/>
                      <a:pt x="190500" y="34317"/>
                      <a:pt x="187643" y="37147"/>
                    </a:cubicBezTo>
                    <a:lnTo>
                      <a:pt x="187643" y="39034"/>
                    </a:lnTo>
                    <a:cubicBezTo>
                      <a:pt x="184785" y="41865"/>
                      <a:pt x="184785" y="45638"/>
                      <a:pt x="187643" y="48469"/>
                    </a:cubicBezTo>
                    <a:lnTo>
                      <a:pt x="193358" y="52242"/>
                    </a:lnTo>
                    <a:cubicBezTo>
                      <a:pt x="195263" y="55073"/>
                      <a:pt x="200025" y="55073"/>
                      <a:pt x="201930" y="52242"/>
                    </a:cubicBezTo>
                    <a:moveTo>
                      <a:pt x="222885" y="40921"/>
                    </a:moveTo>
                    <a:lnTo>
                      <a:pt x="226695" y="43752"/>
                    </a:lnTo>
                    <a:cubicBezTo>
                      <a:pt x="229552" y="44695"/>
                      <a:pt x="233363" y="44695"/>
                      <a:pt x="234315" y="42808"/>
                    </a:cubicBezTo>
                    <a:lnTo>
                      <a:pt x="234315" y="42808"/>
                    </a:lnTo>
                    <a:cubicBezTo>
                      <a:pt x="235268" y="39978"/>
                      <a:pt x="235268" y="36204"/>
                      <a:pt x="231458" y="35261"/>
                    </a:cubicBezTo>
                    <a:lnTo>
                      <a:pt x="227647" y="32430"/>
                    </a:lnTo>
                    <a:cubicBezTo>
                      <a:pt x="224790" y="31487"/>
                      <a:pt x="220980" y="31487"/>
                      <a:pt x="220027" y="33374"/>
                    </a:cubicBezTo>
                    <a:lnTo>
                      <a:pt x="220027" y="33374"/>
                    </a:lnTo>
                    <a:cubicBezTo>
                      <a:pt x="219075" y="35261"/>
                      <a:pt x="220980" y="38091"/>
                      <a:pt x="222885" y="40921"/>
                    </a:cubicBezTo>
                    <a:moveTo>
                      <a:pt x="211455" y="44695"/>
                    </a:moveTo>
                    <a:lnTo>
                      <a:pt x="211455" y="44695"/>
                    </a:lnTo>
                    <a:cubicBezTo>
                      <a:pt x="208597" y="47525"/>
                      <a:pt x="210502" y="51299"/>
                      <a:pt x="212408" y="54129"/>
                    </a:cubicBezTo>
                    <a:lnTo>
                      <a:pt x="218122" y="57903"/>
                    </a:lnTo>
                    <a:cubicBezTo>
                      <a:pt x="220980" y="60733"/>
                      <a:pt x="224790" y="58846"/>
                      <a:pt x="227647" y="56960"/>
                    </a:cubicBezTo>
                    <a:lnTo>
                      <a:pt x="227647" y="56016"/>
                    </a:lnTo>
                    <a:cubicBezTo>
                      <a:pt x="230505" y="53186"/>
                      <a:pt x="228600" y="49412"/>
                      <a:pt x="226695" y="48469"/>
                    </a:cubicBezTo>
                    <a:lnTo>
                      <a:pt x="220980" y="45638"/>
                    </a:lnTo>
                    <a:cubicBezTo>
                      <a:pt x="218122" y="41865"/>
                      <a:pt x="214313" y="41865"/>
                      <a:pt x="211455" y="44695"/>
                    </a:cubicBezTo>
                    <a:moveTo>
                      <a:pt x="215265" y="70168"/>
                    </a:moveTo>
                    <a:lnTo>
                      <a:pt x="215265" y="70168"/>
                    </a:lnTo>
                    <a:cubicBezTo>
                      <a:pt x="218122" y="66394"/>
                      <a:pt x="218122" y="62620"/>
                      <a:pt x="215265" y="60733"/>
                    </a:cubicBezTo>
                    <a:lnTo>
                      <a:pt x="209550" y="56960"/>
                    </a:lnTo>
                    <a:cubicBezTo>
                      <a:pt x="206693" y="54129"/>
                      <a:pt x="202883" y="56016"/>
                      <a:pt x="200025" y="57903"/>
                    </a:cubicBezTo>
                    <a:lnTo>
                      <a:pt x="199072" y="58846"/>
                    </a:lnTo>
                    <a:cubicBezTo>
                      <a:pt x="196215" y="61677"/>
                      <a:pt x="198120" y="65450"/>
                      <a:pt x="200025" y="66394"/>
                    </a:cubicBezTo>
                    <a:lnTo>
                      <a:pt x="205740" y="70168"/>
                    </a:lnTo>
                    <a:cubicBezTo>
                      <a:pt x="210502" y="72998"/>
                      <a:pt x="214313" y="72998"/>
                      <a:pt x="215265" y="70168"/>
                    </a:cubicBezTo>
                    <a:moveTo>
                      <a:pt x="240030" y="18279"/>
                    </a:moveTo>
                    <a:lnTo>
                      <a:pt x="236220" y="17336"/>
                    </a:lnTo>
                    <a:cubicBezTo>
                      <a:pt x="233363" y="16392"/>
                      <a:pt x="229552" y="17336"/>
                      <a:pt x="228600" y="20166"/>
                    </a:cubicBezTo>
                    <a:lnTo>
                      <a:pt x="228600" y="20166"/>
                    </a:lnTo>
                    <a:lnTo>
                      <a:pt x="227647" y="19222"/>
                    </a:lnTo>
                    <a:lnTo>
                      <a:pt x="223838" y="15449"/>
                    </a:lnTo>
                    <a:lnTo>
                      <a:pt x="221933" y="13562"/>
                    </a:lnTo>
                    <a:lnTo>
                      <a:pt x="221933" y="13562"/>
                    </a:lnTo>
                    <a:cubicBezTo>
                      <a:pt x="224790" y="12618"/>
                      <a:pt x="225743" y="9788"/>
                      <a:pt x="224790" y="6014"/>
                    </a:cubicBezTo>
                    <a:lnTo>
                      <a:pt x="223838" y="3184"/>
                    </a:lnTo>
                    <a:cubicBezTo>
                      <a:pt x="222885" y="354"/>
                      <a:pt x="218122" y="-590"/>
                      <a:pt x="216218" y="354"/>
                    </a:cubicBezTo>
                    <a:cubicBezTo>
                      <a:pt x="212408" y="1297"/>
                      <a:pt x="211455" y="5071"/>
                      <a:pt x="212408" y="7901"/>
                    </a:cubicBezTo>
                    <a:lnTo>
                      <a:pt x="215265" y="11675"/>
                    </a:lnTo>
                    <a:cubicBezTo>
                      <a:pt x="216218" y="12618"/>
                      <a:pt x="216218" y="14505"/>
                      <a:pt x="218122" y="14505"/>
                    </a:cubicBezTo>
                    <a:cubicBezTo>
                      <a:pt x="217170" y="14505"/>
                      <a:pt x="215265" y="15449"/>
                      <a:pt x="215265" y="15449"/>
                    </a:cubicBezTo>
                    <a:lnTo>
                      <a:pt x="215265" y="15449"/>
                    </a:lnTo>
                    <a:cubicBezTo>
                      <a:pt x="212408" y="18279"/>
                      <a:pt x="212408" y="22053"/>
                      <a:pt x="215265" y="22996"/>
                    </a:cubicBezTo>
                    <a:lnTo>
                      <a:pt x="219075" y="26770"/>
                    </a:lnTo>
                    <a:cubicBezTo>
                      <a:pt x="221933" y="29600"/>
                      <a:pt x="225743" y="29600"/>
                      <a:pt x="228600" y="26770"/>
                    </a:cubicBezTo>
                    <a:lnTo>
                      <a:pt x="228600" y="26770"/>
                    </a:lnTo>
                    <a:cubicBezTo>
                      <a:pt x="229552" y="25826"/>
                      <a:pt x="229552" y="25826"/>
                      <a:pt x="229552" y="23940"/>
                    </a:cubicBezTo>
                    <a:cubicBezTo>
                      <a:pt x="229552" y="24883"/>
                      <a:pt x="230505" y="26770"/>
                      <a:pt x="232410" y="26770"/>
                    </a:cubicBezTo>
                    <a:lnTo>
                      <a:pt x="236220" y="29600"/>
                    </a:lnTo>
                    <a:cubicBezTo>
                      <a:pt x="239077" y="30544"/>
                      <a:pt x="242888" y="29600"/>
                      <a:pt x="243840" y="26770"/>
                    </a:cubicBezTo>
                    <a:cubicBezTo>
                      <a:pt x="245745" y="23940"/>
                      <a:pt x="243840" y="20166"/>
                      <a:pt x="240030" y="18279"/>
                    </a:cubicBezTo>
                    <a:moveTo>
                      <a:pt x="200977" y="20166"/>
                    </a:moveTo>
                    <a:cubicBezTo>
                      <a:pt x="201930" y="22996"/>
                      <a:pt x="206693" y="23940"/>
                      <a:pt x="208597" y="22996"/>
                    </a:cubicBezTo>
                    <a:lnTo>
                      <a:pt x="208597" y="22996"/>
                    </a:lnTo>
                    <a:cubicBezTo>
                      <a:pt x="211455" y="22053"/>
                      <a:pt x="212408" y="17336"/>
                      <a:pt x="209550" y="15449"/>
                    </a:cubicBezTo>
                    <a:lnTo>
                      <a:pt x="207645" y="10732"/>
                    </a:lnTo>
                    <a:cubicBezTo>
                      <a:pt x="206693" y="7901"/>
                      <a:pt x="201930" y="6958"/>
                      <a:pt x="200025" y="7901"/>
                    </a:cubicBezTo>
                    <a:lnTo>
                      <a:pt x="200025" y="7901"/>
                    </a:lnTo>
                    <a:cubicBezTo>
                      <a:pt x="197168" y="8845"/>
                      <a:pt x="196215" y="13562"/>
                      <a:pt x="199072" y="15449"/>
                    </a:cubicBezTo>
                    <a:lnTo>
                      <a:pt x="200977" y="20166"/>
                    </a:lnTo>
                    <a:close/>
                    <a:moveTo>
                      <a:pt x="187643" y="28657"/>
                    </a:moveTo>
                    <a:cubicBezTo>
                      <a:pt x="190500" y="31487"/>
                      <a:pt x="193358" y="32430"/>
                      <a:pt x="195263" y="29600"/>
                    </a:cubicBezTo>
                    <a:lnTo>
                      <a:pt x="195263" y="29600"/>
                    </a:lnTo>
                    <a:cubicBezTo>
                      <a:pt x="198120" y="28657"/>
                      <a:pt x="198120" y="23940"/>
                      <a:pt x="196215" y="22053"/>
                    </a:cubicBezTo>
                    <a:lnTo>
                      <a:pt x="193358" y="17336"/>
                    </a:lnTo>
                    <a:cubicBezTo>
                      <a:pt x="190500" y="14505"/>
                      <a:pt x="187643" y="13562"/>
                      <a:pt x="183833" y="16392"/>
                    </a:cubicBezTo>
                    <a:lnTo>
                      <a:pt x="183833" y="16392"/>
                    </a:lnTo>
                    <a:cubicBezTo>
                      <a:pt x="180975" y="17336"/>
                      <a:pt x="180975" y="22053"/>
                      <a:pt x="182880" y="23940"/>
                    </a:cubicBezTo>
                    <a:lnTo>
                      <a:pt x="187643" y="28657"/>
                    </a:lnTo>
                    <a:close/>
                    <a:moveTo>
                      <a:pt x="173355" y="40921"/>
                    </a:moveTo>
                    <a:cubicBezTo>
                      <a:pt x="176213" y="43752"/>
                      <a:pt x="180022" y="43752"/>
                      <a:pt x="182880" y="41865"/>
                    </a:cubicBezTo>
                    <a:lnTo>
                      <a:pt x="183833" y="40921"/>
                    </a:lnTo>
                    <a:cubicBezTo>
                      <a:pt x="186690" y="38091"/>
                      <a:pt x="186690" y="35261"/>
                      <a:pt x="184785" y="31487"/>
                    </a:cubicBezTo>
                    <a:lnTo>
                      <a:pt x="180975" y="25826"/>
                    </a:lnTo>
                    <a:cubicBezTo>
                      <a:pt x="178118" y="22996"/>
                      <a:pt x="174308" y="22053"/>
                      <a:pt x="171450" y="24883"/>
                    </a:cubicBezTo>
                    <a:lnTo>
                      <a:pt x="170497" y="25826"/>
                    </a:lnTo>
                    <a:cubicBezTo>
                      <a:pt x="167640" y="28657"/>
                      <a:pt x="167640" y="32430"/>
                      <a:pt x="169545" y="35261"/>
                    </a:cubicBezTo>
                    <a:lnTo>
                      <a:pt x="173355" y="40921"/>
                    </a:lnTo>
                    <a:close/>
                    <a:moveTo>
                      <a:pt x="130493" y="76772"/>
                    </a:moveTo>
                    <a:cubicBezTo>
                      <a:pt x="133350" y="79602"/>
                      <a:pt x="137160" y="80545"/>
                      <a:pt x="140018" y="77715"/>
                    </a:cubicBezTo>
                    <a:lnTo>
                      <a:pt x="140970" y="76772"/>
                    </a:lnTo>
                    <a:cubicBezTo>
                      <a:pt x="143827" y="73941"/>
                      <a:pt x="143827" y="70168"/>
                      <a:pt x="140970" y="67337"/>
                    </a:cubicBezTo>
                    <a:lnTo>
                      <a:pt x="137160" y="60733"/>
                    </a:lnTo>
                    <a:cubicBezTo>
                      <a:pt x="134302" y="57903"/>
                      <a:pt x="130493" y="56960"/>
                      <a:pt x="126683" y="59790"/>
                    </a:cubicBezTo>
                    <a:lnTo>
                      <a:pt x="125730" y="60733"/>
                    </a:lnTo>
                    <a:cubicBezTo>
                      <a:pt x="122872" y="63564"/>
                      <a:pt x="122872" y="67337"/>
                      <a:pt x="125730" y="70168"/>
                    </a:cubicBezTo>
                    <a:lnTo>
                      <a:pt x="130493" y="76772"/>
                    </a:lnTo>
                    <a:close/>
                    <a:moveTo>
                      <a:pt x="116205" y="90923"/>
                    </a:moveTo>
                    <a:cubicBezTo>
                      <a:pt x="119063" y="93753"/>
                      <a:pt x="122872" y="94697"/>
                      <a:pt x="126683" y="91866"/>
                    </a:cubicBezTo>
                    <a:lnTo>
                      <a:pt x="127635" y="90923"/>
                    </a:lnTo>
                    <a:cubicBezTo>
                      <a:pt x="130493" y="88093"/>
                      <a:pt x="130493" y="84319"/>
                      <a:pt x="127635" y="81489"/>
                    </a:cubicBezTo>
                    <a:lnTo>
                      <a:pt x="121920" y="74885"/>
                    </a:lnTo>
                    <a:cubicBezTo>
                      <a:pt x="119063" y="72054"/>
                      <a:pt x="115252" y="71111"/>
                      <a:pt x="111443" y="73941"/>
                    </a:cubicBezTo>
                    <a:lnTo>
                      <a:pt x="110490" y="74885"/>
                    </a:lnTo>
                    <a:cubicBezTo>
                      <a:pt x="107633" y="77715"/>
                      <a:pt x="107633" y="81489"/>
                      <a:pt x="110490" y="85262"/>
                    </a:cubicBezTo>
                    <a:lnTo>
                      <a:pt x="116205" y="90923"/>
                    </a:lnTo>
                    <a:close/>
                    <a:moveTo>
                      <a:pt x="105727" y="87149"/>
                    </a:moveTo>
                    <a:cubicBezTo>
                      <a:pt x="102870" y="84319"/>
                      <a:pt x="98108" y="84319"/>
                      <a:pt x="95250" y="87149"/>
                    </a:cubicBezTo>
                    <a:lnTo>
                      <a:pt x="92393" y="88093"/>
                    </a:lnTo>
                    <a:cubicBezTo>
                      <a:pt x="89535" y="90923"/>
                      <a:pt x="89535" y="94697"/>
                      <a:pt x="92393" y="98470"/>
                    </a:cubicBezTo>
                    <a:lnTo>
                      <a:pt x="99060" y="105074"/>
                    </a:lnTo>
                    <a:cubicBezTo>
                      <a:pt x="101918" y="107905"/>
                      <a:pt x="106680" y="107905"/>
                      <a:pt x="109538" y="106018"/>
                    </a:cubicBezTo>
                    <a:lnTo>
                      <a:pt x="110490" y="105074"/>
                    </a:lnTo>
                    <a:cubicBezTo>
                      <a:pt x="113347" y="102244"/>
                      <a:pt x="113347" y="98470"/>
                      <a:pt x="110490" y="94697"/>
                    </a:cubicBezTo>
                    <a:lnTo>
                      <a:pt x="105727" y="87149"/>
                    </a:lnTo>
                    <a:close/>
                    <a:moveTo>
                      <a:pt x="80010" y="100357"/>
                    </a:moveTo>
                    <a:cubicBezTo>
                      <a:pt x="77152" y="104131"/>
                      <a:pt x="74295" y="107905"/>
                      <a:pt x="72390" y="110735"/>
                    </a:cubicBezTo>
                    <a:lnTo>
                      <a:pt x="72390" y="110735"/>
                    </a:lnTo>
                    <a:lnTo>
                      <a:pt x="72390" y="110735"/>
                    </a:lnTo>
                    <a:cubicBezTo>
                      <a:pt x="72390" y="111678"/>
                      <a:pt x="73342" y="113565"/>
                      <a:pt x="73342" y="113565"/>
                    </a:cubicBezTo>
                    <a:lnTo>
                      <a:pt x="80963" y="121113"/>
                    </a:lnTo>
                    <a:cubicBezTo>
                      <a:pt x="83820" y="123943"/>
                      <a:pt x="88583" y="123943"/>
                      <a:pt x="91440" y="121113"/>
                    </a:cubicBezTo>
                    <a:lnTo>
                      <a:pt x="94297" y="118282"/>
                    </a:lnTo>
                    <a:cubicBezTo>
                      <a:pt x="97155" y="115452"/>
                      <a:pt x="97155" y="111678"/>
                      <a:pt x="94297" y="107905"/>
                    </a:cubicBezTo>
                    <a:lnTo>
                      <a:pt x="86677" y="100357"/>
                    </a:lnTo>
                    <a:cubicBezTo>
                      <a:pt x="85725" y="101301"/>
                      <a:pt x="82867" y="100357"/>
                      <a:pt x="80010" y="100357"/>
                    </a:cubicBezTo>
                    <a:moveTo>
                      <a:pt x="68580" y="117339"/>
                    </a:moveTo>
                    <a:cubicBezTo>
                      <a:pt x="64770" y="123000"/>
                      <a:pt x="60960" y="127717"/>
                      <a:pt x="58102" y="133377"/>
                    </a:cubicBezTo>
                    <a:lnTo>
                      <a:pt x="64770" y="139981"/>
                    </a:lnTo>
                    <a:cubicBezTo>
                      <a:pt x="67627" y="142812"/>
                      <a:pt x="72390" y="142812"/>
                      <a:pt x="75248" y="139981"/>
                    </a:cubicBezTo>
                    <a:lnTo>
                      <a:pt x="78105" y="137151"/>
                    </a:lnTo>
                    <a:cubicBezTo>
                      <a:pt x="80963" y="134321"/>
                      <a:pt x="80963" y="129603"/>
                      <a:pt x="78105" y="126773"/>
                    </a:cubicBezTo>
                    <a:lnTo>
                      <a:pt x="69533" y="118282"/>
                    </a:lnTo>
                    <a:lnTo>
                      <a:pt x="68580" y="117339"/>
                    </a:lnTo>
                    <a:moveTo>
                      <a:pt x="53340" y="141868"/>
                    </a:moveTo>
                    <a:lnTo>
                      <a:pt x="53340" y="141868"/>
                    </a:lnTo>
                    <a:cubicBezTo>
                      <a:pt x="50482" y="145642"/>
                      <a:pt x="49530" y="151302"/>
                      <a:pt x="47625" y="155076"/>
                    </a:cubicBezTo>
                    <a:lnTo>
                      <a:pt x="48577" y="156020"/>
                    </a:lnTo>
                    <a:cubicBezTo>
                      <a:pt x="51435" y="158850"/>
                      <a:pt x="56198" y="158850"/>
                      <a:pt x="59055" y="156020"/>
                    </a:cubicBezTo>
                    <a:lnTo>
                      <a:pt x="61913" y="153189"/>
                    </a:lnTo>
                    <a:cubicBezTo>
                      <a:pt x="64770" y="150359"/>
                      <a:pt x="64770" y="145642"/>
                      <a:pt x="60960" y="142812"/>
                    </a:cubicBezTo>
                    <a:lnTo>
                      <a:pt x="54292" y="136208"/>
                    </a:lnTo>
                    <a:cubicBezTo>
                      <a:pt x="54292" y="139038"/>
                      <a:pt x="54292" y="139981"/>
                      <a:pt x="53340" y="141868"/>
                    </a:cubicBezTo>
                    <a:moveTo>
                      <a:pt x="46673" y="171114"/>
                    </a:moveTo>
                    <a:lnTo>
                      <a:pt x="46673" y="172058"/>
                    </a:lnTo>
                    <a:cubicBezTo>
                      <a:pt x="46673" y="174888"/>
                      <a:pt x="46673" y="177718"/>
                      <a:pt x="47625" y="179605"/>
                    </a:cubicBezTo>
                    <a:cubicBezTo>
                      <a:pt x="47625" y="182436"/>
                      <a:pt x="48577" y="185266"/>
                      <a:pt x="48577" y="187153"/>
                    </a:cubicBezTo>
                    <a:lnTo>
                      <a:pt x="48577" y="187153"/>
                    </a:lnTo>
                    <a:lnTo>
                      <a:pt x="48577" y="187153"/>
                    </a:lnTo>
                    <a:cubicBezTo>
                      <a:pt x="51435" y="187153"/>
                      <a:pt x="54292" y="188096"/>
                      <a:pt x="56198" y="188096"/>
                    </a:cubicBezTo>
                    <a:cubicBezTo>
                      <a:pt x="59055" y="188096"/>
                      <a:pt x="60007" y="189040"/>
                      <a:pt x="62865" y="189040"/>
                    </a:cubicBezTo>
                    <a:lnTo>
                      <a:pt x="63817" y="189040"/>
                    </a:lnTo>
                    <a:cubicBezTo>
                      <a:pt x="67627" y="189040"/>
                      <a:pt x="71438" y="189040"/>
                      <a:pt x="77152" y="188096"/>
                    </a:cubicBezTo>
                    <a:lnTo>
                      <a:pt x="77152" y="188096"/>
                    </a:lnTo>
                    <a:cubicBezTo>
                      <a:pt x="74295" y="185266"/>
                      <a:pt x="69533" y="184322"/>
                      <a:pt x="66675" y="187153"/>
                    </a:cubicBezTo>
                    <a:lnTo>
                      <a:pt x="66675" y="187153"/>
                    </a:lnTo>
                    <a:cubicBezTo>
                      <a:pt x="66675" y="184322"/>
                      <a:pt x="66675" y="181492"/>
                      <a:pt x="63817" y="180549"/>
                    </a:cubicBezTo>
                    <a:lnTo>
                      <a:pt x="54292" y="171114"/>
                    </a:lnTo>
                    <a:cubicBezTo>
                      <a:pt x="53340" y="170171"/>
                      <a:pt x="50482" y="168284"/>
                      <a:pt x="47625" y="168284"/>
                    </a:cubicBezTo>
                    <a:lnTo>
                      <a:pt x="47625" y="168284"/>
                    </a:lnTo>
                    <a:cubicBezTo>
                      <a:pt x="50482" y="165454"/>
                      <a:pt x="50482" y="160737"/>
                      <a:pt x="46673" y="157906"/>
                    </a:cubicBezTo>
                    <a:cubicBezTo>
                      <a:pt x="46673" y="163567"/>
                      <a:pt x="46673" y="167341"/>
                      <a:pt x="46673" y="171114"/>
                    </a:cubicBezTo>
                    <a:moveTo>
                      <a:pt x="177165" y="144698"/>
                    </a:moveTo>
                    <a:cubicBezTo>
                      <a:pt x="160972" y="151302"/>
                      <a:pt x="145733" y="160737"/>
                      <a:pt x="131445" y="171114"/>
                    </a:cubicBezTo>
                    <a:cubicBezTo>
                      <a:pt x="125730" y="174888"/>
                      <a:pt x="121920" y="177718"/>
                      <a:pt x="117158" y="180549"/>
                    </a:cubicBezTo>
                    <a:cubicBezTo>
                      <a:pt x="116205" y="180549"/>
                      <a:pt x="114300" y="180549"/>
                      <a:pt x="114300" y="180549"/>
                    </a:cubicBezTo>
                    <a:cubicBezTo>
                      <a:pt x="110490" y="183379"/>
                      <a:pt x="107633" y="184322"/>
                      <a:pt x="104775" y="186209"/>
                    </a:cubicBezTo>
                    <a:cubicBezTo>
                      <a:pt x="101918" y="187153"/>
                      <a:pt x="100965" y="189040"/>
                      <a:pt x="98108" y="189040"/>
                    </a:cubicBezTo>
                    <a:cubicBezTo>
                      <a:pt x="94297" y="189983"/>
                      <a:pt x="90488" y="192813"/>
                      <a:pt x="87630" y="192813"/>
                    </a:cubicBezTo>
                    <a:cubicBezTo>
                      <a:pt x="86677" y="192813"/>
                      <a:pt x="83820" y="193757"/>
                      <a:pt x="81915" y="193757"/>
                    </a:cubicBezTo>
                    <a:cubicBezTo>
                      <a:pt x="74295" y="194700"/>
                      <a:pt x="65723" y="196587"/>
                      <a:pt x="60007" y="194700"/>
                    </a:cubicBezTo>
                    <a:lnTo>
                      <a:pt x="59055" y="194700"/>
                    </a:lnTo>
                    <a:cubicBezTo>
                      <a:pt x="58102" y="194700"/>
                      <a:pt x="56198" y="194700"/>
                      <a:pt x="55245" y="193757"/>
                    </a:cubicBezTo>
                    <a:cubicBezTo>
                      <a:pt x="54292" y="193757"/>
                      <a:pt x="51435" y="192813"/>
                      <a:pt x="49530" y="192813"/>
                    </a:cubicBezTo>
                    <a:cubicBezTo>
                      <a:pt x="49530" y="193757"/>
                      <a:pt x="49530" y="193757"/>
                      <a:pt x="49530" y="195643"/>
                    </a:cubicBezTo>
                    <a:cubicBezTo>
                      <a:pt x="50482" y="201304"/>
                      <a:pt x="49530" y="205078"/>
                      <a:pt x="45720" y="206965"/>
                    </a:cubicBezTo>
                    <a:cubicBezTo>
                      <a:pt x="45720" y="206965"/>
                      <a:pt x="44767" y="206965"/>
                      <a:pt x="44767" y="207908"/>
                    </a:cubicBezTo>
                    <a:cubicBezTo>
                      <a:pt x="44767" y="206965"/>
                      <a:pt x="43815" y="204134"/>
                      <a:pt x="41910" y="202248"/>
                    </a:cubicBezTo>
                    <a:lnTo>
                      <a:pt x="41910" y="202248"/>
                    </a:lnTo>
                    <a:cubicBezTo>
                      <a:pt x="41910" y="202248"/>
                      <a:pt x="41910" y="202248"/>
                      <a:pt x="42863" y="202248"/>
                    </a:cubicBezTo>
                    <a:cubicBezTo>
                      <a:pt x="45720" y="201304"/>
                      <a:pt x="43815" y="196587"/>
                      <a:pt x="42863" y="190926"/>
                    </a:cubicBezTo>
                    <a:cubicBezTo>
                      <a:pt x="42863" y="189983"/>
                      <a:pt x="42863" y="188096"/>
                      <a:pt x="41910" y="187153"/>
                    </a:cubicBezTo>
                    <a:cubicBezTo>
                      <a:pt x="41910" y="186209"/>
                      <a:pt x="41910" y="184322"/>
                      <a:pt x="40957" y="183379"/>
                    </a:cubicBezTo>
                    <a:cubicBezTo>
                      <a:pt x="40957" y="182436"/>
                      <a:pt x="40005" y="180549"/>
                      <a:pt x="40005" y="177718"/>
                    </a:cubicBezTo>
                    <a:cubicBezTo>
                      <a:pt x="40005" y="176775"/>
                      <a:pt x="39052" y="173945"/>
                      <a:pt x="39052" y="172058"/>
                    </a:cubicBezTo>
                    <a:lnTo>
                      <a:pt x="39052" y="172058"/>
                    </a:lnTo>
                    <a:cubicBezTo>
                      <a:pt x="38100" y="165454"/>
                      <a:pt x="39052" y="158850"/>
                      <a:pt x="40005" y="151302"/>
                    </a:cubicBezTo>
                    <a:cubicBezTo>
                      <a:pt x="40005" y="150359"/>
                      <a:pt x="40957" y="148472"/>
                      <a:pt x="40957" y="145642"/>
                    </a:cubicBezTo>
                    <a:cubicBezTo>
                      <a:pt x="41910" y="141868"/>
                      <a:pt x="43815" y="139038"/>
                      <a:pt x="44767" y="135264"/>
                    </a:cubicBezTo>
                    <a:cubicBezTo>
                      <a:pt x="45720" y="132434"/>
                      <a:pt x="47625" y="131490"/>
                      <a:pt x="48577" y="128660"/>
                    </a:cubicBezTo>
                    <a:cubicBezTo>
                      <a:pt x="49530" y="125830"/>
                      <a:pt x="51435" y="123000"/>
                      <a:pt x="52388" y="121113"/>
                    </a:cubicBezTo>
                    <a:cubicBezTo>
                      <a:pt x="53340" y="118282"/>
                      <a:pt x="55245" y="115452"/>
                      <a:pt x="58102" y="113565"/>
                    </a:cubicBezTo>
                    <a:cubicBezTo>
                      <a:pt x="60960" y="110735"/>
                      <a:pt x="63817" y="106961"/>
                      <a:pt x="65723" y="103188"/>
                    </a:cubicBezTo>
                    <a:cubicBezTo>
                      <a:pt x="76200" y="89980"/>
                      <a:pt x="85725" y="74885"/>
                      <a:pt x="92393" y="58846"/>
                    </a:cubicBezTo>
                    <a:cubicBezTo>
                      <a:pt x="99060" y="42808"/>
                      <a:pt x="103822" y="28657"/>
                      <a:pt x="103822" y="17336"/>
                    </a:cubicBezTo>
                    <a:cubicBezTo>
                      <a:pt x="103822" y="6014"/>
                      <a:pt x="100013" y="1297"/>
                      <a:pt x="100013" y="1297"/>
                    </a:cubicBezTo>
                    <a:cubicBezTo>
                      <a:pt x="100013" y="1297"/>
                      <a:pt x="102870" y="7901"/>
                      <a:pt x="100013" y="18279"/>
                    </a:cubicBezTo>
                    <a:cubicBezTo>
                      <a:pt x="97155" y="28657"/>
                      <a:pt x="89535" y="39978"/>
                      <a:pt x="80010" y="53186"/>
                    </a:cubicBezTo>
                    <a:cubicBezTo>
                      <a:pt x="70485" y="66394"/>
                      <a:pt x="59055" y="77715"/>
                      <a:pt x="47625" y="88093"/>
                    </a:cubicBezTo>
                    <a:cubicBezTo>
                      <a:pt x="36195" y="98470"/>
                      <a:pt x="25717" y="112622"/>
                      <a:pt x="20002" y="123000"/>
                    </a:cubicBezTo>
                    <a:cubicBezTo>
                      <a:pt x="14288" y="133377"/>
                      <a:pt x="12382" y="146585"/>
                      <a:pt x="12382" y="156963"/>
                    </a:cubicBezTo>
                    <a:cubicBezTo>
                      <a:pt x="12382" y="168284"/>
                      <a:pt x="16192" y="177718"/>
                      <a:pt x="21907" y="184322"/>
                    </a:cubicBezTo>
                    <a:lnTo>
                      <a:pt x="21907" y="184322"/>
                    </a:lnTo>
                    <a:cubicBezTo>
                      <a:pt x="19050" y="184322"/>
                      <a:pt x="16192" y="184322"/>
                      <a:pt x="15240" y="185266"/>
                    </a:cubicBezTo>
                    <a:cubicBezTo>
                      <a:pt x="14288" y="185266"/>
                      <a:pt x="14288" y="186209"/>
                      <a:pt x="12382" y="186209"/>
                    </a:cubicBezTo>
                    <a:lnTo>
                      <a:pt x="11430" y="187153"/>
                    </a:lnTo>
                    <a:cubicBezTo>
                      <a:pt x="7620" y="190926"/>
                      <a:pt x="7620" y="194700"/>
                      <a:pt x="8573" y="198474"/>
                    </a:cubicBezTo>
                    <a:cubicBezTo>
                      <a:pt x="7620" y="198474"/>
                      <a:pt x="5715" y="199417"/>
                      <a:pt x="4763" y="201304"/>
                    </a:cubicBezTo>
                    <a:lnTo>
                      <a:pt x="2857" y="210738"/>
                    </a:lnTo>
                    <a:cubicBezTo>
                      <a:pt x="-952" y="214512"/>
                      <a:pt x="-952" y="220173"/>
                      <a:pt x="2857" y="223946"/>
                    </a:cubicBezTo>
                    <a:lnTo>
                      <a:pt x="12382" y="233381"/>
                    </a:lnTo>
                    <a:cubicBezTo>
                      <a:pt x="16192" y="237154"/>
                      <a:pt x="21907" y="237154"/>
                      <a:pt x="25717" y="233381"/>
                    </a:cubicBezTo>
                    <a:lnTo>
                      <a:pt x="26670" y="232437"/>
                    </a:lnTo>
                    <a:cubicBezTo>
                      <a:pt x="27623" y="231494"/>
                      <a:pt x="29527" y="229607"/>
                      <a:pt x="29527" y="228663"/>
                    </a:cubicBezTo>
                    <a:cubicBezTo>
                      <a:pt x="33338" y="229607"/>
                      <a:pt x="39052" y="228663"/>
                      <a:pt x="42863" y="225833"/>
                    </a:cubicBezTo>
                    <a:lnTo>
                      <a:pt x="43815" y="224890"/>
                    </a:lnTo>
                    <a:cubicBezTo>
                      <a:pt x="44767" y="223946"/>
                      <a:pt x="44767" y="223946"/>
                      <a:pt x="44767" y="222060"/>
                    </a:cubicBezTo>
                    <a:cubicBezTo>
                      <a:pt x="45720" y="219229"/>
                      <a:pt x="45720" y="218286"/>
                      <a:pt x="45720" y="215456"/>
                    </a:cubicBezTo>
                    <a:cubicBezTo>
                      <a:pt x="45720" y="215456"/>
                      <a:pt x="46673" y="215456"/>
                      <a:pt x="46673" y="216399"/>
                    </a:cubicBezTo>
                    <a:cubicBezTo>
                      <a:pt x="53340" y="220173"/>
                      <a:pt x="63817" y="223946"/>
                      <a:pt x="75248" y="225833"/>
                    </a:cubicBezTo>
                    <a:cubicBezTo>
                      <a:pt x="86677" y="225833"/>
                      <a:pt x="99060" y="223003"/>
                      <a:pt x="110490" y="218286"/>
                    </a:cubicBezTo>
                    <a:cubicBezTo>
                      <a:pt x="121920" y="212625"/>
                      <a:pt x="135255" y="202248"/>
                      <a:pt x="147638" y="190926"/>
                    </a:cubicBezTo>
                    <a:cubicBezTo>
                      <a:pt x="159068" y="180549"/>
                      <a:pt x="171450" y="169228"/>
                      <a:pt x="184785" y="159793"/>
                    </a:cubicBezTo>
                    <a:cubicBezTo>
                      <a:pt x="198120" y="150359"/>
                      <a:pt x="211455" y="143755"/>
                      <a:pt x="221933" y="139981"/>
                    </a:cubicBezTo>
                    <a:cubicBezTo>
                      <a:pt x="232410" y="137151"/>
                      <a:pt x="239077" y="139981"/>
                      <a:pt x="239077" y="139981"/>
                    </a:cubicBezTo>
                    <a:cubicBezTo>
                      <a:pt x="239077" y="139981"/>
                      <a:pt x="232410" y="136208"/>
                      <a:pt x="220980" y="136208"/>
                    </a:cubicBezTo>
                    <a:cubicBezTo>
                      <a:pt x="207645" y="132434"/>
                      <a:pt x="193358" y="138094"/>
                      <a:pt x="177165" y="144698"/>
                    </a:cubicBezTo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2B6102EB-3A4E-535D-2707-DF081F575119}"/>
              </a:ext>
            </a:extLst>
          </p:cNvPr>
          <p:cNvGrpSpPr/>
          <p:nvPr userDrawn="1"/>
        </p:nvGrpSpPr>
        <p:grpSpPr>
          <a:xfrm>
            <a:off x="1500687" y="2656078"/>
            <a:ext cx="487904" cy="471023"/>
            <a:chOff x="1500687" y="2656078"/>
            <a:chExt cx="487904" cy="471023"/>
          </a:xfrm>
        </p:grpSpPr>
        <p:grpSp>
          <p:nvGrpSpPr>
            <p:cNvPr id="43" name="Graphic 4">
              <a:extLst>
                <a:ext uri="{FF2B5EF4-FFF2-40B4-BE49-F238E27FC236}">
                  <a16:creationId xmlns:a16="http://schemas.microsoft.com/office/drawing/2014/main" id="{7A1721B8-EDAF-8671-FC75-FD1282C335DF}"/>
                </a:ext>
              </a:extLst>
            </p:cNvPr>
            <p:cNvGrpSpPr/>
            <p:nvPr/>
          </p:nvGrpSpPr>
          <p:grpSpPr>
            <a:xfrm>
              <a:off x="1500687" y="2656078"/>
              <a:ext cx="487904" cy="471023"/>
              <a:chOff x="1500687" y="2656078"/>
              <a:chExt cx="487904" cy="471023"/>
            </a:xfrm>
          </p:grpSpPr>
          <p:pic>
            <p:nvPicPr>
              <p:cNvPr id="63" name="Picture 62">
                <a:extLst>
                  <a:ext uri="{FF2B5EF4-FFF2-40B4-BE49-F238E27FC236}">
                    <a16:creationId xmlns:a16="http://schemas.microsoft.com/office/drawing/2014/main" id="{CC57EC81-D819-B98E-4270-036D9BF34DC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 cstate="print">
                <a:alphaModFix amt="60000"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500687" y="2656078"/>
                <a:ext cx="487904" cy="471023"/>
              </a:xfrm>
              <a:custGeom>
                <a:avLst/>
                <a:gdLst>
                  <a:gd name="connsiteX0" fmla="*/ 11 w 487904"/>
                  <a:gd name="connsiteY0" fmla="*/ -42 h 471023"/>
                  <a:gd name="connsiteX1" fmla="*/ 487915 w 487904"/>
                  <a:gd name="connsiteY1" fmla="*/ -42 h 471023"/>
                  <a:gd name="connsiteX2" fmla="*/ 487915 w 487904"/>
                  <a:gd name="connsiteY2" fmla="*/ 470981 h 471023"/>
                  <a:gd name="connsiteX3" fmla="*/ 11 w 487904"/>
                  <a:gd name="connsiteY3" fmla="*/ 470981 h 4710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7904" h="471023">
                    <a:moveTo>
                      <a:pt x="11" y="-42"/>
                    </a:moveTo>
                    <a:lnTo>
                      <a:pt x="487915" y="-42"/>
                    </a:lnTo>
                    <a:lnTo>
                      <a:pt x="487915" y="470981"/>
                    </a:lnTo>
                    <a:lnTo>
                      <a:pt x="11" y="470981"/>
                    </a:lnTo>
                    <a:close/>
                  </a:path>
                </a:pathLst>
              </a:custGeom>
            </p:spPr>
          </p:pic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44F9C434-1DD1-0309-5353-6F4D228F3D57}"/>
                  </a:ext>
                </a:extLst>
              </p:cNvPr>
              <p:cNvSpPr/>
              <p:nvPr/>
            </p:nvSpPr>
            <p:spPr>
              <a:xfrm>
                <a:off x="1538467" y="2692117"/>
                <a:ext cx="373379" cy="360421"/>
              </a:xfrm>
              <a:custGeom>
                <a:avLst/>
                <a:gdLst>
                  <a:gd name="connsiteX0" fmla="*/ 373380 w 373379"/>
                  <a:gd name="connsiteY0" fmla="*/ 180195 h 360421"/>
                  <a:gd name="connsiteX1" fmla="*/ 185738 w 373379"/>
                  <a:gd name="connsiteY1" fmla="*/ 360390 h 360421"/>
                  <a:gd name="connsiteX2" fmla="*/ 0 w 373379"/>
                  <a:gd name="connsiteY2" fmla="*/ 180195 h 360421"/>
                  <a:gd name="connsiteX3" fmla="*/ 187642 w 373379"/>
                  <a:gd name="connsiteY3" fmla="*/ 0 h 360421"/>
                  <a:gd name="connsiteX4" fmla="*/ 373380 w 373379"/>
                  <a:gd name="connsiteY4" fmla="*/ 180195 h 3604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73379" h="360421">
                    <a:moveTo>
                      <a:pt x="373380" y="180195"/>
                    </a:moveTo>
                    <a:cubicBezTo>
                      <a:pt x="373380" y="279255"/>
                      <a:pt x="288608" y="360390"/>
                      <a:pt x="185738" y="360390"/>
                    </a:cubicBezTo>
                    <a:cubicBezTo>
                      <a:pt x="82867" y="362277"/>
                      <a:pt x="0" y="281142"/>
                      <a:pt x="0" y="180195"/>
                    </a:cubicBezTo>
                    <a:cubicBezTo>
                      <a:pt x="0" y="81135"/>
                      <a:pt x="82867" y="0"/>
                      <a:pt x="187642" y="0"/>
                    </a:cubicBezTo>
                    <a:cubicBezTo>
                      <a:pt x="290513" y="0"/>
                      <a:pt x="373380" y="81135"/>
                      <a:pt x="373380" y="180195"/>
                    </a:cubicBezTo>
                    <a:close/>
                  </a:path>
                </a:pathLst>
              </a:custGeom>
              <a:solidFill>
                <a:srgbClr val="E3061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E183901-D790-70F6-1956-643B306C0C14}"/>
                </a:ext>
              </a:extLst>
            </p:cNvPr>
            <p:cNvSpPr/>
            <p:nvPr userDrawn="1"/>
          </p:nvSpPr>
          <p:spPr>
            <a:xfrm>
              <a:off x="1635059" y="2747941"/>
              <a:ext cx="180194" cy="256875"/>
            </a:xfrm>
            <a:custGeom>
              <a:avLst/>
              <a:gdLst>
                <a:gd name="connsiteX0" fmla="*/ 108585 w 220979"/>
                <a:gd name="connsiteY0" fmla="*/ 320897 h 321753"/>
                <a:gd name="connsiteX1" fmla="*/ 111442 w 220979"/>
                <a:gd name="connsiteY1" fmla="*/ 311462 h 321753"/>
                <a:gd name="connsiteX2" fmla="*/ 128588 w 220979"/>
                <a:gd name="connsiteY2" fmla="*/ 294481 h 321753"/>
                <a:gd name="connsiteX3" fmla="*/ 146685 w 220979"/>
                <a:gd name="connsiteY3" fmla="*/ 285046 h 321753"/>
                <a:gd name="connsiteX4" fmla="*/ 175260 w 220979"/>
                <a:gd name="connsiteY4" fmla="*/ 302972 h 321753"/>
                <a:gd name="connsiteX5" fmla="*/ 188595 w 220979"/>
                <a:gd name="connsiteY5" fmla="*/ 296368 h 321753"/>
                <a:gd name="connsiteX6" fmla="*/ 182880 w 220979"/>
                <a:gd name="connsiteY6" fmla="*/ 279386 h 321753"/>
                <a:gd name="connsiteX7" fmla="*/ 159067 w 220979"/>
                <a:gd name="connsiteY7" fmla="*/ 255800 h 321753"/>
                <a:gd name="connsiteX8" fmla="*/ 119063 w 220979"/>
                <a:gd name="connsiteY8" fmla="*/ 273725 h 321753"/>
                <a:gd name="connsiteX9" fmla="*/ 115252 w 220979"/>
                <a:gd name="connsiteY9" fmla="*/ 273725 h 321753"/>
                <a:gd name="connsiteX10" fmla="*/ 107632 w 220979"/>
                <a:gd name="connsiteY10" fmla="*/ 280329 h 321753"/>
                <a:gd name="connsiteX11" fmla="*/ 124777 w 220979"/>
                <a:gd name="connsiteY11" fmla="*/ 196364 h 321753"/>
                <a:gd name="connsiteX12" fmla="*/ 169545 w 220979"/>
                <a:gd name="connsiteY12" fmla="*/ 159570 h 321753"/>
                <a:gd name="connsiteX13" fmla="*/ 220980 w 220979"/>
                <a:gd name="connsiteY13" fmla="*/ 217120 h 321753"/>
                <a:gd name="connsiteX14" fmla="*/ 202882 w 220979"/>
                <a:gd name="connsiteY14" fmla="*/ 156740 h 321753"/>
                <a:gd name="connsiteX15" fmla="*/ 180023 w 220979"/>
                <a:gd name="connsiteY15" fmla="*/ 132211 h 321753"/>
                <a:gd name="connsiteX16" fmla="*/ 140017 w 220979"/>
                <a:gd name="connsiteY16" fmla="*/ 152966 h 321753"/>
                <a:gd name="connsiteX17" fmla="*/ 120015 w 220979"/>
                <a:gd name="connsiteY17" fmla="*/ 172778 h 321753"/>
                <a:gd name="connsiteX18" fmla="*/ 103823 w 220979"/>
                <a:gd name="connsiteY18" fmla="*/ 193534 h 321753"/>
                <a:gd name="connsiteX19" fmla="*/ 106680 w 220979"/>
                <a:gd name="connsiteY19" fmla="*/ 121833 h 321753"/>
                <a:gd name="connsiteX20" fmla="*/ 110490 w 220979"/>
                <a:gd name="connsiteY20" fmla="*/ 116173 h 321753"/>
                <a:gd name="connsiteX21" fmla="*/ 109538 w 220979"/>
                <a:gd name="connsiteY21" fmla="*/ 110512 h 321753"/>
                <a:gd name="connsiteX22" fmla="*/ 127635 w 220979"/>
                <a:gd name="connsiteY22" fmla="*/ 90700 h 321753"/>
                <a:gd name="connsiteX23" fmla="*/ 140970 w 220979"/>
                <a:gd name="connsiteY23" fmla="*/ 64284 h 321753"/>
                <a:gd name="connsiteX24" fmla="*/ 141923 w 220979"/>
                <a:gd name="connsiteY24" fmla="*/ 34094 h 321753"/>
                <a:gd name="connsiteX25" fmla="*/ 141923 w 220979"/>
                <a:gd name="connsiteY25" fmla="*/ 16169 h 321753"/>
                <a:gd name="connsiteX26" fmla="*/ 136207 w 220979"/>
                <a:gd name="connsiteY26" fmla="*/ 35981 h 321753"/>
                <a:gd name="connsiteX27" fmla="*/ 118110 w 220979"/>
                <a:gd name="connsiteY27" fmla="*/ 76549 h 321753"/>
                <a:gd name="connsiteX28" fmla="*/ 106680 w 220979"/>
                <a:gd name="connsiteY28" fmla="*/ 87870 h 321753"/>
                <a:gd name="connsiteX29" fmla="*/ 106680 w 220979"/>
                <a:gd name="connsiteY29" fmla="*/ 51076 h 321753"/>
                <a:gd name="connsiteX30" fmla="*/ 105727 w 220979"/>
                <a:gd name="connsiteY30" fmla="*/ 40698 h 321753"/>
                <a:gd name="connsiteX31" fmla="*/ 115252 w 220979"/>
                <a:gd name="connsiteY31" fmla="*/ 30321 h 321753"/>
                <a:gd name="connsiteX32" fmla="*/ 108585 w 220979"/>
                <a:gd name="connsiteY32" fmla="*/ 30321 h 321753"/>
                <a:gd name="connsiteX33" fmla="*/ 116205 w 220979"/>
                <a:gd name="connsiteY33" fmla="*/ 3905 h 321753"/>
                <a:gd name="connsiteX34" fmla="*/ 106680 w 220979"/>
                <a:gd name="connsiteY34" fmla="*/ 13339 h 321753"/>
                <a:gd name="connsiteX35" fmla="*/ 103823 w 220979"/>
                <a:gd name="connsiteY35" fmla="*/ 10509 h 321753"/>
                <a:gd name="connsiteX36" fmla="*/ 98107 w 220979"/>
                <a:gd name="connsiteY36" fmla="*/ 1074 h 321753"/>
                <a:gd name="connsiteX37" fmla="*/ 92392 w 220979"/>
                <a:gd name="connsiteY37" fmla="*/ 3905 h 321753"/>
                <a:gd name="connsiteX38" fmla="*/ 84773 w 220979"/>
                <a:gd name="connsiteY38" fmla="*/ 9565 h 321753"/>
                <a:gd name="connsiteX39" fmla="*/ 91440 w 220979"/>
                <a:gd name="connsiteY39" fmla="*/ 19943 h 321753"/>
                <a:gd name="connsiteX40" fmla="*/ 91440 w 220979"/>
                <a:gd name="connsiteY40" fmla="*/ 26547 h 321753"/>
                <a:gd name="connsiteX41" fmla="*/ 90488 w 220979"/>
                <a:gd name="connsiteY41" fmla="*/ 34094 h 321753"/>
                <a:gd name="connsiteX42" fmla="*/ 94298 w 220979"/>
                <a:gd name="connsiteY42" fmla="*/ 33151 h 321753"/>
                <a:gd name="connsiteX43" fmla="*/ 98107 w 220979"/>
                <a:gd name="connsiteY43" fmla="*/ 46359 h 321753"/>
                <a:gd name="connsiteX44" fmla="*/ 98107 w 220979"/>
                <a:gd name="connsiteY44" fmla="*/ 70888 h 321753"/>
                <a:gd name="connsiteX45" fmla="*/ 94298 w 220979"/>
                <a:gd name="connsiteY45" fmla="*/ 85040 h 321753"/>
                <a:gd name="connsiteX46" fmla="*/ 93345 w 220979"/>
                <a:gd name="connsiteY46" fmla="*/ 69001 h 321753"/>
                <a:gd name="connsiteX47" fmla="*/ 75248 w 220979"/>
                <a:gd name="connsiteY47" fmla="*/ 52963 h 321753"/>
                <a:gd name="connsiteX48" fmla="*/ 58102 w 220979"/>
                <a:gd name="connsiteY48" fmla="*/ 39755 h 321753"/>
                <a:gd name="connsiteX49" fmla="*/ 34290 w 220979"/>
                <a:gd name="connsiteY49" fmla="*/ 52963 h 321753"/>
                <a:gd name="connsiteX50" fmla="*/ 28575 w 220979"/>
                <a:gd name="connsiteY50" fmla="*/ 67114 h 321753"/>
                <a:gd name="connsiteX51" fmla="*/ 53340 w 220979"/>
                <a:gd name="connsiteY51" fmla="*/ 53906 h 321753"/>
                <a:gd name="connsiteX52" fmla="*/ 71438 w 220979"/>
                <a:gd name="connsiteY52" fmla="*/ 76549 h 321753"/>
                <a:gd name="connsiteX53" fmla="*/ 74295 w 220979"/>
                <a:gd name="connsiteY53" fmla="*/ 93530 h 321753"/>
                <a:gd name="connsiteX54" fmla="*/ 80010 w 220979"/>
                <a:gd name="connsiteY54" fmla="*/ 94474 h 321753"/>
                <a:gd name="connsiteX55" fmla="*/ 86677 w 220979"/>
                <a:gd name="connsiteY55" fmla="*/ 120890 h 321753"/>
                <a:gd name="connsiteX56" fmla="*/ 92392 w 220979"/>
                <a:gd name="connsiteY56" fmla="*/ 148249 h 321753"/>
                <a:gd name="connsiteX57" fmla="*/ 89535 w 220979"/>
                <a:gd name="connsiteY57" fmla="*/ 185043 h 321753"/>
                <a:gd name="connsiteX58" fmla="*/ 85725 w 220979"/>
                <a:gd name="connsiteY58" fmla="*/ 171835 h 321753"/>
                <a:gd name="connsiteX59" fmla="*/ 80010 w 220979"/>
                <a:gd name="connsiteY59" fmla="*/ 169005 h 321753"/>
                <a:gd name="connsiteX60" fmla="*/ 51435 w 220979"/>
                <a:gd name="connsiteY60" fmla="*/ 125607 h 321753"/>
                <a:gd name="connsiteX61" fmla="*/ 3810 w 220979"/>
                <a:gd name="connsiteY61" fmla="*/ 155797 h 321753"/>
                <a:gd name="connsiteX62" fmla="*/ 0 w 220979"/>
                <a:gd name="connsiteY62" fmla="*/ 175609 h 321753"/>
                <a:gd name="connsiteX63" fmla="*/ 13335 w 220979"/>
                <a:gd name="connsiteY63" fmla="*/ 159570 h 321753"/>
                <a:gd name="connsiteX64" fmla="*/ 20955 w 220979"/>
                <a:gd name="connsiteY64" fmla="*/ 160514 h 321753"/>
                <a:gd name="connsiteX65" fmla="*/ 59055 w 220979"/>
                <a:gd name="connsiteY65" fmla="*/ 161457 h 321753"/>
                <a:gd name="connsiteX66" fmla="*/ 75248 w 220979"/>
                <a:gd name="connsiteY66" fmla="*/ 187873 h 321753"/>
                <a:gd name="connsiteX67" fmla="*/ 85725 w 220979"/>
                <a:gd name="connsiteY67" fmla="*/ 219006 h 321753"/>
                <a:gd name="connsiteX68" fmla="*/ 78105 w 220979"/>
                <a:gd name="connsiteY68" fmla="*/ 225610 h 321753"/>
                <a:gd name="connsiteX69" fmla="*/ 77152 w 220979"/>
                <a:gd name="connsiteY69" fmla="*/ 209572 h 321753"/>
                <a:gd name="connsiteX70" fmla="*/ 73342 w 220979"/>
                <a:gd name="connsiteY70" fmla="*/ 219006 h 321753"/>
                <a:gd name="connsiteX71" fmla="*/ 65723 w 220979"/>
                <a:gd name="connsiteY71" fmla="*/ 205798 h 321753"/>
                <a:gd name="connsiteX72" fmla="*/ 65723 w 220979"/>
                <a:gd name="connsiteY72" fmla="*/ 219950 h 321753"/>
                <a:gd name="connsiteX73" fmla="*/ 60007 w 220979"/>
                <a:gd name="connsiteY73" fmla="*/ 220893 h 321753"/>
                <a:gd name="connsiteX74" fmla="*/ 70485 w 220979"/>
                <a:gd name="connsiteY74" fmla="*/ 236932 h 321753"/>
                <a:gd name="connsiteX75" fmla="*/ 66675 w 220979"/>
                <a:gd name="connsiteY75" fmla="*/ 240705 h 321753"/>
                <a:gd name="connsiteX76" fmla="*/ 72390 w 220979"/>
                <a:gd name="connsiteY76" fmla="*/ 247309 h 321753"/>
                <a:gd name="connsiteX77" fmla="*/ 86677 w 220979"/>
                <a:gd name="connsiteY77" fmla="*/ 299198 h 321753"/>
                <a:gd name="connsiteX78" fmla="*/ 85725 w 220979"/>
                <a:gd name="connsiteY78" fmla="*/ 306745 h 321753"/>
                <a:gd name="connsiteX79" fmla="*/ 101917 w 220979"/>
                <a:gd name="connsiteY79" fmla="*/ 307689 h 321753"/>
                <a:gd name="connsiteX80" fmla="*/ 108585 w 220979"/>
                <a:gd name="connsiteY80" fmla="*/ 320897 h 321753"/>
                <a:gd name="connsiteX81" fmla="*/ 98107 w 220979"/>
                <a:gd name="connsiteY81" fmla="*/ 35981 h 321753"/>
                <a:gd name="connsiteX82" fmla="*/ 95250 w 220979"/>
                <a:gd name="connsiteY82" fmla="*/ 30321 h 321753"/>
                <a:gd name="connsiteX83" fmla="*/ 98107 w 220979"/>
                <a:gd name="connsiteY83" fmla="*/ 35981 h 321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</a:cxnLst>
              <a:rect l="l" t="t" r="r" b="b"/>
              <a:pathLst>
                <a:path w="220979" h="321753">
                  <a:moveTo>
                    <a:pt x="108585" y="320897"/>
                  </a:moveTo>
                  <a:cubicBezTo>
                    <a:pt x="108585" y="317123"/>
                    <a:pt x="109538" y="314293"/>
                    <a:pt x="111442" y="311462"/>
                  </a:cubicBezTo>
                  <a:cubicBezTo>
                    <a:pt x="119063" y="307689"/>
                    <a:pt x="125730" y="295424"/>
                    <a:pt x="128588" y="294481"/>
                  </a:cubicBezTo>
                  <a:cubicBezTo>
                    <a:pt x="131445" y="293537"/>
                    <a:pt x="136207" y="293537"/>
                    <a:pt x="146685" y="285046"/>
                  </a:cubicBezTo>
                  <a:cubicBezTo>
                    <a:pt x="154305" y="279386"/>
                    <a:pt x="167640" y="292594"/>
                    <a:pt x="175260" y="302972"/>
                  </a:cubicBezTo>
                  <a:cubicBezTo>
                    <a:pt x="179070" y="300141"/>
                    <a:pt x="182880" y="299198"/>
                    <a:pt x="188595" y="296368"/>
                  </a:cubicBezTo>
                  <a:cubicBezTo>
                    <a:pt x="185738" y="289764"/>
                    <a:pt x="184785" y="285046"/>
                    <a:pt x="182880" y="279386"/>
                  </a:cubicBezTo>
                  <a:cubicBezTo>
                    <a:pt x="177165" y="269008"/>
                    <a:pt x="171450" y="259574"/>
                    <a:pt x="159067" y="255800"/>
                  </a:cubicBezTo>
                  <a:cubicBezTo>
                    <a:pt x="156210" y="255800"/>
                    <a:pt x="130492" y="267121"/>
                    <a:pt x="119063" y="273725"/>
                  </a:cubicBezTo>
                  <a:cubicBezTo>
                    <a:pt x="118110" y="274669"/>
                    <a:pt x="116205" y="273725"/>
                    <a:pt x="115252" y="273725"/>
                  </a:cubicBezTo>
                  <a:cubicBezTo>
                    <a:pt x="114300" y="277499"/>
                    <a:pt x="111442" y="280329"/>
                    <a:pt x="107632" y="280329"/>
                  </a:cubicBezTo>
                  <a:cubicBezTo>
                    <a:pt x="104775" y="252970"/>
                    <a:pt x="97155" y="206742"/>
                    <a:pt x="124777" y="196364"/>
                  </a:cubicBezTo>
                  <a:cubicBezTo>
                    <a:pt x="138113" y="185986"/>
                    <a:pt x="149542" y="155797"/>
                    <a:pt x="169545" y="159570"/>
                  </a:cubicBezTo>
                  <a:cubicBezTo>
                    <a:pt x="177165" y="153910"/>
                    <a:pt x="220980" y="217120"/>
                    <a:pt x="220980" y="217120"/>
                  </a:cubicBezTo>
                  <a:cubicBezTo>
                    <a:pt x="220980" y="217120"/>
                    <a:pt x="207645" y="166174"/>
                    <a:pt x="202882" y="156740"/>
                  </a:cubicBezTo>
                  <a:cubicBezTo>
                    <a:pt x="196215" y="147306"/>
                    <a:pt x="185738" y="133154"/>
                    <a:pt x="180023" y="132211"/>
                  </a:cubicBezTo>
                  <a:cubicBezTo>
                    <a:pt x="174307" y="132211"/>
                    <a:pt x="145732" y="148249"/>
                    <a:pt x="140017" y="152966"/>
                  </a:cubicBezTo>
                  <a:cubicBezTo>
                    <a:pt x="134302" y="158627"/>
                    <a:pt x="122873" y="169005"/>
                    <a:pt x="120015" y="172778"/>
                  </a:cubicBezTo>
                  <a:cubicBezTo>
                    <a:pt x="117157" y="176552"/>
                    <a:pt x="110490" y="186930"/>
                    <a:pt x="103823" y="193534"/>
                  </a:cubicBezTo>
                  <a:cubicBezTo>
                    <a:pt x="102870" y="169948"/>
                    <a:pt x="104775" y="146362"/>
                    <a:pt x="106680" y="121833"/>
                  </a:cubicBezTo>
                  <a:cubicBezTo>
                    <a:pt x="107632" y="119003"/>
                    <a:pt x="110490" y="119003"/>
                    <a:pt x="110490" y="116173"/>
                  </a:cubicBezTo>
                  <a:cubicBezTo>
                    <a:pt x="111442" y="113342"/>
                    <a:pt x="109538" y="113342"/>
                    <a:pt x="109538" y="110512"/>
                  </a:cubicBezTo>
                  <a:cubicBezTo>
                    <a:pt x="112395" y="100134"/>
                    <a:pt x="122873" y="97304"/>
                    <a:pt x="127635" y="90700"/>
                  </a:cubicBezTo>
                  <a:cubicBezTo>
                    <a:pt x="132398" y="84096"/>
                    <a:pt x="139065" y="73718"/>
                    <a:pt x="140970" y="64284"/>
                  </a:cubicBezTo>
                  <a:cubicBezTo>
                    <a:pt x="143827" y="54850"/>
                    <a:pt x="140970" y="46359"/>
                    <a:pt x="141923" y="34094"/>
                  </a:cubicBezTo>
                  <a:cubicBezTo>
                    <a:pt x="142875" y="27490"/>
                    <a:pt x="141923" y="16169"/>
                    <a:pt x="141923" y="16169"/>
                  </a:cubicBezTo>
                  <a:cubicBezTo>
                    <a:pt x="141923" y="16169"/>
                    <a:pt x="138113" y="30321"/>
                    <a:pt x="136207" y="35981"/>
                  </a:cubicBezTo>
                  <a:cubicBezTo>
                    <a:pt x="133350" y="46359"/>
                    <a:pt x="124777" y="69001"/>
                    <a:pt x="118110" y="76549"/>
                  </a:cubicBezTo>
                  <a:cubicBezTo>
                    <a:pt x="114300" y="82209"/>
                    <a:pt x="110490" y="84096"/>
                    <a:pt x="106680" y="87870"/>
                  </a:cubicBezTo>
                  <a:cubicBezTo>
                    <a:pt x="105727" y="78436"/>
                    <a:pt x="106680" y="63341"/>
                    <a:pt x="106680" y="51076"/>
                  </a:cubicBezTo>
                  <a:cubicBezTo>
                    <a:pt x="106680" y="47302"/>
                    <a:pt x="105727" y="44472"/>
                    <a:pt x="105727" y="40698"/>
                  </a:cubicBezTo>
                  <a:cubicBezTo>
                    <a:pt x="106680" y="34094"/>
                    <a:pt x="115252" y="36925"/>
                    <a:pt x="115252" y="30321"/>
                  </a:cubicBezTo>
                  <a:cubicBezTo>
                    <a:pt x="112395" y="27490"/>
                    <a:pt x="111442" y="31264"/>
                    <a:pt x="108585" y="30321"/>
                  </a:cubicBezTo>
                  <a:cubicBezTo>
                    <a:pt x="102870" y="19000"/>
                    <a:pt x="120015" y="14282"/>
                    <a:pt x="116205" y="3905"/>
                  </a:cubicBezTo>
                  <a:cubicBezTo>
                    <a:pt x="112395" y="4848"/>
                    <a:pt x="109538" y="9565"/>
                    <a:pt x="106680" y="13339"/>
                  </a:cubicBezTo>
                  <a:cubicBezTo>
                    <a:pt x="107632" y="6735"/>
                    <a:pt x="106680" y="5792"/>
                    <a:pt x="103823" y="10509"/>
                  </a:cubicBezTo>
                  <a:cubicBezTo>
                    <a:pt x="100965" y="4848"/>
                    <a:pt x="100013" y="-812"/>
                    <a:pt x="98107" y="1074"/>
                  </a:cubicBezTo>
                  <a:cubicBezTo>
                    <a:pt x="94298" y="131"/>
                    <a:pt x="91440" y="-1756"/>
                    <a:pt x="92392" y="3905"/>
                  </a:cubicBezTo>
                  <a:cubicBezTo>
                    <a:pt x="91440" y="9565"/>
                    <a:pt x="86677" y="6735"/>
                    <a:pt x="84773" y="9565"/>
                  </a:cubicBezTo>
                  <a:cubicBezTo>
                    <a:pt x="78105" y="6735"/>
                    <a:pt x="85725" y="12396"/>
                    <a:pt x="91440" y="19943"/>
                  </a:cubicBezTo>
                  <a:cubicBezTo>
                    <a:pt x="88582" y="22773"/>
                    <a:pt x="91440" y="23717"/>
                    <a:pt x="91440" y="26547"/>
                  </a:cubicBezTo>
                  <a:cubicBezTo>
                    <a:pt x="85725" y="27490"/>
                    <a:pt x="87630" y="27490"/>
                    <a:pt x="90488" y="34094"/>
                  </a:cubicBezTo>
                  <a:cubicBezTo>
                    <a:pt x="91440" y="34094"/>
                    <a:pt x="93345" y="33151"/>
                    <a:pt x="94298" y="33151"/>
                  </a:cubicBezTo>
                  <a:cubicBezTo>
                    <a:pt x="90488" y="38812"/>
                    <a:pt x="97155" y="40698"/>
                    <a:pt x="98107" y="46359"/>
                  </a:cubicBezTo>
                  <a:cubicBezTo>
                    <a:pt x="99060" y="50133"/>
                    <a:pt x="99060" y="66171"/>
                    <a:pt x="98107" y="70888"/>
                  </a:cubicBezTo>
                  <a:cubicBezTo>
                    <a:pt x="98107" y="76549"/>
                    <a:pt x="95250" y="81266"/>
                    <a:pt x="94298" y="85040"/>
                  </a:cubicBezTo>
                  <a:cubicBezTo>
                    <a:pt x="87630" y="84096"/>
                    <a:pt x="95250" y="73718"/>
                    <a:pt x="93345" y="69001"/>
                  </a:cubicBezTo>
                  <a:cubicBezTo>
                    <a:pt x="83820" y="69001"/>
                    <a:pt x="82867" y="59567"/>
                    <a:pt x="75248" y="52963"/>
                  </a:cubicBezTo>
                  <a:cubicBezTo>
                    <a:pt x="72390" y="50133"/>
                    <a:pt x="61913" y="41642"/>
                    <a:pt x="58102" y="39755"/>
                  </a:cubicBezTo>
                  <a:cubicBezTo>
                    <a:pt x="50482" y="38812"/>
                    <a:pt x="41910" y="49189"/>
                    <a:pt x="34290" y="52963"/>
                  </a:cubicBezTo>
                  <a:cubicBezTo>
                    <a:pt x="28575" y="60510"/>
                    <a:pt x="28575" y="67114"/>
                    <a:pt x="28575" y="67114"/>
                  </a:cubicBezTo>
                  <a:cubicBezTo>
                    <a:pt x="28575" y="67114"/>
                    <a:pt x="44767" y="56737"/>
                    <a:pt x="53340" y="53906"/>
                  </a:cubicBezTo>
                  <a:cubicBezTo>
                    <a:pt x="62865" y="57680"/>
                    <a:pt x="63817" y="70888"/>
                    <a:pt x="71438" y="76549"/>
                  </a:cubicBezTo>
                  <a:cubicBezTo>
                    <a:pt x="71438" y="83153"/>
                    <a:pt x="75248" y="86926"/>
                    <a:pt x="74295" y="93530"/>
                  </a:cubicBezTo>
                  <a:cubicBezTo>
                    <a:pt x="75248" y="94474"/>
                    <a:pt x="77152" y="94474"/>
                    <a:pt x="80010" y="94474"/>
                  </a:cubicBezTo>
                  <a:cubicBezTo>
                    <a:pt x="80963" y="103908"/>
                    <a:pt x="85725" y="111456"/>
                    <a:pt x="86677" y="120890"/>
                  </a:cubicBezTo>
                  <a:cubicBezTo>
                    <a:pt x="87630" y="130324"/>
                    <a:pt x="92392" y="138815"/>
                    <a:pt x="92392" y="148249"/>
                  </a:cubicBezTo>
                  <a:cubicBezTo>
                    <a:pt x="93345" y="159570"/>
                    <a:pt x="88582" y="171835"/>
                    <a:pt x="89535" y="185043"/>
                  </a:cubicBezTo>
                  <a:cubicBezTo>
                    <a:pt x="85725" y="184100"/>
                    <a:pt x="83820" y="177496"/>
                    <a:pt x="85725" y="171835"/>
                  </a:cubicBezTo>
                  <a:cubicBezTo>
                    <a:pt x="82867" y="171835"/>
                    <a:pt x="82867" y="170892"/>
                    <a:pt x="80010" y="169005"/>
                  </a:cubicBezTo>
                  <a:cubicBezTo>
                    <a:pt x="72390" y="155797"/>
                    <a:pt x="62865" y="135985"/>
                    <a:pt x="51435" y="125607"/>
                  </a:cubicBezTo>
                  <a:cubicBezTo>
                    <a:pt x="34290" y="109569"/>
                    <a:pt x="14288" y="146362"/>
                    <a:pt x="3810" y="155797"/>
                  </a:cubicBezTo>
                  <a:cubicBezTo>
                    <a:pt x="4763" y="163344"/>
                    <a:pt x="0" y="175609"/>
                    <a:pt x="0" y="175609"/>
                  </a:cubicBezTo>
                  <a:cubicBezTo>
                    <a:pt x="0" y="175609"/>
                    <a:pt x="7620" y="164288"/>
                    <a:pt x="13335" y="159570"/>
                  </a:cubicBezTo>
                  <a:cubicBezTo>
                    <a:pt x="16192" y="160514"/>
                    <a:pt x="19050" y="162401"/>
                    <a:pt x="20955" y="160514"/>
                  </a:cubicBezTo>
                  <a:cubicBezTo>
                    <a:pt x="21907" y="152966"/>
                    <a:pt x="54292" y="153910"/>
                    <a:pt x="59055" y="161457"/>
                  </a:cubicBezTo>
                  <a:cubicBezTo>
                    <a:pt x="68580" y="167118"/>
                    <a:pt x="70485" y="175609"/>
                    <a:pt x="75248" y="187873"/>
                  </a:cubicBezTo>
                  <a:cubicBezTo>
                    <a:pt x="79057" y="197308"/>
                    <a:pt x="85725" y="204855"/>
                    <a:pt x="85725" y="219006"/>
                  </a:cubicBezTo>
                  <a:cubicBezTo>
                    <a:pt x="81915" y="218063"/>
                    <a:pt x="80010" y="222780"/>
                    <a:pt x="78105" y="225610"/>
                  </a:cubicBezTo>
                  <a:cubicBezTo>
                    <a:pt x="74295" y="224667"/>
                    <a:pt x="79057" y="212402"/>
                    <a:pt x="77152" y="209572"/>
                  </a:cubicBezTo>
                  <a:cubicBezTo>
                    <a:pt x="74295" y="210516"/>
                    <a:pt x="73342" y="215233"/>
                    <a:pt x="73342" y="219006"/>
                  </a:cubicBezTo>
                  <a:cubicBezTo>
                    <a:pt x="67627" y="219950"/>
                    <a:pt x="70485" y="207685"/>
                    <a:pt x="65723" y="205798"/>
                  </a:cubicBezTo>
                  <a:cubicBezTo>
                    <a:pt x="65723" y="209572"/>
                    <a:pt x="62865" y="217120"/>
                    <a:pt x="65723" y="219950"/>
                  </a:cubicBezTo>
                  <a:cubicBezTo>
                    <a:pt x="65723" y="220893"/>
                    <a:pt x="61913" y="219006"/>
                    <a:pt x="60007" y="220893"/>
                  </a:cubicBezTo>
                  <a:cubicBezTo>
                    <a:pt x="60960" y="228441"/>
                    <a:pt x="71438" y="227497"/>
                    <a:pt x="70485" y="236932"/>
                  </a:cubicBezTo>
                  <a:cubicBezTo>
                    <a:pt x="70485" y="239762"/>
                    <a:pt x="67627" y="237875"/>
                    <a:pt x="66675" y="240705"/>
                  </a:cubicBezTo>
                  <a:cubicBezTo>
                    <a:pt x="66675" y="244479"/>
                    <a:pt x="69532" y="246366"/>
                    <a:pt x="72390" y="247309"/>
                  </a:cubicBezTo>
                  <a:cubicBezTo>
                    <a:pt x="73342" y="268065"/>
                    <a:pt x="80010" y="284103"/>
                    <a:pt x="86677" y="299198"/>
                  </a:cubicBezTo>
                  <a:cubicBezTo>
                    <a:pt x="86677" y="302028"/>
                    <a:pt x="85725" y="304858"/>
                    <a:pt x="85725" y="306745"/>
                  </a:cubicBezTo>
                  <a:cubicBezTo>
                    <a:pt x="91440" y="306745"/>
                    <a:pt x="96202" y="307689"/>
                    <a:pt x="101917" y="307689"/>
                  </a:cubicBezTo>
                  <a:cubicBezTo>
                    <a:pt x="104775" y="322784"/>
                    <a:pt x="106680" y="322784"/>
                    <a:pt x="108585" y="320897"/>
                  </a:cubicBezTo>
                  <a:close/>
                  <a:moveTo>
                    <a:pt x="98107" y="35981"/>
                  </a:moveTo>
                  <a:cubicBezTo>
                    <a:pt x="97155" y="35038"/>
                    <a:pt x="94298" y="35038"/>
                    <a:pt x="95250" y="30321"/>
                  </a:cubicBezTo>
                  <a:cubicBezTo>
                    <a:pt x="98107" y="31264"/>
                    <a:pt x="99060" y="32208"/>
                    <a:pt x="98107" y="35981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</p:grpSp>
      <p:pic>
        <p:nvPicPr>
          <p:cNvPr id="35" name="Graphic 30">
            <a:extLst>
              <a:ext uri="{FF2B5EF4-FFF2-40B4-BE49-F238E27FC236}">
                <a16:creationId xmlns:a16="http://schemas.microsoft.com/office/drawing/2014/main" id="{3AD84E78-03FA-4AA2-913B-6E6FFA4C0891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896427" y="2517092"/>
            <a:ext cx="661955" cy="661955"/>
          </a:xfrm>
          <a:prstGeom prst="rect">
            <a:avLst/>
          </a:prstGeom>
        </p:spPr>
      </p:pic>
      <p:grpSp>
        <p:nvGrpSpPr>
          <p:cNvPr id="38" name="Group 67">
            <a:extLst>
              <a:ext uri="{FF2B5EF4-FFF2-40B4-BE49-F238E27FC236}">
                <a16:creationId xmlns:a16="http://schemas.microsoft.com/office/drawing/2014/main" id="{5BBD3BD2-9A55-437C-A983-9EB2FAF7CCF5}"/>
              </a:ext>
            </a:extLst>
          </p:cNvPr>
          <p:cNvGrpSpPr/>
          <p:nvPr userDrawn="1"/>
        </p:nvGrpSpPr>
        <p:grpSpPr>
          <a:xfrm>
            <a:off x="2973214" y="2651828"/>
            <a:ext cx="520748" cy="495866"/>
            <a:chOff x="1500687" y="2656078"/>
            <a:chExt cx="487904" cy="471023"/>
          </a:xfrm>
        </p:grpSpPr>
        <p:grpSp>
          <p:nvGrpSpPr>
            <p:cNvPr id="39" name="Graphic 4">
              <a:extLst>
                <a:ext uri="{FF2B5EF4-FFF2-40B4-BE49-F238E27FC236}">
                  <a16:creationId xmlns:a16="http://schemas.microsoft.com/office/drawing/2014/main" id="{DEE99D4C-00EB-4525-8315-CF53D5294594}"/>
                </a:ext>
              </a:extLst>
            </p:cNvPr>
            <p:cNvGrpSpPr/>
            <p:nvPr/>
          </p:nvGrpSpPr>
          <p:grpSpPr>
            <a:xfrm>
              <a:off x="1500687" y="2656078"/>
              <a:ext cx="487904" cy="471023"/>
              <a:chOff x="1500687" y="2656078"/>
              <a:chExt cx="487904" cy="471023"/>
            </a:xfrm>
          </p:grpSpPr>
          <p:pic>
            <p:nvPicPr>
              <p:cNvPr id="41" name="Picture 62">
                <a:extLst>
                  <a:ext uri="{FF2B5EF4-FFF2-40B4-BE49-F238E27FC236}">
                    <a16:creationId xmlns:a16="http://schemas.microsoft.com/office/drawing/2014/main" id="{514FC08C-6DC3-494B-9E83-CE4B2D31DBA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 cstate="print">
                <a:alphaModFix amt="60000"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500687" y="2656078"/>
                <a:ext cx="487904" cy="471023"/>
              </a:xfrm>
              <a:custGeom>
                <a:avLst/>
                <a:gdLst>
                  <a:gd name="connsiteX0" fmla="*/ 11 w 487904"/>
                  <a:gd name="connsiteY0" fmla="*/ -42 h 471023"/>
                  <a:gd name="connsiteX1" fmla="*/ 487915 w 487904"/>
                  <a:gd name="connsiteY1" fmla="*/ -42 h 471023"/>
                  <a:gd name="connsiteX2" fmla="*/ 487915 w 487904"/>
                  <a:gd name="connsiteY2" fmla="*/ 470981 h 471023"/>
                  <a:gd name="connsiteX3" fmla="*/ 11 w 487904"/>
                  <a:gd name="connsiteY3" fmla="*/ 470981 h 4710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7904" h="471023">
                    <a:moveTo>
                      <a:pt x="11" y="-42"/>
                    </a:moveTo>
                    <a:lnTo>
                      <a:pt x="487915" y="-42"/>
                    </a:lnTo>
                    <a:lnTo>
                      <a:pt x="487915" y="470981"/>
                    </a:lnTo>
                    <a:lnTo>
                      <a:pt x="11" y="470981"/>
                    </a:lnTo>
                    <a:close/>
                  </a:path>
                </a:pathLst>
              </a:custGeom>
            </p:spPr>
          </p:pic>
          <p:sp>
            <p:nvSpPr>
              <p:cNvPr id="42" name="Freeform: Shape 64">
                <a:extLst>
                  <a:ext uri="{FF2B5EF4-FFF2-40B4-BE49-F238E27FC236}">
                    <a16:creationId xmlns:a16="http://schemas.microsoft.com/office/drawing/2014/main" id="{E807BE19-A61F-41B7-92B4-D4928ADECD4B}"/>
                  </a:ext>
                </a:extLst>
              </p:cNvPr>
              <p:cNvSpPr/>
              <p:nvPr/>
            </p:nvSpPr>
            <p:spPr>
              <a:xfrm>
                <a:off x="1538467" y="2692117"/>
                <a:ext cx="373379" cy="360421"/>
              </a:xfrm>
              <a:custGeom>
                <a:avLst/>
                <a:gdLst>
                  <a:gd name="connsiteX0" fmla="*/ 373380 w 373379"/>
                  <a:gd name="connsiteY0" fmla="*/ 180195 h 360421"/>
                  <a:gd name="connsiteX1" fmla="*/ 185738 w 373379"/>
                  <a:gd name="connsiteY1" fmla="*/ 360390 h 360421"/>
                  <a:gd name="connsiteX2" fmla="*/ 0 w 373379"/>
                  <a:gd name="connsiteY2" fmla="*/ 180195 h 360421"/>
                  <a:gd name="connsiteX3" fmla="*/ 187642 w 373379"/>
                  <a:gd name="connsiteY3" fmla="*/ 0 h 360421"/>
                  <a:gd name="connsiteX4" fmla="*/ 373380 w 373379"/>
                  <a:gd name="connsiteY4" fmla="*/ 180195 h 3604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73379" h="360421">
                    <a:moveTo>
                      <a:pt x="373380" y="180195"/>
                    </a:moveTo>
                    <a:cubicBezTo>
                      <a:pt x="373380" y="279255"/>
                      <a:pt x="288608" y="360390"/>
                      <a:pt x="185738" y="360390"/>
                    </a:cubicBezTo>
                    <a:cubicBezTo>
                      <a:pt x="82867" y="362277"/>
                      <a:pt x="0" y="281142"/>
                      <a:pt x="0" y="180195"/>
                    </a:cubicBezTo>
                    <a:cubicBezTo>
                      <a:pt x="0" y="81135"/>
                      <a:pt x="82867" y="0"/>
                      <a:pt x="187642" y="0"/>
                    </a:cubicBezTo>
                    <a:cubicBezTo>
                      <a:pt x="290513" y="0"/>
                      <a:pt x="373380" y="81135"/>
                      <a:pt x="373380" y="180195"/>
                    </a:cubicBezTo>
                    <a:close/>
                  </a:path>
                </a:pathLst>
              </a:custGeom>
              <a:solidFill>
                <a:srgbClr val="E3061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40" name="Freeform: Shape 66">
              <a:extLst>
                <a:ext uri="{FF2B5EF4-FFF2-40B4-BE49-F238E27FC236}">
                  <a16:creationId xmlns:a16="http://schemas.microsoft.com/office/drawing/2014/main" id="{42AFA8E9-D50E-4CF7-AA5B-59692A331BC0}"/>
                </a:ext>
              </a:extLst>
            </p:cNvPr>
            <p:cNvSpPr/>
            <p:nvPr userDrawn="1"/>
          </p:nvSpPr>
          <p:spPr>
            <a:xfrm>
              <a:off x="1587417" y="2744714"/>
              <a:ext cx="276742" cy="262280"/>
            </a:xfrm>
            <a:custGeom>
              <a:avLst/>
              <a:gdLst>
                <a:gd name="connsiteX0" fmla="*/ 332947 w 339380"/>
                <a:gd name="connsiteY0" fmla="*/ 212716 h 328523"/>
                <a:gd name="connsiteX1" fmla="*/ 328121 w 339380"/>
                <a:gd name="connsiteY1" fmla="*/ 207891 h 328523"/>
                <a:gd name="connsiteX2" fmla="*/ 321688 w 339380"/>
                <a:gd name="connsiteY2" fmla="*/ 201457 h 328523"/>
                <a:gd name="connsiteX3" fmla="*/ 315254 w 339380"/>
                <a:gd name="connsiteY3" fmla="*/ 195023 h 328523"/>
                <a:gd name="connsiteX4" fmla="*/ 313645 w 339380"/>
                <a:gd name="connsiteY4" fmla="*/ 195023 h 328523"/>
                <a:gd name="connsiteX5" fmla="*/ 312037 w 339380"/>
                <a:gd name="connsiteY5" fmla="*/ 193415 h 328523"/>
                <a:gd name="connsiteX6" fmla="*/ 310428 w 339380"/>
                <a:gd name="connsiteY6" fmla="*/ 191806 h 328523"/>
                <a:gd name="connsiteX7" fmla="*/ 305603 w 339380"/>
                <a:gd name="connsiteY7" fmla="*/ 188589 h 328523"/>
                <a:gd name="connsiteX8" fmla="*/ 278260 w 339380"/>
                <a:gd name="connsiteY8" fmla="*/ 177330 h 328523"/>
                <a:gd name="connsiteX9" fmla="*/ 262175 w 339380"/>
                <a:gd name="connsiteY9" fmla="*/ 174113 h 328523"/>
                <a:gd name="connsiteX10" fmla="*/ 244483 w 339380"/>
                <a:gd name="connsiteY10" fmla="*/ 172505 h 328523"/>
                <a:gd name="connsiteX11" fmla="*/ 242874 w 339380"/>
                <a:gd name="connsiteY11" fmla="*/ 172505 h 328523"/>
                <a:gd name="connsiteX12" fmla="*/ 242874 w 339380"/>
                <a:gd name="connsiteY12" fmla="*/ 166071 h 328523"/>
                <a:gd name="connsiteX13" fmla="*/ 242874 w 339380"/>
                <a:gd name="connsiteY13" fmla="*/ 166071 h 328523"/>
                <a:gd name="connsiteX14" fmla="*/ 244483 w 339380"/>
                <a:gd name="connsiteY14" fmla="*/ 166071 h 328523"/>
                <a:gd name="connsiteX15" fmla="*/ 278260 w 339380"/>
                <a:gd name="connsiteY15" fmla="*/ 162854 h 328523"/>
                <a:gd name="connsiteX16" fmla="*/ 305603 w 339380"/>
                <a:gd name="connsiteY16" fmla="*/ 154812 h 328523"/>
                <a:gd name="connsiteX17" fmla="*/ 323296 w 339380"/>
                <a:gd name="connsiteY17" fmla="*/ 145161 h 328523"/>
                <a:gd name="connsiteX18" fmla="*/ 329730 w 339380"/>
                <a:gd name="connsiteY18" fmla="*/ 138728 h 328523"/>
                <a:gd name="connsiteX19" fmla="*/ 334555 w 339380"/>
                <a:gd name="connsiteY19" fmla="*/ 133902 h 328523"/>
                <a:gd name="connsiteX20" fmla="*/ 339380 w 339380"/>
                <a:gd name="connsiteY20" fmla="*/ 129077 h 328523"/>
                <a:gd name="connsiteX21" fmla="*/ 332947 w 339380"/>
                <a:gd name="connsiteY21" fmla="*/ 125860 h 328523"/>
                <a:gd name="connsiteX22" fmla="*/ 326513 w 339380"/>
                <a:gd name="connsiteY22" fmla="*/ 122643 h 328523"/>
                <a:gd name="connsiteX23" fmla="*/ 318471 w 339380"/>
                <a:gd name="connsiteY23" fmla="*/ 121035 h 328523"/>
                <a:gd name="connsiteX24" fmla="*/ 297561 w 339380"/>
                <a:gd name="connsiteY24" fmla="*/ 119426 h 328523"/>
                <a:gd name="connsiteX25" fmla="*/ 268609 w 339380"/>
                <a:gd name="connsiteY25" fmla="*/ 122643 h 328523"/>
                <a:gd name="connsiteX26" fmla="*/ 236440 w 339380"/>
                <a:gd name="connsiteY26" fmla="*/ 133902 h 328523"/>
                <a:gd name="connsiteX27" fmla="*/ 234832 w 339380"/>
                <a:gd name="connsiteY27" fmla="*/ 133902 h 328523"/>
                <a:gd name="connsiteX28" fmla="*/ 231615 w 339380"/>
                <a:gd name="connsiteY28" fmla="*/ 127469 h 328523"/>
                <a:gd name="connsiteX29" fmla="*/ 233223 w 339380"/>
                <a:gd name="connsiteY29" fmla="*/ 127469 h 328523"/>
                <a:gd name="connsiteX30" fmla="*/ 262175 w 339380"/>
                <a:gd name="connsiteY30" fmla="*/ 108167 h 328523"/>
                <a:gd name="connsiteX31" fmla="*/ 281477 w 339380"/>
                <a:gd name="connsiteY31" fmla="*/ 87258 h 328523"/>
                <a:gd name="connsiteX32" fmla="*/ 295953 w 339380"/>
                <a:gd name="connsiteY32" fmla="*/ 61523 h 328523"/>
                <a:gd name="connsiteX33" fmla="*/ 297561 w 339380"/>
                <a:gd name="connsiteY33" fmla="*/ 55089 h 328523"/>
                <a:gd name="connsiteX34" fmla="*/ 299169 w 339380"/>
                <a:gd name="connsiteY34" fmla="*/ 48655 h 328523"/>
                <a:gd name="connsiteX35" fmla="*/ 292736 w 339380"/>
                <a:gd name="connsiteY35" fmla="*/ 50264 h 328523"/>
                <a:gd name="connsiteX36" fmla="*/ 286302 w 339380"/>
                <a:gd name="connsiteY36" fmla="*/ 51872 h 328523"/>
                <a:gd name="connsiteX37" fmla="*/ 258958 w 339380"/>
                <a:gd name="connsiteY37" fmla="*/ 63131 h 328523"/>
                <a:gd name="connsiteX38" fmla="*/ 236440 w 339380"/>
                <a:gd name="connsiteY38" fmla="*/ 80824 h 328523"/>
                <a:gd name="connsiteX39" fmla="*/ 213922 w 339380"/>
                <a:gd name="connsiteY39" fmla="*/ 106559 h 328523"/>
                <a:gd name="connsiteX40" fmla="*/ 212314 w 339380"/>
                <a:gd name="connsiteY40" fmla="*/ 108167 h 328523"/>
                <a:gd name="connsiteX41" fmla="*/ 205880 w 339380"/>
                <a:gd name="connsiteY41" fmla="*/ 104951 h 328523"/>
                <a:gd name="connsiteX42" fmla="*/ 207488 w 339380"/>
                <a:gd name="connsiteY42" fmla="*/ 103342 h 328523"/>
                <a:gd name="connsiteX43" fmla="*/ 221964 w 339380"/>
                <a:gd name="connsiteY43" fmla="*/ 72782 h 328523"/>
                <a:gd name="connsiteX44" fmla="*/ 228398 w 339380"/>
                <a:gd name="connsiteY44" fmla="*/ 45438 h 328523"/>
                <a:gd name="connsiteX45" fmla="*/ 226790 w 339380"/>
                <a:gd name="connsiteY45" fmla="*/ 16486 h 328523"/>
                <a:gd name="connsiteX46" fmla="*/ 225181 w 339380"/>
                <a:gd name="connsiteY46" fmla="*/ 10053 h 328523"/>
                <a:gd name="connsiteX47" fmla="*/ 223573 w 339380"/>
                <a:gd name="connsiteY47" fmla="*/ 3619 h 328523"/>
                <a:gd name="connsiteX48" fmla="*/ 221964 w 339380"/>
                <a:gd name="connsiteY48" fmla="*/ 5227 h 328523"/>
                <a:gd name="connsiteX49" fmla="*/ 218748 w 339380"/>
                <a:gd name="connsiteY49" fmla="*/ 8444 h 328523"/>
                <a:gd name="connsiteX50" fmla="*/ 213922 w 339380"/>
                <a:gd name="connsiteY50" fmla="*/ 13270 h 328523"/>
                <a:gd name="connsiteX51" fmla="*/ 207488 w 339380"/>
                <a:gd name="connsiteY51" fmla="*/ 19703 h 328523"/>
                <a:gd name="connsiteX52" fmla="*/ 201055 w 339380"/>
                <a:gd name="connsiteY52" fmla="*/ 26137 h 328523"/>
                <a:gd name="connsiteX53" fmla="*/ 201055 w 339380"/>
                <a:gd name="connsiteY53" fmla="*/ 27746 h 328523"/>
                <a:gd name="connsiteX54" fmla="*/ 199446 w 339380"/>
                <a:gd name="connsiteY54" fmla="*/ 29354 h 328523"/>
                <a:gd name="connsiteX55" fmla="*/ 197838 w 339380"/>
                <a:gd name="connsiteY55" fmla="*/ 30962 h 328523"/>
                <a:gd name="connsiteX56" fmla="*/ 194621 w 339380"/>
                <a:gd name="connsiteY56" fmla="*/ 35788 h 328523"/>
                <a:gd name="connsiteX57" fmla="*/ 183362 w 339380"/>
                <a:gd name="connsiteY57" fmla="*/ 61523 h 328523"/>
                <a:gd name="connsiteX58" fmla="*/ 180145 w 339380"/>
                <a:gd name="connsiteY58" fmla="*/ 77607 h 328523"/>
                <a:gd name="connsiteX59" fmla="*/ 178537 w 339380"/>
                <a:gd name="connsiteY59" fmla="*/ 95300 h 328523"/>
                <a:gd name="connsiteX60" fmla="*/ 178537 w 339380"/>
                <a:gd name="connsiteY60" fmla="*/ 96908 h 328523"/>
                <a:gd name="connsiteX61" fmla="*/ 170494 w 339380"/>
                <a:gd name="connsiteY61" fmla="*/ 96908 h 328523"/>
                <a:gd name="connsiteX62" fmla="*/ 170494 w 339380"/>
                <a:gd name="connsiteY62" fmla="*/ 96908 h 328523"/>
                <a:gd name="connsiteX63" fmla="*/ 170494 w 339380"/>
                <a:gd name="connsiteY63" fmla="*/ 95300 h 328523"/>
                <a:gd name="connsiteX64" fmla="*/ 167278 w 339380"/>
                <a:gd name="connsiteY64" fmla="*/ 61523 h 328523"/>
                <a:gd name="connsiteX65" fmla="*/ 159235 w 339380"/>
                <a:gd name="connsiteY65" fmla="*/ 34179 h 328523"/>
                <a:gd name="connsiteX66" fmla="*/ 149585 w 339380"/>
                <a:gd name="connsiteY66" fmla="*/ 16486 h 328523"/>
                <a:gd name="connsiteX67" fmla="*/ 143151 w 339380"/>
                <a:gd name="connsiteY67" fmla="*/ 10053 h 328523"/>
                <a:gd name="connsiteX68" fmla="*/ 138326 w 339380"/>
                <a:gd name="connsiteY68" fmla="*/ 5227 h 328523"/>
                <a:gd name="connsiteX69" fmla="*/ 133500 w 339380"/>
                <a:gd name="connsiteY69" fmla="*/ 402 h 328523"/>
                <a:gd name="connsiteX70" fmla="*/ 128675 w 339380"/>
                <a:gd name="connsiteY70" fmla="*/ 2011 h 328523"/>
                <a:gd name="connsiteX71" fmla="*/ 125458 w 339380"/>
                <a:gd name="connsiteY71" fmla="*/ 8444 h 328523"/>
                <a:gd name="connsiteX72" fmla="*/ 123850 w 339380"/>
                <a:gd name="connsiteY72" fmla="*/ 16486 h 328523"/>
                <a:gd name="connsiteX73" fmla="*/ 122241 w 339380"/>
                <a:gd name="connsiteY73" fmla="*/ 37396 h 328523"/>
                <a:gd name="connsiteX74" fmla="*/ 125458 w 339380"/>
                <a:gd name="connsiteY74" fmla="*/ 64740 h 328523"/>
                <a:gd name="connsiteX75" fmla="*/ 136717 w 339380"/>
                <a:gd name="connsiteY75" fmla="*/ 96908 h 328523"/>
                <a:gd name="connsiteX76" fmla="*/ 136717 w 339380"/>
                <a:gd name="connsiteY76" fmla="*/ 98517 h 328523"/>
                <a:gd name="connsiteX77" fmla="*/ 130283 w 339380"/>
                <a:gd name="connsiteY77" fmla="*/ 101734 h 328523"/>
                <a:gd name="connsiteX78" fmla="*/ 128675 w 339380"/>
                <a:gd name="connsiteY78" fmla="*/ 100125 h 328523"/>
                <a:gd name="connsiteX79" fmla="*/ 109374 w 339380"/>
                <a:gd name="connsiteY79" fmla="*/ 72782 h 328523"/>
                <a:gd name="connsiteX80" fmla="*/ 88464 w 339380"/>
                <a:gd name="connsiteY80" fmla="*/ 53481 h 328523"/>
                <a:gd name="connsiteX81" fmla="*/ 61121 w 339380"/>
                <a:gd name="connsiteY81" fmla="*/ 40613 h 328523"/>
                <a:gd name="connsiteX82" fmla="*/ 54687 w 339380"/>
                <a:gd name="connsiteY82" fmla="*/ 39005 h 328523"/>
                <a:gd name="connsiteX83" fmla="*/ 48253 w 339380"/>
                <a:gd name="connsiteY83" fmla="*/ 37396 h 328523"/>
                <a:gd name="connsiteX84" fmla="*/ 49862 w 339380"/>
                <a:gd name="connsiteY84" fmla="*/ 43830 h 328523"/>
                <a:gd name="connsiteX85" fmla="*/ 51470 w 339380"/>
                <a:gd name="connsiteY85" fmla="*/ 50264 h 328523"/>
                <a:gd name="connsiteX86" fmla="*/ 62729 w 339380"/>
                <a:gd name="connsiteY86" fmla="*/ 77607 h 328523"/>
                <a:gd name="connsiteX87" fmla="*/ 80422 w 339380"/>
                <a:gd name="connsiteY87" fmla="*/ 100125 h 328523"/>
                <a:gd name="connsiteX88" fmla="*/ 106157 w 339380"/>
                <a:gd name="connsiteY88" fmla="*/ 121035 h 328523"/>
                <a:gd name="connsiteX89" fmla="*/ 107765 w 339380"/>
                <a:gd name="connsiteY89" fmla="*/ 122643 h 328523"/>
                <a:gd name="connsiteX90" fmla="*/ 104548 w 339380"/>
                <a:gd name="connsiteY90" fmla="*/ 129077 h 328523"/>
                <a:gd name="connsiteX91" fmla="*/ 102940 w 339380"/>
                <a:gd name="connsiteY91" fmla="*/ 127469 h 328523"/>
                <a:gd name="connsiteX92" fmla="*/ 72380 w 339380"/>
                <a:gd name="connsiteY92" fmla="*/ 112993 h 328523"/>
                <a:gd name="connsiteX93" fmla="*/ 45036 w 339380"/>
                <a:gd name="connsiteY93" fmla="*/ 106559 h 328523"/>
                <a:gd name="connsiteX94" fmla="*/ 14476 w 339380"/>
                <a:gd name="connsiteY94" fmla="*/ 108167 h 328523"/>
                <a:gd name="connsiteX95" fmla="*/ 8042 w 339380"/>
                <a:gd name="connsiteY95" fmla="*/ 109776 h 328523"/>
                <a:gd name="connsiteX96" fmla="*/ 1608 w 339380"/>
                <a:gd name="connsiteY96" fmla="*/ 111384 h 328523"/>
                <a:gd name="connsiteX97" fmla="*/ 3217 w 339380"/>
                <a:gd name="connsiteY97" fmla="*/ 112993 h 328523"/>
                <a:gd name="connsiteX98" fmla="*/ 6434 w 339380"/>
                <a:gd name="connsiteY98" fmla="*/ 116210 h 328523"/>
                <a:gd name="connsiteX99" fmla="*/ 11259 w 339380"/>
                <a:gd name="connsiteY99" fmla="*/ 121035 h 328523"/>
                <a:gd name="connsiteX100" fmla="*/ 17693 w 339380"/>
                <a:gd name="connsiteY100" fmla="*/ 127469 h 328523"/>
                <a:gd name="connsiteX101" fmla="*/ 24127 w 339380"/>
                <a:gd name="connsiteY101" fmla="*/ 133902 h 328523"/>
                <a:gd name="connsiteX102" fmla="*/ 25735 w 339380"/>
                <a:gd name="connsiteY102" fmla="*/ 133902 h 328523"/>
                <a:gd name="connsiteX103" fmla="*/ 27343 w 339380"/>
                <a:gd name="connsiteY103" fmla="*/ 135511 h 328523"/>
                <a:gd name="connsiteX104" fmla="*/ 28952 w 339380"/>
                <a:gd name="connsiteY104" fmla="*/ 137119 h 328523"/>
                <a:gd name="connsiteX105" fmla="*/ 33777 w 339380"/>
                <a:gd name="connsiteY105" fmla="*/ 140336 h 328523"/>
                <a:gd name="connsiteX106" fmla="*/ 61121 w 339380"/>
                <a:gd name="connsiteY106" fmla="*/ 151595 h 328523"/>
                <a:gd name="connsiteX107" fmla="*/ 77205 w 339380"/>
                <a:gd name="connsiteY107" fmla="*/ 154812 h 328523"/>
                <a:gd name="connsiteX108" fmla="*/ 94898 w 339380"/>
                <a:gd name="connsiteY108" fmla="*/ 156421 h 328523"/>
                <a:gd name="connsiteX109" fmla="*/ 96506 w 339380"/>
                <a:gd name="connsiteY109" fmla="*/ 156421 h 328523"/>
                <a:gd name="connsiteX110" fmla="*/ 96506 w 339380"/>
                <a:gd name="connsiteY110" fmla="*/ 162854 h 328523"/>
                <a:gd name="connsiteX111" fmla="*/ 96506 w 339380"/>
                <a:gd name="connsiteY111" fmla="*/ 162854 h 328523"/>
                <a:gd name="connsiteX112" fmla="*/ 94898 w 339380"/>
                <a:gd name="connsiteY112" fmla="*/ 162854 h 328523"/>
                <a:gd name="connsiteX113" fmla="*/ 61121 w 339380"/>
                <a:gd name="connsiteY113" fmla="*/ 166071 h 328523"/>
                <a:gd name="connsiteX114" fmla="*/ 33777 w 339380"/>
                <a:gd name="connsiteY114" fmla="*/ 174113 h 328523"/>
                <a:gd name="connsiteX115" fmla="*/ 16084 w 339380"/>
                <a:gd name="connsiteY115" fmla="*/ 183764 h 328523"/>
                <a:gd name="connsiteX116" fmla="*/ 9651 w 339380"/>
                <a:gd name="connsiteY116" fmla="*/ 190198 h 328523"/>
                <a:gd name="connsiteX117" fmla="*/ 4825 w 339380"/>
                <a:gd name="connsiteY117" fmla="*/ 195023 h 328523"/>
                <a:gd name="connsiteX118" fmla="*/ 0 w 339380"/>
                <a:gd name="connsiteY118" fmla="*/ 199848 h 328523"/>
                <a:gd name="connsiteX119" fmla="*/ 6434 w 339380"/>
                <a:gd name="connsiteY119" fmla="*/ 203065 h 328523"/>
                <a:gd name="connsiteX120" fmla="*/ 12868 w 339380"/>
                <a:gd name="connsiteY120" fmla="*/ 206282 h 328523"/>
                <a:gd name="connsiteX121" fmla="*/ 20910 w 339380"/>
                <a:gd name="connsiteY121" fmla="*/ 207891 h 328523"/>
                <a:gd name="connsiteX122" fmla="*/ 41819 w 339380"/>
                <a:gd name="connsiteY122" fmla="*/ 209499 h 328523"/>
                <a:gd name="connsiteX123" fmla="*/ 70771 w 339380"/>
                <a:gd name="connsiteY123" fmla="*/ 206282 h 328523"/>
                <a:gd name="connsiteX124" fmla="*/ 102940 w 339380"/>
                <a:gd name="connsiteY124" fmla="*/ 195023 h 328523"/>
                <a:gd name="connsiteX125" fmla="*/ 104548 w 339380"/>
                <a:gd name="connsiteY125" fmla="*/ 195023 h 328523"/>
                <a:gd name="connsiteX126" fmla="*/ 107765 w 339380"/>
                <a:gd name="connsiteY126" fmla="*/ 201457 h 328523"/>
                <a:gd name="connsiteX127" fmla="*/ 106157 w 339380"/>
                <a:gd name="connsiteY127" fmla="*/ 201457 h 328523"/>
                <a:gd name="connsiteX128" fmla="*/ 77205 w 339380"/>
                <a:gd name="connsiteY128" fmla="*/ 220758 h 328523"/>
                <a:gd name="connsiteX129" fmla="*/ 57904 w 339380"/>
                <a:gd name="connsiteY129" fmla="*/ 241668 h 328523"/>
                <a:gd name="connsiteX130" fmla="*/ 43428 w 339380"/>
                <a:gd name="connsiteY130" fmla="*/ 267403 h 328523"/>
                <a:gd name="connsiteX131" fmla="*/ 41819 w 339380"/>
                <a:gd name="connsiteY131" fmla="*/ 273836 h 328523"/>
                <a:gd name="connsiteX132" fmla="*/ 40211 w 339380"/>
                <a:gd name="connsiteY132" fmla="*/ 280270 h 328523"/>
                <a:gd name="connsiteX133" fmla="*/ 46645 w 339380"/>
                <a:gd name="connsiteY133" fmla="*/ 278662 h 328523"/>
                <a:gd name="connsiteX134" fmla="*/ 53078 w 339380"/>
                <a:gd name="connsiteY134" fmla="*/ 277053 h 328523"/>
                <a:gd name="connsiteX135" fmla="*/ 80422 w 339380"/>
                <a:gd name="connsiteY135" fmla="*/ 265794 h 328523"/>
                <a:gd name="connsiteX136" fmla="*/ 102940 w 339380"/>
                <a:gd name="connsiteY136" fmla="*/ 248101 h 328523"/>
                <a:gd name="connsiteX137" fmla="*/ 125458 w 339380"/>
                <a:gd name="connsiteY137" fmla="*/ 222367 h 328523"/>
                <a:gd name="connsiteX138" fmla="*/ 127067 w 339380"/>
                <a:gd name="connsiteY138" fmla="*/ 220758 h 328523"/>
                <a:gd name="connsiteX139" fmla="*/ 133500 w 339380"/>
                <a:gd name="connsiteY139" fmla="*/ 223975 h 328523"/>
                <a:gd name="connsiteX140" fmla="*/ 131892 w 339380"/>
                <a:gd name="connsiteY140" fmla="*/ 225583 h 328523"/>
                <a:gd name="connsiteX141" fmla="*/ 117416 w 339380"/>
                <a:gd name="connsiteY141" fmla="*/ 256144 h 328523"/>
                <a:gd name="connsiteX142" fmla="*/ 110982 w 339380"/>
                <a:gd name="connsiteY142" fmla="*/ 283487 h 328523"/>
                <a:gd name="connsiteX143" fmla="*/ 112591 w 339380"/>
                <a:gd name="connsiteY143" fmla="*/ 312439 h 328523"/>
                <a:gd name="connsiteX144" fmla="*/ 114199 w 339380"/>
                <a:gd name="connsiteY144" fmla="*/ 318873 h 328523"/>
                <a:gd name="connsiteX145" fmla="*/ 115808 w 339380"/>
                <a:gd name="connsiteY145" fmla="*/ 325307 h 328523"/>
                <a:gd name="connsiteX146" fmla="*/ 117416 w 339380"/>
                <a:gd name="connsiteY146" fmla="*/ 323698 h 328523"/>
                <a:gd name="connsiteX147" fmla="*/ 120633 w 339380"/>
                <a:gd name="connsiteY147" fmla="*/ 320481 h 328523"/>
                <a:gd name="connsiteX148" fmla="*/ 125458 w 339380"/>
                <a:gd name="connsiteY148" fmla="*/ 315656 h 328523"/>
                <a:gd name="connsiteX149" fmla="*/ 131892 w 339380"/>
                <a:gd name="connsiteY149" fmla="*/ 309222 h 328523"/>
                <a:gd name="connsiteX150" fmla="*/ 138326 w 339380"/>
                <a:gd name="connsiteY150" fmla="*/ 302788 h 328523"/>
                <a:gd name="connsiteX151" fmla="*/ 138326 w 339380"/>
                <a:gd name="connsiteY151" fmla="*/ 301180 h 328523"/>
                <a:gd name="connsiteX152" fmla="*/ 139934 w 339380"/>
                <a:gd name="connsiteY152" fmla="*/ 299572 h 328523"/>
                <a:gd name="connsiteX153" fmla="*/ 141543 w 339380"/>
                <a:gd name="connsiteY153" fmla="*/ 297963 h 328523"/>
                <a:gd name="connsiteX154" fmla="*/ 144759 w 339380"/>
                <a:gd name="connsiteY154" fmla="*/ 293138 h 328523"/>
                <a:gd name="connsiteX155" fmla="*/ 156018 w 339380"/>
                <a:gd name="connsiteY155" fmla="*/ 267403 h 328523"/>
                <a:gd name="connsiteX156" fmla="*/ 159235 w 339380"/>
                <a:gd name="connsiteY156" fmla="*/ 251318 h 328523"/>
                <a:gd name="connsiteX157" fmla="*/ 160844 w 339380"/>
                <a:gd name="connsiteY157" fmla="*/ 233626 h 328523"/>
                <a:gd name="connsiteX158" fmla="*/ 160844 w 339380"/>
                <a:gd name="connsiteY158" fmla="*/ 232017 h 328523"/>
                <a:gd name="connsiteX159" fmla="*/ 168886 w 339380"/>
                <a:gd name="connsiteY159" fmla="*/ 232017 h 328523"/>
                <a:gd name="connsiteX160" fmla="*/ 168886 w 339380"/>
                <a:gd name="connsiteY160" fmla="*/ 232017 h 328523"/>
                <a:gd name="connsiteX161" fmla="*/ 168886 w 339380"/>
                <a:gd name="connsiteY161" fmla="*/ 233626 h 328523"/>
                <a:gd name="connsiteX162" fmla="*/ 172103 w 339380"/>
                <a:gd name="connsiteY162" fmla="*/ 267403 h 328523"/>
                <a:gd name="connsiteX163" fmla="*/ 180145 w 339380"/>
                <a:gd name="connsiteY163" fmla="*/ 294746 h 328523"/>
                <a:gd name="connsiteX164" fmla="*/ 191404 w 339380"/>
                <a:gd name="connsiteY164" fmla="*/ 312439 h 328523"/>
                <a:gd name="connsiteX165" fmla="*/ 197838 w 339380"/>
                <a:gd name="connsiteY165" fmla="*/ 318873 h 328523"/>
                <a:gd name="connsiteX166" fmla="*/ 202663 w 339380"/>
                <a:gd name="connsiteY166" fmla="*/ 323698 h 328523"/>
                <a:gd name="connsiteX167" fmla="*/ 207488 w 339380"/>
                <a:gd name="connsiteY167" fmla="*/ 328523 h 328523"/>
                <a:gd name="connsiteX168" fmla="*/ 210705 w 339380"/>
                <a:gd name="connsiteY168" fmla="*/ 322090 h 328523"/>
                <a:gd name="connsiteX169" fmla="*/ 213922 w 339380"/>
                <a:gd name="connsiteY169" fmla="*/ 315656 h 328523"/>
                <a:gd name="connsiteX170" fmla="*/ 215531 w 339380"/>
                <a:gd name="connsiteY170" fmla="*/ 307614 h 328523"/>
                <a:gd name="connsiteX171" fmla="*/ 217139 w 339380"/>
                <a:gd name="connsiteY171" fmla="*/ 286704 h 328523"/>
                <a:gd name="connsiteX172" fmla="*/ 213922 w 339380"/>
                <a:gd name="connsiteY172" fmla="*/ 259361 h 328523"/>
                <a:gd name="connsiteX173" fmla="*/ 202663 w 339380"/>
                <a:gd name="connsiteY173" fmla="*/ 227192 h 328523"/>
                <a:gd name="connsiteX174" fmla="*/ 202663 w 339380"/>
                <a:gd name="connsiteY174" fmla="*/ 225583 h 328523"/>
                <a:gd name="connsiteX175" fmla="*/ 209097 w 339380"/>
                <a:gd name="connsiteY175" fmla="*/ 222367 h 328523"/>
                <a:gd name="connsiteX176" fmla="*/ 210705 w 339380"/>
                <a:gd name="connsiteY176" fmla="*/ 223975 h 328523"/>
                <a:gd name="connsiteX177" fmla="*/ 230007 w 339380"/>
                <a:gd name="connsiteY177" fmla="*/ 251318 h 328523"/>
                <a:gd name="connsiteX178" fmla="*/ 250916 w 339380"/>
                <a:gd name="connsiteY178" fmla="*/ 270620 h 328523"/>
                <a:gd name="connsiteX179" fmla="*/ 278260 w 339380"/>
                <a:gd name="connsiteY179" fmla="*/ 283487 h 328523"/>
                <a:gd name="connsiteX180" fmla="*/ 284693 w 339380"/>
                <a:gd name="connsiteY180" fmla="*/ 285096 h 328523"/>
                <a:gd name="connsiteX181" fmla="*/ 291127 w 339380"/>
                <a:gd name="connsiteY181" fmla="*/ 286704 h 328523"/>
                <a:gd name="connsiteX182" fmla="*/ 289519 w 339380"/>
                <a:gd name="connsiteY182" fmla="*/ 280270 h 328523"/>
                <a:gd name="connsiteX183" fmla="*/ 287910 w 339380"/>
                <a:gd name="connsiteY183" fmla="*/ 273836 h 328523"/>
                <a:gd name="connsiteX184" fmla="*/ 276651 w 339380"/>
                <a:gd name="connsiteY184" fmla="*/ 246493 h 328523"/>
                <a:gd name="connsiteX185" fmla="*/ 258958 w 339380"/>
                <a:gd name="connsiteY185" fmla="*/ 223975 h 328523"/>
                <a:gd name="connsiteX186" fmla="*/ 233223 w 339380"/>
                <a:gd name="connsiteY186" fmla="*/ 203065 h 328523"/>
                <a:gd name="connsiteX187" fmla="*/ 231615 w 339380"/>
                <a:gd name="connsiteY187" fmla="*/ 201457 h 328523"/>
                <a:gd name="connsiteX188" fmla="*/ 234832 w 339380"/>
                <a:gd name="connsiteY188" fmla="*/ 195023 h 328523"/>
                <a:gd name="connsiteX189" fmla="*/ 236440 w 339380"/>
                <a:gd name="connsiteY189" fmla="*/ 196632 h 328523"/>
                <a:gd name="connsiteX190" fmla="*/ 267001 w 339380"/>
                <a:gd name="connsiteY190" fmla="*/ 211107 h 328523"/>
                <a:gd name="connsiteX191" fmla="*/ 294344 w 339380"/>
                <a:gd name="connsiteY191" fmla="*/ 217541 h 328523"/>
                <a:gd name="connsiteX192" fmla="*/ 324904 w 339380"/>
                <a:gd name="connsiteY192" fmla="*/ 215933 h 328523"/>
                <a:gd name="connsiteX193" fmla="*/ 331338 w 339380"/>
                <a:gd name="connsiteY193" fmla="*/ 214324 h 328523"/>
                <a:gd name="connsiteX194" fmla="*/ 337772 w 339380"/>
                <a:gd name="connsiteY194" fmla="*/ 212716 h 328523"/>
                <a:gd name="connsiteX195" fmla="*/ 336163 w 339380"/>
                <a:gd name="connsiteY195" fmla="*/ 211107 h 328523"/>
                <a:gd name="connsiteX196" fmla="*/ 332947 w 339380"/>
                <a:gd name="connsiteY196" fmla="*/ 212716 h 328523"/>
                <a:gd name="connsiteX197" fmla="*/ 96506 w 339380"/>
                <a:gd name="connsiteY197" fmla="*/ 190198 h 328523"/>
                <a:gd name="connsiteX198" fmla="*/ 75597 w 339380"/>
                <a:gd name="connsiteY198" fmla="*/ 196632 h 328523"/>
                <a:gd name="connsiteX199" fmla="*/ 56295 w 339380"/>
                <a:gd name="connsiteY199" fmla="*/ 199848 h 328523"/>
                <a:gd name="connsiteX200" fmla="*/ 24127 w 339380"/>
                <a:gd name="connsiteY200" fmla="*/ 198240 h 328523"/>
                <a:gd name="connsiteX201" fmla="*/ 53078 w 339380"/>
                <a:gd name="connsiteY201" fmla="*/ 183764 h 328523"/>
                <a:gd name="connsiteX202" fmla="*/ 94898 w 339380"/>
                <a:gd name="connsiteY202" fmla="*/ 175722 h 328523"/>
                <a:gd name="connsiteX203" fmla="*/ 96506 w 339380"/>
                <a:gd name="connsiteY203" fmla="*/ 175722 h 328523"/>
                <a:gd name="connsiteX204" fmla="*/ 96506 w 339380"/>
                <a:gd name="connsiteY204" fmla="*/ 190198 h 328523"/>
                <a:gd name="connsiteX205" fmla="*/ 96506 w 339380"/>
                <a:gd name="connsiteY205" fmla="*/ 190198 h 328523"/>
                <a:gd name="connsiteX206" fmla="*/ 94898 w 339380"/>
                <a:gd name="connsiteY206" fmla="*/ 151595 h 328523"/>
                <a:gd name="connsiteX207" fmla="*/ 93289 w 339380"/>
                <a:gd name="connsiteY207" fmla="*/ 151595 h 328523"/>
                <a:gd name="connsiteX208" fmla="*/ 53078 w 339380"/>
                <a:gd name="connsiteY208" fmla="*/ 138728 h 328523"/>
                <a:gd name="connsiteX209" fmla="*/ 25735 w 339380"/>
                <a:gd name="connsiteY209" fmla="*/ 121035 h 328523"/>
                <a:gd name="connsiteX210" fmla="*/ 57904 w 339380"/>
                <a:gd name="connsiteY210" fmla="*/ 122643 h 328523"/>
                <a:gd name="connsiteX211" fmla="*/ 77205 w 339380"/>
                <a:gd name="connsiteY211" fmla="*/ 127469 h 328523"/>
                <a:gd name="connsiteX212" fmla="*/ 98115 w 339380"/>
                <a:gd name="connsiteY212" fmla="*/ 135511 h 328523"/>
                <a:gd name="connsiteX213" fmla="*/ 99723 w 339380"/>
                <a:gd name="connsiteY213" fmla="*/ 135511 h 328523"/>
                <a:gd name="connsiteX214" fmla="*/ 94898 w 339380"/>
                <a:gd name="connsiteY214" fmla="*/ 151595 h 328523"/>
                <a:gd name="connsiteX215" fmla="*/ 117416 w 339380"/>
                <a:gd name="connsiteY215" fmla="*/ 222367 h 328523"/>
                <a:gd name="connsiteX216" fmla="*/ 86856 w 339380"/>
                <a:gd name="connsiteY216" fmla="*/ 249710 h 328523"/>
                <a:gd name="connsiteX217" fmla="*/ 57904 w 339380"/>
                <a:gd name="connsiteY217" fmla="*/ 264186 h 328523"/>
                <a:gd name="connsiteX218" fmla="*/ 75597 w 339380"/>
                <a:gd name="connsiteY218" fmla="*/ 236842 h 328523"/>
                <a:gd name="connsiteX219" fmla="*/ 107765 w 339380"/>
                <a:gd name="connsiteY219" fmla="*/ 209499 h 328523"/>
                <a:gd name="connsiteX220" fmla="*/ 109374 w 339380"/>
                <a:gd name="connsiteY220" fmla="*/ 207891 h 328523"/>
                <a:gd name="connsiteX221" fmla="*/ 117416 w 339380"/>
                <a:gd name="connsiteY221" fmla="*/ 222367 h 328523"/>
                <a:gd name="connsiteX222" fmla="*/ 117416 w 339380"/>
                <a:gd name="connsiteY222" fmla="*/ 222367 h 328523"/>
                <a:gd name="connsiteX223" fmla="*/ 112591 w 339380"/>
                <a:gd name="connsiteY223" fmla="*/ 117818 h 328523"/>
                <a:gd name="connsiteX224" fmla="*/ 112591 w 339380"/>
                <a:gd name="connsiteY224" fmla="*/ 117818 h 328523"/>
                <a:gd name="connsiteX225" fmla="*/ 82030 w 339380"/>
                <a:gd name="connsiteY225" fmla="*/ 85649 h 328523"/>
                <a:gd name="connsiteX226" fmla="*/ 67554 w 339380"/>
                <a:gd name="connsiteY226" fmla="*/ 56697 h 328523"/>
                <a:gd name="connsiteX227" fmla="*/ 94898 w 339380"/>
                <a:gd name="connsiteY227" fmla="*/ 72782 h 328523"/>
                <a:gd name="connsiteX228" fmla="*/ 123850 w 339380"/>
                <a:gd name="connsiteY228" fmla="*/ 103342 h 328523"/>
                <a:gd name="connsiteX229" fmla="*/ 125458 w 339380"/>
                <a:gd name="connsiteY229" fmla="*/ 104951 h 328523"/>
                <a:gd name="connsiteX230" fmla="*/ 112591 w 339380"/>
                <a:gd name="connsiteY230" fmla="*/ 117818 h 328523"/>
                <a:gd name="connsiteX231" fmla="*/ 154410 w 339380"/>
                <a:gd name="connsiteY231" fmla="*/ 238451 h 328523"/>
                <a:gd name="connsiteX232" fmla="*/ 141543 w 339380"/>
                <a:gd name="connsiteY232" fmla="*/ 277053 h 328523"/>
                <a:gd name="connsiteX233" fmla="*/ 123850 w 339380"/>
                <a:gd name="connsiteY233" fmla="*/ 302788 h 328523"/>
                <a:gd name="connsiteX234" fmla="*/ 125458 w 339380"/>
                <a:gd name="connsiteY234" fmla="*/ 270620 h 328523"/>
                <a:gd name="connsiteX235" fmla="*/ 130283 w 339380"/>
                <a:gd name="connsiteY235" fmla="*/ 251318 h 328523"/>
                <a:gd name="connsiteX236" fmla="*/ 138326 w 339380"/>
                <a:gd name="connsiteY236" fmla="*/ 232017 h 328523"/>
                <a:gd name="connsiteX237" fmla="*/ 138326 w 339380"/>
                <a:gd name="connsiteY237" fmla="*/ 230409 h 328523"/>
                <a:gd name="connsiteX238" fmla="*/ 154410 w 339380"/>
                <a:gd name="connsiteY238" fmla="*/ 238451 h 328523"/>
                <a:gd name="connsiteX239" fmla="*/ 154410 w 339380"/>
                <a:gd name="connsiteY239" fmla="*/ 238451 h 328523"/>
                <a:gd name="connsiteX240" fmla="*/ 144759 w 339380"/>
                <a:gd name="connsiteY240" fmla="*/ 96908 h 328523"/>
                <a:gd name="connsiteX241" fmla="*/ 144759 w 339380"/>
                <a:gd name="connsiteY241" fmla="*/ 96908 h 328523"/>
                <a:gd name="connsiteX242" fmla="*/ 138326 w 339380"/>
                <a:gd name="connsiteY242" fmla="*/ 74390 h 328523"/>
                <a:gd name="connsiteX243" fmla="*/ 135109 w 339380"/>
                <a:gd name="connsiteY243" fmla="*/ 55089 h 328523"/>
                <a:gd name="connsiteX244" fmla="*/ 136717 w 339380"/>
                <a:gd name="connsiteY244" fmla="*/ 22920 h 328523"/>
                <a:gd name="connsiteX245" fmla="*/ 151193 w 339380"/>
                <a:gd name="connsiteY245" fmla="*/ 50264 h 328523"/>
                <a:gd name="connsiteX246" fmla="*/ 159235 w 339380"/>
                <a:gd name="connsiteY246" fmla="*/ 90475 h 328523"/>
                <a:gd name="connsiteX247" fmla="*/ 159235 w 339380"/>
                <a:gd name="connsiteY247" fmla="*/ 92083 h 328523"/>
                <a:gd name="connsiteX248" fmla="*/ 144759 w 339380"/>
                <a:gd name="connsiteY248" fmla="*/ 96908 h 328523"/>
                <a:gd name="connsiteX249" fmla="*/ 202663 w 339380"/>
                <a:gd name="connsiteY249" fmla="*/ 277053 h 328523"/>
                <a:gd name="connsiteX250" fmla="*/ 201055 w 339380"/>
                <a:gd name="connsiteY250" fmla="*/ 309222 h 328523"/>
                <a:gd name="connsiteX251" fmla="*/ 184970 w 339380"/>
                <a:gd name="connsiteY251" fmla="*/ 281879 h 328523"/>
                <a:gd name="connsiteX252" fmla="*/ 176928 w 339380"/>
                <a:gd name="connsiteY252" fmla="*/ 241668 h 328523"/>
                <a:gd name="connsiteX253" fmla="*/ 176928 w 339380"/>
                <a:gd name="connsiteY253" fmla="*/ 240059 h 328523"/>
                <a:gd name="connsiteX254" fmla="*/ 193013 w 339380"/>
                <a:gd name="connsiteY254" fmla="*/ 236842 h 328523"/>
                <a:gd name="connsiteX255" fmla="*/ 193013 w 339380"/>
                <a:gd name="connsiteY255" fmla="*/ 238451 h 328523"/>
                <a:gd name="connsiteX256" fmla="*/ 199446 w 339380"/>
                <a:gd name="connsiteY256" fmla="*/ 259361 h 328523"/>
                <a:gd name="connsiteX257" fmla="*/ 202663 w 339380"/>
                <a:gd name="connsiteY257" fmla="*/ 277053 h 328523"/>
                <a:gd name="connsiteX258" fmla="*/ 199446 w 339380"/>
                <a:gd name="connsiteY258" fmla="*/ 98517 h 328523"/>
                <a:gd name="connsiteX259" fmla="*/ 183362 w 339380"/>
                <a:gd name="connsiteY259" fmla="*/ 93691 h 328523"/>
                <a:gd name="connsiteX260" fmla="*/ 183362 w 339380"/>
                <a:gd name="connsiteY260" fmla="*/ 92083 h 328523"/>
                <a:gd name="connsiteX261" fmla="*/ 196229 w 339380"/>
                <a:gd name="connsiteY261" fmla="*/ 53481 h 328523"/>
                <a:gd name="connsiteX262" fmla="*/ 213922 w 339380"/>
                <a:gd name="connsiteY262" fmla="*/ 27746 h 328523"/>
                <a:gd name="connsiteX263" fmla="*/ 212314 w 339380"/>
                <a:gd name="connsiteY263" fmla="*/ 59914 h 328523"/>
                <a:gd name="connsiteX264" fmla="*/ 207488 w 339380"/>
                <a:gd name="connsiteY264" fmla="*/ 79216 h 328523"/>
                <a:gd name="connsiteX265" fmla="*/ 199446 w 339380"/>
                <a:gd name="connsiteY265" fmla="*/ 98517 h 328523"/>
                <a:gd name="connsiteX266" fmla="*/ 199446 w 339380"/>
                <a:gd name="connsiteY266" fmla="*/ 98517 h 328523"/>
                <a:gd name="connsiteX267" fmla="*/ 255742 w 339380"/>
                <a:gd name="connsiteY267" fmla="*/ 244885 h 328523"/>
                <a:gd name="connsiteX268" fmla="*/ 270218 w 339380"/>
                <a:gd name="connsiteY268" fmla="*/ 273836 h 328523"/>
                <a:gd name="connsiteX269" fmla="*/ 242874 w 339380"/>
                <a:gd name="connsiteY269" fmla="*/ 257752 h 328523"/>
                <a:gd name="connsiteX270" fmla="*/ 213922 w 339380"/>
                <a:gd name="connsiteY270" fmla="*/ 227192 h 328523"/>
                <a:gd name="connsiteX271" fmla="*/ 212314 w 339380"/>
                <a:gd name="connsiteY271" fmla="*/ 225583 h 328523"/>
                <a:gd name="connsiteX272" fmla="*/ 225181 w 339380"/>
                <a:gd name="connsiteY272" fmla="*/ 214324 h 328523"/>
                <a:gd name="connsiteX273" fmla="*/ 226790 w 339380"/>
                <a:gd name="connsiteY273" fmla="*/ 215933 h 328523"/>
                <a:gd name="connsiteX274" fmla="*/ 255742 w 339380"/>
                <a:gd name="connsiteY274" fmla="*/ 244885 h 328523"/>
                <a:gd name="connsiteX275" fmla="*/ 230007 w 339380"/>
                <a:gd name="connsiteY275" fmla="*/ 122643 h 328523"/>
                <a:gd name="connsiteX276" fmla="*/ 218748 w 339380"/>
                <a:gd name="connsiteY276" fmla="*/ 109776 h 328523"/>
                <a:gd name="connsiteX277" fmla="*/ 220356 w 339380"/>
                <a:gd name="connsiteY277" fmla="*/ 108167 h 328523"/>
                <a:gd name="connsiteX278" fmla="*/ 250916 w 339380"/>
                <a:gd name="connsiteY278" fmla="*/ 80824 h 328523"/>
                <a:gd name="connsiteX279" fmla="*/ 279868 w 339380"/>
                <a:gd name="connsiteY279" fmla="*/ 66348 h 328523"/>
                <a:gd name="connsiteX280" fmla="*/ 262175 w 339380"/>
                <a:gd name="connsiteY280" fmla="*/ 93691 h 328523"/>
                <a:gd name="connsiteX281" fmla="*/ 230007 w 339380"/>
                <a:gd name="connsiteY281" fmla="*/ 122643 h 328523"/>
                <a:gd name="connsiteX282" fmla="*/ 230007 w 339380"/>
                <a:gd name="connsiteY282" fmla="*/ 122643 h 328523"/>
                <a:gd name="connsiteX283" fmla="*/ 241266 w 339380"/>
                <a:gd name="connsiteY283" fmla="*/ 141945 h 328523"/>
                <a:gd name="connsiteX284" fmla="*/ 262175 w 339380"/>
                <a:gd name="connsiteY284" fmla="*/ 135511 h 328523"/>
                <a:gd name="connsiteX285" fmla="*/ 281477 w 339380"/>
                <a:gd name="connsiteY285" fmla="*/ 132294 h 328523"/>
                <a:gd name="connsiteX286" fmla="*/ 313645 w 339380"/>
                <a:gd name="connsiteY286" fmla="*/ 133902 h 328523"/>
                <a:gd name="connsiteX287" fmla="*/ 284693 w 339380"/>
                <a:gd name="connsiteY287" fmla="*/ 148378 h 328523"/>
                <a:gd name="connsiteX288" fmla="*/ 242874 w 339380"/>
                <a:gd name="connsiteY288" fmla="*/ 156421 h 328523"/>
                <a:gd name="connsiteX289" fmla="*/ 241266 w 339380"/>
                <a:gd name="connsiteY289" fmla="*/ 156421 h 328523"/>
                <a:gd name="connsiteX290" fmla="*/ 241266 w 339380"/>
                <a:gd name="connsiteY290" fmla="*/ 141945 h 328523"/>
                <a:gd name="connsiteX291" fmla="*/ 241266 w 339380"/>
                <a:gd name="connsiteY291" fmla="*/ 141945 h 328523"/>
                <a:gd name="connsiteX292" fmla="*/ 278260 w 339380"/>
                <a:gd name="connsiteY292" fmla="*/ 209499 h 328523"/>
                <a:gd name="connsiteX293" fmla="*/ 258958 w 339380"/>
                <a:gd name="connsiteY293" fmla="*/ 204674 h 328523"/>
                <a:gd name="connsiteX294" fmla="*/ 238049 w 339380"/>
                <a:gd name="connsiteY294" fmla="*/ 196632 h 328523"/>
                <a:gd name="connsiteX295" fmla="*/ 236440 w 339380"/>
                <a:gd name="connsiteY295" fmla="*/ 196632 h 328523"/>
                <a:gd name="connsiteX296" fmla="*/ 241266 w 339380"/>
                <a:gd name="connsiteY296" fmla="*/ 180547 h 328523"/>
                <a:gd name="connsiteX297" fmla="*/ 242874 w 339380"/>
                <a:gd name="connsiteY297" fmla="*/ 180547 h 328523"/>
                <a:gd name="connsiteX298" fmla="*/ 283085 w 339380"/>
                <a:gd name="connsiteY298" fmla="*/ 193415 h 328523"/>
                <a:gd name="connsiteX299" fmla="*/ 310428 w 339380"/>
                <a:gd name="connsiteY299" fmla="*/ 211107 h 328523"/>
                <a:gd name="connsiteX300" fmla="*/ 278260 w 339380"/>
                <a:gd name="connsiteY300" fmla="*/ 209499 h 328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</a:cxnLst>
              <a:rect l="l" t="t" r="r" b="b"/>
              <a:pathLst>
                <a:path w="339380" h="328523">
                  <a:moveTo>
                    <a:pt x="332947" y="212716"/>
                  </a:moveTo>
                  <a:cubicBezTo>
                    <a:pt x="331338" y="209499"/>
                    <a:pt x="328121" y="207891"/>
                    <a:pt x="328121" y="207891"/>
                  </a:cubicBezTo>
                  <a:cubicBezTo>
                    <a:pt x="328121" y="207891"/>
                    <a:pt x="324904" y="204674"/>
                    <a:pt x="321688" y="201457"/>
                  </a:cubicBezTo>
                  <a:cubicBezTo>
                    <a:pt x="320079" y="199848"/>
                    <a:pt x="316862" y="198240"/>
                    <a:pt x="315254" y="195023"/>
                  </a:cubicBezTo>
                  <a:cubicBezTo>
                    <a:pt x="315254" y="195023"/>
                    <a:pt x="315254" y="195023"/>
                    <a:pt x="313645" y="195023"/>
                  </a:cubicBezTo>
                  <a:cubicBezTo>
                    <a:pt x="313645" y="195023"/>
                    <a:pt x="313645" y="195023"/>
                    <a:pt x="312037" y="193415"/>
                  </a:cubicBezTo>
                  <a:cubicBezTo>
                    <a:pt x="312037" y="193415"/>
                    <a:pt x="310428" y="191806"/>
                    <a:pt x="310428" y="191806"/>
                  </a:cubicBezTo>
                  <a:cubicBezTo>
                    <a:pt x="308820" y="190198"/>
                    <a:pt x="307212" y="190198"/>
                    <a:pt x="305603" y="188589"/>
                  </a:cubicBezTo>
                  <a:cubicBezTo>
                    <a:pt x="297561" y="183764"/>
                    <a:pt x="289519" y="180547"/>
                    <a:pt x="278260" y="177330"/>
                  </a:cubicBezTo>
                  <a:cubicBezTo>
                    <a:pt x="273434" y="175722"/>
                    <a:pt x="267001" y="175722"/>
                    <a:pt x="262175" y="174113"/>
                  </a:cubicBezTo>
                  <a:cubicBezTo>
                    <a:pt x="255742" y="174113"/>
                    <a:pt x="250916" y="172505"/>
                    <a:pt x="244483" y="172505"/>
                  </a:cubicBezTo>
                  <a:cubicBezTo>
                    <a:pt x="244483" y="172505"/>
                    <a:pt x="242874" y="172505"/>
                    <a:pt x="242874" y="172505"/>
                  </a:cubicBezTo>
                  <a:cubicBezTo>
                    <a:pt x="242874" y="170896"/>
                    <a:pt x="242874" y="167680"/>
                    <a:pt x="242874" y="166071"/>
                  </a:cubicBezTo>
                  <a:lnTo>
                    <a:pt x="242874" y="166071"/>
                  </a:lnTo>
                  <a:cubicBezTo>
                    <a:pt x="242874" y="166071"/>
                    <a:pt x="244483" y="166071"/>
                    <a:pt x="244483" y="166071"/>
                  </a:cubicBezTo>
                  <a:cubicBezTo>
                    <a:pt x="257350" y="166071"/>
                    <a:pt x="268609" y="164463"/>
                    <a:pt x="278260" y="162854"/>
                  </a:cubicBezTo>
                  <a:cubicBezTo>
                    <a:pt x="289519" y="161246"/>
                    <a:pt x="297561" y="158029"/>
                    <a:pt x="305603" y="154812"/>
                  </a:cubicBezTo>
                  <a:cubicBezTo>
                    <a:pt x="313645" y="151595"/>
                    <a:pt x="320079" y="148378"/>
                    <a:pt x="323296" y="145161"/>
                  </a:cubicBezTo>
                  <a:cubicBezTo>
                    <a:pt x="328121" y="141945"/>
                    <a:pt x="329730" y="140336"/>
                    <a:pt x="329730" y="138728"/>
                  </a:cubicBezTo>
                  <a:cubicBezTo>
                    <a:pt x="329730" y="138728"/>
                    <a:pt x="332947" y="137119"/>
                    <a:pt x="334555" y="133902"/>
                  </a:cubicBezTo>
                  <a:cubicBezTo>
                    <a:pt x="337772" y="130686"/>
                    <a:pt x="339380" y="129077"/>
                    <a:pt x="339380" y="129077"/>
                  </a:cubicBezTo>
                  <a:cubicBezTo>
                    <a:pt x="339380" y="129077"/>
                    <a:pt x="336163" y="127469"/>
                    <a:pt x="332947" y="125860"/>
                  </a:cubicBezTo>
                  <a:cubicBezTo>
                    <a:pt x="329730" y="124252"/>
                    <a:pt x="326513" y="122643"/>
                    <a:pt x="326513" y="122643"/>
                  </a:cubicBezTo>
                  <a:cubicBezTo>
                    <a:pt x="326513" y="122643"/>
                    <a:pt x="323296" y="121035"/>
                    <a:pt x="318471" y="121035"/>
                  </a:cubicBezTo>
                  <a:cubicBezTo>
                    <a:pt x="313645" y="119426"/>
                    <a:pt x="305603" y="119426"/>
                    <a:pt x="297561" y="119426"/>
                  </a:cubicBezTo>
                  <a:cubicBezTo>
                    <a:pt x="289519" y="119426"/>
                    <a:pt x="279868" y="121035"/>
                    <a:pt x="268609" y="122643"/>
                  </a:cubicBezTo>
                  <a:cubicBezTo>
                    <a:pt x="258958" y="125860"/>
                    <a:pt x="247699" y="129077"/>
                    <a:pt x="236440" y="133902"/>
                  </a:cubicBezTo>
                  <a:cubicBezTo>
                    <a:pt x="236440" y="133902"/>
                    <a:pt x="234832" y="133902"/>
                    <a:pt x="234832" y="133902"/>
                  </a:cubicBezTo>
                  <a:cubicBezTo>
                    <a:pt x="233223" y="132294"/>
                    <a:pt x="233223" y="129077"/>
                    <a:pt x="231615" y="127469"/>
                  </a:cubicBezTo>
                  <a:cubicBezTo>
                    <a:pt x="231615" y="127469"/>
                    <a:pt x="233223" y="127469"/>
                    <a:pt x="233223" y="127469"/>
                  </a:cubicBezTo>
                  <a:cubicBezTo>
                    <a:pt x="244483" y="121035"/>
                    <a:pt x="254133" y="114601"/>
                    <a:pt x="262175" y="108167"/>
                  </a:cubicBezTo>
                  <a:cubicBezTo>
                    <a:pt x="270218" y="101734"/>
                    <a:pt x="276651" y="93691"/>
                    <a:pt x="281477" y="87258"/>
                  </a:cubicBezTo>
                  <a:cubicBezTo>
                    <a:pt x="291127" y="74390"/>
                    <a:pt x="294344" y="61523"/>
                    <a:pt x="295953" y="61523"/>
                  </a:cubicBezTo>
                  <a:cubicBezTo>
                    <a:pt x="295953" y="61523"/>
                    <a:pt x="297561" y="58306"/>
                    <a:pt x="297561" y="55089"/>
                  </a:cubicBezTo>
                  <a:cubicBezTo>
                    <a:pt x="299169" y="51872"/>
                    <a:pt x="299169" y="48655"/>
                    <a:pt x="299169" y="48655"/>
                  </a:cubicBezTo>
                  <a:cubicBezTo>
                    <a:pt x="299169" y="48655"/>
                    <a:pt x="295953" y="48655"/>
                    <a:pt x="292736" y="50264"/>
                  </a:cubicBezTo>
                  <a:cubicBezTo>
                    <a:pt x="289519" y="50264"/>
                    <a:pt x="286302" y="51872"/>
                    <a:pt x="286302" y="51872"/>
                  </a:cubicBezTo>
                  <a:cubicBezTo>
                    <a:pt x="284693" y="51872"/>
                    <a:pt x="273434" y="55089"/>
                    <a:pt x="258958" y="63131"/>
                  </a:cubicBezTo>
                  <a:cubicBezTo>
                    <a:pt x="250916" y="67956"/>
                    <a:pt x="242874" y="72782"/>
                    <a:pt x="236440" y="80824"/>
                  </a:cubicBezTo>
                  <a:cubicBezTo>
                    <a:pt x="228398" y="87258"/>
                    <a:pt x="221964" y="96908"/>
                    <a:pt x="213922" y="106559"/>
                  </a:cubicBezTo>
                  <a:cubicBezTo>
                    <a:pt x="213922" y="106559"/>
                    <a:pt x="213922" y="108167"/>
                    <a:pt x="212314" y="108167"/>
                  </a:cubicBezTo>
                  <a:cubicBezTo>
                    <a:pt x="210705" y="106559"/>
                    <a:pt x="209097" y="104951"/>
                    <a:pt x="205880" y="104951"/>
                  </a:cubicBezTo>
                  <a:cubicBezTo>
                    <a:pt x="205880" y="104951"/>
                    <a:pt x="205880" y="103342"/>
                    <a:pt x="207488" y="103342"/>
                  </a:cubicBezTo>
                  <a:cubicBezTo>
                    <a:pt x="213922" y="93691"/>
                    <a:pt x="218748" y="82432"/>
                    <a:pt x="221964" y="72782"/>
                  </a:cubicBezTo>
                  <a:cubicBezTo>
                    <a:pt x="225181" y="63131"/>
                    <a:pt x="228398" y="53481"/>
                    <a:pt x="228398" y="45438"/>
                  </a:cubicBezTo>
                  <a:cubicBezTo>
                    <a:pt x="230007" y="29354"/>
                    <a:pt x="226790" y="16486"/>
                    <a:pt x="226790" y="16486"/>
                  </a:cubicBezTo>
                  <a:cubicBezTo>
                    <a:pt x="226790" y="16486"/>
                    <a:pt x="225181" y="13270"/>
                    <a:pt x="225181" y="10053"/>
                  </a:cubicBezTo>
                  <a:cubicBezTo>
                    <a:pt x="223573" y="6836"/>
                    <a:pt x="223573" y="3619"/>
                    <a:pt x="223573" y="3619"/>
                  </a:cubicBezTo>
                  <a:cubicBezTo>
                    <a:pt x="223573" y="3619"/>
                    <a:pt x="223573" y="3619"/>
                    <a:pt x="221964" y="5227"/>
                  </a:cubicBezTo>
                  <a:cubicBezTo>
                    <a:pt x="220356" y="5227"/>
                    <a:pt x="218748" y="6836"/>
                    <a:pt x="218748" y="8444"/>
                  </a:cubicBezTo>
                  <a:cubicBezTo>
                    <a:pt x="215531" y="10053"/>
                    <a:pt x="213922" y="13270"/>
                    <a:pt x="213922" y="13270"/>
                  </a:cubicBezTo>
                  <a:cubicBezTo>
                    <a:pt x="213922" y="13270"/>
                    <a:pt x="210705" y="16486"/>
                    <a:pt x="207488" y="19703"/>
                  </a:cubicBezTo>
                  <a:cubicBezTo>
                    <a:pt x="205880" y="21312"/>
                    <a:pt x="204272" y="24529"/>
                    <a:pt x="201055" y="26137"/>
                  </a:cubicBezTo>
                  <a:cubicBezTo>
                    <a:pt x="201055" y="26137"/>
                    <a:pt x="201055" y="26137"/>
                    <a:pt x="201055" y="27746"/>
                  </a:cubicBezTo>
                  <a:cubicBezTo>
                    <a:pt x="201055" y="27746"/>
                    <a:pt x="201055" y="27746"/>
                    <a:pt x="199446" y="29354"/>
                  </a:cubicBezTo>
                  <a:cubicBezTo>
                    <a:pt x="199446" y="29354"/>
                    <a:pt x="197838" y="30962"/>
                    <a:pt x="197838" y="30962"/>
                  </a:cubicBezTo>
                  <a:cubicBezTo>
                    <a:pt x="196229" y="32571"/>
                    <a:pt x="194621" y="34179"/>
                    <a:pt x="194621" y="35788"/>
                  </a:cubicBezTo>
                  <a:cubicBezTo>
                    <a:pt x="189796" y="42221"/>
                    <a:pt x="184970" y="51872"/>
                    <a:pt x="183362" y="61523"/>
                  </a:cubicBezTo>
                  <a:cubicBezTo>
                    <a:pt x="181753" y="66348"/>
                    <a:pt x="180145" y="71173"/>
                    <a:pt x="180145" y="77607"/>
                  </a:cubicBezTo>
                  <a:cubicBezTo>
                    <a:pt x="180145" y="82432"/>
                    <a:pt x="178537" y="88866"/>
                    <a:pt x="178537" y="95300"/>
                  </a:cubicBezTo>
                  <a:cubicBezTo>
                    <a:pt x="178537" y="95300"/>
                    <a:pt x="178537" y="96908"/>
                    <a:pt x="178537" y="96908"/>
                  </a:cubicBezTo>
                  <a:cubicBezTo>
                    <a:pt x="176928" y="96908"/>
                    <a:pt x="173711" y="96908"/>
                    <a:pt x="170494" y="96908"/>
                  </a:cubicBezTo>
                  <a:lnTo>
                    <a:pt x="170494" y="96908"/>
                  </a:lnTo>
                  <a:cubicBezTo>
                    <a:pt x="170494" y="96908"/>
                    <a:pt x="170494" y="95300"/>
                    <a:pt x="170494" y="95300"/>
                  </a:cubicBezTo>
                  <a:cubicBezTo>
                    <a:pt x="170494" y="84041"/>
                    <a:pt x="168886" y="72782"/>
                    <a:pt x="167278" y="61523"/>
                  </a:cubicBezTo>
                  <a:cubicBezTo>
                    <a:pt x="165669" y="51872"/>
                    <a:pt x="162452" y="42221"/>
                    <a:pt x="159235" y="34179"/>
                  </a:cubicBezTo>
                  <a:cubicBezTo>
                    <a:pt x="156018" y="26137"/>
                    <a:pt x="151193" y="21312"/>
                    <a:pt x="149585" y="16486"/>
                  </a:cubicBezTo>
                  <a:cubicBezTo>
                    <a:pt x="146368" y="11661"/>
                    <a:pt x="144759" y="10053"/>
                    <a:pt x="143151" y="10053"/>
                  </a:cubicBezTo>
                  <a:cubicBezTo>
                    <a:pt x="143151" y="10053"/>
                    <a:pt x="139934" y="6836"/>
                    <a:pt x="138326" y="5227"/>
                  </a:cubicBezTo>
                  <a:cubicBezTo>
                    <a:pt x="135109" y="2011"/>
                    <a:pt x="133500" y="402"/>
                    <a:pt x="133500" y="402"/>
                  </a:cubicBezTo>
                  <a:cubicBezTo>
                    <a:pt x="133500" y="402"/>
                    <a:pt x="130283" y="-1206"/>
                    <a:pt x="128675" y="2011"/>
                  </a:cubicBezTo>
                  <a:cubicBezTo>
                    <a:pt x="127067" y="5227"/>
                    <a:pt x="125458" y="8444"/>
                    <a:pt x="125458" y="8444"/>
                  </a:cubicBezTo>
                  <a:cubicBezTo>
                    <a:pt x="125458" y="8444"/>
                    <a:pt x="123850" y="11661"/>
                    <a:pt x="123850" y="16486"/>
                  </a:cubicBezTo>
                  <a:cubicBezTo>
                    <a:pt x="122241" y="21312"/>
                    <a:pt x="122241" y="29354"/>
                    <a:pt x="122241" y="37396"/>
                  </a:cubicBezTo>
                  <a:cubicBezTo>
                    <a:pt x="122241" y="45438"/>
                    <a:pt x="123850" y="55089"/>
                    <a:pt x="125458" y="64740"/>
                  </a:cubicBezTo>
                  <a:cubicBezTo>
                    <a:pt x="128675" y="74390"/>
                    <a:pt x="131892" y="85649"/>
                    <a:pt x="136717" y="96908"/>
                  </a:cubicBezTo>
                  <a:cubicBezTo>
                    <a:pt x="136717" y="96908"/>
                    <a:pt x="136717" y="98517"/>
                    <a:pt x="136717" y="98517"/>
                  </a:cubicBezTo>
                  <a:cubicBezTo>
                    <a:pt x="135109" y="100125"/>
                    <a:pt x="131892" y="100125"/>
                    <a:pt x="130283" y="101734"/>
                  </a:cubicBezTo>
                  <a:cubicBezTo>
                    <a:pt x="130283" y="101734"/>
                    <a:pt x="130283" y="100125"/>
                    <a:pt x="128675" y="100125"/>
                  </a:cubicBezTo>
                  <a:cubicBezTo>
                    <a:pt x="122241" y="90475"/>
                    <a:pt x="115808" y="80824"/>
                    <a:pt x="109374" y="72782"/>
                  </a:cubicBezTo>
                  <a:cubicBezTo>
                    <a:pt x="102940" y="64740"/>
                    <a:pt x="94898" y="58306"/>
                    <a:pt x="88464" y="53481"/>
                  </a:cubicBezTo>
                  <a:cubicBezTo>
                    <a:pt x="73988" y="43830"/>
                    <a:pt x="62729" y="40613"/>
                    <a:pt x="61121" y="40613"/>
                  </a:cubicBezTo>
                  <a:cubicBezTo>
                    <a:pt x="61121" y="40613"/>
                    <a:pt x="57904" y="39005"/>
                    <a:pt x="54687" y="39005"/>
                  </a:cubicBezTo>
                  <a:cubicBezTo>
                    <a:pt x="51470" y="37396"/>
                    <a:pt x="48253" y="37396"/>
                    <a:pt x="48253" y="37396"/>
                  </a:cubicBezTo>
                  <a:cubicBezTo>
                    <a:pt x="48253" y="37396"/>
                    <a:pt x="48253" y="40613"/>
                    <a:pt x="49862" y="43830"/>
                  </a:cubicBezTo>
                  <a:cubicBezTo>
                    <a:pt x="49862" y="47047"/>
                    <a:pt x="51470" y="50264"/>
                    <a:pt x="51470" y="50264"/>
                  </a:cubicBezTo>
                  <a:cubicBezTo>
                    <a:pt x="51470" y="51872"/>
                    <a:pt x="54687" y="63131"/>
                    <a:pt x="62729" y="77607"/>
                  </a:cubicBezTo>
                  <a:cubicBezTo>
                    <a:pt x="67554" y="84041"/>
                    <a:pt x="72380" y="92083"/>
                    <a:pt x="80422" y="100125"/>
                  </a:cubicBezTo>
                  <a:cubicBezTo>
                    <a:pt x="88464" y="108167"/>
                    <a:pt x="96506" y="114601"/>
                    <a:pt x="106157" y="121035"/>
                  </a:cubicBezTo>
                  <a:cubicBezTo>
                    <a:pt x="106157" y="121035"/>
                    <a:pt x="107765" y="121035"/>
                    <a:pt x="107765" y="122643"/>
                  </a:cubicBezTo>
                  <a:cubicBezTo>
                    <a:pt x="106157" y="124252"/>
                    <a:pt x="104548" y="125860"/>
                    <a:pt x="104548" y="129077"/>
                  </a:cubicBezTo>
                  <a:cubicBezTo>
                    <a:pt x="104548" y="129077"/>
                    <a:pt x="102940" y="129077"/>
                    <a:pt x="102940" y="127469"/>
                  </a:cubicBezTo>
                  <a:cubicBezTo>
                    <a:pt x="91681" y="121035"/>
                    <a:pt x="82030" y="116210"/>
                    <a:pt x="72380" y="112993"/>
                  </a:cubicBezTo>
                  <a:cubicBezTo>
                    <a:pt x="62729" y="109776"/>
                    <a:pt x="53078" y="108167"/>
                    <a:pt x="45036" y="106559"/>
                  </a:cubicBezTo>
                  <a:cubicBezTo>
                    <a:pt x="27343" y="104951"/>
                    <a:pt x="16084" y="108167"/>
                    <a:pt x="14476" y="108167"/>
                  </a:cubicBezTo>
                  <a:cubicBezTo>
                    <a:pt x="14476" y="108167"/>
                    <a:pt x="11259" y="109776"/>
                    <a:pt x="8042" y="109776"/>
                  </a:cubicBezTo>
                  <a:cubicBezTo>
                    <a:pt x="4825" y="111384"/>
                    <a:pt x="1608" y="111384"/>
                    <a:pt x="1608" y="111384"/>
                  </a:cubicBezTo>
                  <a:cubicBezTo>
                    <a:pt x="1608" y="111384"/>
                    <a:pt x="1608" y="111384"/>
                    <a:pt x="3217" y="112993"/>
                  </a:cubicBezTo>
                  <a:cubicBezTo>
                    <a:pt x="4825" y="114601"/>
                    <a:pt x="4825" y="116210"/>
                    <a:pt x="6434" y="116210"/>
                  </a:cubicBezTo>
                  <a:cubicBezTo>
                    <a:pt x="8042" y="119426"/>
                    <a:pt x="11259" y="121035"/>
                    <a:pt x="11259" y="121035"/>
                  </a:cubicBezTo>
                  <a:cubicBezTo>
                    <a:pt x="11259" y="121035"/>
                    <a:pt x="14476" y="124252"/>
                    <a:pt x="17693" y="127469"/>
                  </a:cubicBezTo>
                  <a:cubicBezTo>
                    <a:pt x="19301" y="129077"/>
                    <a:pt x="22518" y="130686"/>
                    <a:pt x="24127" y="133902"/>
                  </a:cubicBezTo>
                  <a:cubicBezTo>
                    <a:pt x="24127" y="133902"/>
                    <a:pt x="24127" y="133902"/>
                    <a:pt x="25735" y="133902"/>
                  </a:cubicBezTo>
                  <a:cubicBezTo>
                    <a:pt x="25735" y="133902"/>
                    <a:pt x="25735" y="133902"/>
                    <a:pt x="27343" y="135511"/>
                  </a:cubicBezTo>
                  <a:cubicBezTo>
                    <a:pt x="27343" y="135511"/>
                    <a:pt x="28952" y="137119"/>
                    <a:pt x="28952" y="137119"/>
                  </a:cubicBezTo>
                  <a:cubicBezTo>
                    <a:pt x="30560" y="138728"/>
                    <a:pt x="32169" y="138728"/>
                    <a:pt x="33777" y="140336"/>
                  </a:cubicBezTo>
                  <a:cubicBezTo>
                    <a:pt x="41819" y="145161"/>
                    <a:pt x="49862" y="148378"/>
                    <a:pt x="61121" y="151595"/>
                  </a:cubicBezTo>
                  <a:cubicBezTo>
                    <a:pt x="65946" y="153204"/>
                    <a:pt x="72380" y="153204"/>
                    <a:pt x="77205" y="154812"/>
                  </a:cubicBezTo>
                  <a:cubicBezTo>
                    <a:pt x="83639" y="154812"/>
                    <a:pt x="88464" y="156421"/>
                    <a:pt x="94898" y="156421"/>
                  </a:cubicBezTo>
                  <a:cubicBezTo>
                    <a:pt x="94898" y="156421"/>
                    <a:pt x="96506" y="156421"/>
                    <a:pt x="96506" y="156421"/>
                  </a:cubicBezTo>
                  <a:cubicBezTo>
                    <a:pt x="96506" y="158029"/>
                    <a:pt x="96506" y="161246"/>
                    <a:pt x="96506" y="162854"/>
                  </a:cubicBezTo>
                  <a:lnTo>
                    <a:pt x="96506" y="162854"/>
                  </a:lnTo>
                  <a:cubicBezTo>
                    <a:pt x="96506" y="162854"/>
                    <a:pt x="94898" y="162854"/>
                    <a:pt x="94898" y="162854"/>
                  </a:cubicBezTo>
                  <a:cubicBezTo>
                    <a:pt x="82030" y="162854"/>
                    <a:pt x="70771" y="162854"/>
                    <a:pt x="61121" y="166071"/>
                  </a:cubicBezTo>
                  <a:cubicBezTo>
                    <a:pt x="49862" y="167680"/>
                    <a:pt x="41819" y="170896"/>
                    <a:pt x="33777" y="174113"/>
                  </a:cubicBezTo>
                  <a:cubicBezTo>
                    <a:pt x="25735" y="177330"/>
                    <a:pt x="19301" y="180547"/>
                    <a:pt x="16084" y="183764"/>
                  </a:cubicBezTo>
                  <a:cubicBezTo>
                    <a:pt x="11259" y="186981"/>
                    <a:pt x="9651" y="188589"/>
                    <a:pt x="9651" y="190198"/>
                  </a:cubicBezTo>
                  <a:cubicBezTo>
                    <a:pt x="9651" y="190198"/>
                    <a:pt x="6434" y="191806"/>
                    <a:pt x="4825" y="195023"/>
                  </a:cubicBezTo>
                  <a:cubicBezTo>
                    <a:pt x="1608" y="198240"/>
                    <a:pt x="0" y="199848"/>
                    <a:pt x="0" y="199848"/>
                  </a:cubicBezTo>
                  <a:cubicBezTo>
                    <a:pt x="0" y="199848"/>
                    <a:pt x="3217" y="201457"/>
                    <a:pt x="6434" y="203065"/>
                  </a:cubicBezTo>
                  <a:cubicBezTo>
                    <a:pt x="9651" y="204674"/>
                    <a:pt x="12868" y="206282"/>
                    <a:pt x="12868" y="206282"/>
                  </a:cubicBezTo>
                  <a:cubicBezTo>
                    <a:pt x="12868" y="206282"/>
                    <a:pt x="16084" y="207891"/>
                    <a:pt x="20910" y="207891"/>
                  </a:cubicBezTo>
                  <a:cubicBezTo>
                    <a:pt x="25735" y="209499"/>
                    <a:pt x="33777" y="209499"/>
                    <a:pt x="41819" y="209499"/>
                  </a:cubicBezTo>
                  <a:cubicBezTo>
                    <a:pt x="49862" y="209499"/>
                    <a:pt x="59512" y="207891"/>
                    <a:pt x="70771" y="206282"/>
                  </a:cubicBezTo>
                  <a:cubicBezTo>
                    <a:pt x="80422" y="203065"/>
                    <a:pt x="91681" y="199848"/>
                    <a:pt x="102940" y="195023"/>
                  </a:cubicBezTo>
                  <a:cubicBezTo>
                    <a:pt x="102940" y="195023"/>
                    <a:pt x="104548" y="195023"/>
                    <a:pt x="104548" y="195023"/>
                  </a:cubicBezTo>
                  <a:cubicBezTo>
                    <a:pt x="106157" y="196632"/>
                    <a:pt x="106157" y="199848"/>
                    <a:pt x="107765" y="201457"/>
                  </a:cubicBezTo>
                  <a:cubicBezTo>
                    <a:pt x="107765" y="201457"/>
                    <a:pt x="106157" y="201457"/>
                    <a:pt x="106157" y="201457"/>
                  </a:cubicBezTo>
                  <a:cubicBezTo>
                    <a:pt x="94898" y="207891"/>
                    <a:pt x="85247" y="214324"/>
                    <a:pt x="77205" y="220758"/>
                  </a:cubicBezTo>
                  <a:cubicBezTo>
                    <a:pt x="69163" y="227192"/>
                    <a:pt x="62729" y="235234"/>
                    <a:pt x="57904" y="241668"/>
                  </a:cubicBezTo>
                  <a:cubicBezTo>
                    <a:pt x="48253" y="254535"/>
                    <a:pt x="45036" y="267403"/>
                    <a:pt x="43428" y="267403"/>
                  </a:cubicBezTo>
                  <a:cubicBezTo>
                    <a:pt x="43428" y="267403"/>
                    <a:pt x="41819" y="270620"/>
                    <a:pt x="41819" y="273836"/>
                  </a:cubicBezTo>
                  <a:cubicBezTo>
                    <a:pt x="40211" y="277053"/>
                    <a:pt x="40211" y="280270"/>
                    <a:pt x="40211" y="280270"/>
                  </a:cubicBezTo>
                  <a:cubicBezTo>
                    <a:pt x="40211" y="280270"/>
                    <a:pt x="43428" y="280270"/>
                    <a:pt x="46645" y="278662"/>
                  </a:cubicBezTo>
                  <a:cubicBezTo>
                    <a:pt x="49862" y="278662"/>
                    <a:pt x="53078" y="277053"/>
                    <a:pt x="53078" y="277053"/>
                  </a:cubicBezTo>
                  <a:cubicBezTo>
                    <a:pt x="54687" y="277053"/>
                    <a:pt x="65946" y="273836"/>
                    <a:pt x="80422" y="265794"/>
                  </a:cubicBezTo>
                  <a:cubicBezTo>
                    <a:pt x="88464" y="260969"/>
                    <a:pt x="96506" y="256144"/>
                    <a:pt x="102940" y="248101"/>
                  </a:cubicBezTo>
                  <a:cubicBezTo>
                    <a:pt x="110982" y="241668"/>
                    <a:pt x="117416" y="232017"/>
                    <a:pt x="125458" y="222367"/>
                  </a:cubicBezTo>
                  <a:cubicBezTo>
                    <a:pt x="125458" y="222367"/>
                    <a:pt x="125458" y="220758"/>
                    <a:pt x="127067" y="220758"/>
                  </a:cubicBezTo>
                  <a:cubicBezTo>
                    <a:pt x="128675" y="222367"/>
                    <a:pt x="130283" y="223975"/>
                    <a:pt x="133500" y="223975"/>
                  </a:cubicBezTo>
                  <a:cubicBezTo>
                    <a:pt x="133500" y="223975"/>
                    <a:pt x="133500" y="225583"/>
                    <a:pt x="131892" y="225583"/>
                  </a:cubicBezTo>
                  <a:cubicBezTo>
                    <a:pt x="125458" y="235234"/>
                    <a:pt x="120633" y="246493"/>
                    <a:pt x="117416" y="256144"/>
                  </a:cubicBezTo>
                  <a:cubicBezTo>
                    <a:pt x="114199" y="265794"/>
                    <a:pt x="112591" y="275445"/>
                    <a:pt x="110982" y="283487"/>
                  </a:cubicBezTo>
                  <a:cubicBezTo>
                    <a:pt x="109374" y="299572"/>
                    <a:pt x="112591" y="312439"/>
                    <a:pt x="112591" y="312439"/>
                  </a:cubicBezTo>
                  <a:cubicBezTo>
                    <a:pt x="112591" y="312439"/>
                    <a:pt x="114199" y="315656"/>
                    <a:pt x="114199" y="318873"/>
                  </a:cubicBezTo>
                  <a:cubicBezTo>
                    <a:pt x="115808" y="322090"/>
                    <a:pt x="115808" y="325307"/>
                    <a:pt x="115808" y="325307"/>
                  </a:cubicBezTo>
                  <a:cubicBezTo>
                    <a:pt x="115808" y="325307"/>
                    <a:pt x="115808" y="325307"/>
                    <a:pt x="117416" y="323698"/>
                  </a:cubicBezTo>
                  <a:cubicBezTo>
                    <a:pt x="119024" y="323698"/>
                    <a:pt x="120633" y="322090"/>
                    <a:pt x="120633" y="320481"/>
                  </a:cubicBezTo>
                  <a:cubicBezTo>
                    <a:pt x="123850" y="318873"/>
                    <a:pt x="125458" y="315656"/>
                    <a:pt x="125458" y="315656"/>
                  </a:cubicBezTo>
                  <a:cubicBezTo>
                    <a:pt x="125458" y="315656"/>
                    <a:pt x="128675" y="312439"/>
                    <a:pt x="131892" y="309222"/>
                  </a:cubicBezTo>
                  <a:cubicBezTo>
                    <a:pt x="133500" y="307614"/>
                    <a:pt x="135109" y="304397"/>
                    <a:pt x="138326" y="302788"/>
                  </a:cubicBezTo>
                  <a:cubicBezTo>
                    <a:pt x="138326" y="302788"/>
                    <a:pt x="138326" y="302788"/>
                    <a:pt x="138326" y="301180"/>
                  </a:cubicBezTo>
                  <a:cubicBezTo>
                    <a:pt x="138326" y="301180"/>
                    <a:pt x="138326" y="301180"/>
                    <a:pt x="139934" y="299572"/>
                  </a:cubicBezTo>
                  <a:cubicBezTo>
                    <a:pt x="139934" y="299572"/>
                    <a:pt x="141543" y="297963"/>
                    <a:pt x="141543" y="297963"/>
                  </a:cubicBezTo>
                  <a:cubicBezTo>
                    <a:pt x="143151" y="296355"/>
                    <a:pt x="144759" y="294746"/>
                    <a:pt x="144759" y="293138"/>
                  </a:cubicBezTo>
                  <a:cubicBezTo>
                    <a:pt x="149585" y="286704"/>
                    <a:pt x="154410" y="277053"/>
                    <a:pt x="156018" y="267403"/>
                  </a:cubicBezTo>
                  <a:cubicBezTo>
                    <a:pt x="157627" y="262577"/>
                    <a:pt x="157627" y="257752"/>
                    <a:pt x="159235" y="251318"/>
                  </a:cubicBezTo>
                  <a:cubicBezTo>
                    <a:pt x="159235" y="246493"/>
                    <a:pt x="160844" y="240059"/>
                    <a:pt x="160844" y="233626"/>
                  </a:cubicBezTo>
                  <a:cubicBezTo>
                    <a:pt x="160844" y="233626"/>
                    <a:pt x="160844" y="232017"/>
                    <a:pt x="160844" y="232017"/>
                  </a:cubicBezTo>
                  <a:cubicBezTo>
                    <a:pt x="164061" y="232017"/>
                    <a:pt x="165669" y="232017"/>
                    <a:pt x="168886" y="232017"/>
                  </a:cubicBezTo>
                  <a:lnTo>
                    <a:pt x="168886" y="232017"/>
                  </a:lnTo>
                  <a:cubicBezTo>
                    <a:pt x="168886" y="232017"/>
                    <a:pt x="168886" y="233626"/>
                    <a:pt x="168886" y="233626"/>
                  </a:cubicBezTo>
                  <a:cubicBezTo>
                    <a:pt x="168886" y="244885"/>
                    <a:pt x="170494" y="256144"/>
                    <a:pt x="172103" y="267403"/>
                  </a:cubicBezTo>
                  <a:cubicBezTo>
                    <a:pt x="173711" y="277053"/>
                    <a:pt x="176928" y="286704"/>
                    <a:pt x="180145" y="294746"/>
                  </a:cubicBezTo>
                  <a:cubicBezTo>
                    <a:pt x="183362" y="302788"/>
                    <a:pt x="188187" y="307614"/>
                    <a:pt x="191404" y="312439"/>
                  </a:cubicBezTo>
                  <a:cubicBezTo>
                    <a:pt x="194621" y="317264"/>
                    <a:pt x="196229" y="318873"/>
                    <a:pt x="197838" y="318873"/>
                  </a:cubicBezTo>
                  <a:cubicBezTo>
                    <a:pt x="197838" y="318873"/>
                    <a:pt x="201055" y="322090"/>
                    <a:pt x="202663" y="323698"/>
                  </a:cubicBezTo>
                  <a:cubicBezTo>
                    <a:pt x="205880" y="326915"/>
                    <a:pt x="207488" y="328523"/>
                    <a:pt x="207488" y="328523"/>
                  </a:cubicBezTo>
                  <a:cubicBezTo>
                    <a:pt x="207488" y="328523"/>
                    <a:pt x="209097" y="325307"/>
                    <a:pt x="210705" y="322090"/>
                  </a:cubicBezTo>
                  <a:cubicBezTo>
                    <a:pt x="212314" y="318873"/>
                    <a:pt x="213922" y="315656"/>
                    <a:pt x="213922" y="315656"/>
                  </a:cubicBezTo>
                  <a:cubicBezTo>
                    <a:pt x="213922" y="315656"/>
                    <a:pt x="215531" y="312439"/>
                    <a:pt x="215531" y="307614"/>
                  </a:cubicBezTo>
                  <a:cubicBezTo>
                    <a:pt x="217139" y="302788"/>
                    <a:pt x="217139" y="294746"/>
                    <a:pt x="217139" y="286704"/>
                  </a:cubicBezTo>
                  <a:cubicBezTo>
                    <a:pt x="217139" y="278662"/>
                    <a:pt x="215531" y="269011"/>
                    <a:pt x="213922" y="259361"/>
                  </a:cubicBezTo>
                  <a:cubicBezTo>
                    <a:pt x="210705" y="249710"/>
                    <a:pt x="207488" y="238451"/>
                    <a:pt x="202663" y="227192"/>
                  </a:cubicBezTo>
                  <a:cubicBezTo>
                    <a:pt x="202663" y="227192"/>
                    <a:pt x="202663" y="225583"/>
                    <a:pt x="202663" y="225583"/>
                  </a:cubicBezTo>
                  <a:cubicBezTo>
                    <a:pt x="204272" y="223975"/>
                    <a:pt x="207488" y="223975"/>
                    <a:pt x="209097" y="222367"/>
                  </a:cubicBezTo>
                  <a:cubicBezTo>
                    <a:pt x="209097" y="222367"/>
                    <a:pt x="209097" y="223975"/>
                    <a:pt x="210705" y="223975"/>
                  </a:cubicBezTo>
                  <a:cubicBezTo>
                    <a:pt x="217139" y="233626"/>
                    <a:pt x="223573" y="243276"/>
                    <a:pt x="230007" y="251318"/>
                  </a:cubicBezTo>
                  <a:cubicBezTo>
                    <a:pt x="236440" y="259361"/>
                    <a:pt x="244483" y="265794"/>
                    <a:pt x="250916" y="270620"/>
                  </a:cubicBezTo>
                  <a:cubicBezTo>
                    <a:pt x="265392" y="280270"/>
                    <a:pt x="276651" y="283487"/>
                    <a:pt x="278260" y="283487"/>
                  </a:cubicBezTo>
                  <a:cubicBezTo>
                    <a:pt x="278260" y="283487"/>
                    <a:pt x="281477" y="285096"/>
                    <a:pt x="284693" y="285096"/>
                  </a:cubicBezTo>
                  <a:cubicBezTo>
                    <a:pt x="287910" y="286704"/>
                    <a:pt x="291127" y="286704"/>
                    <a:pt x="291127" y="286704"/>
                  </a:cubicBezTo>
                  <a:cubicBezTo>
                    <a:pt x="291127" y="286704"/>
                    <a:pt x="291127" y="283487"/>
                    <a:pt x="289519" y="280270"/>
                  </a:cubicBezTo>
                  <a:cubicBezTo>
                    <a:pt x="289519" y="277053"/>
                    <a:pt x="287910" y="273836"/>
                    <a:pt x="287910" y="273836"/>
                  </a:cubicBezTo>
                  <a:cubicBezTo>
                    <a:pt x="287910" y="272228"/>
                    <a:pt x="284693" y="260969"/>
                    <a:pt x="276651" y="246493"/>
                  </a:cubicBezTo>
                  <a:cubicBezTo>
                    <a:pt x="271826" y="240059"/>
                    <a:pt x="267001" y="232017"/>
                    <a:pt x="258958" y="223975"/>
                  </a:cubicBezTo>
                  <a:cubicBezTo>
                    <a:pt x="250916" y="215933"/>
                    <a:pt x="242874" y="209499"/>
                    <a:pt x="233223" y="203065"/>
                  </a:cubicBezTo>
                  <a:cubicBezTo>
                    <a:pt x="233223" y="203065"/>
                    <a:pt x="231615" y="203065"/>
                    <a:pt x="231615" y="201457"/>
                  </a:cubicBezTo>
                  <a:cubicBezTo>
                    <a:pt x="233223" y="199848"/>
                    <a:pt x="234832" y="198240"/>
                    <a:pt x="234832" y="195023"/>
                  </a:cubicBezTo>
                  <a:cubicBezTo>
                    <a:pt x="234832" y="195023"/>
                    <a:pt x="236440" y="195023"/>
                    <a:pt x="236440" y="196632"/>
                  </a:cubicBezTo>
                  <a:cubicBezTo>
                    <a:pt x="247699" y="203065"/>
                    <a:pt x="257350" y="207891"/>
                    <a:pt x="267001" y="211107"/>
                  </a:cubicBezTo>
                  <a:cubicBezTo>
                    <a:pt x="276651" y="214324"/>
                    <a:pt x="286302" y="215933"/>
                    <a:pt x="294344" y="217541"/>
                  </a:cubicBezTo>
                  <a:cubicBezTo>
                    <a:pt x="312037" y="219150"/>
                    <a:pt x="323296" y="215933"/>
                    <a:pt x="324904" y="215933"/>
                  </a:cubicBezTo>
                  <a:cubicBezTo>
                    <a:pt x="324904" y="215933"/>
                    <a:pt x="328121" y="214324"/>
                    <a:pt x="331338" y="214324"/>
                  </a:cubicBezTo>
                  <a:cubicBezTo>
                    <a:pt x="334555" y="212716"/>
                    <a:pt x="337772" y="212716"/>
                    <a:pt x="337772" y="212716"/>
                  </a:cubicBezTo>
                  <a:cubicBezTo>
                    <a:pt x="337772" y="212716"/>
                    <a:pt x="337772" y="212716"/>
                    <a:pt x="336163" y="211107"/>
                  </a:cubicBezTo>
                  <a:cubicBezTo>
                    <a:pt x="336163" y="215933"/>
                    <a:pt x="334555" y="214324"/>
                    <a:pt x="332947" y="212716"/>
                  </a:cubicBezTo>
                  <a:moveTo>
                    <a:pt x="96506" y="190198"/>
                  </a:moveTo>
                  <a:cubicBezTo>
                    <a:pt x="90073" y="191806"/>
                    <a:pt x="82030" y="195023"/>
                    <a:pt x="75597" y="196632"/>
                  </a:cubicBezTo>
                  <a:cubicBezTo>
                    <a:pt x="69163" y="198240"/>
                    <a:pt x="61121" y="199848"/>
                    <a:pt x="56295" y="199848"/>
                  </a:cubicBezTo>
                  <a:cubicBezTo>
                    <a:pt x="43428" y="201457"/>
                    <a:pt x="32169" y="199848"/>
                    <a:pt x="24127" y="198240"/>
                  </a:cubicBezTo>
                  <a:cubicBezTo>
                    <a:pt x="30560" y="193415"/>
                    <a:pt x="40211" y="186981"/>
                    <a:pt x="53078" y="183764"/>
                  </a:cubicBezTo>
                  <a:cubicBezTo>
                    <a:pt x="65946" y="178939"/>
                    <a:pt x="78813" y="177330"/>
                    <a:pt x="94898" y="175722"/>
                  </a:cubicBezTo>
                  <a:cubicBezTo>
                    <a:pt x="94898" y="175722"/>
                    <a:pt x="96506" y="175722"/>
                    <a:pt x="96506" y="175722"/>
                  </a:cubicBezTo>
                  <a:cubicBezTo>
                    <a:pt x="94898" y="178939"/>
                    <a:pt x="96506" y="183764"/>
                    <a:pt x="96506" y="190198"/>
                  </a:cubicBezTo>
                  <a:cubicBezTo>
                    <a:pt x="96506" y="188589"/>
                    <a:pt x="96506" y="188589"/>
                    <a:pt x="96506" y="190198"/>
                  </a:cubicBezTo>
                  <a:moveTo>
                    <a:pt x="94898" y="151595"/>
                  </a:moveTo>
                  <a:cubicBezTo>
                    <a:pt x="94898" y="151595"/>
                    <a:pt x="93289" y="151595"/>
                    <a:pt x="93289" y="151595"/>
                  </a:cubicBezTo>
                  <a:cubicBezTo>
                    <a:pt x="78813" y="148378"/>
                    <a:pt x="64338" y="145161"/>
                    <a:pt x="53078" y="138728"/>
                  </a:cubicBezTo>
                  <a:cubicBezTo>
                    <a:pt x="41819" y="133902"/>
                    <a:pt x="32169" y="127469"/>
                    <a:pt x="25735" y="121035"/>
                  </a:cubicBezTo>
                  <a:cubicBezTo>
                    <a:pt x="33777" y="119426"/>
                    <a:pt x="45036" y="119426"/>
                    <a:pt x="57904" y="122643"/>
                  </a:cubicBezTo>
                  <a:cubicBezTo>
                    <a:pt x="64338" y="124252"/>
                    <a:pt x="70771" y="125860"/>
                    <a:pt x="77205" y="127469"/>
                  </a:cubicBezTo>
                  <a:cubicBezTo>
                    <a:pt x="83639" y="129077"/>
                    <a:pt x="91681" y="132294"/>
                    <a:pt x="98115" y="135511"/>
                  </a:cubicBezTo>
                  <a:cubicBezTo>
                    <a:pt x="98115" y="135511"/>
                    <a:pt x="99723" y="135511"/>
                    <a:pt x="99723" y="135511"/>
                  </a:cubicBezTo>
                  <a:cubicBezTo>
                    <a:pt x="98115" y="140336"/>
                    <a:pt x="96506" y="145161"/>
                    <a:pt x="94898" y="151595"/>
                  </a:cubicBezTo>
                  <a:moveTo>
                    <a:pt x="117416" y="222367"/>
                  </a:moveTo>
                  <a:cubicBezTo>
                    <a:pt x="107765" y="233626"/>
                    <a:pt x="96506" y="243276"/>
                    <a:pt x="86856" y="249710"/>
                  </a:cubicBezTo>
                  <a:cubicBezTo>
                    <a:pt x="75597" y="256144"/>
                    <a:pt x="65946" y="260969"/>
                    <a:pt x="57904" y="264186"/>
                  </a:cubicBezTo>
                  <a:cubicBezTo>
                    <a:pt x="61121" y="256144"/>
                    <a:pt x="65946" y="246493"/>
                    <a:pt x="75597" y="236842"/>
                  </a:cubicBezTo>
                  <a:cubicBezTo>
                    <a:pt x="83639" y="227192"/>
                    <a:pt x="94898" y="217541"/>
                    <a:pt x="107765" y="209499"/>
                  </a:cubicBezTo>
                  <a:cubicBezTo>
                    <a:pt x="107765" y="209499"/>
                    <a:pt x="109374" y="209499"/>
                    <a:pt x="109374" y="207891"/>
                  </a:cubicBezTo>
                  <a:cubicBezTo>
                    <a:pt x="110982" y="212716"/>
                    <a:pt x="115808" y="215933"/>
                    <a:pt x="117416" y="222367"/>
                  </a:cubicBezTo>
                  <a:cubicBezTo>
                    <a:pt x="119024" y="220758"/>
                    <a:pt x="119024" y="220758"/>
                    <a:pt x="117416" y="222367"/>
                  </a:cubicBezTo>
                  <a:moveTo>
                    <a:pt x="112591" y="117818"/>
                  </a:moveTo>
                  <a:cubicBezTo>
                    <a:pt x="112591" y="116210"/>
                    <a:pt x="110982" y="116210"/>
                    <a:pt x="112591" y="117818"/>
                  </a:cubicBezTo>
                  <a:cubicBezTo>
                    <a:pt x="99723" y="106559"/>
                    <a:pt x="90073" y="96908"/>
                    <a:pt x="82030" y="85649"/>
                  </a:cubicBezTo>
                  <a:cubicBezTo>
                    <a:pt x="73988" y="75999"/>
                    <a:pt x="70771" y="64740"/>
                    <a:pt x="67554" y="56697"/>
                  </a:cubicBezTo>
                  <a:cubicBezTo>
                    <a:pt x="75597" y="59914"/>
                    <a:pt x="85247" y="64740"/>
                    <a:pt x="94898" y="72782"/>
                  </a:cubicBezTo>
                  <a:cubicBezTo>
                    <a:pt x="104548" y="80824"/>
                    <a:pt x="114199" y="92083"/>
                    <a:pt x="123850" y="103342"/>
                  </a:cubicBezTo>
                  <a:cubicBezTo>
                    <a:pt x="123850" y="103342"/>
                    <a:pt x="123850" y="104951"/>
                    <a:pt x="125458" y="104951"/>
                  </a:cubicBezTo>
                  <a:cubicBezTo>
                    <a:pt x="120633" y="109776"/>
                    <a:pt x="115808" y="112993"/>
                    <a:pt x="112591" y="117818"/>
                  </a:cubicBezTo>
                  <a:moveTo>
                    <a:pt x="154410" y="238451"/>
                  </a:moveTo>
                  <a:cubicBezTo>
                    <a:pt x="151193" y="252927"/>
                    <a:pt x="147976" y="265794"/>
                    <a:pt x="141543" y="277053"/>
                  </a:cubicBezTo>
                  <a:cubicBezTo>
                    <a:pt x="136717" y="288312"/>
                    <a:pt x="128675" y="297963"/>
                    <a:pt x="123850" y="302788"/>
                  </a:cubicBezTo>
                  <a:cubicBezTo>
                    <a:pt x="122241" y="294746"/>
                    <a:pt x="122241" y="283487"/>
                    <a:pt x="125458" y="270620"/>
                  </a:cubicBezTo>
                  <a:cubicBezTo>
                    <a:pt x="127067" y="264186"/>
                    <a:pt x="128675" y="257752"/>
                    <a:pt x="130283" y="251318"/>
                  </a:cubicBezTo>
                  <a:cubicBezTo>
                    <a:pt x="131892" y="244885"/>
                    <a:pt x="135109" y="238451"/>
                    <a:pt x="138326" y="232017"/>
                  </a:cubicBezTo>
                  <a:cubicBezTo>
                    <a:pt x="138326" y="232017"/>
                    <a:pt x="138326" y="230409"/>
                    <a:pt x="138326" y="230409"/>
                  </a:cubicBezTo>
                  <a:cubicBezTo>
                    <a:pt x="143151" y="233626"/>
                    <a:pt x="147976" y="236842"/>
                    <a:pt x="154410" y="238451"/>
                  </a:cubicBezTo>
                  <a:cubicBezTo>
                    <a:pt x="154410" y="238451"/>
                    <a:pt x="154410" y="238451"/>
                    <a:pt x="154410" y="238451"/>
                  </a:cubicBezTo>
                  <a:moveTo>
                    <a:pt x="144759" y="96908"/>
                  </a:moveTo>
                  <a:cubicBezTo>
                    <a:pt x="144759" y="95300"/>
                    <a:pt x="144759" y="95300"/>
                    <a:pt x="144759" y="96908"/>
                  </a:cubicBezTo>
                  <a:cubicBezTo>
                    <a:pt x="141543" y="88866"/>
                    <a:pt x="139934" y="80824"/>
                    <a:pt x="138326" y="74390"/>
                  </a:cubicBezTo>
                  <a:cubicBezTo>
                    <a:pt x="136717" y="67956"/>
                    <a:pt x="135109" y="61523"/>
                    <a:pt x="135109" y="55089"/>
                  </a:cubicBezTo>
                  <a:cubicBezTo>
                    <a:pt x="133500" y="42221"/>
                    <a:pt x="135109" y="30962"/>
                    <a:pt x="136717" y="22920"/>
                  </a:cubicBezTo>
                  <a:cubicBezTo>
                    <a:pt x="141543" y="29354"/>
                    <a:pt x="147976" y="39005"/>
                    <a:pt x="151193" y="50264"/>
                  </a:cubicBezTo>
                  <a:cubicBezTo>
                    <a:pt x="156018" y="61523"/>
                    <a:pt x="159235" y="75999"/>
                    <a:pt x="159235" y="90475"/>
                  </a:cubicBezTo>
                  <a:cubicBezTo>
                    <a:pt x="159235" y="90475"/>
                    <a:pt x="159235" y="92083"/>
                    <a:pt x="159235" y="92083"/>
                  </a:cubicBezTo>
                  <a:cubicBezTo>
                    <a:pt x="156018" y="93691"/>
                    <a:pt x="149585" y="93691"/>
                    <a:pt x="144759" y="96908"/>
                  </a:cubicBezTo>
                  <a:moveTo>
                    <a:pt x="202663" y="277053"/>
                  </a:moveTo>
                  <a:cubicBezTo>
                    <a:pt x="204272" y="289921"/>
                    <a:pt x="202663" y="301180"/>
                    <a:pt x="201055" y="309222"/>
                  </a:cubicBezTo>
                  <a:cubicBezTo>
                    <a:pt x="196229" y="302788"/>
                    <a:pt x="189796" y="293138"/>
                    <a:pt x="184970" y="281879"/>
                  </a:cubicBezTo>
                  <a:cubicBezTo>
                    <a:pt x="180145" y="270620"/>
                    <a:pt x="176928" y="256144"/>
                    <a:pt x="176928" y="241668"/>
                  </a:cubicBezTo>
                  <a:cubicBezTo>
                    <a:pt x="176928" y="241668"/>
                    <a:pt x="176928" y="240059"/>
                    <a:pt x="176928" y="240059"/>
                  </a:cubicBezTo>
                  <a:cubicBezTo>
                    <a:pt x="183362" y="240059"/>
                    <a:pt x="188187" y="238451"/>
                    <a:pt x="193013" y="236842"/>
                  </a:cubicBezTo>
                  <a:cubicBezTo>
                    <a:pt x="193013" y="236842"/>
                    <a:pt x="193013" y="238451"/>
                    <a:pt x="193013" y="238451"/>
                  </a:cubicBezTo>
                  <a:cubicBezTo>
                    <a:pt x="196229" y="244885"/>
                    <a:pt x="197838" y="252927"/>
                    <a:pt x="199446" y="259361"/>
                  </a:cubicBezTo>
                  <a:cubicBezTo>
                    <a:pt x="201055" y="264186"/>
                    <a:pt x="202663" y="270620"/>
                    <a:pt x="202663" y="277053"/>
                  </a:cubicBezTo>
                  <a:moveTo>
                    <a:pt x="199446" y="98517"/>
                  </a:moveTo>
                  <a:cubicBezTo>
                    <a:pt x="194621" y="96908"/>
                    <a:pt x="188187" y="95300"/>
                    <a:pt x="183362" y="93691"/>
                  </a:cubicBezTo>
                  <a:cubicBezTo>
                    <a:pt x="183362" y="93691"/>
                    <a:pt x="183362" y="92083"/>
                    <a:pt x="183362" y="92083"/>
                  </a:cubicBezTo>
                  <a:cubicBezTo>
                    <a:pt x="186579" y="77607"/>
                    <a:pt x="189796" y="64740"/>
                    <a:pt x="196229" y="53481"/>
                  </a:cubicBezTo>
                  <a:cubicBezTo>
                    <a:pt x="201055" y="42221"/>
                    <a:pt x="209097" y="32571"/>
                    <a:pt x="213922" y="27746"/>
                  </a:cubicBezTo>
                  <a:cubicBezTo>
                    <a:pt x="215531" y="35788"/>
                    <a:pt x="215531" y="47047"/>
                    <a:pt x="212314" y="59914"/>
                  </a:cubicBezTo>
                  <a:cubicBezTo>
                    <a:pt x="210705" y="66348"/>
                    <a:pt x="209097" y="72782"/>
                    <a:pt x="207488" y="79216"/>
                  </a:cubicBezTo>
                  <a:cubicBezTo>
                    <a:pt x="205880" y="84041"/>
                    <a:pt x="202663" y="90475"/>
                    <a:pt x="199446" y="98517"/>
                  </a:cubicBezTo>
                  <a:cubicBezTo>
                    <a:pt x="199446" y="98517"/>
                    <a:pt x="199446" y="98517"/>
                    <a:pt x="199446" y="98517"/>
                  </a:cubicBezTo>
                  <a:moveTo>
                    <a:pt x="255742" y="244885"/>
                  </a:moveTo>
                  <a:cubicBezTo>
                    <a:pt x="263784" y="254535"/>
                    <a:pt x="267001" y="265794"/>
                    <a:pt x="270218" y="273836"/>
                  </a:cubicBezTo>
                  <a:cubicBezTo>
                    <a:pt x="262175" y="270620"/>
                    <a:pt x="252525" y="265794"/>
                    <a:pt x="242874" y="257752"/>
                  </a:cubicBezTo>
                  <a:cubicBezTo>
                    <a:pt x="233223" y="249710"/>
                    <a:pt x="223573" y="238451"/>
                    <a:pt x="213922" y="227192"/>
                  </a:cubicBezTo>
                  <a:cubicBezTo>
                    <a:pt x="213922" y="227192"/>
                    <a:pt x="213922" y="225583"/>
                    <a:pt x="212314" y="225583"/>
                  </a:cubicBezTo>
                  <a:cubicBezTo>
                    <a:pt x="217139" y="222367"/>
                    <a:pt x="220356" y="219150"/>
                    <a:pt x="225181" y="214324"/>
                  </a:cubicBezTo>
                  <a:cubicBezTo>
                    <a:pt x="225181" y="214324"/>
                    <a:pt x="226790" y="214324"/>
                    <a:pt x="226790" y="215933"/>
                  </a:cubicBezTo>
                  <a:cubicBezTo>
                    <a:pt x="238049" y="223975"/>
                    <a:pt x="247699" y="235234"/>
                    <a:pt x="255742" y="244885"/>
                  </a:cubicBezTo>
                  <a:moveTo>
                    <a:pt x="230007" y="122643"/>
                  </a:moveTo>
                  <a:cubicBezTo>
                    <a:pt x="226790" y="117818"/>
                    <a:pt x="223573" y="114601"/>
                    <a:pt x="218748" y="109776"/>
                  </a:cubicBezTo>
                  <a:cubicBezTo>
                    <a:pt x="218748" y="109776"/>
                    <a:pt x="218748" y="109776"/>
                    <a:pt x="220356" y="108167"/>
                  </a:cubicBezTo>
                  <a:cubicBezTo>
                    <a:pt x="230007" y="96908"/>
                    <a:pt x="241266" y="87258"/>
                    <a:pt x="250916" y="80824"/>
                  </a:cubicBezTo>
                  <a:cubicBezTo>
                    <a:pt x="262175" y="74390"/>
                    <a:pt x="271826" y="69565"/>
                    <a:pt x="279868" y="66348"/>
                  </a:cubicBezTo>
                  <a:cubicBezTo>
                    <a:pt x="276651" y="74390"/>
                    <a:pt x="271826" y="84041"/>
                    <a:pt x="262175" y="93691"/>
                  </a:cubicBezTo>
                  <a:cubicBezTo>
                    <a:pt x="254133" y="103342"/>
                    <a:pt x="242874" y="112993"/>
                    <a:pt x="230007" y="122643"/>
                  </a:cubicBezTo>
                  <a:cubicBezTo>
                    <a:pt x="230007" y="122643"/>
                    <a:pt x="230007" y="122643"/>
                    <a:pt x="230007" y="122643"/>
                  </a:cubicBezTo>
                  <a:moveTo>
                    <a:pt x="241266" y="141945"/>
                  </a:moveTo>
                  <a:cubicBezTo>
                    <a:pt x="247699" y="140336"/>
                    <a:pt x="255742" y="137119"/>
                    <a:pt x="262175" y="135511"/>
                  </a:cubicBezTo>
                  <a:cubicBezTo>
                    <a:pt x="268609" y="133902"/>
                    <a:pt x="276651" y="132294"/>
                    <a:pt x="281477" y="132294"/>
                  </a:cubicBezTo>
                  <a:cubicBezTo>
                    <a:pt x="294344" y="130686"/>
                    <a:pt x="305603" y="132294"/>
                    <a:pt x="313645" y="133902"/>
                  </a:cubicBezTo>
                  <a:cubicBezTo>
                    <a:pt x="307212" y="138728"/>
                    <a:pt x="297561" y="145161"/>
                    <a:pt x="284693" y="148378"/>
                  </a:cubicBezTo>
                  <a:cubicBezTo>
                    <a:pt x="273434" y="153204"/>
                    <a:pt x="258958" y="154812"/>
                    <a:pt x="242874" y="156421"/>
                  </a:cubicBezTo>
                  <a:cubicBezTo>
                    <a:pt x="242874" y="156421"/>
                    <a:pt x="241266" y="156421"/>
                    <a:pt x="241266" y="156421"/>
                  </a:cubicBezTo>
                  <a:cubicBezTo>
                    <a:pt x="242874" y="153204"/>
                    <a:pt x="241266" y="146770"/>
                    <a:pt x="241266" y="141945"/>
                  </a:cubicBezTo>
                  <a:cubicBezTo>
                    <a:pt x="239657" y="141945"/>
                    <a:pt x="241266" y="141945"/>
                    <a:pt x="241266" y="141945"/>
                  </a:cubicBezTo>
                  <a:moveTo>
                    <a:pt x="278260" y="209499"/>
                  </a:moveTo>
                  <a:cubicBezTo>
                    <a:pt x="271826" y="207891"/>
                    <a:pt x="265392" y="206282"/>
                    <a:pt x="258958" y="204674"/>
                  </a:cubicBezTo>
                  <a:cubicBezTo>
                    <a:pt x="252525" y="203065"/>
                    <a:pt x="246091" y="199848"/>
                    <a:pt x="238049" y="196632"/>
                  </a:cubicBezTo>
                  <a:cubicBezTo>
                    <a:pt x="238049" y="196632"/>
                    <a:pt x="236440" y="196632"/>
                    <a:pt x="236440" y="196632"/>
                  </a:cubicBezTo>
                  <a:cubicBezTo>
                    <a:pt x="238049" y="191806"/>
                    <a:pt x="241266" y="186981"/>
                    <a:pt x="241266" y="180547"/>
                  </a:cubicBezTo>
                  <a:cubicBezTo>
                    <a:pt x="241266" y="180547"/>
                    <a:pt x="242874" y="180547"/>
                    <a:pt x="242874" y="180547"/>
                  </a:cubicBezTo>
                  <a:cubicBezTo>
                    <a:pt x="257350" y="183764"/>
                    <a:pt x="271826" y="186981"/>
                    <a:pt x="283085" y="193415"/>
                  </a:cubicBezTo>
                  <a:cubicBezTo>
                    <a:pt x="294344" y="198240"/>
                    <a:pt x="303995" y="204674"/>
                    <a:pt x="310428" y="211107"/>
                  </a:cubicBezTo>
                  <a:cubicBezTo>
                    <a:pt x="302386" y="211107"/>
                    <a:pt x="291127" y="211107"/>
                    <a:pt x="278260" y="209499"/>
                  </a:cubicBezTo>
                </a:path>
              </a:pathLst>
            </a:custGeom>
            <a:solidFill>
              <a:schemeClr val="bg1"/>
            </a:solidFill>
            <a:ln w="159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6595946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4763757"/>
              </p:ext>
            </p:extLst>
          </p:nvPr>
        </p:nvGraphicFramePr>
        <p:xfrm>
          <a:off x="1591" y="1194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1" name="Object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194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19" descr="A yellow flower in a field&#10;&#10;Description automatically generated">
            <a:extLst>
              <a:ext uri="{FF2B5EF4-FFF2-40B4-BE49-F238E27FC236}">
                <a16:creationId xmlns:a16="http://schemas.microsoft.com/office/drawing/2014/main" id="{91D86140-EABE-47F4-9E65-67338884A2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698318" y="1"/>
            <a:ext cx="445682" cy="4787900"/>
          </a:xfrm>
          <a:custGeom>
            <a:avLst/>
            <a:gdLst>
              <a:gd name="connsiteX0" fmla="*/ 0 w 445682"/>
              <a:gd name="connsiteY0" fmla="*/ 0 h 4787900"/>
              <a:gd name="connsiteX1" fmla="*/ 445682 w 445682"/>
              <a:gd name="connsiteY1" fmla="*/ 0 h 4787900"/>
              <a:gd name="connsiteX2" fmla="*/ 445682 w 445682"/>
              <a:gd name="connsiteY2" fmla="*/ 4787900 h 4787900"/>
              <a:gd name="connsiteX3" fmla="*/ 0 w 445682"/>
              <a:gd name="connsiteY3" fmla="*/ 4787900 h 4787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5682" h="4787900">
                <a:moveTo>
                  <a:pt x="0" y="0"/>
                </a:moveTo>
                <a:lnTo>
                  <a:pt x="445682" y="0"/>
                </a:lnTo>
                <a:lnTo>
                  <a:pt x="445682" y="4787900"/>
                </a:lnTo>
                <a:lnTo>
                  <a:pt x="0" y="4787900"/>
                </a:lnTo>
                <a:close/>
              </a:path>
            </a:pathLst>
          </a:custGeom>
        </p:spPr>
      </p:pic>
      <p:sp>
        <p:nvSpPr>
          <p:cNvPr id="9" name="Freihandform 8"/>
          <p:cNvSpPr/>
          <p:nvPr userDrawn="1"/>
        </p:nvSpPr>
        <p:spPr>
          <a:xfrm>
            <a:off x="603058" y="3622129"/>
            <a:ext cx="7958455" cy="6852"/>
          </a:xfrm>
          <a:custGeom>
            <a:avLst/>
            <a:gdLst>
              <a:gd name="connsiteX0" fmla="*/ 0 w 7958455"/>
              <a:gd name="connsiteY0" fmla="*/ 0 h 9136"/>
              <a:gd name="connsiteX1" fmla="*/ 7958455 w 7958455"/>
              <a:gd name="connsiteY1" fmla="*/ 9136 h 9136"/>
              <a:gd name="connsiteX2" fmla="*/ 7958455 w 7958455"/>
              <a:gd name="connsiteY2" fmla="*/ 9136 h 91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958455" h="9136">
                <a:moveTo>
                  <a:pt x="0" y="0"/>
                </a:moveTo>
                <a:lnTo>
                  <a:pt x="7958455" y="9136"/>
                </a:lnTo>
                <a:lnTo>
                  <a:pt x="7958455" y="9136"/>
                </a:lnTo>
              </a:path>
            </a:pathLst>
          </a:cu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1"/>
            <a:endParaRPr lang="fr-FR" sz="1800" dirty="0"/>
          </a:p>
        </p:txBody>
      </p:sp>
      <p:sp>
        <p:nvSpPr>
          <p:cNvPr id="10" name="Freihandform 9"/>
          <p:cNvSpPr/>
          <p:nvPr userDrawn="1"/>
        </p:nvSpPr>
        <p:spPr>
          <a:xfrm>
            <a:off x="603058" y="3992156"/>
            <a:ext cx="7958455" cy="6852"/>
          </a:xfrm>
          <a:custGeom>
            <a:avLst/>
            <a:gdLst>
              <a:gd name="connsiteX0" fmla="*/ 0 w 7958455"/>
              <a:gd name="connsiteY0" fmla="*/ 0 h 9136"/>
              <a:gd name="connsiteX1" fmla="*/ 7958455 w 7958455"/>
              <a:gd name="connsiteY1" fmla="*/ 9136 h 9136"/>
              <a:gd name="connsiteX2" fmla="*/ 7958455 w 7958455"/>
              <a:gd name="connsiteY2" fmla="*/ 9136 h 91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958455" h="9136">
                <a:moveTo>
                  <a:pt x="0" y="0"/>
                </a:moveTo>
                <a:lnTo>
                  <a:pt x="7958455" y="9136"/>
                </a:lnTo>
                <a:lnTo>
                  <a:pt x="7958455" y="9136"/>
                </a:lnTo>
              </a:path>
            </a:pathLst>
          </a:cu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1"/>
            <a:endParaRPr lang="fr-FR" sz="1800" dirty="0"/>
          </a:p>
        </p:txBody>
      </p:sp>
      <p:sp>
        <p:nvSpPr>
          <p:cNvPr id="28" name="Titel 1"/>
          <p:cNvSpPr>
            <a:spLocks noGrp="1"/>
          </p:cNvSpPr>
          <p:nvPr>
            <p:ph type="title" hasCustomPrompt="1"/>
          </p:nvPr>
        </p:nvSpPr>
        <p:spPr>
          <a:xfrm>
            <a:off x="1179768" y="144738"/>
            <a:ext cx="7062335" cy="602038"/>
          </a:xfrm>
          <a:prstGeom prst="rect">
            <a:avLst/>
          </a:prstGeom>
          <a:noFill/>
        </p:spPr>
        <p:txBody>
          <a:bodyPr anchor="t">
            <a:noAutofit/>
          </a:bodyPr>
          <a:lstStyle>
            <a:lvl1pPr algn="l">
              <a:lnSpc>
                <a:spcPct val="90000"/>
              </a:lnSpc>
              <a:defRPr sz="2800" b="1">
                <a:solidFill>
                  <a:schemeClr val="tx2"/>
                </a:solidFill>
              </a:defRPr>
            </a:lvl1pPr>
          </a:lstStyle>
          <a:p>
            <a:r>
              <a:rPr lang="fr-FR" dirty="0"/>
              <a:t>Headline</a:t>
            </a:r>
          </a:p>
        </p:txBody>
      </p:sp>
      <p:sp>
        <p:nvSpPr>
          <p:cNvPr id="21" name="Textplatzhalter 32"/>
          <p:cNvSpPr txBox="1">
            <a:spLocks/>
          </p:cNvSpPr>
          <p:nvPr userDrawn="1"/>
        </p:nvSpPr>
        <p:spPr>
          <a:xfrm>
            <a:off x="323187" y="4846854"/>
            <a:ext cx="1565770" cy="21703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1200" kern="1200" baseline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fr-FR" sz="1000" dirty="0" err="1">
                <a:solidFill>
                  <a:srgbClr val="7F7F7F"/>
                </a:solidFill>
              </a:rPr>
              <a:t>Limagrain</a:t>
            </a:r>
            <a:r>
              <a:rPr lang="fr-FR" sz="1000" dirty="0">
                <a:solidFill>
                  <a:srgbClr val="7F7F7F"/>
                </a:solidFill>
              </a:rPr>
              <a:t> Field </a:t>
            </a:r>
            <a:r>
              <a:rPr lang="fr-FR" sz="1000" dirty="0" err="1">
                <a:solidFill>
                  <a:srgbClr val="7F7F7F"/>
                </a:solidFill>
              </a:rPr>
              <a:t>Seeds</a:t>
            </a:r>
            <a:endParaRPr lang="fr-FR" sz="1000" dirty="0">
              <a:solidFill>
                <a:srgbClr val="7F7F7F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179768" y="549131"/>
            <a:ext cx="7062335" cy="538163"/>
          </a:xfrm>
        </p:spPr>
        <p:txBody>
          <a:bodyPr>
            <a:noAutofit/>
          </a:bodyPr>
          <a:lstStyle>
            <a:lvl1pPr marL="0" indent="0">
              <a:buNone/>
              <a:defRPr b="1">
                <a:solidFill>
                  <a:srgbClr val="77777A"/>
                </a:solidFill>
              </a:defRPr>
            </a:lvl1pPr>
          </a:lstStyle>
          <a:p>
            <a:pPr lvl="0"/>
            <a:r>
              <a:rPr lang="fr-FR" dirty="0" err="1"/>
              <a:t>Subhead</a:t>
            </a:r>
            <a:endParaRPr lang="fr-FR" dirty="0"/>
          </a:p>
        </p:txBody>
      </p:sp>
      <p:sp>
        <p:nvSpPr>
          <p:cNvPr id="14" name="Textplatzhalter 2"/>
          <p:cNvSpPr>
            <a:spLocks noGrp="1"/>
          </p:cNvSpPr>
          <p:nvPr>
            <p:ph idx="1" hasCustomPrompt="1"/>
          </p:nvPr>
        </p:nvSpPr>
        <p:spPr>
          <a:xfrm>
            <a:off x="457200" y="1200154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883" indent="-342883">
              <a:buSzPct val="75000"/>
              <a:buFontTx/>
              <a:buBlip>
                <a:blip r:embed="rId6"/>
              </a:buBlip>
              <a:defRPr baseline="0"/>
            </a:lvl1pPr>
            <a:lvl2pPr>
              <a:defRPr/>
            </a:lvl2pPr>
          </a:lstStyle>
          <a:p>
            <a:pPr lvl="0"/>
            <a:r>
              <a:rPr lang="fr-FR" dirty="0"/>
              <a:t>First </a:t>
            </a:r>
            <a:r>
              <a:rPr lang="fr-FR" dirty="0" err="1"/>
              <a:t>bullet</a:t>
            </a:r>
            <a:r>
              <a:rPr lang="fr-FR" dirty="0"/>
              <a:t> point</a:t>
            </a:r>
          </a:p>
          <a:p>
            <a:pPr lvl="1"/>
            <a:r>
              <a:rPr lang="fr-FR" dirty="0"/>
              <a:t>Second </a:t>
            </a:r>
            <a:r>
              <a:rPr lang="fr-FR" dirty="0" err="1"/>
              <a:t>bullet</a:t>
            </a:r>
            <a:r>
              <a:rPr lang="fr-FR" dirty="0"/>
              <a:t> point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53F31D7-B1B5-9B46-A80B-94D663AB77F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605" y="114300"/>
            <a:ext cx="976163" cy="874396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C51C5268-C2A8-4957-916D-DD1BE54D2BB4}"/>
              </a:ext>
            </a:extLst>
          </p:cNvPr>
          <p:cNvSpPr/>
          <p:nvPr userDrawn="1"/>
        </p:nvSpPr>
        <p:spPr>
          <a:xfrm>
            <a:off x="8764696" y="4785780"/>
            <a:ext cx="379307" cy="35772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A97B1B2-06C1-4F7E-9E83-CD61854F6413}"/>
              </a:ext>
            </a:extLst>
          </p:cNvPr>
          <p:cNvSpPr/>
          <p:nvPr userDrawn="1"/>
        </p:nvSpPr>
        <p:spPr>
          <a:xfrm>
            <a:off x="8698318" y="-914"/>
            <a:ext cx="445683" cy="689314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16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cxnSp>
        <p:nvCxnSpPr>
          <p:cNvPr id="16" name="Gerade Verbindung 15"/>
          <p:cNvCxnSpPr/>
          <p:nvPr userDrawn="1"/>
        </p:nvCxnSpPr>
        <p:spPr>
          <a:xfrm flipV="1">
            <a:off x="386398" y="4785781"/>
            <a:ext cx="8757603" cy="4739"/>
          </a:xfrm>
          <a:prstGeom prst="line">
            <a:avLst/>
          </a:prstGeom>
          <a:ln w="12700" cmpd="sng">
            <a:solidFill>
              <a:srgbClr val="E3002C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5" name="Bild 11" descr="Limagrain_Logo.png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75324" y="4834378"/>
            <a:ext cx="969994" cy="241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92732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Agenda version 2">
    <p:bg>
      <p:bgPr>
        <a:blipFill dpi="0" rotWithShape="1">
          <a:blip r:embed="rId3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1" y="1194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194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Titel 1"/>
          <p:cNvSpPr>
            <a:spLocks noGrp="1"/>
          </p:cNvSpPr>
          <p:nvPr>
            <p:ph type="title" hasCustomPrompt="1"/>
          </p:nvPr>
        </p:nvSpPr>
        <p:spPr>
          <a:xfrm>
            <a:off x="1638715" y="56660"/>
            <a:ext cx="6603387" cy="619737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3200" b="1" baseline="0">
                <a:solidFill>
                  <a:schemeClr val="tx2"/>
                </a:solidFill>
              </a:defRPr>
            </a:lvl1pPr>
          </a:lstStyle>
          <a:p>
            <a:r>
              <a:rPr lang="fr-FR" dirty="0"/>
              <a:t>Content / Agenda</a:t>
            </a:r>
          </a:p>
        </p:txBody>
      </p:sp>
      <p:cxnSp>
        <p:nvCxnSpPr>
          <p:cNvPr id="16" name="Gerade Verbindung 15"/>
          <p:cNvCxnSpPr/>
          <p:nvPr userDrawn="1"/>
        </p:nvCxnSpPr>
        <p:spPr>
          <a:xfrm flipV="1">
            <a:off x="386398" y="4785780"/>
            <a:ext cx="8757603" cy="4739"/>
          </a:xfrm>
          <a:prstGeom prst="line">
            <a:avLst/>
          </a:prstGeom>
          <a:ln w="12700" cmpd="sng">
            <a:solidFill>
              <a:srgbClr val="E3002C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extplatzhalter 32"/>
          <p:cNvSpPr txBox="1">
            <a:spLocks/>
          </p:cNvSpPr>
          <p:nvPr userDrawn="1"/>
        </p:nvSpPr>
        <p:spPr>
          <a:xfrm>
            <a:off x="386398" y="4846383"/>
            <a:ext cx="1565770" cy="21703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1200" kern="1200" baseline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fr-FR" sz="1000" dirty="0" err="1">
                <a:solidFill>
                  <a:schemeClr val="bg1"/>
                </a:solidFill>
              </a:rPr>
              <a:t>Limagrain</a:t>
            </a:r>
            <a:r>
              <a:rPr lang="fr-FR" sz="1000" dirty="0">
                <a:solidFill>
                  <a:schemeClr val="bg1"/>
                </a:solidFill>
              </a:rPr>
              <a:t> Field </a:t>
            </a:r>
            <a:r>
              <a:rPr lang="fr-FR" sz="1000" dirty="0" err="1">
                <a:solidFill>
                  <a:schemeClr val="bg1"/>
                </a:solidFill>
              </a:rPr>
              <a:t>Seeds</a:t>
            </a:r>
            <a:endParaRPr lang="fr-FR" sz="1000" dirty="0">
              <a:solidFill>
                <a:schemeClr val="bg1"/>
              </a:solidFill>
            </a:endParaRPr>
          </a:p>
        </p:txBody>
      </p:sp>
      <p:pic>
        <p:nvPicPr>
          <p:cNvPr id="15" name="Bild 11" descr="Limagrain_Logo.pn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75323" y="4834378"/>
            <a:ext cx="969994" cy="24104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82BAEB69-AD5C-1649-9D4A-448B446F1E9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604" y="114299"/>
            <a:ext cx="976163" cy="8743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56253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82976932"/>
              </p:ext>
            </p:extLst>
          </p:nvPr>
        </p:nvGraphicFramePr>
        <p:xfrm>
          <a:off x="1591" y="1194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194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200154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fr-FR" dirty="0"/>
              <a:t>First line</a:t>
            </a:r>
          </a:p>
          <a:p>
            <a:pPr lvl="1"/>
            <a:r>
              <a:rPr lang="fr-FR" dirty="0"/>
              <a:t>Second line</a:t>
            </a:r>
          </a:p>
          <a:p>
            <a:pPr lvl="2"/>
            <a:r>
              <a:rPr lang="fr-FR" dirty="0" err="1"/>
              <a:t>Third</a:t>
            </a:r>
            <a:r>
              <a:rPr lang="fr-FR" dirty="0"/>
              <a:t> line</a:t>
            </a:r>
          </a:p>
          <a:p>
            <a:pPr lvl="3"/>
            <a:r>
              <a:rPr lang="fr-FR" dirty="0" err="1"/>
              <a:t>Fourth</a:t>
            </a:r>
            <a:r>
              <a:rPr lang="fr-FR" dirty="0"/>
              <a:t> line</a:t>
            </a:r>
          </a:p>
          <a:p>
            <a:pPr lvl="4"/>
            <a:r>
              <a:rPr lang="fr-FR" dirty="0" err="1"/>
              <a:t>Fifth</a:t>
            </a:r>
            <a:r>
              <a:rPr lang="fr-FR" dirty="0"/>
              <a:t> line</a:t>
            </a:r>
          </a:p>
        </p:txBody>
      </p:sp>
      <p:sp>
        <p:nvSpPr>
          <p:cNvPr id="7" name="Textplatzhalter 3"/>
          <p:cNvSpPr txBox="1">
            <a:spLocks/>
          </p:cNvSpPr>
          <p:nvPr userDrawn="1"/>
        </p:nvSpPr>
        <p:spPr>
          <a:xfrm>
            <a:off x="3362325" y="4858768"/>
            <a:ext cx="2419349" cy="217885"/>
          </a:xfrm>
          <a:prstGeom prst="rect">
            <a:avLst/>
          </a:prstGeom>
        </p:spPr>
        <p:txBody>
          <a:bodyPr wrap="none" anchor="ctr" anchorCtr="0">
            <a:no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Clr>
                <a:srgbClr val="E3000E"/>
              </a:buClr>
              <a:buSzPct val="75000"/>
              <a:buFontTx/>
              <a:buNone/>
              <a:defRPr sz="1000" kern="1200" baseline="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rgbClr val="E3000E"/>
              </a:buClr>
              <a:buSzPct val="75000"/>
              <a:buFont typeface="Wingdings" charset="2"/>
              <a:buChar char="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rgbClr val="E3000E"/>
              </a:buClr>
              <a:buSzPct val="75000"/>
              <a:buFont typeface="Wingdings" charset="2"/>
              <a:buChar char="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rgbClr val="E3000E"/>
              </a:buClr>
              <a:buSzPct val="75000"/>
              <a:buFont typeface="Wingdings" charset="2"/>
              <a:buChar char="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rgbClr val="E3000E"/>
              </a:buClr>
              <a:buSzPct val="75000"/>
              <a:buFont typeface="Wingdings" charset="2"/>
              <a:buChar char="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4571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3000E"/>
              </a:buClr>
              <a:buSzPct val="75000"/>
              <a:buFontTx/>
              <a:buNone/>
              <a:tabLst/>
              <a:defRPr/>
            </a:pPr>
            <a:r>
              <a:rPr lang="fr-FR" sz="1000" b="1" dirty="0"/>
              <a:t>Newsletter Colza#1 _CONFIDENCIAL</a:t>
            </a:r>
            <a:endParaRPr lang="fr-FR" sz="1000" b="1" dirty="0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65096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0" r:id="rId1"/>
    <p:sldLayoutId id="2147484020" r:id="rId2"/>
    <p:sldLayoutId id="2147483862" r:id="rId3"/>
    <p:sldLayoutId id="2147484033" r:id="rId4"/>
    <p:sldLayoutId id="2147484028" r:id="rId5"/>
    <p:sldLayoutId id="2147484034" r:id="rId6"/>
    <p:sldLayoutId id="2147484035" r:id="rId7"/>
  </p:sldLayoutIdLst>
  <p:hf hdr="0"/>
  <p:txStyles>
    <p:titleStyle>
      <a:lvl1pPr algn="ctr" defTabSz="457189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91" indent="-342891" algn="l" defTabSz="457189" rtl="0" eaLnBrk="1" latinLnBrk="0" hangingPunct="1">
        <a:spcBef>
          <a:spcPct val="20000"/>
        </a:spcBef>
        <a:buClr>
          <a:srgbClr val="E3000E"/>
        </a:buClr>
        <a:buSzPct val="75000"/>
        <a:buFontTx/>
        <a:buBlip>
          <a:blip r:embed="rId12"/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32" indent="-285744" algn="l" defTabSz="457189" rtl="0" eaLnBrk="1" latinLnBrk="0" hangingPunct="1">
        <a:spcBef>
          <a:spcPct val="20000"/>
        </a:spcBef>
        <a:buClr>
          <a:srgbClr val="E3000E"/>
        </a:buClr>
        <a:buSzPct val="75000"/>
        <a:buFont typeface="Wingdings" charset="2"/>
        <a:buChar char="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457189" rtl="0" eaLnBrk="1" latinLnBrk="0" hangingPunct="1">
        <a:spcBef>
          <a:spcPct val="20000"/>
        </a:spcBef>
        <a:buClr>
          <a:srgbClr val="E3000E"/>
        </a:buClr>
        <a:buSzPct val="75000"/>
        <a:buFont typeface="Wingdings" charset="2"/>
        <a:buChar char="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457189" rtl="0" eaLnBrk="1" latinLnBrk="0" hangingPunct="1">
        <a:spcBef>
          <a:spcPct val="20000"/>
        </a:spcBef>
        <a:buClr>
          <a:srgbClr val="E3000E"/>
        </a:buClr>
        <a:buSzPct val="75000"/>
        <a:buFont typeface="Wingdings" charset="2"/>
        <a:buChar char="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457189" rtl="0" eaLnBrk="1" latinLnBrk="0" hangingPunct="1">
        <a:spcBef>
          <a:spcPct val="20000"/>
        </a:spcBef>
        <a:buClr>
          <a:srgbClr val="E3000E"/>
        </a:buClr>
        <a:buSzPct val="75000"/>
        <a:buFont typeface="Wingdings" charset="2"/>
        <a:buChar char="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oleObject" Target="../embeddings/oleObject8.bin"/><Relationship Id="rId7" Type="http://schemas.openxmlformats.org/officeDocument/2006/relationships/image" Target="../media/image8.sv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.xml"/><Relationship Id="rId6" Type="http://schemas.openxmlformats.org/officeDocument/2006/relationships/image" Target="../media/image7.png"/><Relationship Id="rId5" Type="http://schemas.openxmlformats.org/officeDocument/2006/relationships/image" Target="../media/image25.jpeg"/><Relationship Id="rId10" Type="http://schemas.openxmlformats.org/officeDocument/2006/relationships/image" Target="../media/image6.png"/><Relationship Id="rId4" Type="http://schemas.openxmlformats.org/officeDocument/2006/relationships/image" Target="../media/image24.emf"/><Relationship Id="rId9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13" Type="http://schemas.openxmlformats.org/officeDocument/2006/relationships/image" Target="../media/image51.png"/><Relationship Id="rId3" Type="http://schemas.openxmlformats.org/officeDocument/2006/relationships/diagramLayout" Target="../diagrams/layout2.xml"/><Relationship Id="rId7" Type="http://schemas.openxmlformats.org/officeDocument/2006/relationships/image" Target="../media/image45.png"/><Relationship Id="rId12" Type="http://schemas.openxmlformats.org/officeDocument/2006/relationships/image" Target="../media/image50.jpe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2.xml"/><Relationship Id="rId11" Type="http://schemas.openxmlformats.org/officeDocument/2006/relationships/image" Target="../media/image49.png"/><Relationship Id="rId5" Type="http://schemas.openxmlformats.org/officeDocument/2006/relationships/diagramColors" Target="../diagrams/colors2.xml"/><Relationship Id="rId10" Type="http://schemas.openxmlformats.org/officeDocument/2006/relationships/image" Target="../media/image48.png"/><Relationship Id="rId4" Type="http://schemas.openxmlformats.org/officeDocument/2006/relationships/diagramQuickStyle" Target="../diagrams/quickStyle2.xml"/><Relationship Id="rId9" Type="http://schemas.openxmlformats.org/officeDocument/2006/relationships/image" Target="../media/image47.png"/><Relationship Id="rId14" Type="http://schemas.openxmlformats.org/officeDocument/2006/relationships/image" Target="../media/image5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emf"/><Relationship Id="rId2" Type="http://schemas.openxmlformats.org/officeDocument/2006/relationships/image" Target="../media/image53.emf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58.png"/><Relationship Id="rId4" Type="http://schemas.openxmlformats.org/officeDocument/2006/relationships/image" Target="../media/image57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jpeg"/><Relationship Id="rId2" Type="http://schemas.openxmlformats.org/officeDocument/2006/relationships/image" Target="../media/image59.jpe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6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jpeg"/><Relationship Id="rId2" Type="http://schemas.openxmlformats.org/officeDocument/2006/relationships/image" Target="../media/image59.jpeg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18.xml"/><Relationship Id="rId13" Type="http://schemas.openxmlformats.org/officeDocument/2006/relationships/image" Target="../media/image63.png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12" Type="http://schemas.openxmlformats.org/officeDocument/2006/relationships/image" Target="../media/image62.png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11" Type="http://schemas.openxmlformats.org/officeDocument/2006/relationships/slideLayout" Target="../slideLayouts/slideLayout6.xml"/><Relationship Id="rId5" Type="http://schemas.openxmlformats.org/officeDocument/2006/relationships/tags" Target="../tags/tag15.xml"/><Relationship Id="rId10" Type="http://schemas.openxmlformats.org/officeDocument/2006/relationships/tags" Target="../tags/tag20.xml"/><Relationship Id="rId4" Type="http://schemas.openxmlformats.org/officeDocument/2006/relationships/tags" Target="../tags/tag14.xml"/><Relationship Id="rId9" Type="http://schemas.openxmlformats.org/officeDocument/2006/relationships/tags" Target="../tags/tag1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slide" Target="slide14.xml"/><Relationship Id="rId3" Type="http://schemas.openxmlformats.org/officeDocument/2006/relationships/oleObject" Target="../embeddings/oleObject9.bin"/><Relationship Id="rId7" Type="http://schemas.openxmlformats.org/officeDocument/2006/relationships/slide" Target="slide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.xml"/><Relationship Id="rId6" Type="http://schemas.openxmlformats.org/officeDocument/2006/relationships/slide" Target="slide6.xml"/><Relationship Id="rId5" Type="http://schemas.openxmlformats.org/officeDocument/2006/relationships/slide" Target="slide3.xml"/><Relationship Id="rId4" Type="http://schemas.openxmlformats.org/officeDocument/2006/relationships/image" Target="../media/image3.emf"/><Relationship Id="rId9" Type="http://schemas.openxmlformats.org/officeDocument/2006/relationships/slide" Target="slide20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68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68.png"/><Relationship Id="rId5" Type="http://schemas.openxmlformats.org/officeDocument/2006/relationships/image" Target="../media/image70.png"/><Relationship Id="rId4" Type="http://schemas.openxmlformats.org/officeDocument/2006/relationships/image" Target="../media/image67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jpe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74.png"/><Relationship Id="rId5" Type="http://schemas.openxmlformats.org/officeDocument/2006/relationships/image" Target="../media/image70.png"/><Relationship Id="rId4" Type="http://schemas.openxmlformats.org/officeDocument/2006/relationships/image" Target="../media/image73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77.png"/><Relationship Id="rId4" Type="http://schemas.openxmlformats.org/officeDocument/2006/relationships/image" Target="../media/image70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77.png"/><Relationship Id="rId4" Type="http://schemas.openxmlformats.org/officeDocument/2006/relationships/image" Target="../media/image80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jpeg"/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84.png"/><Relationship Id="rId4" Type="http://schemas.openxmlformats.org/officeDocument/2006/relationships/image" Target="../media/image83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7" Type="http://schemas.openxmlformats.org/officeDocument/2006/relationships/image" Target="../media/image77.png"/><Relationship Id="rId2" Type="http://schemas.openxmlformats.org/officeDocument/2006/relationships/image" Target="../media/image82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88.png"/><Relationship Id="rId5" Type="http://schemas.openxmlformats.org/officeDocument/2006/relationships/image" Target="../media/image87.png"/><Relationship Id="rId4" Type="http://schemas.openxmlformats.org/officeDocument/2006/relationships/image" Target="../media/image86.jpe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1.xml"/><Relationship Id="rId4" Type="http://schemas.openxmlformats.org/officeDocument/2006/relationships/image" Target="../media/image3.emf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2.xml"/><Relationship Id="rId4" Type="http://schemas.openxmlformats.org/officeDocument/2006/relationships/image" Target="../media/image89.emf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7" Type="http://schemas.openxmlformats.org/officeDocument/2006/relationships/image" Target="../media/image33.jp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2.jpeg"/><Relationship Id="rId5" Type="http://schemas.openxmlformats.org/officeDocument/2006/relationships/image" Target="../media/image31.jpeg"/><Relationship Id="rId4" Type="http://schemas.openxmlformats.org/officeDocument/2006/relationships/image" Target="../media/image30.jp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>
            <a:extLst>
              <a:ext uri="{FF2B5EF4-FFF2-40B4-BE49-F238E27FC236}">
                <a16:creationId xmlns:a16="http://schemas.microsoft.com/office/drawing/2014/main" id="{846B7714-69DB-5788-0E0C-47C6366567F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16533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0" imgH="469" progId="TCLayout.ActiveDocument.1">
                  <p:embed/>
                </p:oleObj>
              </mc:Choice>
              <mc:Fallback>
                <p:oleObj name="think-cell Slide" r:id="rId3" imgW="470" imgH="469" progId="TCLayout.ActiveDocument.1">
                  <p:embed/>
                  <p:pic>
                    <p:nvPicPr>
                      <p:cNvPr id="28" name="Object 27" hidden="1">
                        <a:extLst>
                          <a:ext uri="{FF2B5EF4-FFF2-40B4-BE49-F238E27FC236}">
                            <a16:creationId xmlns:a16="http://schemas.microsoft.com/office/drawing/2014/main" id="{846B7714-69DB-5788-0E0C-47C6366567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Subtitle 26">
            <a:extLst>
              <a:ext uri="{FF2B5EF4-FFF2-40B4-BE49-F238E27FC236}">
                <a16:creationId xmlns:a16="http://schemas.microsoft.com/office/drawing/2014/main" id="{342E8AA7-10B8-71D6-6D83-4101C255335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79506" y="3313603"/>
            <a:ext cx="7958455" cy="723422"/>
          </a:xfrm>
        </p:spPr>
        <p:txBody>
          <a:bodyPr/>
          <a:lstStyle/>
          <a:p>
            <a:endParaRPr lang="en-US"/>
          </a:p>
        </p:txBody>
      </p:sp>
      <p:pic>
        <p:nvPicPr>
          <p:cNvPr id="31" name="Picture 30" descr="A small bird on a plant&#10;&#10;Description automatically generated with low confidence">
            <a:extLst>
              <a:ext uri="{FF2B5EF4-FFF2-40B4-BE49-F238E27FC236}">
                <a16:creationId xmlns:a16="http://schemas.microsoft.com/office/drawing/2014/main" id="{440AAD47-BCFF-5A02-41B9-3F5DCE6F8DE0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F0524DC4-6481-74AF-1D55-B8E4299EE12F}"/>
              </a:ext>
            </a:extLst>
          </p:cNvPr>
          <p:cNvSpPr txBox="1"/>
          <p:nvPr/>
        </p:nvSpPr>
        <p:spPr>
          <a:xfrm>
            <a:off x="866535" y="3263087"/>
            <a:ext cx="7410930" cy="1193790"/>
          </a:xfrm>
          <a:prstGeom prst="rect">
            <a:avLst/>
          </a:prstGeom>
          <a:solidFill>
            <a:schemeClr val="tx2"/>
          </a:solidFill>
          <a:ln w="6350">
            <a:noFill/>
          </a:ln>
        </p:spPr>
        <p:txBody>
          <a:bodyPr wrap="square" rIns="640080">
            <a:noAutofit/>
          </a:bodyPr>
          <a:lstStyle/>
          <a:p>
            <a:pPr algn="r"/>
            <a:endParaRPr lang="en-US" spc="300" dirty="0">
              <a:solidFill>
                <a:schemeClr val="bg1"/>
              </a:solidFill>
              <a:latin typeface="Amasis MT Pro Black" panose="02040A04050005020304" pitchFamily="18" charset="0"/>
            </a:endParaRP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08A1925D-A18A-7934-6C22-BCB9027912CF}"/>
              </a:ext>
            </a:extLst>
          </p:cNvPr>
          <p:cNvCxnSpPr>
            <a:cxnSpLocks/>
          </p:cNvCxnSpPr>
          <p:nvPr/>
        </p:nvCxnSpPr>
        <p:spPr>
          <a:xfrm flipH="1">
            <a:off x="1027393" y="4206690"/>
            <a:ext cx="7089214" cy="0"/>
          </a:xfrm>
          <a:prstGeom prst="line">
            <a:avLst/>
          </a:prstGeom>
          <a:ln w="19050">
            <a:solidFill>
              <a:schemeClr val="bg2">
                <a:lumMod val="9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4" name="Titel 1">
            <a:extLst>
              <a:ext uri="{FF2B5EF4-FFF2-40B4-BE49-F238E27FC236}">
                <a16:creationId xmlns:a16="http://schemas.microsoft.com/office/drawing/2014/main" id="{F95E5189-CF8B-7CD8-D27B-37AF9833356C}"/>
              </a:ext>
            </a:extLst>
          </p:cNvPr>
          <p:cNvSpPr txBox="1">
            <a:spLocks/>
          </p:cNvSpPr>
          <p:nvPr/>
        </p:nvSpPr>
        <p:spPr>
          <a:xfrm>
            <a:off x="1026076" y="3834961"/>
            <a:ext cx="6754096" cy="446434"/>
          </a:xfrm>
          <a:prstGeom prst="rect">
            <a:avLst/>
          </a:prstGeom>
        </p:spPr>
        <p:txBody>
          <a:bodyPr vert="horz" lIns="0" tIns="0" rIns="0" bIns="0" anchor="t">
            <a:noAutofit/>
          </a:bodyPr>
          <a:lstStyle>
            <a:lvl1pPr algn="l" defTabSz="457189" rtl="0" eaLnBrk="1" latinLnBrk="0" hangingPunct="1">
              <a:spcBef>
                <a:spcPts val="0"/>
              </a:spcBef>
              <a:buNone/>
              <a:defRPr sz="1800" kern="1200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i="1" spc="300" dirty="0" err="1">
                <a:solidFill>
                  <a:schemeClr val="bg1"/>
                </a:solidFill>
              </a:rPr>
              <a:t>Dpto</a:t>
            </a:r>
            <a:r>
              <a:rPr lang="fr-FR" i="1" spc="300" dirty="0">
                <a:solidFill>
                  <a:schemeClr val="bg1"/>
                </a:solidFill>
              </a:rPr>
              <a:t>. Marketing Limagrain </a:t>
            </a:r>
            <a:r>
              <a:rPr lang="fr-FR" i="1" spc="300" dirty="0" err="1">
                <a:solidFill>
                  <a:schemeClr val="bg1"/>
                </a:solidFill>
              </a:rPr>
              <a:t>Ibérica</a:t>
            </a:r>
            <a:endParaRPr lang="fr-FR" i="1" spc="300" dirty="0">
              <a:solidFill>
                <a:schemeClr val="bg1"/>
              </a:solidFill>
            </a:endParaRPr>
          </a:p>
        </p:txBody>
      </p:sp>
      <p:sp>
        <p:nvSpPr>
          <p:cNvPr id="35" name="Untertitel 2">
            <a:extLst>
              <a:ext uri="{FF2B5EF4-FFF2-40B4-BE49-F238E27FC236}">
                <a16:creationId xmlns:a16="http://schemas.microsoft.com/office/drawing/2014/main" id="{61185DE7-3152-7645-593E-80B4AFB100A1}"/>
              </a:ext>
            </a:extLst>
          </p:cNvPr>
          <p:cNvSpPr txBox="1">
            <a:spLocks/>
          </p:cNvSpPr>
          <p:nvPr/>
        </p:nvSpPr>
        <p:spPr>
          <a:xfrm>
            <a:off x="1026324" y="3338211"/>
            <a:ext cx="7660475" cy="446434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l" defTabSz="457189" rtl="0" eaLnBrk="1" latinLnBrk="0" hangingPunct="1">
              <a:spcBef>
                <a:spcPts val="0"/>
              </a:spcBef>
              <a:buClr>
                <a:srgbClr val="E3000E"/>
              </a:buClr>
              <a:buSzPct val="75000"/>
              <a:buFontTx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189" indent="0" algn="ctr" defTabSz="457189" rtl="0" eaLnBrk="1" latinLnBrk="0" hangingPunct="1">
              <a:spcBef>
                <a:spcPct val="20000"/>
              </a:spcBef>
              <a:buClr>
                <a:srgbClr val="E3000E"/>
              </a:buClr>
              <a:buSzPct val="75000"/>
              <a:buFont typeface="Wingdings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377" indent="0" algn="ctr" defTabSz="457189" rtl="0" eaLnBrk="1" latinLnBrk="0" hangingPunct="1">
              <a:spcBef>
                <a:spcPct val="20000"/>
              </a:spcBef>
              <a:buClr>
                <a:srgbClr val="E3000E"/>
              </a:buClr>
              <a:buSzPct val="75000"/>
              <a:buFont typeface="Wingdings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566" indent="0" algn="ctr" defTabSz="457189" rtl="0" eaLnBrk="1" latinLnBrk="0" hangingPunct="1">
              <a:spcBef>
                <a:spcPct val="20000"/>
              </a:spcBef>
              <a:buClr>
                <a:srgbClr val="E3000E"/>
              </a:buClr>
              <a:buSzPct val="75000"/>
              <a:buFont typeface="Wingdings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754" indent="0" algn="ctr" defTabSz="457189" rtl="0" eaLnBrk="1" latinLnBrk="0" hangingPunct="1">
              <a:spcBef>
                <a:spcPct val="20000"/>
              </a:spcBef>
              <a:buClr>
                <a:srgbClr val="E3000E"/>
              </a:buClr>
              <a:buSzPct val="75000"/>
              <a:buFont typeface="Wingdings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5943" indent="0" algn="ctr" defTabSz="457189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131" indent="0" algn="ctr" defTabSz="457189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320" indent="0" algn="ctr" defTabSz="457189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509" indent="0" algn="ctr" defTabSz="457189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2600" b="1" spc="300" dirty="0" err="1"/>
              <a:t>Revista</a:t>
            </a:r>
            <a:r>
              <a:rPr lang="fr-FR" sz="2600" b="1" spc="300" dirty="0"/>
              <a:t> Colza 2023 #1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1FCB66B5-3051-0C6A-DCD9-400329E2E770}"/>
              </a:ext>
            </a:extLst>
          </p:cNvPr>
          <p:cNvSpPr/>
          <p:nvPr/>
        </p:nvSpPr>
        <p:spPr>
          <a:xfrm>
            <a:off x="1035517" y="4206436"/>
            <a:ext cx="795414" cy="20005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E01B6307-7B6A-3C43-C72F-EE67FA53B379}"/>
              </a:ext>
            </a:extLst>
          </p:cNvPr>
          <p:cNvSpPr/>
          <p:nvPr/>
        </p:nvSpPr>
        <p:spPr>
          <a:xfrm>
            <a:off x="5970862" y="4232758"/>
            <a:ext cx="2145745" cy="20005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/>
            <a:r>
              <a:rPr lang="en-US" sz="1100" dirty="0">
                <a:solidFill>
                  <a:schemeClr val="bg1"/>
                </a:solidFill>
              </a:rPr>
              <a:t>|</a:t>
            </a:r>
            <a:r>
              <a:rPr lang="en-US" sz="1200" dirty="0">
                <a:solidFill>
                  <a:schemeClr val="bg1"/>
                </a:solidFill>
              </a:rPr>
              <a:t> 12 Junio 2023</a:t>
            </a:r>
          </a:p>
        </p:txBody>
      </p:sp>
      <p:pic>
        <p:nvPicPr>
          <p:cNvPr id="43" name="Graphic 42">
            <a:extLst>
              <a:ext uri="{FF2B5EF4-FFF2-40B4-BE49-F238E27FC236}">
                <a16:creationId xmlns:a16="http://schemas.microsoft.com/office/drawing/2014/main" id="{6A90356A-73B6-91EF-0EB1-18BD0B82FA1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936371" y="2884747"/>
            <a:ext cx="664623" cy="664623"/>
          </a:xfrm>
          <a:prstGeom prst="rect">
            <a:avLst/>
          </a:prstGeom>
        </p:spPr>
      </p:pic>
      <p:grpSp>
        <p:nvGrpSpPr>
          <p:cNvPr id="44" name="Group 43">
            <a:extLst>
              <a:ext uri="{FF2B5EF4-FFF2-40B4-BE49-F238E27FC236}">
                <a16:creationId xmlns:a16="http://schemas.microsoft.com/office/drawing/2014/main" id="{EF08BCFC-7943-AB38-3E05-47BEB2188DB5}"/>
              </a:ext>
            </a:extLst>
          </p:cNvPr>
          <p:cNvGrpSpPr/>
          <p:nvPr/>
        </p:nvGrpSpPr>
        <p:grpSpPr>
          <a:xfrm>
            <a:off x="5152548" y="2681661"/>
            <a:ext cx="2672560" cy="664623"/>
            <a:chOff x="5575097" y="2994021"/>
            <a:chExt cx="1749473" cy="435066"/>
          </a:xfrm>
          <a:gradFill>
            <a:gsLst>
              <a:gs pos="58000">
                <a:srgbClr val="A6354C"/>
              </a:gs>
              <a:gs pos="18000">
                <a:schemeClr val="tx2"/>
              </a:gs>
              <a:gs pos="100000">
                <a:schemeClr val="accent2"/>
              </a:gs>
            </a:gsLst>
            <a:lin ang="16200000" scaled="1"/>
          </a:gradFill>
        </p:grpSpPr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2679A73D-0DD8-E01D-3E22-90AB405B5960}"/>
                </a:ext>
              </a:extLst>
            </p:cNvPr>
            <p:cNvSpPr/>
            <p:nvPr/>
          </p:nvSpPr>
          <p:spPr>
            <a:xfrm>
              <a:off x="6412022" y="3007313"/>
              <a:ext cx="578185" cy="408253"/>
            </a:xfrm>
            <a:custGeom>
              <a:avLst/>
              <a:gdLst>
                <a:gd name="connsiteX0" fmla="*/ 188626 w 578185"/>
                <a:gd name="connsiteY0" fmla="*/ 247351 h 408253"/>
                <a:gd name="connsiteX1" fmla="*/ 209084 w 578185"/>
                <a:gd name="connsiteY1" fmla="*/ 156671 h 408253"/>
                <a:gd name="connsiteX2" fmla="*/ 241634 w 578185"/>
                <a:gd name="connsiteY2" fmla="*/ 10757 h 408253"/>
                <a:gd name="connsiteX3" fmla="*/ 255014 w 578185"/>
                <a:gd name="connsiteY3" fmla="*/ 5 h 408253"/>
                <a:gd name="connsiteX4" fmla="*/ 343468 w 578185"/>
                <a:gd name="connsiteY4" fmla="*/ 86 h 408253"/>
                <a:gd name="connsiteX5" fmla="*/ 356258 w 578185"/>
                <a:gd name="connsiteY5" fmla="*/ 9926 h 408253"/>
                <a:gd name="connsiteX6" fmla="*/ 402000 w 578185"/>
                <a:gd name="connsiteY6" fmla="*/ 237699 h 408253"/>
                <a:gd name="connsiteX7" fmla="*/ 406853 w 578185"/>
                <a:gd name="connsiteY7" fmla="*/ 247646 h 408253"/>
                <a:gd name="connsiteX8" fmla="*/ 443881 w 578185"/>
                <a:gd name="connsiteY8" fmla="*/ 88487 h 408253"/>
                <a:gd name="connsiteX9" fmla="*/ 418275 w 578185"/>
                <a:gd name="connsiteY9" fmla="*/ 64463 h 408253"/>
                <a:gd name="connsiteX10" fmla="*/ 418275 w 578185"/>
                <a:gd name="connsiteY10" fmla="*/ 1132 h 408253"/>
                <a:gd name="connsiteX11" fmla="*/ 578185 w 578185"/>
                <a:gd name="connsiteY11" fmla="*/ 1132 h 408253"/>
                <a:gd name="connsiteX12" fmla="*/ 578185 w 578185"/>
                <a:gd name="connsiteY12" fmla="*/ 65482 h 408253"/>
                <a:gd name="connsiteX13" fmla="*/ 535580 w 578185"/>
                <a:gd name="connsiteY13" fmla="*/ 107309 h 408253"/>
                <a:gd name="connsiteX14" fmla="*/ 450423 w 578185"/>
                <a:gd name="connsiteY14" fmla="*/ 398306 h 408253"/>
                <a:gd name="connsiteX15" fmla="*/ 447072 w 578185"/>
                <a:gd name="connsiteY15" fmla="*/ 408146 h 408253"/>
                <a:gd name="connsiteX16" fmla="*/ 338964 w 578185"/>
                <a:gd name="connsiteY16" fmla="*/ 408146 h 408253"/>
                <a:gd name="connsiteX17" fmla="*/ 289414 w 578185"/>
                <a:gd name="connsiteY17" fmla="*/ 183832 h 408253"/>
                <a:gd name="connsiteX18" fmla="*/ 287189 w 578185"/>
                <a:gd name="connsiteY18" fmla="*/ 183644 h 408253"/>
                <a:gd name="connsiteX19" fmla="*/ 234663 w 578185"/>
                <a:gd name="connsiteY19" fmla="*/ 408253 h 408253"/>
                <a:gd name="connsiteX20" fmla="*/ 124035 w 578185"/>
                <a:gd name="connsiteY20" fmla="*/ 408253 h 408253"/>
                <a:gd name="connsiteX21" fmla="*/ 101941 w 578185"/>
                <a:gd name="connsiteY21" fmla="*/ 325536 h 408253"/>
                <a:gd name="connsiteX22" fmla="*/ 42176 w 578185"/>
                <a:gd name="connsiteY22" fmla="*/ 100874 h 408253"/>
                <a:gd name="connsiteX23" fmla="*/ 0 w 578185"/>
                <a:gd name="connsiteY23" fmla="*/ 66072 h 408253"/>
                <a:gd name="connsiteX24" fmla="*/ 0 w 578185"/>
                <a:gd name="connsiteY24" fmla="*/ 1266 h 408253"/>
                <a:gd name="connsiteX25" fmla="*/ 183880 w 578185"/>
                <a:gd name="connsiteY25" fmla="*/ 1266 h 408253"/>
                <a:gd name="connsiteX26" fmla="*/ 183880 w 578185"/>
                <a:gd name="connsiteY26" fmla="*/ 64650 h 408253"/>
                <a:gd name="connsiteX27" fmla="*/ 157658 w 578185"/>
                <a:gd name="connsiteY27" fmla="*/ 101920 h 408253"/>
                <a:gd name="connsiteX28" fmla="*/ 185677 w 578185"/>
                <a:gd name="connsiteY28" fmla="*/ 247485 h 408253"/>
                <a:gd name="connsiteX29" fmla="*/ 188599 w 578185"/>
                <a:gd name="connsiteY29" fmla="*/ 247351 h 408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78185" h="408253">
                  <a:moveTo>
                    <a:pt x="188626" y="247351"/>
                  </a:moveTo>
                  <a:cubicBezTo>
                    <a:pt x="195436" y="217133"/>
                    <a:pt x="202300" y="186889"/>
                    <a:pt x="209084" y="156671"/>
                  </a:cubicBezTo>
                  <a:cubicBezTo>
                    <a:pt x="219997" y="108033"/>
                    <a:pt x="230883" y="59422"/>
                    <a:pt x="241634" y="10757"/>
                  </a:cubicBezTo>
                  <a:cubicBezTo>
                    <a:pt x="243297" y="3250"/>
                    <a:pt x="246461" y="-155"/>
                    <a:pt x="255014" y="5"/>
                  </a:cubicBezTo>
                  <a:cubicBezTo>
                    <a:pt x="284481" y="595"/>
                    <a:pt x="314001" y="461"/>
                    <a:pt x="343468" y="86"/>
                  </a:cubicBezTo>
                  <a:cubicBezTo>
                    <a:pt x="351056" y="-21"/>
                    <a:pt x="354756" y="2285"/>
                    <a:pt x="356258" y="9926"/>
                  </a:cubicBezTo>
                  <a:cubicBezTo>
                    <a:pt x="371353" y="85886"/>
                    <a:pt x="386690" y="161792"/>
                    <a:pt x="402000" y="237699"/>
                  </a:cubicBezTo>
                  <a:cubicBezTo>
                    <a:pt x="402670" y="241050"/>
                    <a:pt x="403770" y="244321"/>
                    <a:pt x="406853" y="247646"/>
                  </a:cubicBezTo>
                  <a:cubicBezTo>
                    <a:pt x="419240" y="194611"/>
                    <a:pt x="431896" y="141602"/>
                    <a:pt x="443881" y="88487"/>
                  </a:cubicBezTo>
                  <a:cubicBezTo>
                    <a:pt x="447367" y="73043"/>
                    <a:pt x="441843" y="68377"/>
                    <a:pt x="418275" y="64463"/>
                  </a:cubicBezTo>
                  <a:lnTo>
                    <a:pt x="418275" y="1132"/>
                  </a:lnTo>
                  <a:lnTo>
                    <a:pt x="578185" y="1132"/>
                  </a:lnTo>
                  <a:lnTo>
                    <a:pt x="578185" y="65482"/>
                  </a:lnTo>
                  <a:cubicBezTo>
                    <a:pt x="549657" y="64302"/>
                    <a:pt x="542122" y="84626"/>
                    <a:pt x="535580" y="107309"/>
                  </a:cubicBezTo>
                  <a:cubicBezTo>
                    <a:pt x="507534" y="204397"/>
                    <a:pt x="478871" y="301325"/>
                    <a:pt x="450423" y="398306"/>
                  </a:cubicBezTo>
                  <a:cubicBezTo>
                    <a:pt x="449431" y="401657"/>
                    <a:pt x="448171" y="404955"/>
                    <a:pt x="447072" y="408146"/>
                  </a:cubicBezTo>
                  <a:lnTo>
                    <a:pt x="338964" y="408146"/>
                  </a:lnTo>
                  <a:cubicBezTo>
                    <a:pt x="322367" y="333044"/>
                    <a:pt x="305904" y="258425"/>
                    <a:pt x="289414" y="183832"/>
                  </a:cubicBezTo>
                  <a:lnTo>
                    <a:pt x="287189" y="183644"/>
                  </a:lnTo>
                  <a:cubicBezTo>
                    <a:pt x="269707" y="258398"/>
                    <a:pt x="252225" y="333151"/>
                    <a:pt x="234663" y="408253"/>
                  </a:cubicBezTo>
                  <a:lnTo>
                    <a:pt x="124035" y="408253"/>
                  </a:lnTo>
                  <a:cubicBezTo>
                    <a:pt x="116742" y="381012"/>
                    <a:pt x="109315" y="353287"/>
                    <a:pt x="101941" y="325536"/>
                  </a:cubicBezTo>
                  <a:cubicBezTo>
                    <a:pt x="82019" y="250649"/>
                    <a:pt x="62151" y="175735"/>
                    <a:pt x="42176" y="100874"/>
                  </a:cubicBezTo>
                  <a:cubicBezTo>
                    <a:pt x="36519" y="79665"/>
                    <a:pt x="28207" y="61192"/>
                    <a:pt x="0" y="66072"/>
                  </a:cubicBezTo>
                  <a:lnTo>
                    <a:pt x="0" y="1266"/>
                  </a:lnTo>
                  <a:lnTo>
                    <a:pt x="183880" y="1266"/>
                  </a:lnTo>
                  <a:lnTo>
                    <a:pt x="183880" y="64650"/>
                  </a:lnTo>
                  <a:cubicBezTo>
                    <a:pt x="152107" y="68726"/>
                    <a:pt x="151437" y="69691"/>
                    <a:pt x="157658" y="101920"/>
                  </a:cubicBezTo>
                  <a:cubicBezTo>
                    <a:pt x="167015" y="150451"/>
                    <a:pt x="176346" y="198954"/>
                    <a:pt x="185677" y="247485"/>
                  </a:cubicBezTo>
                  <a:lnTo>
                    <a:pt x="188599" y="247351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FA15B6C3-B8A7-2A9C-0550-3D8F52C3A6C3}"/>
                </a:ext>
              </a:extLst>
            </p:cNvPr>
            <p:cNvSpPr/>
            <p:nvPr/>
          </p:nvSpPr>
          <p:spPr>
            <a:xfrm>
              <a:off x="5575097" y="3007343"/>
              <a:ext cx="404171" cy="413465"/>
            </a:xfrm>
            <a:custGeom>
              <a:avLst/>
              <a:gdLst>
                <a:gd name="connsiteX0" fmla="*/ 0 w 404171"/>
                <a:gd name="connsiteY0" fmla="*/ 407794 h 413465"/>
                <a:gd name="connsiteX1" fmla="*/ 0 w 404171"/>
                <a:gd name="connsiteY1" fmla="*/ 342854 h 413465"/>
                <a:gd name="connsiteX2" fmla="*/ 21879 w 404171"/>
                <a:gd name="connsiteY2" fmla="*/ 341835 h 413465"/>
                <a:gd name="connsiteX3" fmla="*/ 38422 w 404171"/>
                <a:gd name="connsiteY3" fmla="*/ 324970 h 413465"/>
                <a:gd name="connsiteX4" fmla="*/ 38664 w 404171"/>
                <a:gd name="connsiteY4" fmla="*/ 280729 h 413465"/>
                <a:gd name="connsiteX5" fmla="*/ 38664 w 404171"/>
                <a:gd name="connsiteY5" fmla="*/ 99691 h 413465"/>
                <a:gd name="connsiteX6" fmla="*/ 6274 w 404171"/>
                <a:gd name="connsiteY6" fmla="*/ 65773 h 413465"/>
                <a:gd name="connsiteX7" fmla="*/ 134 w 404171"/>
                <a:gd name="connsiteY7" fmla="*/ 65076 h 413465"/>
                <a:gd name="connsiteX8" fmla="*/ 134 w 404171"/>
                <a:gd name="connsiteY8" fmla="*/ 860 h 413465"/>
                <a:gd name="connsiteX9" fmla="*/ 12843 w 404171"/>
                <a:gd name="connsiteY9" fmla="*/ 190 h 413465"/>
                <a:gd name="connsiteX10" fmla="*/ 156263 w 404171"/>
                <a:gd name="connsiteY10" fmla="*/ 2 h 413465"/>
                <a:gd name="connsiteX11" fmla="*/ 173852 w 404171"/>
                <a:gd name="connsiteY11" fmla="*/ 11961 h 413465"/>
                <a:gd name="connsiteX12" fmla="*/ 265605 w 404171"/>
                <a:gd name="connsiteY12" fmla="*/ 219811 h 413465"/>
                <a:gd name="connsiteX13" fmla="*/ 273675 w 404171"/>
                <a:gd name="connsiteY13" fmla="*/ 231260 h 413465"/>
                <a:gd name="connsiteX14" fmla="*/ 273675 w 404171"/>
                <a:gd name="connsiteY14" fmla="*/ 204153 h 413465"/>
                <a:gd name="connsiteX15" fmla="*/ 273675 w 404171"/>
                <a:gd name="connsiteY15" fmla="*/ 103579 h 413465"/>
                <a:gd name="connsiteX16" fmla="*/ 237103 w 404171"/>
                <a:gd name="connsiteY16" fmla="*/ 65130 h 413465"/>
                <a:gd name="connsiteX17" fmla="*/ 237103 w 404171"/>
                <a:gd name="connsiteY17" fmla="*/ 941 h 413465"/>
                <a:gd name="connsiteX18" fmla="*/ 404172 w 404171"/>
                <a:gd name="connsiteY18" fmla="*/ 941 h 413465"/>
                <a:gd name="connsiteX19" fmla="*/ 404172 w 404171"/>
                <a:gd name="connsiteY19" fmla="*/ 64245 h 413465"/>
                <a:gd name="connsiteX20" fmla="*/ 401759 w 404171"/>
                <a:gd name="connsiteY20" fmla="*/ 65398 h 413465"/>
                <a:gd name="connsiteX21" fmla="*/ 365374 w 404171"/>
                <a:gd name="connsiteY21" fmla="*/ 103445 h 413465"/>
                <a:gd name="connsiteX22" fmla="*/ 365508 w 404171"/>
                <a:gd name="connsiteY22" fmla="*/ 394441 h 413465"/>
                <a:gd name="connsiteX23" fmla="*/ 365508 w 404171"/>
                <a:gd name="connsiteY23" fmla="*/ 412004 h 413465"/>
                <a:gd name="connsiteX24" fmla="*/ 299201 w 404171"/>
                <a:gd name="connsiteY24" fmla="*/ 411977 h 413465"/>
                <a:gd name="connsiteX25" fmla="*/ 254665 w 404171"/>
                <a:gd name="connsiteY25" fmla="*/ 409698 h 413465"/>
                <a:gd name="connsiteX26" fmla="*/ 233752 w 404171"/>
                <a:gd name="connsiteY26" fmla="*/ 370498 h 413465"/>
                <a:gd name="connsiteX27" fmla="*/ 139613 w 404171"/>
                <a:gd name="connsiteY27" fmla="*/ 170986 h 413465"/>
                <a:gd name="connsiteX28" fmla="*/ 131569 w 404171"/>
                <a:gd name="connsiteY28" fmla="*/ 160019 h 413465"/>
                <a:gd name="connsiteX29" fmla="*/ 131569 w 404171"/>
                <a:gd name="connsiteY29" fmla="*/ 206191 h 413465"/>
                <a:gd name="connsiteX30" fmla="*/ 131489 w 404171"/>
                <a:gd name="connsiteY30" fmla="*/ 314808 h 413465"/>
                <a:gd name="connsiteX31" fmla="*/ 158355 w 404171"/>
                <a:gd name="connsiteY31" fmla="*/ 342211 h 413465"/>
                <a:gd name="connsiteX32" fmla="*/ 169830 w 404171"/>
                <a:gd name="connsiteY32" fmla="*/ 342211 h 413465"/>
                <a:gd name="connsiteX33" fmla="*/ 169830 w 404171"/>
                <a:gd name="connsiteY33" fmla="*/ 407740 h 413465"/>
                <a:gd name="connsiteX34" fmla="*/ 0 w 404171"/>
                <a:gd name="connsiteY34" fmla="*/ 407740 h 41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404171" h="413465">
                  <a:moveTo>
                    <a:pt x="0" y="407794"/>
                  </a:moveTo>
                  <a:lnTo>
                    <a:pt x="0" y="342854"/>
                  </a:lnTo>
                  <a:cubicBezTo>
                    <a:pt x="7776" y="342506"/>
                    <a:pt x="14827" y="342184"/>
                    <a:pt x="21879" y="341835"/>
                  </a:cubicBezTo>
                  <a:cubicBezTo>
                    <a:pt x="32550" y="341299"/>
                    <a:pt x="38342" y="335910"/>
                    <a:pt x="38422" y="324970"/>
                  </a:cubicBezTo>
                  <a:cubicBezTo>
                    <a:pt x="38530" y="310223"/>
                    <a:pt x="38664" y="295476"/>
                    <a:pt x="38664" y="280729"/>
                  </a:cubicBezTo>
                  <a:cubicBezTo>
                    <a:pt x="38664" y="220374"/>
                    <a:pt x="38664" y="160046"/>
                    <a:pt x="38664" y="99691"/>
                  </a:cubicBezTo>
                  <a:cubicBezTo>
                    <a:pt x="38664" y="69581"/>
                    <a:pt x="36197" y="67034"/>
                    <a:pt x="6274" y="65773"/>
                  </a:cubicBezTo>
                  <a:cubicBezTo>
                    <a:pt x="4531" y="65693"/>
                    <a:pt x="2789" y="65371"/>
                    <a:pt x="134" y="65076"/>
                  </a:cubicBezTo>
                  <a:lnTo>
                    <a:pt x="134" y="860"/>
                  </a:lnTo>
                  <a:cubicBezTo>
                    <a:pt x="4317" y="619"/>
                    <a:pt x="8580" y="190"/>
                    <a:pt x="12843" y="190"/>
                  </a:cubicBezTo>
                  <a:cubicBezTo>
                    <a:pt x="60650" y="190"/>
                    <a:pt x="108457" y="565"/>
                    <a:pt x="156263" y="2"/>
                  </a:cubicBezTo>
                  <a:cubicBezTo>
                    <a:pt x="166077" y="-105"/>
                    <a:pt x="170233" y="3649"/>
                    <a:pt x="173852" y="11961"/>
                  </a:cubicBezTo>
                  <a:cubicBezTo>
                    <a:pt x="204231" y="81351"/>
                    <a:pt x="234958" y="150555"/>
                    <a:pt x="265605" y="219811"/>
                  </a:cubicBezTo>
                  <a:cubicBezTo>
                    <a:pt x="267348" y="223753"/>
                    <a:pt x="269251" y="227641"/>
                    <a:pt x="273675" y="231260"/>
                  </a:cubicBezTo>
                  <a:cubicBezTo>
                    <a:pt x="273675" y="222224"/>
                    <a:pt x="273675" y="213189"/>
                    <a:pt x="273675" y="204153"/>
                  </a:cubicBezTo>
                  <a:cubicBezTo>
                    <a:pt x="273675" y="170637"/>
                    <a:pt x="273675" y="137095"/>
                    <a:pt x="273675" y="103579"/>
                  </a:cubicBezTo>
                  <a:cubicBezTo>
                    <a:pt x="273675" y="69152"/>
                    <a:pt x="272388" y="67784"/>
                    <a:pt x="237103" y="65130"/>
                  </a:cubicBezTo>
                  <a:lnTo>
                    <a:pt x="237103" y="941"/>
                  </a:lnTo>
                  <a:lnTo>
                    <a:pt x="404172" y="941"/>
                  </a:lnTo>
                  <a:lnTo>
                    <a:pt x="404172" y="64245"/>
                  </a:lnTo>
                  <a:cubicBezTo>
                    <a:pt x="403260" y="64701"/>
                    <a:pt x="402536" y="65344"/>
                    <a:pt x="401759" y="65398"/>
                  </a:cubicBezTo>
                  <a:cubicBezTo>
                    <a:pt x="365991" y="67168"/>
                    <a:pt x="365347" y="67838"/>
                    <a:pt x="365374" y="103445"/>
                  </a:cubicBezTo>
                  <a:cubicBezTo>
                    <a:pt x="365428" y="200453"/>
                    <a:pt x="365481" y="297434"/>
                    <a:pt x="365508" y="394441"/>
                  </a:cubicBezTo>
                  <a:cubicBezTo>
                    <a:pt x="365508" y="399723"/>
                    <a:pt x="365508" y="404979"/>
                    <a:pt x="365508" y="412004"/>
                  </a:cubicBezTo>
                  <a:cubicBezTo>
                    <a:pt x="342637" y="412004"/>
                    <a:pt x="320919" y="412111"/>
                    <a:pt x="299201" y="411977"/>
                  </a:cubicBezTo>
                  <a:cubicBezTo>
                    <a:pt x="284052" y="411870"/>
                    <a:pt x="265632" y="416615"/>
                    <a:pt x="254665" y="409698"/>
                  </a:cubicBezTo>
                  <a:cubicBezTo>
                    <a:pt x="243779" y="402834"/>
                    <a:pt x="240187" y="384145"/>
                    <a:pt x="233752" y="370498"/>
                  </a:cubicBezTo>
                  <a:cubicBezTo>
                    <a:pt x="202327" y="304030"/>
                    <a:pt x="171010" y="237481"/>
                    <a:pt x="139613" y="170986"/>
                  </a:cubicBezTo>
                  <a:cubicBezTo>
                    <a:pt x="137790" y="167125"/>
                    <a:pt x="135725" y="163398"/>
                    <a:pt x="131569" y="160019"/>
                  </a:cubicBezTo>
                  <a:cubicBezTo>
                    <a:pt x="131569" y="175410"/>
                    <a:pt x="131569" y="190800"/>
                    <a:pt x="131569" y="206191"/>
                  </a:cubicBezTo>
                  <a:cubicBezTo>
                    <a:pt x="131542" y="242388"/>
                    <a:pt x="131462" y="278611"/>
                    <a:pt x="131489" y="314808"/>
                  </a:cubicBezTo>
                  <a:cubicBezTo>
                    <a:pt x="131489" y="338618"/>
                    <a:pt x="134706" y="341835"/>
                    <a:pt x="158355" y="342211"/>
                  </a:cubicBezTo>
                  <a:cubicBezTo>
                    <a:pt x="161894" y="342264"/>
                    <a:pt x="165406" y="342211"/>
                    <a:pt x="169830" y="342211"/>
                  </a:cubicBezTo>
                  <a:lnTo>
                    <a:pt x="169830" y="407740"/>
                  </a:lnTo>
                  <a:lnTo>
                    <a:pt x="0" y="40774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EE289D40-3424-3CAA-D193-C9300F0F37A6}"/>
                </a:ext>
              </a:extLst>
            </p:cNvPr>
            <p:cNvSpPr/>
            <p:nvPr/>
          </p:nvSpPr>
          <p:spPr>
            <a:xfrm>
              <a:off x="6039811" y="3008203"/>
              <a:ext cx="326174" cy="407201"/>
            </a:xfrm>
            <a:custGeom>
              <a:avLst/>
              <a:gdLst>
                <a:gd name="connsiteX0" fmla="*/ 27 w 326174"/>
                <a:gd name="connsiteY0" fmla="*/ 0 h 407201"/>
                <a:gd name="connsiteX1" fmla="*/ 319981 w 326174"/>
                <a:gd name="connsiteY1" fmla="*/ 0 h 407201"/>
                <a:gd name="connsiteX2" fmla="*/ 319981 w 326174"/>
                <a:gd name="connsiteY2" fmla="*/ 119879 h 407201"/>
                <a:gd name="connsiteX3" fmla="*/ 235628 w 326174"/>
                <a:gd name="connsiteY3" fmla="*/ 119879 h 407201"/>
                <a:gd name="connsiteX4" fmla="*/ 235682 w 326174"/>
                <a:gd name="connsiteY4" fmla="*/ 98429 h 407201"/>
                <a:gd name="connsiteX5" fmla="*/ 218656 w 326174"/>
                <a:gd name="connsiteY5" fmla="*/ 78936 h 407201"/>
                <a:gd name="connsiteX6" fmla="*/ 152670 w 326174"/>
                <a:gd name="connsiteY6" fmla="*/ 78722 h 407201"/>
                <a:gd name="connsiteX7" fmla="*/ 152670 w 326174"/>
                <a:gd name="connsiteY7" fmla="*/ 156210 h 407201"/>
                <a:gd name="connsiteX8" fmla="*/ 271638 w 326174"/>
                <a:gd name="connsiteY8" fmla="*/ 156210 h 407201"/>
                <a:gd name="connsiteX9" fmla="*/ 271638 w 326174"/>
                <a:gd name="connsiteY9" fmla="*/ 238980 h 407201"/>
                <a:gd name="connsiteX10" fmla="*/ 152858 w 326174"/>
                <a:gd name="connsiteY10" fmla="*/ 238980 h 407201"/>
                <a:gd name="connsiteX11" fmla="*/ 152858 w 326174"/>
                <a:gd name="connsiteY11" fmla="*/ 327542 h 407201"/>
                <a:gd name="connsiteX12" fmla="*/ 227933 w 326174"/>
                <a:gd name="connsiteY12" fmla="*/ 327354 h 407201"/>
                <a:gd name="connsiteX13" fmla="*/ 243163 w 326174"/>
                <a:gd name="connsiteY13" fmla="*/ 308800 h 407201"/>
                <a:gd name="connsiteX14" fmla="*/ 243243 w 326174"/>
                <a:gd name="connsiteY14" fmla="*/ 282685 h 407201"/>
                <a:gd name="connsiteX15" fmla="*/ 326174 w 326174"/>
                <a:gd name="connsiteY15" fmla="*/ 282685 h 407201"/>
                <a:gd name="connsiteX16" fmla="*/ 326174 w 326174"/>
                <a:gd name="connsiteY16" fmla="*/ 407202 h 407201"/>
                <a:gd name="connsiteX17" fmla="*/ 0 w 326174"/>
                <a:gd name="connsiteY17" fmla="*/ 407202 h 407201"/>
                <a:gd name="connsiteX18" fmla="*/ 0 w 326174"/>
                <a:gd name="connsiteY18" fmla="*/ 341216 h 407201"/>
                <a:gd name="connsiteX19" fmla="*/ 17991 w 326174"/>
                <a:gd name="connsiteY19" fmla="*/ 341163 h 407201"/>
                <a:gd name="connsiteX20" fmla="*/ 37001 w 326174"/>
                <a:gd name="connsiteY20" fmla="*/ 321831 h 407201"/>
                <a:gd name="connsiteX21" fmla="*/ 37109 w 326174"/>
                <a:gd name="connsiteY21" fmla="*/ 198493 h 407201"/>
                <a:gd name="connsiteX22" fmla="*/ 37109 w 326174"/>
                <a:gd name="connsiteY22" fmla="*/ 92584 h 407201"/>
                <a:gd name="connsiteX23" fmla="*/ 10216 w 326174"/>
                <a:gd name="connsiteY23" fmla="*/ 64860 h 407201"/>
                <a:gd name="connsiteX24" fmla="*/ 27 w 326174"/>
                <a:gd name="connsiteY24" fmla="*/ 64404 h 407201"/>
                <a:gd name="connsiteX25" fmla="*/ 27 w 326174"/>
                <a:gd name="connsiteY25" fmla="*/ 0 h 407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26174" h="407201">
                  <a:moveTo>
                    <a:pt x="27" y="0"/>
                  </a:moveTo>
                  <a:lnTo>
                    <a:pt x="319981" y="0"/>
                  </a:lnTo>
                  <a:lnTo>
                    <a:pt x="319981" y="119879"/>
                  </a:lnTo>
                  <a:lnTo>
                    <a:pt x="235628" y="119879"/>
                  </a:lnTo>
                  <a:cubicBezTo>
                    <a:pt x="235628" y="112479"/>
                    <a:pt x="235333" y="105427"/>
                    <a:pt x="235682" y="98429"/>
                  </a:cubicBezTo>
                  <a:cubicBezTo>
                    <a:pt x="236272" y="86283"/>
                    <a:pt x="230185" y="79311"/>
                    <a:pt x="218656" y="78936"/>
                  </a:cubicBezTo>
                  <a:cubicBezTo>
                    <a:pt x="196911" y="78239"/>
                    <a:pt x="175139" y="78722"/>
                    <a:pt x="152670" y="78722"/>
                  </a:cubicBezTo>
                  <a:lnTo>
                    <a:pt x="152670" y="156210"/>
                  </a:lnTo>
                  <a:lnTo>
                    <a:pt x="271638" y="156210"/>
                  </a:lnTo>
                  <a:lnTo>
                    <a:pt x="271638" y="238980"/>
                  </a:lnTo>
                  <a:lnTo>
                    <a:pt x="152858" y="238980"/>
                  </a:lnTo>
                  <a:lnTo>
                    <a:pt x="152858" y="327542"/>
                  </a:lnTo>
                  <a:cubicBezTo>
                    <a:pt x="178196" y="327542"/>
                    <a:pt x="203078" y="327944"/>
                    <a:pt x="227933" y="327354"/>
                  </a:cubicBezTo>
                  <a:cubicBezTo>
                    <a:pt x="239007" y="327086"/>
                    <a:pt x="242680" y="318560"/>
                    <a:pt x="243163" y="308800"/>
                  </a:cubicBezTo>
                  <a:cubicBezTo>
                    <a:pt x="243565" y="300408"/>
                    <a:pt x="243243" y="291962"/>
                    <a:pt x="243243" y="282685"/>
                  </a:cubicBezTo>
                  <a:lnTo>
                    <a:pt x="326174" y="282685"/>
                  </a:lnTo>
                  <a:lnTo>
                    <a:pt x="326174" y="407202"/>
                  </a:lnTo>
                  <a:lnTo>
                    <a:pt x="0" y="407202"/>
                  </a:lnTo>
                  <a:lnTo>
                    <a:pt x="0" y="341216"/>
                  </a:lnTo>
                  <a:cubicBezTo>
                    <a:pt x="5872" y="341216"/>
                    <a:pt x="11932" y="341431"/>
                    <a:pt x="17991" y="341163"/>
                  </a:cubicBezTo>
                  <a:cubicBezTo>
                    <a:pt x="33301" y="340519"/>
                    <a:pt x="36948" y="337007"/>
                    <a:pt x="37001" y="321831"/>
                  </a:cubicBezTo>
                  <a:cubicBezTo>
                    <a:pt x="37162" y="280727"/>
                    <a:pt x="37082" y="239624"/>
                    <a:pt x="37109" y="198493"/>
                  </a:cubicBezTo>
                  <a:cubicBezTo>
                    <a:pt x="37109" y="163181"/>
                    <a:pt x="37109" y="127896"/>
                    <a:pt x="37109" y="92584"/>
                  </a:cubicBezTo>
                  <a:cubicBezTo>
                    <a:pt x="37109" y="69015"/>
                    <a:pt x="33650" y="65503"/>
                    <a:pt x="10216" y="64860"/>
                  </a:cubicBezTo>
                  <a:cubicBezTo>
                    <a:pt x="7132" y="64779"/>
                    <a:pt x="4049" y="64591"/>
                    <a:pt x="27" y="64404"/>
                  </a:cubicBezTo>
                  <a:lnTo>
                    <a:pt x="27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1F2C4993-A822-3404-8349-1F9C21F2795E}"/>
                </a:ext>
              </a:extLst>
            </p:cNvPr>
            <p:cNvSpPr/>
            <p:nvPr/>
          </p:nvSpPr>
          <p:spPr>
            <a:xfrm>
              <a:off x="7025754" y="2994021"/>
              <a:ext cx="298816" cy="435066"/>
            </a:xfrm>
            <a:custGeom>
              <a:avLst/>
              <a:gdLst>
                <a:gd name="connsiteX0" fmla="*/ 248 w 298816"/>
                <a:gd name="connsiteY0" fmla="*/ 286088 h 435066"/>
                <a:gd name="connsiteX1" fmla="*/ 91304 w 298816"/>
                <a:gd name="connsiteY1" fmla="*/ 286088 h 435066"/>
                <a:gd name="connsiteX2" fmla="*/ 91357 w 298816"/>
                <a:gd name="connsiteY2" fmla="*/ 318049 h 435066"/>
                <a:gd name="connsiteX3" fmla="*/ 163242 w 298816"/>
                <a:gd name="connsiteY3" fmla="*/ 359742 h 435066"/>
                <a:gd name="connsiteX4" fmla="*/ 170159 w 298816"/>
                <a:gd name="connsiteY4" fmla="*/ 288662 h 435066"/>
                <a:gd name="connsiteX5" fmla="*/ 124551 w 298816"/>
                <a:gd name="connsiteY5" fmla="*/ 258418 h 435066"/>
                <a:gd name="connsiteX6" fmla="*/ 55455 w 298816"/>
                <a:gd name="connsiteY6" fmla="*/ 215089 h 435066"/>
                <a:gd name="connsiteX7" fmla="*/ 543 w 298816"/>
                <a:gd name="connsiteY7" fmla="*/ 124221 h 435066"/>
                <a:gd name="connsiteX8" fmla="*/ 99240 w 298816"/>
                <a:gd name="connsiteY8" fmla="*/ 4074 h 435066"/>
                <a:gd name="connsiteX9" fmla="*/ 267891 w 298816"/>
                <a:gd name="connsiteY9" fmla="*/ 20430 h 435066"/>
                <a:gd name="connsiteX10" fmla="*/ 278509 w 298816"/>
                <a:gd name="connsiteY10" fmla="*/ 31021 h 435066"/>
                <a:gd name="connsiteX11" fmla="*/ 278991 w 298816"/>
                <a:gd name="connsiteY11" fmla="*/ 136501 h 435066"/>
                <a:gd name="connsiteX12" fmla="*/ 191153 w 298816"/>
                <a:gd name="connsiteY12" fmla="*/ 136501 h 435066"/>
                <a:gd name="connsiteX13" fmla="*/ 191019 w 298816"/>
                <a:gd name="connsiteY13" fmla="*/ 100706 h 435066"/>
                <a:gd name="connsiteX14" fmla="*/ 161928 w 298816"/>
                <a:gd name="connsiteY14" fmla="*/ 65796 h 435066"/>
                <a:gd name="connsiteX15" fmla="*/ 113933 w 298816"/>
                <a:gd name="connsiteY15" fmla="*/ 83493 h 435066"/>
                <a:gd name="connsiteX16" fmla="*/ 122165 w 298816"/>
                <a:gd name="connsiteY16" fmla="*/ 131648 h 435066"/>
                <a:gd name="connsiteX17" fmla="*/ 172438 w 298816"/>
                <a:gd name="connsiteY17" fmla="*/ 164386 h 435066"/>
                <a:gd name="connsiteX18" fmla="*/ 246360 w 298816"/>
                <a:gd name="connsiteY18" fmla="*/ 207447 h 435066"/>
                <a:gd name="connsiteX19" fmla="*/ 294945 w 298816"/>
                <a:gd name="connsiteY19" fmla="*/ 337836 h 435066"/>
                <a:gd name="connsiteX20" fmla="*/ 194746 w 298816"/>
                <a:gd name="connsiteY20" fmla="*/ 430259 h 435066"/>
                <a:gd name="connsiteX21" fmla="*/ 12448 w 298816"/>
                <a:gd name="connsiteY21" fmla="*/ 415432 h 435066"/>
                <a:gd name="connsiteX22" fmla="*/ 7 w 298816"/>
                <a:gd name="connsiteY22" fmla="*/ 398915 h 435066"/>
                <a:gd name="connsiteX23" fmla="*/ 275 w 298816"/>
                <a:gd name="connsiteY23" fmla="*/ 286088 h 4350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98816" h="435066">
                  <a:moveTo>
                    <a:pt x="248" y="286088"/>
                  </a:moveTo>
                  <a:lnTo>
                    <a:pt x="91304" y="286088"/>
                  </a:lnTo>
                  <a:cubicBezTo>
                    <a:pt x="91304" y="296921"/>
                    <a:pt x="90982" y="307485"/>
                    <a:pt x="91357" y="318049"/>
                  </a:cubicBezTo>
                  <a:cubicBezTo>
                    <a:pt x="92725" y="356283"/>
                    <a:pt x="129351" y="377439"/>
                    <a:pt x="163242" y="359742"/>
                  </a:cubicBezTo>
                  <a:cubicBezTo>
                    <a:pt x="188070" y="346765"/>
                    <a:pt x="192682" y="307994"/>
                    <a:pt x="170159" y="288662"/>
                  </a:cubicBezTo>
                  <a:cubicBezTo>
                    <a:pt x="156431" y="276865"/>
                    <a:pt x="139995" y="268151"/>
                    <a:pt x="124551" y="258418"/>
                  </a:cubicBezTo>
                  <a:cubicBezTo>
                    <a:pt x="101546" y="243912"/>
                    <a:pt x="77388" y="231015"/>
                    <a:pt x="55455" y="215089"/>
                  </a:cubicBezTo>
                  <a:cubicBezTo>
                    <a:pt x="24808" y="192834"/>
                    <a:pt x="2903" y="163823"/>
                    <a:pt x="543" y="124221"/>
                  </a:cubicBezTo>
                  <a:cubicBezTo>
                    <a:pt x="-3103" y="63142"/>
                    <a:pt x="37437" y="13405"/>
                    <a:pt x="99240" y="4074"/>
                  </a:cubicBezTo>
                  <a:cubicBezTo>
                    <a:pt x="156646" y="-4613"/>
                    <a:pt x="213140" y="481"/>
                    <a:pt x="267891" y="20430"/>
                  </a:cubicBezTo>
                  <a:cubicBezTo>
                    <a:pt x="272288" y="22038"/>
                    <a:pt x="278428" y="27321"/>
                    <a:pt x="278509" y="31021"/>
                  </a:cubicBezTo>
                  <a:cubicBezTo>
                    <a:pt x="279313" y="65823"/>
                    <a:pt x="278991" y="100653"/>
                    <a:pt x="278991" y="136501"/>
                  </a:cubicBezTo>
                  <a:lnTo>
                    <a:pt x="191153" y="136501"/>
                  </a:lnTo>
                  <a:cubicBezTo>
                    <a:pt x="191153" y="124543"/>
                    <a:pt x="191797" y="112584"/>
                    <a:pt x="191019" y="100706"/>
                  </a:cubicBezTo>
                  <a:cubicBezTo>
                    <a:pt x="189679" y="80677"/>
                    <a:pt x="179678" y="69202"/>
                    <a:pt x="161928" y="65796"/>
                  </a:cubicBezTo>
                  <a:cubicBezTo>
                    <a:pt x="140317" y="61641"/>
                    <a:pt x="122138" y="68370"/>
                    <a:pt x="113933" y="83493"/>
                  </a:cubicBezTo>
                  <a:cubicBezTo>
                    <a:pt x="104281" y="101323"/>
                    <a:pt x="105809" y="118349"/>
                    <a:pt x="122165" y="131648"/>
                  </a:cubicBezTo>
                  <a:cubicBezTo>
                    <a:pt x="137582" y="144196"/>
                    <a:pt x="155251" y="154117"/>
                    <a:pt x="172438" y="164386"/>
                  </a:cubicBezTo>
                  <a:cubicBezTo>
                    <a:pt x="196918" y="179026"/>
                    <a:pt x="222765" y="191547"/>
                    <a:pt x="246360" y="207447"/>
                  </a:cubicBezTo>
                  <a:cubicBezTo>
                    <a:pt x="290601" y="237236"/>
                    <a:pt x="307091" y="283863"/>
                    <a:pt x="294945" y="337836"/>
                  </a:cubicBezTo>
                  <a:cubicBezTo>
                    <a:pt x="284300" y="385161"/>
                    <a:pt x="244081" y="422081"/>
                    <a:pt x="194746" y="430259"/>
                  </a:cubicBezTo>
                  <a:cubicBezTo>
                    <a:pt x="132702" y="440555"/>
                    <a:pt x="72186" y="433718"/>
                    <a:pt x="12448" y="415432"/>
                  </a:cubicBezTo>
                  <a:cubicBezTo>
                    <a:pt x="3439" y="412670"/>
                    <a:pt x="-181" y="408970"/>
                    <a:pt x="7" y="398915"/>
                  </a:cubicBezTo>
                  <a:cubicBezTo>
                    <a:pt x="704" y="361834"/>
                    <a:pt x="275" y="324752"/>
                    <a:pt x="275" y="286088"/>
                  </a:cubicBezTo>
                  <a:close/>
                </a:path>
              </a:pathLst>
            </a:custGeom>
            <a:grpFill/>
            <a:ln w="254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49" name="Picture 25">
            <a:extLst>
              <a:ext uri="{FF2B5EF4-FFF2-40B4-BE49-F238E27FC236}">
                <a16:creationId xmlns:a16="http://schemas.microsoft.com/office/drawing/2014/main" id="{87093342-1423-4B98-E44C-7D9DC1794C86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604" y="114299"/>
            <a:ext cx="976163" cy="874396"/>
          </a:xfrm>
          <a:prstGeom prst="rect">
            <a:avLst/>
          </a:prstGeom>
        </p:spPr>
      </p:pic>
      <p:pic>
        <p:nvPicPr>
          <p:cNvPr id="50" name="Bild 11" descr="Limagrain_Logo.png">
            <a:extLst>
              <a:ext uri="{FF2B5EF4-FFF2-40B4-BE49-F238E27FC236}">
                <a16:creationId xmlns:a16="http://schemas.microsoft.com/office/drawing/2014/main" id="{75861942-45D2-72EE-CC4D-017A2AC40F01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75323" y="4834378"/>
            <a:ext cx="969994" cy="241040"/>
          </a:xfrm>
          <a:prstGeom prst="rect">
            <a:avLst/>
          </a:prstGeom>
        </p:spPr>
      </p:pic>
      <p:pic>
        <p:nvPicPr>
          <p:cNvPr id="51" name="Picture 50">
            <a:extLst>
              <a:ext uri="{FF2B5EF4-FFF2-40B4-BE49-F238E27FC236}">
                <a16:creationId xmlns:a16="http://schemas.microsoft.com/office/drawing/2014/main" id="{3012465E-92AF-C52F-2455-EA34CD07C5A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6885" y="4751073"/>
            <a:ext cx="1803400" cy="279400"/>
          </a:xfrm>
          <a:prstGeom prst="rect">
            <a:avLst/>
          </a:prstGeom>
        </p:spPr>
      </p:pic>
      <p:sp>
        <p:nvSpPr>
          <p:cNvPr id="52" name="TextBox 51">
            <a:extLst>
              <a:ext uri="{FF2B5EF4-FFF2-40B4-BE49-F238E27FC236}">
                <a16:creationId xmlns:a16="http://schemas.microsoft.com/office/drawing/2014/main" id="{8FD844D4-7DAE-A3AD-DB3C-4C77B3DED932}"/>
              </a:ext>
            </a:extLst>
          </p:cNvPr>
          <p:cNvSpPr txBox="1"/>
          <p:nvPr/>
        </p:nvSpPr>
        <p:spPr>
          <a:xfrm>
            <a:off x="3927163" y="4926132"/>
            <a:ext cx="0" cy="0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rmAutofit fontScale="25000" lnSpcReduction="20000"/>
          </a:bodyPr>
          <a:lstStyle/>
          <a:p>
            <a:endParaRPr lang="en-US" dirty="0">
              <a:solidFill>
                <a:srgbClr val="77777A"/>
              </a:solidFill>
            </a:endParaRP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E19AEFFA-9386-E12E-3352-336F741C7986}"/>
              </a:ext>
            </a:extLst>
          </p:cNvPr>
          <p:cNvSpPr txBox="1"/>
          <p:nvPr/>
        </p:nvSpPr>
        <p:spPr>
          <a:xfrm>
            <a:off x="869704" y="1638167"/>
            <a:ext cx="4668020" cy="2170354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normAutofit/>
          </a:bodyPr>
          <a:lstStyle/>
          <a:p>
            <a:r>
              <a:rPr lang="es-ES" sz="9000" dirty="0">
                <a:solidFill>
                  <a:schemeClr val="bg1"/>
                </a:solidFill>
                <a:latin typeface="Amasis MT Pro Black" panose="02040A04050005020304" pitchFamily="18" charset="0"/>
                <a:cs typeface="LilyUPC" panose="020B0502040204020203" pitchFamily="34" charset="-34"/>
              </a:rPr>
              <a:t>COLZA</a:t>
            </a:r>
          </a:p>
        </p:txBody>
      </p:sp>
    </p:spTree>
    <p:extLst>
      <p:ext uri="{BB962C8B-B14F-4D97-AF65-F5344CB8AC3E}">
        <p14:creationId xmlns:p14="http://schemas.microsoft.com/office/powerpoint/2010/main" val="417596285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ieren 1">
            <a:extLst>
              <a:ext uri="{FF2B5EF4-FFF2-40B4-BE49-F238E27FC236}">
                <a16:creationId xmlns:a16="http://schemas.microsoft.com/office/drawing/2014/main" id="{3EB3DE1A-CE82-F691-F7D0-FC7967172B3D}"/>
              </a:ext>
            </a:extLst>
          </p:cNvPr>
          <p:cNvGrpSpPr>
            <a:grpSpLocks noChangeAspect="1"/>
          </p:cNvGrpSpPr>
          <p:nvPr/>
        </p:nvGrpSpPr>
        <p:grpSpPr>
          <a:xfrm>
            <a:off x="5312148" y="46885"/>
            <a:ext cx="3734124" cy="3718601"/>
            <a:chOff x="2398226" y="628018"/>
            <a:chExt cx="3960129" cy="3943667"/>
          </a:xfrm>
        </p:grpSpPr>
        <p:sp>
          <p:nvSpPr>
            <p:cNvPr id="20" name="Shape 2013">
              <a:extLst>
                <a:ext uri="{FF2B5EF4-FFF2-40B4-BE49-F238E27FC236}">
                  <a16:creationId xmlns:a16="http://schemas.microsoft.com/office/drawing/2014/main" id="{6C49B766-367C-94EC-9AAA-0D48D46A4DF7}"/>
                </a:ext>
              </a:extLst>
            </p:cNvPr>
            <p:cNvSpPr/>
            <p:nvPr/>
          </p:nvSpPr>
          <p:spPr>
            <a:xfrm>
              <a:off x="4786457" y="2412829"/>
              <a:ext cx="218769" cy="109955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50769" y="2222"/>
                  </a:moveTo>
                  <a:cubicBezTo>
                    <a:pt x="55384" y="8888"/>
                    <a:pt x="55384" y="8888"/>
                    <a:pt x="55384" y="8888"/>
                  </a:cubicBezTo>
                  <a:cubicBezTo>
                    <a:pt x="58846" y="11111"/>
                    <a:pt x="58846" y="11111"/>
                    <a:pt x="58846" y="11111"/>
                  </a:cubicBezTo>
                  <a:cubicBezTo>
                    <a:pt x="65769" y="17777"/>
                    <a:pt x="65769" y="17777"/>
                    <a:pt x="65769" y="17777"/>
                  </a:cubicBezTo>
                  <a:cubicBezTo>
                    <a:pt x="79615" y="20000"/>
                    <a:pt x="79615" y="20000"/>
                    <a:pt x="79615" y="20000"/>
                  </a:cubicBezTo>
                  <a:cubicBezTo>
                    <a:pt x="81923" y="15555"/>
                    <a:pt x="81923" y="15555"/>
                    <a:pt x="81923" y="15555"/>
                  </a:cubicBezTo>
                  <a:cubicBezTo>
                    <a:pt x="86538" y="13333"/>
                    <a:pt x="86538" y="13333"/>
                    <a:pt x="86538" y="13333"/>
                  </a:cubicBezTo>
                  <a:cubicBezTo>
                    <a:pt x="94615" y="8888"/>
                    <a:pt x="94615" y="8888"/>
                    <a:pt x="94615" y="8888"/>
                  </a:cubicBezTo>
                  <a:cubicBezTo>
                    <a:pt x="98076" y="17777"/>
                    <a:pt x="98076" y="17777"/>
                    <a:pt x="98076" y="17777"/>
                  </a:cubicBezTo>
                  <a:cubicBezTo>
                    <a:pt x="100384" y="17777"/>
                    <a:pt x="100384" y="17777"/>
                    <a:pt x="100384" y="17777"/>
                  </a:cubicBezTo>
                  <a:cubicBezTo>
                    <a:pt x="100384" y="17777"/>
                    <a:pt x="102692" y="22222"/>
                    <a:pt x="105000" y="26666"/>
                  </a:cubicBezTo>
                  <a:cubicBezTo>
                    <a:pt x="106153" y="31111"/>
                    <a:pt x="108461" y="33333"/>
                    <a:pt x="108461" y="33333"/>
                  </a:cubicBezTo>
                  <a:cubicBezTo>
                    <a:pt x="106153" y="48888"/>
                    <a:pt x="106153" y="48888"/>
                    <a:pt x="106153" y="48888"/>
                  </a:cubicBezTo>
                  <a:cubicBezTo>
                    <a:pt x="106153" y="55555"/>
                    <a:pt x="106153" y="55555"/>
                    <a:pt x="106153" y="55555"/>
                  </a:cubicBezTo>
                  <a:cubicBezTo>
                    <a:pt x="106153" y="77777"/>
                    <a:pt x="106153" y="77777"/>
                    <a:pt x="106153" y="77777"/>
                  </a:cubicBezTo>
                  <a:cubicBezTo>
                    <a:pt x="109615" y="86666"/>
                    <a:pt x="109615" y="86666"/>
                    <a:pt x="109615" y="86666"/>
                  </a:cubicBezTo>
                  <a:cubicBezTo>
                    <a:pt x="109615" y="88888"/>
                    <a:pt x="109615" y="88888"/>
                    <a:pt x="109615" y="88888"/>
                  </a:cubicBezTo>
                  <a:cubicBezTo>
                    <a:pt x="114230" y="86666"/>
                    <a:pt x="114230" y="86666"/>
                    <a:pt x="114230" y="86666"/>
                  </a:cubicBezTo>
                  <a:cubicBezTo>
                    <a:pt x="114230" y="86666"/>
                    <a:pt x="115384" y="86666"/>
                    <a:pt x="115384" y="84444"/>
                  </a:cubicBezTo>
                  <a:cubicBezTo>
                    <a:pt x="115384" y="86666"/>
                    <a:pt x="114230" y="86666"/>
                    <a:pt x="114230" y="86666"/>
                  </a:cubicBezTo>
                  <a:cubicBezTo>
                    <a:pt x="103846" y="91111"/>
                    <a:pt x="103846" y="91111"/>
                    <a:pt x="103846" y="91111"/>
                  </a:cubicBezTo>
                  <a:cubicBezTo>
                    <a:pt x="94615" y="102222"/>
                    <a:pt x="94615" y="102222"/>
                    <a:pt x="94615" y="102222"/>
                  </a:cubicBezTo>
                  <a:cubicBezTo>
                    <a:pt x="94615" y="102222"/>
                    <a:pt x="72692" y="106666"/>
                    <a:pt x="70384" y="106666"/>
                  </a:cubicBezTo>
                  <a:cubicBezTo>
                    <a:pt x="69230" y="106666"/>
                    <a:pt x="55384" y="108888"/>
                    <a:pt x="53076" y="108888"/>
                  </a:cubicBezTo>
                  <a:cubicBezTo>
                    <a:pt x="51923" y="111111"/>
                    <a:pt x="45000" y="113333"/>
                    <a:pt x="42692" y="113333"/>
                  </a:cubicBezTo>
                  <a:cubicBezTo>
                    <a:pt x="40384" y="113333"/>
                    <a:pt x="30000" y="115555"/>
                    <a:pt x="27692" y="115555"/>
                  </a:cubicBezTo>
                  <a:cubicBezTo>
                    <a:pt x="25384" y="115555"/>
                    <a:pt x="19615" y="115555"/>
                    <a:pt x="19615" y="115555"/>
                  </a:cubicBezTo>
                  <a:cubicBezTo>
                    <a:pt x="19615" y="115555"/>
                    <a:pt x="8076" y="117777"/>
                    <a:pt x="4615" y="117777"/>
                  </a:cubicBezTo>
                  <a:cubicBezTo>
                    <a:pt x="1153" y="120000"/>
                    <a:pt x="5769" y="108888"/>
                    <a:pt x="5769" y="108888"/>
                  </a:cubicBezTo>
                  <a:cubicBezTo>
                    <a:pt x="5769" y="108888"/>
                    <a:pt x="19615" y="86666"/>
                    <a:pt x="15000" y="88888"/>
                  </a:cubicBezTo>
                  <a:cubicBezTo>
                    <a:pt x="9230" y="84444"/>
                    <a:pt x="9230" y="84444"/>
                    <a:pt x="9230" y="84444"/>
                  </a:cubicBezTo>
                  <a:cubicBezTo>
                    <a:pt x="4615" y="77777"/>
                    <a:pt x="4615" y="77777"/>
                    <a:pt x="4615" y="77777"/>
                  </a:cubicBezTo>
                  <a:cubicBezTo>
                    <a:pt x="0" y="57777"/>
                    <a:pt x="5769" y="48888"/>
                    <a:pt x="10384" y="48888"/>
                  </a:cubicBezTo>
                  <a:cubicBezTo>
                    <a:pt x="13846" y="48888"/>
                    <a:pt x="23076" y="55555"/>
                    <a:pt x="28846" y="55555"/>
                  </a:cubicBezTo>
                  <a:cubicBezTo>
                    <a:pt x="49615" y="55555"/>
                    <a:pt x="45000" y="42222"/>
                    <a:pt x="43846" y="17777"/>
                  </a:cubicBezTo>
                  <a:cubicBezTo>
                    <a:pt x="43846" y="11111"/>
                    <a:pt x="45000" y="4444"/>
                    <a:pt x="46153" y="2222"/>
                  </a:cubicBezTo>
                  <a:cubicBezTo>
                    <a:pt x="47307" y="0"/>
                    <a:pt x="49615" y="4444"/>
                    <a:pt x="50769" y="2222"/>
                  </a:cubicBezTo>
                  <a:close/>
                  <a:moveTo>
                    <a:pt x="117692" y="82222"/>
                  </a:moveTo>
                  <a:cubicBezTo>
                    <a:pt x="117692" y="82222"/>
                    <a:pt x="117692" y="82222"/>
                    <a:pt x="117692" y="82222"/>
                  </a:cubicBezTo>
                  <a:cubicBezTo>
                    <a:pt x="117692" y="82222"/>
                    <a:pt x="117692" y="82222"/>
                    <a:pt x="117692" y="82222"/>
                  </a:cubicBezTo>
                  <a:cubicBezTo>
                    <a:pt x="117692" y="84444"/>
                    <a:pt x="117692" y="84444"/>
                    <a:pt x="117692" y="84444"/>
                  </a:cubicBezTo>
                  <a:cubicBezTo>
                    <a:pt x="117692" y="82222"/>
                    <a:pt x="117692" y="82222"/>
                    <a:pt x="117692" y="82222"/>
                  </a:cubicBezTo>
                  <a:cubicBezTo>
                    <a:pt x="117692" y="82222"/>
                    <a:pt x="117692" y="82222"/>
                    <a:pt x="117692" y="82222"/>
                  </a:cubicBezTo>
                  <a:close/>
                  <a:moveTo>
                    <a:pt x="117692" y="84444"/>
                  </a:moveTo>
                  <a:cubicBezTo>
                    <a:pt x="117692" y="84444"/>
                    <a:pt x="117692" y="84444"/>
                    <a:pt x="117692" y="84444"/>
                  </a:cubicBezTo>
                  <a:cubicBezTo>
                    <a:pt x="118846" y="86666"/>
                    <a:pt x="120000" y="91111"/>
                    <a:pt x="120000" y="93333"/>
                  </a:cubicBezTo>
                  <a:cubicBezTo>
                    <a:pt x="120000" y="93333"/>
                    <a:pt x="120000" y="93333"/>
                    <a:pt x="120000" y="93333"/>
                  </a:cubicBezTo>
                  <a:cubicBezTo>
                    <a:pt x="120000" y="91111"/>
                    <a:pt x="118846" y="86666"/>
                    <a:pt x="117692" y="8444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 cmpd="sng">
              <a:solidFill>
                <a:schemeClr val="tx1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defTabSz="457200"/>
              <a:endParaRPr kern="0">
                <a:solidFill>
                  <a:srgbClr val="7F7F7F"/>
                </a:solidFill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22" name="Shape 2014">
              <a:extLst>
                <a:ext uri="{FF2B5EF4-FFF2-40B4-BE49-F238E27FC236}">
                  <a16:creationId xmlns:a16="http://schemas.microsoft.com/office/drawing/2014/main" id="{D1971F3D-2C2A-157B-8AD1-2F9D5E2D25BB}"/>
                </a:ext>
              </a:extLst>
            </p:cNvPr>
            <p:cNvSpPr/>
            <p:nvPr/>
          </p:nvSpPr>
          <p:spPr>
            <a:xfrm>
              <a:off x="5009278" y="3720512"/>
              <a:ext cx="157999" cy="159043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3600" y="73846"/>
                  </a:moveTo>
                  <a:cubicBezTo>
                    <a:pt x="112000" y="75384"/>
                    <a:pt x="112000" y="75384"/>
                    <a:pt x="112000" y="75384"/>
                  </a:cubicBezTo>
                  <a:cubicBezTo>
                    <a:pt x="105600" y="78461"/>
                    <a:pt x="97600" y="75384"/>
                    <a:pt x="96000" y="86153"/>
                  </a:cubicBezTo>
                  <a:cubicBezTo>
                    <a:pt x="96000" y="104615"/>
                    <a:pt x="89600" y="86153"/>
                    <a:pt x="83200" y="86153"/>
                  </a:cubicBezTo>
                  <a:cubicBezTo>
                    <a:pt x="78400" y="86153"/>
                    <a:pt x="78400" y="89230"/>
                    <a:pt x="75200" y="92307"/>
                  </a:cubicBezTo>
                  <a:cubicBezTo>
                    <a:pt x="70400" y="95384"/>
                    <a:pt x="65600" y="96923"/>
                    <a:pt x="64000" y="100000"/>
                  </a:cubicBezTo>
                  <a:cubicBezTo>
                    <a:pt x="64000" y="103076"/>
                    <a:pt x="62400" y="106153"/>
                    <a:pt x="62400" y="109230"/>
                  </a:cubicBezTo>
                  <a:cubicBezTo>
                    <a:pt x="64000" y="113846"/>
                    <a:pt x="64000" y="118461"/>
                    <a:pt x="60800" y="118461"/>
                  </a:cubicBezTo>
                  <a:cubicBezTo>
                    <a:pt x="59200" y="118461"/>
                    <a:pt x="54400" y="120000"/>
                    <a:pt x="51200" y="118461"/>
                  </a:cubicBezTo>
                  <a:cubicBezTo>
                    <a:pt x="51200" y="116923"/>
                    <a:pt x="51200" y="116923"/>
                    <a:pt x="51200" y="116923"/>
                  </a:cubicBezTo>
                  <a:cubicBezTo>
                    <a:pt x="52800" y="112307"/>
                    <a:pt x="52800" y="112307"/>
                    <a:pt x="52800" y="112307"/>
                  </a:cubicBezTo>
                  <a:cubicBezTo>
                    <a:pt x="49600" y="107692"/>
                    <a:pt x="49600" y="107692"/>
                    <a:pt x="49600" y="107692"/>
                  </a:cubicBezTo>
                  <a:cubicBezTo>
                    <a:pt x="49600" y="107692"/>
                    <a:pt x="49600" y="107692"/>
                    <a:pt x="49600" y="106153"/>
                  </a:cubicBezTo>
                  <a:cubicBezTo>
                    <a:pt x="48000" y="104615"/>
                    <a:pt x="48000" y="101538"/>
                    <a:pt x="48000" y="101538"/>
                  </a:cubicBezTo>
                  <a:cubicBezTo>
                    <a:pt x="46400" y="96923"/>
                    <a:pt x="46400" y="96923"/>
                    <a:pt x="46400" y="96923"/>
                  </a:cubicBezTo>
                  <a:cubicBezTo>
                    <a:pt x="46400" y="96923"/>
                    <a:pt x="43200" y="93846"/>
                    <a:pt x="41600" y="92307"/>
                  </a:cubicBezTo>
                  <a:cubicBezTo>
                    <a:pt x="41600" y="92307"/>
                    <a:pt x="41600" y="90769"/>
                    <a:pt x="38400" y="89230"/>
                  </a:cubicBezTo>
                  <a:cubicBezTo>
                    <a:pt x="36800" y="89230"/>
                    <a:pt x="33600" y="87692"/>
                    <a:pt x="33600" y="87692"/>
                  </a:cubicBezTo>
                  <a:cubicBezTo>
                    <a:pt x="32000" y="87692"/>
                    <a:pt x="32000" y="87692"/>
                    <a:pt x="32000" y="87692"/>
                  </a:cubicBezTo>
                  <a:cubicBezTo>
                    <a:pt x="32000" y="87692"/>
                    <a:pt x="30400" y="87692"/>
                    <a:pt x="30400" y="87692"/>
                  </a:cubicBezTo>
                  <a:cubicBezTo>
                    <a:pt x="27200" y="84615"/>
                    <a:pt x="27200" y="84615"/>
                    <a:pt x="27200" y="84615"/>
                  </a:cubicBezTo>
                  <a:cubicBezTo>
                    <a:pt x="24000" y="84615"/>
                    <a:pt x="24000" y="84615"/>
                    <a:pt x="24000" y="84615"/>
                  </a:cubicBezTo>
                  <a:cubicBezTo>
                    <a:pt x="22400" y="80000"/>
                    <a:pt x="22400" y="80000"/>
                    <a:pt x="22400" y="80000"/>
                  </a:cubicBezTo>
                  <a:cubicBezTo>
                    <a:pt x="20800" y="75384"/>
                    <a:pt x="20800" y="75384"/>
                    <a:pt x="20800" y="75384"/>
                  </a:cubicBezTo>
                  <a:cubicBezTo>
                    <a:pt x="17600" y="72307"/>
                    <a:pt x="17600" y="72307"/>
                    <a:pt x="17600" y="72307"/>
                  </a:cubicBezTo>
                  <a:cubicBezTo>
                    <a:pt x="14400" y="70769"/>
                    <a:pt x="14400" y="70769"/>
                    <a:pt x="14400" y="70769"/>
                  </a:cubicBezTo>
                  <a:cubicBezTo>
                    <a:pt x="12800" y="69230"/>
                    <a:pt x="12800" y="69230"/>
                    <a:pt x="12800" y="69230"/>
                  </a:cubicBezTo>
                  <a:cubicBezTo>
                    <a:pt x="9600" y="67692"/>
                    <a:pt x="9600" y="67692"/>
                    <a:pt x="9600" y="67692"/>
                  </a:cubicBezTo>
                  <a:cubicBezTo>
                    <a:pt x="8000" y="64615"/>
                    <a:pt x="11200" y="61538"/>
                    <a:pt x="9600" y="58461"/>
                  </a:cubicBezTo>
                  <a:cubicBezTo>
                    <a:pt x="6400" y="55384"/>
                    <a:pt x="0" y="52307"/>
                    <a:pt x="1600" y="52307"/>
                  </a:cubicBezTo>
                  <a:cubicBezTo>
                    <a:pt x="3200" y="49230"/>
                    <a:pt x="9600" y="50769"/>
                    <a:pt x="12800" y="49230"/>
                  </a:cubicBezTo>
                  <a:cubicBezTo>
                    <a:pt x="14400" y="49230"/>
                    <a:pt x="14400" y="46153"/>
                    <a:pt x="16000" y="44615"/>
                  </a:cubicBezTo>
                  <a:cubicBezTo>
                    <a:pt x="17600" y="44615"/>
                    <a:pt x="20800" y="46153"/>
                    <a:pt x="20800" y="43076"/>
                  </a:cubicBezTo>
                  <a:cubicBezTo>
                    <a:pt x="20800" y="40000"/>
                    <a:pt x="24000" y="40000"/>
                    <a:pt x="25600" y="41538"/>
                  </a:cubicBezTo>
                  <a:cubicBezTo>
                    <a:pt x="25600" y="41538"/>
                    <a:pt x="27200" y="41538"/>
                    <a:pt x="30400" y="38461"/>
                  </a:cubicBezTo>
                  <a:cubicBezTo>
                    <a:pt x="35200" y="36923"/>
                    <a:pt x="32000" y="36923"/>
                    <a:pt x="32000" y="36923"/>
                  </a:cubicBezTo>
                  <a:cubicBezTo>
                    <a:pt x="30400" y="32307"/>
                    <a:pt x="30400" y="32307"/>
                    <a:pt x="30400" y="32307"/>
                  </a:cubicBezTo>
                  <a:cubicBezTo>
                    <a:pt x="40000" y="23076"/>
                    <a:pt x="40000" y="23076"/>
                    <a:pt x="40000" y="23076"/>
                  </a:cubicBezTo>
                  <a:cubicBezTo>
                    <a:pt x="41600" y="15384"/>
                    <a:pt x="41600" y="15384"/>
                    <a:pt x="41600" y="15384"/>
                  </a:cubicBezTo>
                  <a:cubicBezTo>
                    <a:pt x="41600" y="15384"/>
                    <a:pt x="40000" y="13846"/>
                    <a:pt x="38400" y="12307"/>
                  </a:cubicBezTo>
                  <a:cubicBezTo>
                    <a:pt x="35200" y="9230"/>
                    <a:pt x="36800" y="9230"/>
                    <a:pt x="36800" y="7692"/>
                  </a:cubicBezTo>
                  <a:cubicBezTo>
                    <a:pt x="38400" y="6153"/>
                    <a:pt x="40000" y="6153"/>
                    <a:pt x="40000" y="6153"/>
                  </a:cubicBezTo>
                  <a:cubicBezTo>
                    <a:pt x="41600" y="4615"/>
                    <a:pt x="44800" y="4615"/>
                    <a:pt x="48000" y="1538"/>
                  </a:cubicBezTo>
                  <a:cubicBezTo>
                    <a:pt x="51200" y="0"/>
                    <a:pt x="51200" y="3076"/>
                    <a:pt x="51200" y="3076"/>
                  </a:cubicBezTo>
                  <a:cubicBezTo>
                    <a:pt x="51200" y="3076"/>
                    <a:pt x="52800" y="7692"/>
                    <a:pt x="57600" y="9230"/>
                  </a:cubicBezTo>
                  <a:cubicBezTo>
                    <a:pt x="60800" y="10769"/>
                    <a:pt x="62400" y="10769"/>
                    <a:pt x="62400" y="10769"/>
                  </a:cubicBezTo>
                  <a:cubicBezTo>
                    <a:pt x="67200" y="10769"/>
                    <a:pt x="67200" y="10769"/>
                    <a:pt x="67200" y="10769"/>
                  </a:cubicBezTo>
                  <a:cubicBezTo>
                    <a:pt x="75200" y="16923"/>
                    <a:pt x="75200" y="16923"/>
                    <a:pt x="75200" y="16923"/>
                  </a:cubicBezTo>
                  <a:cubicBezTo>
                    <a:pt x="75200" y="16923"/>
                    <a:pt x="75200" y="16923"/>
                    <a:pt x="76800" y="18461"/>
                  </a:cubicBezTo>
                  <a:cubicBezTo>
                    <a:pt x="78400" y="20000"/>
                    <a:pt x="80000" y="26153"/>
                    <a:pt x="80000" y="26153"/>
                  </a:cubicBezTo>
                  <a:cubicBezTo>
                    <a:pt x="92800" y="29230"/>
                    <a:pt x="92800" y="29230"/>
                    <a:pt x="92800" y="29230"/>
                  </a:cubicBezTo>
                  <a:cubicBezTo>
                    <a:pt x="94400" y="35384"/>
                    <a:pt x="94400" y="35384"/>
                    <a:pt x="94400" y="35384"/>
                  </a:cubicBezTo>
                  <a:cubicBezTo>
                    <a:pt x="94400" y="35384"/>
                    <a:pt x="100800" y="35384"/>
                    <a:pt x="104000" y="36923"/>
                  </a:cubicBezTo>
                  <a:cubicBezTo>
                    <a:pt x="107200" y="36923"/>
                    <a:pt x="107200" y="40000"/>
                    <a:pt x="107200" y="40000"/>
                  </a:cubicBezTo>
                  <a:cubicBezTo>
                    <a:pt x="112000" y="38461"/>
                    <a:pt x="112000" y="38461"/>
                    <a:pt x="112000" y="38461"/>
                  </a:cubicBezTo>
                  <a:cubicBezTo>
                    <a:pt x="120000" y="40000"/>
                    <a:pt x="120000" y="40000"/>
                    <a:pt x="120000" y="40000"/>
                  </a:cubicBezTo>
                  <a:cubicBezTo>
                    <a:pt x="120000" y="40000"/>
                    <a:pt x="120000" y="41538"/>
                    <a:pt x="118400" y="43076"/>
                  </a:cubicBezTo>
                  <a:cubicBezTo>
                    <a:pt x="116800" y="43076"/>
                    <a:pt x="116800" y="46153"/>
                    <a:pt x="116800" y="47692"/>
                  </a:cubicBezTo>
                  <a:cubicBezTo>
                    <a:pt x="116800" y="50769"/>
                    <a:pt x="116800" y="52307"/>
                    <a:pt x="116800" y="53846"/>
                  </a:cubicBezTo>
                  <a:cubicBezTo>
                    <a:pt x="115200" y="56923"/>
                    <a:pt x="113600" y="55384"/>
                    <a:pt x="112000" y="56923"/>
                  </a:cubicBezTo>
                  <a:cubicBezTo>
                    <a:pt x="110400" y="56923"/>
                    <a:pt x="112000" y="60000"/>
                    <a:pt x="113600" y="63076"/>
                  </a:cubicBezTo>
                  <a:cubicBezTo>
                    <a:pt x="113600" y="64615"/>
                    <a:pt x="113600" y="64615"/>
                    <a:pt x="112000" y="66153"/>
                  </a:cubicBezTo>
                  <a:cubicBezTo>
                    <a:pt x="108800" y="69230"/>
                    <a:pt x="107200" y="69230"/>
                    <a:pt x="107200" y="69230"/>
                  </a:cubicBezTo>
                  <a:cubicBezTo>
                    <a:pt x="112000" y="73846"/>
                    <a:pt x="112000" y="73846"/>
                    <a:pt x="112000" y="73846"/>
                  </a:cubicBezTo>
                  <a:cubicBezTo>
                    <a:pt x="112000" y="73846"/>
                    <a:pt x="112000" y="73846"/>
                    <a:pt x="113600" y="7384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 cmpd="sng">
              <a:solidFill>
                <a:schemeClr val="tx1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defTabSz="457200"/>
              <a:endParaRPr kern="0">
                <a:solidFill>
                  <a:srgbClr val="7F7F7F"/>
                </a:solidFill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23" name="Shape 2015">
              <a:extLst>
                <a:ext uri="{FF2B5EF4-FFF2-40B4-BE49-F238E27FC236}">
                  <a16:creationId xmlns:a16="http://schemas.microsoft.com/office/drawing/2014/main" id="{D31BC469-EFB2-365A-D35C-3D276C196EC5}"/>
                </a:ext>
              </a:extLst>
            </p:cNvPr>
            <p:cNvSpPr/>
            <p:nvPr/>
          </p:nvSpPr>
          <p:spPr>
            <a:xfrm>
              <a:off x="4961675" y="3801997"/>
              <a:ext cx="178256" cy="32593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69176" y="118500"/>
                  </a:moveTo>
                  <a:cubicBezTo>
                    <a:pt x="73411" y="120000"/>
                    <a:pt x="73411" y="120000"/>
                    <a:pt x="73411" y="120000"/>
                  </a:cubicBezTo>
                  <a:cubicBezTo>
                    <a:pt x="77647" y="119250"/>
                    <a:pt x="77647" y="119250"/>
                    <a:pt x="77647" y="119250"/>
                  </a:cubicBezTo>
                  <a:cubicBezTo>
                    <a:pt x="80470" y="118500"/>
                    <a:pt x="80470" y="118500"/>
                    <a:pt x="80470" y="118500"/>
                  </a:cubicBezTo>
                  <a:cubicBezTo>
                    <a:pt x="80470" y="118500"/>
                    <a:pt x="83294" y="117000"/>
                    <a:pt x="83294" y="117000"/>
                  </a:cubicBezTo>
                  <a:cubicBezTo>
                    <a:pt x="83294" y="117000"/>
                    <a:pt x="83294" y="115500"/>
                    <a:pt x="83294" y="115500"/>
                  </a:cubicBezTo>
                  <a:cubicBezTo>
                    <a:pt x="81882" y="114750"/>
                    <a:pt x="81882" y="114750"/>
                    <a:pt x="81882" y="114750"/>
                  </a:cubicBezTo>
                  <a:cubicBezTo>
                    <a:pt x="81882" y="114750"/>
                    <a:pt x="80470" y="113250"/>
                    <a:pt x="81882" y="113250"/>
                  </a:cubicBezTo>
                  <a:cubicBezTo>
                    <a:pt x="83294" y="113250"/>
                    <a:pt x="84705" y="112500"/>
                    <a:pt x="84705" y="113250"/>
                  </a:cubicBezTo>
                  <a:cubicBezTo>
                    <a:pt x="86117" y="113250"/>
                    <a:pt x="84705" y="113250"/>
                    <a:pt x="86117" y="113250"/>
                  </a:cubicBezTo>
                  <a:cubicBezTo>
                    <a:pt x="87529" y="113250"/>
                    <a:pt x="88941" y="112500"/>
                    <a:pt x="88941" y="112500"/>
                  </a:cubicBezTo>
                  <a:cubicBezTo>
                    <a:pt x="88941" y="111750"/>
                    <a:pt x="88941" y="111750"/>
                    <a:pt x="88941" y="111750"/>
                  </a:cubicBezTo>
                  <a:cubicBezTo>
                    <a:pt x="88941" y="111750"/>
                    <a:pt x="88941" y="111750"/>
                    <a:pt x="88941" y="111750"/>
                  </a:cubicBezTo>
                  <a:cubicBezTo>
                    <a:pt x="87529" y="111000"/>
                    <a:pt x="83294" y="109500"/>
                    <a:pt x="81882" y="109500"/>
                  </a:cubicBezTo>
                  <a:cubicBezTo>
                    <a:pt x="81882" y="108750"/>
                    <a:pt x="80470" y="108000"/>
                    <a:pt x="80470" y="108000"/>
                  </a:cubicBezTo>
                  <a:cubicBezTo>
                    <a:pt x="80470" y="107250"/>
                    <a:pt x="81882" y="106500"/>
                    <a:pt x="81882" y="106500"/>
                  </a:cubicBezTo>
                  <a:cubicBezTo>
                    <a:pt x="80470" y="105750"/>
                    <a:pt x="80470" y="105750"/>
                    <a:pt x="80470" y="105750"/>
                  </a:cubicBezTo>
                  <a:cubicBezTo>
                    <a:pt x="80470" y="105750"/>
                    <a:pt x="81882" y="105000"/>
                    <a:pt x="83294" y="105000"/>
                  </a:cubicBezTo>
                  <a:cubicBezTo>
                    <a:pt x="83294" y="105000"/>
                    <a:pt x="84705" y="105000"/>
                    <a:pt x="84705" y="105000"/>
                  </a:cubicBezTo>
                  <a:cubicBezTo>
                    <a:pt x="86117" y="102750"/>
                    <a:pt x="86117" y="102750"/>
                    <a:pt x="86117" y="102750"/>
                  </a:cubicBezTo>
                  <a:cubicBezTo>
                    <a:pt x="86117" y="102750"/>
                    <a:pt x="86117" y="102000"/>
                    <a:pt x="87529" y="102000"/>
                  </a:cubicBezTo>
                  <a:cubicBezTo>
                    <a:pt x="87529" y="102000"/>
                    <a:pt x="88941" y="102000"/>
                    <a:pt x="88941" y="102000"/>
                  </a:cubicBezTo>
                  <a:cubicBezTo>
                    <a:pt x="98823" y="99000"/>
                    <a:pt x="98823" y="99000"/>
                    <a:pt x="98823" y="99000"/>
                  </a:cubicBezTo>
                  <a:cubicBezTo>
                    <a:pt x="105882" y="93000"/>
                    <a:pt x="105882" y="93000"/>
                    <a:pt x="105882" y="93000"/>
                  </a:cubicBezTo>
                  <a:cubicBezTo>
                    <a:pt x="108705" y="86250"/>
                    <a:pt x="108705" y="86250"/>
                    <a:pt x="108705" y="86250"/>
                  </a:cubicBezTo>
                  <a:cubicBezTo>
                    <a:pt x="112941" y="80250"/>
                    <a:pt x="112941" y="80250"/>
                    <a:pt x="112941" y="80250"/>
                  </a:cubicBezTo>
                  <a:cubicBezTo>
                    <a:pt x="112941" y="80250"/>
                    <a:pt x="118588" y="77250"/>
                    <a:pt x="118588" y="78000"/>
                  </a:cubicBezTo>
                  <a:cubicBezTo>
                    <a:pt x="120000" y="78750"/>
                    <a:pt x="118588" y="72000"/>
                    <a:pt x="118588" y="72000"/>
                  </a:cubicBezTo>
                  <a:cubicBezTo>
                    <a:pt x="114352" y="69750"/>
                    <a:pt x="114352" y="69750"/>
                    <a:pt x="114352" y="69750"/>
                  </a:cubicBezTo>
                  <a:cubicBezTo>
                    <a:pt x="114352" y="68250"/>
                    <a:pt x="114352" y="68250"/>
                    <a:pt x="114352" y="68250"/>
                  </a:cubicBezTo>
                  <a:cubicBezTo>
                    <a:pt x="114352" y="68250"/>
                    <a:pt x="112941" y="68250"/>
                    <a:pt x="112941" y="68250"/>
                  </a:cubicBezTo>
                  <a:cubicBezTo>
                    <a:pt x="112941" y="68250"/>
                    <a:pt x="112941" y="68250"/>
                    <a:pt x="111529" y="68250"/>
                  </a:cubicBezTo>
                  <a:cubicBezTo>
                    <a:pt x="111529" y="67500"/>
                    <a:pt x="111529" y="67500"/>
                    <a:pt x="111529" y="67500"/>
                  </a:cubicBezTo>
                  <a:cubicBezTo>
                    <a:pt x="108705" y="66000"/>
                    <a:pt x="108705" y="66000"/>
                    <a:pt x="108705" y="66000"/>
                  </a:cubicBezTo>
                  <a:cubicBezTo>
                    <a:pt x="108705" y="66000"/>
                    <a:pt x="107294" y="66750"/>
                    <a:pt x="105882" y="66750"/>
                  </a:cubicBezTo>
                  <a:cubicBezTo>
                    <a:pt x="104470" y="66750"/>
                    <a:pt x="104470" y="66000"/>
                    <a:pt x="103058" y="66000"/>
                  </a:cubicBezTo>
                  <a:cubicBezTo>
                    <a:pt x="103058" y="66000"/>
                    <a:pt x="103058" y="66000"/>
                    <a:pt x="103058" y="66000"/>
                  </a:cubicBezTo>
                  <a:cubicBezTo>
                    <a:pt x="103058" y="66000"/>
                    <a:pt x="101647" y="66000"/>
                    <a:pt x="100235" y="66000"/>
                  </a:cubicBezTo>
                  <a:cubicBezTo>
                    <a:pt x="98823" y="66000"/>
                    <a:pt x="97411" y="67500"/>
                    <a:pt x="96000" y="67500"/>
                  </a:cubicBezTo>
                  <a:cubicBezTo>
                    <a:pt x="96000" y="67500"/>
                    <a:pt x="96000" y="67500"/>
                    <a:pt x="96000" y="67500"/>
                  </a:cubicBezTo>
                  <a:cubicBezTo>
                    <a:pt x="96000" y="67500"/>
                    <a:pt x="96000" y="67500"/>
                    <a:pt x="96000" y="67500"/>
                  </a:cubicBezTo>
                  <a:cubicBezTo>
                    <a:pt x="96000" y="67500"/>
                    <a:pt x="96000" y="67500"/>
                    <a:pt x="96000" y="67500"/>
                  </a:cubicBezTo>
                  <a:cubicBezTo>
                    <a:pt x="96000" y="67500"/>
                    <a:pt x="96000" y="67500"/>
                    <a:pt x="96000" y="67500"/>
                  </a:cubicBezTo>
                  <a:cubicBezTo>
                    <a:pt x="96000" y="67500"/>
                    <a:pt x="96000" y="67500"/>
                    <a:pt x="96000" y="67500"/>
                  </a:cubicBezTo>
                  <a:cubicBezTo>
                    <a:pt x="96000" y="67500"/>
                    <a:pt x="96000" y="67500"/>
                    <a:pt x="96000" y="67500"/>
                  </a:cubicBezTo>
                  <a:cubicBezTo>
                    <a:pt x="96000" y="67500"/>
                    <a:pt x="96000" y="67500"/>
                    <a:pt x="96000" y="67500"/>
                  </a:cubicBezTo>
                  <a:cubicBezTo>
                    <a:pt x="96000" y="67500"/>
                    <a:pt x="96000" y="67500"/>
                    <a:pt x="96000" y="67500"/>
                  </a:cubicBezTo>
                  <a:cubicBezTo>
                    <a:pt x="96000" y="67500"/>
                    <a:pt x="96000" y="67500"/>
                    <a:pt x="96000" y="67500"/>
                  </a:cubicBezTo>
                  <a:cubicBezTo>
                    <a:pt x="96000" y="66750"/>
                    <a:pt x="96000" y="66750"/>
                    <a:pt x="96000" y="66750"/>
                  </a:cubicBezTo>
                  <a:cubicBezTo>
                    <a:pt x="96000" y="66000"/>
                    <a:pt x="96000" y="66000"/>
                    <a:pt x="94588" y="65250"/>
                  </a:cubicBezTo>
                  <a:cubicBezTo>
                    <a:pt x="94588" y="64500"/>
                    <a:pt x="94588" y="63000"/>
                    <a:pt x="93176" y="62250"/>
                  </a:cubicBezTo>
                  <a:cubicBezTo>
                    <a:pt x="91764" y="61500"/>
                    <a:pt x="91764" y="60750"/>
                    <a:pt x="91764" y="60750"/>
                  </a:cubicBezTo>
                  <a:cubicBezTo>
                    <a:pt x="91764" y="60750"/>
                    <a:pt x="88941" y="60750"/>
                    <a:pt x="87529" y="60750"/>
                  </a:cubicBezTo>
                  <a:cubicBezTo>
                    <a:pt x="87529" y="60750"/>
                    <a:pt x="86117" y="60750"/>
                    <a:pt x="86117" y="60750"/>
                  </a:cubicBezTo>
                  <a:cubicBezTo>
                    <a:pt x="86117" y="60750"/>
                    <a:pt x="84705" y="59250"/>
                    <a:pt x="86117" y="59250"/>
                  </a:cubicBezTo>
                  <a:cubicBezTo>
                    <a:pt x="86117" y="58500"/>
                    <a:pt x="84705" y="57750"/>
                    <a:pt x="83294" y="57000"/>
                  </a:cubicBezTo>
                  <a:cubicBezTo>
                    <a:pt x="83294" y="57000"/>
                    <a:pt x="80470" y="54750"/>
                    <a:pt x="80470" y="54750"/>
                  </a:cubicBezTo>
                  <a:cubicBezTo>
                    <a:pt x="80470" y="54750"/>
                    <a:pt x="79058" y="54750"/>
                    <a:pt x="79058" y="54000"/>
                  </a:cubicBezTo>
                  <a:cubicBezTo>
                    <a:pt x="79058" y="53250"/>
                    <a:pt x="79058" y="52500"/>
                    <a:pt x="79058" y="52500"/>
                  </a:cubicBezTo>
                  <a:cubicBezTo>
                    <a:pt x="77647" y="51000"/>
                    <a:pt x="77647" y="51000"/>
                    <a:pt x="77647" y="51000"/>
                  </a:cubicBezTo>
                  <a:cubicBezTo>
                    <a:pt x="77647" y="51000"/>
                    <a:pt x="80470" y="50250"/>
                    <a:pt x="80470" y="49500"/>
                  </a:cubicBezTo>
                  <a:cubicBezTo>
                    <a:pt x="80470" y="49500"/>
                    <a:pt x="81882" y="48750"/>
                    <a:pt x="80470" y="48000"/>
                  </a:cubicBezTo>
                  <a:cubicBezTo>
                    <a:pt x="80470" y="47250"/>
                    <a:pt x="77647" y="46500"/>
                    <a:pt x="77647" y="46500"/>
                  </a:cubicBezTo>
                  <a:cubicBezTo>
                    <a:pt x="76235" y="45750"/>
                    <a:pt x="74823" y="45000"/>
                    <a:pt x="73411" y="44250"/>
                  </a:cubicBezTo>
                  <a:cubicBezTo>
                    <a:pt x="73411" y="43500"/>
                    <a:pt x="73411" y="42750"/>
                    <a:pt x="73411" y="42750"/>
                  </a:cubicBezTo>
                  <a:cubicBezTo>
                    <a:pt x="73411" y="42750"/>
                    <a:pt x="73411" y="42000"/>
                    <a:pt x="74823" y="42000"/>
                  </a:cubicBezTo>
                  <a:cubicBezTo>
                    <a:pt x="76235" y="41250"/>
                    <a:pt x="77647" y="41250"/>
                    <a:pt x="77647" y="40500"/>
                  </a:cubicBezTo>
                  <a:cubicBezTo>
                    <a:pt x="77647" y="40500"/>
                    <a:pt x="79058" y="40500"/>
                    <a:pt x="79058" y="39750"/>
                  </a:cubicBezTo>
                  <a:cubicBezTo>
                    <a:pt x="77647" y="39000"/>
                    <a:pt x="76235" y="38250"/>
                    <a:pt x="76235" y="38250"/>
                  </a:cubicBezTo>
                  <a:cubicBezTo>
                    <a:pt x="77647" y="36000"/>
                    <a:pt x="77647" y="36000"/>
                    <a:pt x="77647" y="36000"/>
                  </a:cubicBezTo>
                  <a:cubicBezTo>
                    <a:pt x="76235" y="35250"/>
                    <a:pt x="76235" y="35250"/>
                    <a:pt x="76235" y="35250"/>
                  </a:cubicBezTo>
                  <a:cubicBezTo>
                    <a:pt x="76235" y="32250"/>
                    <a:pt x="76235" y="32250"/>
                    <a:pt x="76235" y="32250"/>
                  </a:cubicBezTo>
                  <a:cubicBezTo>
                    <a:pt x="76235" y="31500"/>
                    <a:pt x="76235" y="31500"/>
                    <a:pt x="76235" y="31500"/>
                  </a:cubicBezTo>
                  <a:cubicBezTo>
                    <a:pt x="76235" y="31500"/>
                    <a:pt x="77647" y="30000"/>
                    <a:pt x="77647" y="30000"/>
                  </a:cubicBezTo>
                  <a:cubicBezTo>
                    <a:pt x="77647" y="29250"/>
                    <a:pt x="77647" y="27750"/>
                    <a:pt x="77647" y="27750"/>
                  </a:cubicBezTo>
                  <a:cubicBezTo>
                    <a:pt x="77647" y="27000"/>
                    <a:pt x="77647" y="27000"/>
                    <a:pt x="77647" y="27000"/>
                  </a:cubicBezTo>
                  <a:cubicBezTo>
                    <a:pt x="79058" y="24750"/>
                    <a:pt x="79058" y="24750"/>
                    <a:pt x="79058" y="24750"/>
                  </a:cubicBezTo>
                  <a:cubicBezTo>
                    <a:pt x="76235" y="22500"/>
                    <a:pt x="76235" y="22500"/>
                    <a:pt x="76235" y="22500"/>
                  </a:cubicBezTo>
                  <a:cubicBezTo>
                    <a:pt x="76235" y="22500"/>
                    <a:pt x="76235" y="22500"/>
                    <a:pt x="76235" y="21750"/>
                  </a:cubicBezTo>
                  <a:cubicBezTo>
                    <a:pt x="74823" y="21000"/>
                    <a:pt x="74823" y="19500"/>
                    <a:pt x="74823" y="19500"/>
                  </a:cubicBezTo>
                  <a:cubicBezTo>
                    <a:pt x="73411" y="17250"/>
                    <a:pt x="73411" y="17250"/>
                    <a:pt x="73411" y="17250"/>
                  </a:cubicBezTo>
                  <a:cubicBezTo>
                    <a:pt x="73411" y="17250"/>
                    <a:pt x="70588" y="15750"/>
                    <a:pt x="69176" y="15000"/>
                  </a:cubicBezTo>
                  <a:cubicBezTo>
                    <a:pt x="69176" y="15000"/>
                    <a:pt x="69176" y="14250"/>
                    <a:pt x="66352" y="13500"/>
                  </a:cubicBezTo>
                  <a:cubicBezTo>
                    <a:pt x="64941" y="13500"/>
                    <a:pt x="62117" y="12750"/>
                    <a:pt x="62117" y="12750"/>
                  </a:cubicBezTo>
                  <a:cubicBezTo>
                    <a:pt x="59294" y="12750"/>
                    <a:pt x="59294" y="12750"/>
                    <a:pt x="59294" y="12750"/>
                  </a:cubicBezTo>
                  <a:cubicBezTo>
                    <a:pt x="56470" y="11250"/>
                    <a:pt x="56470" y="11250"/>
                    <a:pt x="56470" y="11250"/>
                  </a:cubicBezTo>
                  <a:cubicBezTo>
                    <a:pt x="53647" y="11250"/>
                    <a:pt x="53647" y="11250"/>
                    <a:pt x="53647" y="11250"/>
                  </a:cubicBezTo>
                  <a:cubicBezTo>
                    <a:pt x="52235" y="9000"/>
                    <a:pt x="52235" y="9000"/>
                    <a:pt x="52235" y="9000"/>
                  </a:cubicBezTo>
                  <a:cubicBezTo>
                    <a:pt x="50823" y="6750"/>
                    <a:pt x="50823" y="6750"/>
                    <a:pt x="50823" y="6750"/>
                  </a:cubicBezTo>
                  <a:cubicBezTo>
                    <a:pt x="48000" y="5250"/>
                    <a:pt x="48000" y="5250"/>
                    <a:pt x="48000" y="5250"/>
                  </a:cubicBezTo>
                  <a:cubicBezTo>
                    <a:pt x="45176" y="4500"/>
                    <a:pt x="45176" y="4500"/>
                    <a:pt x="45176" y="4500"/>
                  </a:cubicBezTo>
                  <a:cubicBezTo>
                    <a:pt x="43764" y="3750"/>
                    <a:pt x="43764" y="3750"/>
                    <a:pt x="43764" y="3750"/>
                  </a:cubicBezTo>
                  <a:cubicBezTo>
                    <a:pt x="40941" y="3000"/>
                    <a:pt x="40941" y="3000"/>
                    <a:pt x="40941" y="3000"/>
                  </a:cubicBezTo>
                  <a:cubicBezTo>
                    <a:pt x="39529" y="3000"/>
                    <a:pt x="39529" y="3000"/>
                    <a:pt x="39529" y="3000"/>
                  </a:cubicBezTo>
                  <a:cubicBezTo>
                    <a:pt x="39529" y="3000"/>
                    <a:pt x="38117" y="4500"/>
                    <a:pt x="38117" y="4500"/>
                  </a:cubicBezTo>
                  <a:cubicBezTo>
                    <a:pt x="38117" y="4500"/>
                    <a:pt x="33882" y="5250"/>
                    <a:pt x="33882" y="5250"/>
                  </a:cubicBezTo>
                  <a:cubicBezTo>
                    <a:pt x="31058" y="6750"/>
                    <a:pt x="31058" y="6750"/>
                    <a:pt x="31058" y="6750"/>
                  </a:cubicBezTo>
                  <a:cubicBezTo>
                    <a:pt x="28235" y="7500"/>
                    <a:pt x="28235" y="7500"/>
                    <a:pt x="28235" y="7500"/>
                  </a:cubicBezTo>
                  <a:cubicBezTo>
                    <a:pt x="28235" y="7500"/>
                    <a:pt x="28235" y="7500"/>
                    <a:pt x="28235" y="6750"/>
                  </a:cubicBezTo>
                  <a:cubicBezTo>
                    <a:pt x="26823" y="6750"/>
                    <a:pt x="26823" y="6750"/>
                    <a:pt x="26823" y="6750"/>
                  </a:cubicBezTo>
                  <a:cubicBezTo>
                    <a:pt x="26823" y="6750"/>
                    <a:pt x="25411" y="6000"/>
                    <a:pt x="25411" y="5250"/>
                  </a:cubicBezTo>
                  <a:cubicBezTo>
                    <a:pt x="25411" y="5250"/>
                    <a:pt x="24000" y="4500"/>
                    <a:pt x="24000" y="4500"/>
                  </a:cubicBezTo>
                  <a:cubicBezTo>
                    <a:pt x="24000" y="4500"/>
                    <a:pt x="24000" y="3750"/>
                    <a:pt x="24000" y="3750"/>
                  </a:cubicBezTo>
                  <a:cubicBezTo>
                    <a:pt x="24000" y="3000"/>
                    <a:pt x="24000" y="2250"/>
                    <a:pt x="24000" y="2250"/>
                  </a:cubicBezTo>
                  <a:cubicBezTo>
                    <a:pt x="24000" y="1500"/>
                    <a:pt x="24000" y="1500"/>
                    <a:pt x="24000" y="1500"/>
                  </a:cubicBezTo>
                  <a:cubicBezTo>
                    <a:pt x="22588" y="750"/>
                    <a:pt x="22588" y="750"/>
                    <a:pt x="22588" y="750"/>
                  </a:cubicBezTo>
                  <a:cubicBezTo>
                    <a:pt x="22588" y="0"/>
                    <a:pt x="22588" y="0"/>
                    <a:pt x="22588" y="0"/>
                  </a:cubicBezTo>
                  <a:cubicBezTo>
                    <a:pt x="22588" y="0"/>
                    <a:pt x="19764" y="0"/>
                    <a:pt x="19764" y="0"/>
                  </a:cubicBezTo>
                  <a:cubicBezTo>
                    <a:pt x="19764" y="0"/>
                    <a:pt x="14117" y="3000"/>
                    <a:pt x="14117" y="3000"/>
                  </a:cubicBezTo>
                  <a:cubicBezTo>
                    <a:pt x="15529" y="3750"/>
                    <a:pt x="15529" y="3750"/>
                    <a:pt x="15529" y="3750"/>
                  </a:cubicBezTo>
                  <a:cubicBezTo>
                    <a:pt x="14117" y="5250"/>
                    <a:pt x="14117" y="5250"/>
                    <a:pt x="14117" y="5250"/>
                  </a:cubicBezTo>
                  <a:cubicBezTo>
                    <a:pt x="12705" y="6750"/>
                    <a:pt x="12705" y="6750"/>
                    <a:pt x="12705" y="6750"/>
                  </a:cubicBezTo>
                  <a:cubicBezTo>
                    <a:pt x="11294" y="8250"/>
                    <a:pt x="11294" y="8250"/>
                    <a:pt x="11294" y="8250"/>
                  </a:cubicBezTo>
                  <a:cubicBezTo>
                    <a:pt x="11294" y="8250"/>
                    <a:pt x="9882" y="9000"/>
                    <a:pt x="9882" y="9750"/>
                  </a:cubicBezTo>
                  <a:cubicBezTo>
                    <a:pt x="9882" y="9750"/>
                    <a:pt x="8470" y="10500"/>
                    <a:pt x="8470" y="10500"/>
                  </a:cubicBezTo>
                  <a:cubicBezTo>
                    <a:pt x="7058" y="11250"/>
                    <a:pt x="7058" y="11250"/>
                    <a:pt x="7058" y="11250"/>
                  </a:cubicBezTo>
                  <a:cubicBezTo>
                    <a:pt x="5647" y="12000"/>
                    <a:pt x="5647" y="12000"/>
                    <a:pt x="5647" y="12000"/>
                  </a:cubicBezTo>
                  <a:cubicBezTo>
                    <a:pt x="5647" y="13500"/>
                    <a:pt x="5647" y="13500"/>
                    <a:pt x="5647" y="13500"/>
                  </a:cubicBezTo>
                  <a:cubicBezTo>
                    <a:pt x="5647" y="13500"/>
                    <a:pt x="5647" y="14250"/>
                    <a:pt x="5647" y="15000"/>
                  </a:cubicBezTo>
                  <a:cubicBezTo>
                    <a:pt x="5647" y="15000"/>
                    <a:pt x="4235" y="15750"/>
                    <a:pt x="4235" y="15750"/>
                  </a:cubicBezTo>
                  <a:cubicBezTo>
                    <a:pt x="2823" y="17250"/>
                    <a:pt x="2823" y="17250"/>
                    <a:pt x="2823" y="17250"/>
                  </a:cubicBezTo>
                  <a:cubicBezTo>
                    <a:pt x="0" y="18750"/>
                    <a:pt x="0" y="18750"/>
                    <a:pt x="0" y="18750"/>
                  </a:cubicBezTo>
                  <a:cubicBezTo>
                    <a:pt x="0" y="20250"/>
                    <a:pt x="0" y="20250"/>
                    <a:pt x="0" y="20250"/>
                  </a:cubicBezTo>
                  <a:cubicBezTo>
                    <a:pt x="1411" y="21000"/>
                    <a:pt x="1411" y="21000"/>
                    <a:pt x="1411" y="21000"/>
                  </a:cubicBezTo>
                  <a:cubicBezTo>
                    <a:pt x="4235" y="21750"/>
                    <a:pt x="4235" y="21750"/>
                    <a:pt x="4235" y="21750"/>
                  </a:cubicBezTo>
                  <a:cubicBezTo>
                    <a:pt x="7058" y="22500"/>
                    <a:pt x="7058" y="22500"/>
                    <a:pt x="7058" y="22500"/>
                  </a:cubicBezTo>
                  <a:cubicBezTo>
                    <a:pt x="7058" y="22500"/>
                    <a:pt x="7058" y="23250"/>
                    <a:pt x="7058" y="24000"/>
                  </a:cubicBezTo>
                  <a:cubicBezTo>
                    <a:pt x="7058" y="24000"/>
                    <a:pt x="7058" y="24750"/>
                    <a:pt x="7058" y="24750"/>
                  </a:cubicBezTo>
                  <a:cubicBezTo>
                    <a:pt x="5647" y="26250"/>
                    <a:pt x="5647" y="26250"/>
                    <a:pt x="5647" y="26250"/>
                  </a:cubicBezTo>
                  <a:cubicBezTo>
                    <a:pt x="5647" y="26250"/>
                    <a:pt x="7058" y="27000"/>
                    <a:pt x="7058" y="27000"/>
                  </a:cubicBezTo>
                  <a:cubicBezTo>
                    <a:pt x="7058" y="27000"/>
                    <a:pt x="7058" y="27750"/>
                    <a:pt x="7058" y="27750"/>
                  </a:cubicBezTo>
                  <a:cubicBezTo>
                    <a:pt x="7058" y="27750"/>
                    <a:pt x="7058" y="29250"/>
                    <a:pt x="7058" y="29250"/>
                  </a:cubicBezTo>
                  <a:cubicBezTo>
                    <a:pt x="5647" y="30000"/>
                    <a:pt x="5647" y="30000"/>
                    <a:pt x="5647" y="30000"/>
                  </a:cubicBezTo>
                  <a:cubicBezTo>
                    <a:pt x="5647" y="30000"/>
                    <a:pt x="7058" y="30750"/>
                    <a:pt x="7058" y="31500"/>
                  </a:cubicBezTo>
                  <a:cubicBezTo>
                    <a:pt x="7058" y="31500"/>
                    <a:pt x="7058" y="32250"/>
                    <a:pt x="7058" y="32250"/>
                  </a:cubicBezTo>
                  <a:cubicBezTo>
                    <a:pt x="5647" y="32250"/>
                    <a:pt x="8470" y="33750"/>
                    <a:pt x="8470" y="33750"/>
                  </a:cubicBezTo>
                  <a:cubicBezTo>
                    <a:pt x="8470" y="33750"/>
                    <a:pt x="9882" y="33000"/>
                    <a:pt x="11294" y="33000"/>
                  </a:cubicBezTo>
                  <a:cubicBezTo>
                    <a:pt x="11294" y="33000"/>
                    <a:pt x="14117" y="33000"/>
                    <a:pt x="14117" y="33000"/>
                  </a:cubicBezTo>
                  <a:cubicBezTo>
                    <a:pt x="16941" y="33750"/>
                    <a:pt x="16941" y="33750"/>
                    <a:pt x="16941" y="33750"/>
                  </a:cubicBezTo>
                  <a:cubicBezTo>
                    <a:pt x="19764" y="33750"/>
                    <a:pt x="19764" y="33750"/>
                    <a:pt x="19764" y="33750"/>
                  </a:cubicBezTo>
                  <a:cubicBezTo>
                    <a:pt x="21176" y="35250"/>
                    <a:pt x="21176" y="35250"/>
                    <a:pt x="21176" y="35250"/>
                  </a:cubicBezTo>
                  <a:cubicBezTo>
                    <a:pt x="21176" y="36750"/>
                    <a:pt x="21176" y="36750"/>
                    <a:pt x="21176" y="36750"/>
                  </a:cubicBezTo>
                  <a:cubicBezTo>
                    <a:pt x="21176" y="39000"/>
                    <a:pt x="21176" y="39000"/>
                    <a:pt x="21176" y="39000"/>
                  </a:cubicBezTo>
                  <a:cubicBezTo>
                    <a:pt x="19764" y="40500"/>
                    <a:pt x="19764" y="40500"/>
                    <a:pt x="19764" y="40500"/>
                  </a:cubicBezTo>
                  <a:cubicBezTo>
                    <a:pt x="22588" y="41250"/>
                    <a:pt x="22588" y="41250"/>
                    <a:pt x="22588" y="41250"/>
                  </a:cubicBezTo>
                  <a:cubicBezTo>
                    <a:pt x="22588" y="41250"/>
                    <a:pt x="22588" y="41250"/>
                    <a:pt x="22588" y="41250"/>
                  </a:cubicBezTo>
                  <a:cubicBezTo>
                    <a:pt x="22588" y="41250"/>
                    <a:pt x="22588" y="42750"/>
                    <a:pt x="22588" y="43500"/>
                  </a:cubicBezTo>
                  <a:cubicBezTo>
                    <a:pt x="21176" y="43500"/>
                    <a:pt x="19764" y="43500"/>
                    <a:pt x="18352" y="44250"/>
                  </a:cubicBezTo>
                  <a:cubicBezTo>
                    <a:pt x="16941" y="44250"/>
                    <a:pt x="15529" y="44250"/>
                    <a:pt x="15529" y="44250"/>
                  </a:cubicBezTo>
                  <a:cubicBezTo>
                    <a:pt x="15529" y="45000"/>
                    <a:pt x="15529" y="45000"/>
                    <a:pt x="15529" y="45000"/>
                  </a:cubicBezTo>
                  <a:cubicBezTo>
                    <a:pt x="18352" y="45750"/>
                    <a:pt x="18352" y="45750"/>
                    <a:pt x="18352" y="45750"/>
                  </a:cubicBezTo>
                  <a:cubicBezTo>
                    <a:pt x="18352" y="45750"/>
                    <a:pt x="19764" y="45750"/>
                    <a:pt x="19764" y="45750"/>
                  </a:cubicBezTo>
                  <a:cubicBezTo>
                    <a:pt x="19764" y="46500"/>
                    <a:pt x="19764" y="48000"/>
                    <a:pt x="19764" y="48000"/>
                  </a:cubicBezTo>
                  <a:cubicBezTo>
                    <a:pt x="19764" y="48000"/>
                    <a:pt x="19764" y="48750"/>
                    <a:pt x="18352" y="48750"/>
                  </a:cubicBezTo>
                  <a:cubicBezTo>
                    <a:pt x="18352" y="48750"/>
                    <a:pt x="16941" y="49500"/>
                    <a:pt x="16941" y="49500"/>
                  </a:cubicBezTo>
                  <a:cubicBezTo>
                    <a:pt x="15529" y="50250"/>
                    <a:pt x="15529" y="50250"/>
                    <a:pt x="15529" y="50250"/>
                  </a:cubicBezTo>
                  <a:cubicBezTo>
                    <a:pt x="14117" y="51000"/>
                    <a:pt x="14117" y="51000"/>
                    <a:pt x="14117" y="51000"/>
                  </a:cubicBezTo>
                  <a:cubicBezTo>
                    <a:pt x="11294" y="51750"/>
                    <a:pt x="11294" y="51750"/>
                    <a:pt x="11294" y="51750"/>
                  </a:cubicBezTo>
                  <a:cubicBezTo>
                    <a:pt x="14117" y="53250"/>
                    <a:pt x="14117" y="53250"/>
                    <a:pt x="14117" y="53250"/>
                  </a:cubicBezTo>
                  <a:cubicBezTo>
                    <a:pt x="15529" y="53250"/>
                    <a:pt x="15529" y="53250"/>
                    <a:pt x="15529" y="53250"/>
                  </a:cubicBezTo>
                  <a:cubicBezTo>
                    <a:pt x="15529" y="53250"/>
                    <a:pt x="16941" y="54000"/>
                    <a:pt x="16941" y="54000"/>
                  </a:cubicBezTo>
                  <a:cubicBezTo>
                    <a:pt x="16941" y="54000"/>
                    <a:pt x="21176" y="55500"/>
                    <a:pt x="21176" y="55500"/>
                  </a:cubicBezTo>
                  <a:cubicBezTo>
                    <a:pt x="19764" y="56250"/>
                    <a:pt x="19764" y="56250"/>
                    <a:pt x="19764" y="56250"/>
                  </a:cubicBezTo>
                  <a:cubicBezTo>
                    <a:pt x="19764" y="56250"/>
                    <a:pt x="19764" y="57000"/>
                    <a:pt x="19764" y="57750"/>
                  </a:cubicBezTo>
                  <a:cubicBezTo>
                    <a:pt x="19764" y="58500"/>
                    <a:pt x="19764" y="60750"/>
                    <a:pt x="19764" y="60750"/>
                  </a:cubicBezTo>
                  <a:cubicBezTo>
                    <a:pt x="18352" y="61500"/>
                    <a:pt x="18352" y="61500"/>
                    <a:pt x="18352" y="61500"/>
                  </a:cubicBezTo>
                  <a:cubicBezTo>
                    <a:pt x="18352" y="62250"/>
                    <a:pt x="19764" y="64500"/>
                    <a:pt x="19764" y="64500"/>
                  </a:cubicBezTo>
                  <a:cubicBezTo>
                    <a:pt x="19764" y="65250"/>
                    <a:pt x="19764" y="65250"/>
                    <a:pt x="19764" y="65250"/>
                  </a:cubicBezTo>
                  <a:cubicBezTo>
                    <a:pt x="18352" y="66000"/>
                    <a:pt x="18352" y="66000"/>
                    <a:pt x="18352" y="66000"/>
                  </a:cubicBezTo>
                  <a:cubicBezTo>
                    <a:pt x="24000" y="67500"/>
                    <a:pt x="24000" y="67500"/>
                    <a:pt x="24000" y="67500"/>
                  </a:cubicBezTo>
                  <a:cubicBezTo>
                    <a:pt x="22588" y="69000"/>
                    <a:pt x="22588" y="69000"/>
                    <a:pt x="22588" y="69000"/>
                  </a:cubicBezTo>
                  <a:cubicBezTo>
                    <a:pt x="19764" y="69750"/>
                    <a:pt x="19764" y="69750"/>
                    <a:pt x="19764" y="69750"/>
                  </a:cubicBezTo>
                  <a:cubicBezTo>
                    <a:pt x="19764" y="69750"/>
                    <a:pt x="18352" y="69750"/>
                    <a:pt x="18352" y="69750"/>
                  </a:cubicBezTo>
                  <a:cubicBezTo>
                    <a:pt x="18352" y="70500"/>
                    <a:pt x="18352" y="71250"/>
                    <a:pt x="18352" y="71250"/>
                  </a:cubicBezTo>
                  <a:cubicBezTo>
                    <a:pt x="19764" y="72000"/>
                    <a:pt x="19764" y="72000"/>
                    <a:pt x="19764" y="72000"/>
                  </a:cubicBezTo>
                  <a:cubicBezTo>
                    <a:pt x="18352" y="72750"/>
                    <a:pt x="18352" y="72750"/>
                    <a:pt x="18352" y="72750"/>
                  </a:cubicBezTo>
                  <a:cubicBezTo>
                    <a:pt x="18352" y="72750"/>
                    <a:pt x="18352" y="72750"/>
                    <a:pt x="18352" y="72750"/>
                  </a:cubicBezTo>
                  <a:cubicBezTo>
                    <a:pt x="18352" y="72750"/>
                    <a:pt x="18352" y="74250"/>
                    <a:pt x="18352" y="74250"/>
                  </a:cubicBezTo>
                  <a:cubicBezTo>
                    <a:pt x="18352" y="74250"/>
                    <a:pt x="18352" y="75000"/>
                    <a:pt x="16941" y="75000"/>
                  </a:cubicBezTo>
                  <a:cubicBezTo>
                    <a:pt x="16941" y="75000"/>
                    <a:pt x="15529" y="75750"/>
                    <a:pt x="15529" y="75750"/>
                  </a:cubicBezTo>
                  <a:cubicBezTo>
                    <a:pt x="16941" y="77250"/>
                    <a:pt x="16941" y="77250"/>
                    <a:pt x="16941" y="77250"/>
                  </a:cubicBezTo>
                  <a:cubicBezTo>
                    <a:pt x="15529" y="80250"/>
                    <a:pt x="15529" y="80250"/>
                    <a:pt x="15529" y="80250"/>
                  </a:cubicBezTo>
                  <a:cubicBezTo>
                    <a:pt x="15529" y="81000"/>
                    <a:pt x="15529" y="81000"/>
                    <a:pt x="15529" y="81000"/>
                  </a:cubicBezTo>
                  <a:cubicBezTo>
                    <a:pt x="16941" y="83250"/>
                    <a:pt x="16941" y="83250"/>
                    <a:pt x="16941" y="83250"/>
                  </a:cubicBezTo>
                  <a:cubicBezTo>
                    <a:pt x="19764" y="85500"/>
                    <a:pt x="19764" y="85500"/>
                    <a:pt x="19764" y="85500"/>
                  </a:cubicBezTo>
                  <a:cubicBezTo>
                    <a:pt x="22588" y="87000"/>
                    <a:pt x="22588" y="87000"/>
                    <a:pt x="22588" y="87000"/>
                  </a:cubicBezTo>
                  <a:cubicBezTo>
                    <a:pt x="24000" y="88500"/>
                    <a:pt x="24000" y="88500"/>
                    <a:pt x="24000" y="88500"/>
                  </a:cubicBezTo>
                  <a:cubicBezTo>
                    <a:pt x="26823" y="89250"/>
                    <a:pt x="26823" y="89250"/>
                    <a:pt x="26823" y="89250"/>
                  </a:cubicBezTo>
                  <a:cubicBezTo>
                    <a:pt x="25411" y="91500"/>
                    <a:pt x="25411" y="91500"/>
                    <a:pt x="25411" y="91500"/>
                  </a:cubicBezTo>
                  <a:cubicBezTo>
                    <a:pt x="26823" y="92250"/>
                    <a:pt x="26823" y="92250"/>
                    <a:pt x="26823" y="92250"/>
                  </a:cubicBezTo>
                  <a:cubicBezTo>
                    <a:pt x="26823" y="93750"/>
                    <a:pt x="26823" y="93750"/>
                    <a:pt x="26823" y="93750"/>
                  </a:cubicBezTo>
                  <a:cubicBezTo>
                    <a:pt x="26823" y="93750"/>
                    <a:pt x="26823" y="93750"/>
                    <a:pt x="25411" y="94500"/>
                  </a:cubicBezTo>
                  <a:cubicBezTo>
                    <a:pt x="25411" y="94500"/>
                    <a:pt x="25411" y="94500"/>
                    <a:pt x="24000" y="93750"/>
                  </a:cubicBezTo>
                  <a:cubicBezTo>
                    <a:pt x="22588" y="93750"/>
                    <a:pt x="21176" y="92250"/>
                    <a:pt x="21176" y="92250"/>
                  </a:cubicBezTo>
                  <a:cubicBezTo>
                    <a:pt x="21176" y="92250"/>
                    <a:pt x="19764" y="90750"/>
                    <a:pt x="19764" y="90750"/>
                  </a:cubicBezTo>
                  <a:cubicBezTo>
                    <a:pt x="19764" y="90750"/>
                    <a:pt x="18352" y="90000"/>
                    <a:pt x="18352" y="90000"/>
                  </a:cubicBezTo>
                  <a:cubicBezTo>
                    <a:pt x="15529" y="90000"/>
                    <a:pt x="15529" y="90000"/>
                    <a:pt x="15529" y="90000"/>
                  </a:cubicBezTo>
                  <a:cubicBezTo>
                    <a:pt x="15529" y="90000"/>
                    <a:pt x="15529" y="90750"/>
                    <a:pt x="15529" y="90750"/>
                  </a:cubicBezTo>
                  <a:cubicBezTo>
                    <a:pt x="15529" y="91500"/>
                    <a:pt x="15529" y="91500"/>
                    <a:pt x="16941" y="92250"/>
                  </a:cubicBezTo>
                  <a:cubicBezTo>
                    <a:pt x="18352" y="93000"/>
                    <a:pt x="18352" y="93000"/>
                    <a:pt x="19764" y="93000"/>
                  </a:cubicBezTo>
                  <a:cubicBezTo>
                    <a:pt x="19764" y="93000"/>
                    <a:pt x="19764" y="93750"/>
                    <a:pt x="21176" y="93750"/>
                  </a:cubicBezTo>
                  <a:cubicBezTo>
                    <a:pt x="21176" y="94500"/>
                    <a:pt x="21176" y="96000"/>
                    <a:pt x="21176" y="96000"/>
                  </a:cubicBezTo>
                  <a:cubicBezTo>
                    <a:pt x="24000" y="97500"/>
                    <a:pt x="24000" y="97500"/>
                    <a:pt x="24000" y="97500"/>
                  </a:cubicBezTo>
                  <a:cubicBezTo>
                    <a:pt x="26823" y="98250"/>
                    <a:pt x="26823" y="98250"/>
                    <a:pt x="26823" y="98250"/>
                  </a:cubicBezTo>
                  <a:cubicBezTo>
                    <a:pt x="38117" y="101250"/>
                    <a:pt x="38117" y="101250"/>
                    <a:pt x="38117" y="101250"/>
                  </a:cubicBezTo>
                  <a:cubicBezTo>
                    <a:pt x="42352" y="102000"/>
                    <a:pt x="42352" y="102000"/>
                    <a:pt x="42352" y="102000"/>
                  </a:cubicBezTo>
                  <a:cubicBezTo>
                    <a:pt x="43764" y="102000"/>
                    <a:pt x="43764" y="102000"/>
                    <a:pt x="43764" y="102000"/>
                  </a:cubicBezTo>
                  <a:cubicBezTo>
                    <a:pt x="45176" y="103500"/>
                    <a:pt x="45176" y="103500"/>
                    <a:pt x="45176" y="103500"/>
                  </a:cubicBezTo>
                  <a:cubicBezTo>
                    <a:pt x="46588" y="104250"/>
                    <a:pt x="46588" y="104250"/>
                    <a:pt x="46588" y="104250"/>
                  </a:cubicBezTo>
                  <a:cubicBezTo>
                    <a:pt x="46588" y="104250"/>
                    <a:pt x="48000" y="104250"/>
                    <a:pt x="49411" y="104250"/>
                  </a:cubicBezTo>
                  <a:cubicBezTo>
                    <a:pt x="49411" y="104250"/>
                    <a:pt x="52235" y="104250"/>
                    <a:pt x="52235" y="104250"/>
                  </a:cubicBezTo>
                  <a:cubicBezTo>
                    <a:pt x="52235" y="104250"/>
                    <a:pt x="53647" y="103500"/>
                    <a:pt x="53647" y="104250"/>
                  </a:cubicBezTo>
                  <a:cubicBezTo>
                    <a:pt x="53647" y="105000"/>
                    <a:pt x="57882" y="108750"/>
                    <a:pt x="57882" y="108750"/>
                  </a:cubicBezTo>
                  <a:cubicBezTo>
                    <a:pt x="57882" y="108750"/>
                    <a:pt x="57882" y="109500"/>
                    <a:pt x="59294" y="110250"/>
                  </a:cubicBezTo>
                  <a:cubicBezTo>
                    <a:pt x="60705" y="111000"/>
                    <a:pt x="63529" y="111750"/>
                    <a:pt x="63529" y="111750"/>
                  </a:cubicBezTo>
                  <a:cubicBezTo>
                    <a:pt x="63529" y="111750"/>
                    <a:pt x="62117" y="112500"/>
                    <a:pt x="62117" y="113250"/>
                  </a:cubicBezTo>
                  <a:cubicBezTo>
                    <a:pt x="63529" y="114000"/>
                    <a:pt x="62117" y="114000"/>
                    <a:pt x="63529" y="114000"/>
                  </a:cubicBezTo>
                  <a:cubicBezTo>
                    <a:pt x="63529" y="114750"/>
                    <a:pt x="63529" y="114750"/>
                    <a:pt x="63529" y="114750"/>
                  </a:cubicBezTo>
                  <a:cubicBezTo>
                    <a:pt x="63529" y="114750"/>
                    <a:pt x="63529" y="114750"/>
                    <a:pt x="63529" y="115500"/>
                  </a:cubicBezTo>
                  <a:cubicBezTo>
                    <a:pt x="64941" y="115500"/>
                    <a:pt x="64941" y="116250"/>
                    <a:pt x="64941" y="116250"/>
                  </a:cubicBezTo>
                  <a:cubicBezTo>
                    <a:pt x="64941" y="118500"/>
                    <a:pt x="64941" y="118500"/>
                    <a:pt x="64941" y="118500"/>
                  </a:cubicBezTo>
                  <a:cubicBezTo>
                    <a:pt x="67764" y="118500"/>
                    <a:pt x="67764" y="118500"/>
                    <a:pt x="67764" y="118500"/>
                  </a:cubicBezTo>
                  <a:lnTo>
                    <a:pt x="69176" y="11850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 cmpd="sng">
              <a:solidFill>
                <a:schemeClr val="tx1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defTabSz="457200"/>
              <a:endParaRPr kern="0">
                <a:solidFill>
                  <a:srgbClr val="7F7F7F"/>
                </a:solidFill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24" name="Shape 2016">
              <a:extLst>
                <a:ext uri="{FF2B5EF4-FFF2-40B4-BE49-F238E27FC236}">
                  <a16:creationId xmlns:a16="http://schemas.microsoft.com/office/drawing/2014/main" id="{9CA37D66-4AC4-F577-C333-EA5F5037A347}"/>
                </a:ext>
              </a:extLst>
            </p:cNvPr>
            <p:cNvSpPr/>
            <p:nvPr/>
          </p:nvSpPr>
          <p:spPr>
            <a:xfrm>
              <a:off x="4961675" y="3801997"/>
              <a:ext cx="178256" cy="32593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73411" y="120000"/>
                  </a:moveTo>
                  <a:cubicBezTo>
                    <a:pt x="73411" y="120000"/>
                    <a:pt x="73411" y="120000"/>
                    <a:pt x="73411" y="120000"/>
                  </a:cubicBezTo>
                  <a:cubicBezTo>
                    <a:pt x="69176" y="118500"/>
                    <a:pt x="69176" y="118500"/>
                    <a:pt x="69176" y="118500"/>
                  </a:cubicBezTo>
                  <a:cubicBezTo>
                    <a:pt x="67764" y="119250"/>
                    <a:pt x="67764" y="119250"/>
                    <a:pt x="67764" y="119250"/>
                  </a:cubicBezTo>
                  <a:cubicBezTo>
                    <a:pt x="64941" y="118500"/>
                    <a:pt x="64941" y="118500"/>
                    <a:pt x="64941" y="118500"/>
                  </a:cubicBezTo>
                  <a:cubicBezTo>
                    <a:pt x="64941" y="116250"/>
                    <a:pt x="64941" y="116250"/>
                    <a:pt x="64941" y="116250"/>
                  </a:cubicBezTo>
                  <a:cubicBezTo>
                    <a:pt x="64941" y="116250"/>
                    <a:pt x="63529" y="116250"/>
                    <a:pt x="63529" y="115500"/>
                  </a:cubicBezTo>
                  <a:cubicBezTo>
                    <a:pt x="63529" y="114000"/>
                    <a:pt x="63529" y="114000"/>
                    <a:pt x="63529" y="114000"/>
                  </a:cubicBezTo>
                  <a:cubicBezTo>
                    <a:pt x="62117" y="114750"/>
                    <a:pt x="62117" y="114750"/>
                    <a:pt x="62117" y="114750"/>
                  </a:cubicBezTo>
                  <a:cubicBezTo>
                    <a:pt x="62117" y="114000"/>
                    <a:pt x="62117" y="114000"/>
                    <a:pt x="62117" y="114000"/>
                  </a:cubicBezTo>
                  <a:cubicBezTo>
                    <a:pt x="62117" y="113250"/>
                    <a:pt x="62117" y="113250"/>
                    <a:pt x="62117" y="113250"/>
                  </a:cubicBezTo>
                  <a:cubicBezTo>
                    <a:pt x="62117" y="112500"/>
                    <a:pt x="62117" y="111750"/>
                    <a:pt x="63529" y="111750"/>
                  </a:cubicBezTo>
                  <a:cubicBezTo>
                    <a:pt x="62117" y="111750"/>
                    <a:pt x="59294" y="111000"/>
                    <a:pt x="59294" y="110250"/>
                  </a:cubicBezTo>
                  <a:cubicBezTo>
                    <a:pt x="57882" y="110250"/>
                    <a:pt x="57882" y="108750"/>
                    <a:pt x="57882" y="108750"/>
                  </a:cubicBezTo>
                  <a:cubicBezTo>
                    <a:pt x="56470" y="108750"/>
                    <a:pt x="53647" y="105750"/>
                    <a:pt x="53647" y="104250"/>
                  </a:cubicBezTo>
                  <a:cubicBezTo>
                    <a:pt x="50823" y="104250"/>
                    <a:pt x="49411" y="104250"/>
                    <a:pt x="49411" y="104250"/>
                  </a:cubicBezTo>
                  <a:cubicBezTo>
                    <a:pt x="48000" y="104250"/>
                    <a:pt x="46588" y="104250"/>
                    <a:pt x="46588" y="104250"/>
                  </a:cubicBezTo>
                  <a:cubicBezTo>
                    <a:pt x="45176" y="103500"/>
                    <a:pt x="45176" y="103500"/>
                    <a:pt x="45176" y="103500"/>
                  </a:cubicBezTo>
                  <a:cubicBezTo>
                    <a:pt x="43764" y="102750"/>
                    <a:pt x="43764" y="102750"/>
                    <a:pt x="43764" y="102750"/>
                  </a:cubicBezTo>
                  <a:cubicBezTo>
                    <a:pt x="38117" y="101250"/>
                    <a:pt x="38117" y="101250"/>
                    <a:pt x="38117" y="101250"/>
                  </a:cubicBezTo>
                  <a:cubicBezTo>
                    <a:pt x="21176" y="96000"/>
                    <a:pt x="21176" y="96000"/>
                    <a:pt x="21176" y="96000"/>
                  </a:cubicBezTo>
                  <a:cubicBezTo>
                    <a:pt x="21176" y="96000"/>
                    <a:pt x="19764" y="94500"/>
                    <a:pt x="19764" y="93750"/>
                  </a:cubicBezTo>
                  <a:cubicBezTo>
                    <a:pt x="19764" y="93750"/>
                    <a:pt x="19764" y="93750"/>
                    <a:pt x="19764" y="93000"/>
                  </a:cubicBezTo>
                  <a:cubicBezTo>
                    <a:pt x="18352" y="93000"/>
                    <a:pt x="16941" y="93000"/>
                    <a:pt x="16941" y="92250"/>
                  </a:cubicBezTo>
                  <a:cubicBezTo>
                    <a:pt x="15529" y="92250"/>
                    <a:pt x="15529" y="91500"/>
                    <a:pt x="14117" y="90750"/>
                  </a:cubicBezTo>
                  <a:cubicBezTo>
                    <a:pt x="14117" y="90750"/>
                    <a:pt x="14117" y="90000"/>
                    <a:pt x="14117" y="90000"/>
                  </a:cubicBezTo>
                  <a:cubicBezTo>
                    <a:pt x="18352" y="90000"/>
                    <a:pt x="18352" y="90000"/>
                    <a:pt x="18352" y="90000"/>
                  </a:cubicBezTo>
                  <a:cubicBezTo>
                    <a:pt x="18352" y="90000"/>
                    <a:pt x="19764" y="90750"/>
                    <a:pt x="19764" y="90750"/>
                  </a:cubicBezTo>
                  <a:cubicBezTo>
                    <a:pt x="21176" y="90750"/>
                    <a:pt x="21176" y="92250"/>
                    <a:pt x="21176" y="92250"/>
                  </a:cubicBezTo>
                  <a:cubicBezTo>
                    <a:pt x="21176" y="92250"/>
                    <a:pt x="22588" y="93750"/>
                    <a:pt x="24000" y="93750"/>
                  </a:cubicBezTo>
                  <a:cubicBezTo>
                    <a:pt x="24000" y="93750"/>
                    <a:pt x="25411" y="93750"/>
                    <a:pt x="25411" y="93750"/>
                  </a:cubicBezTo>
                  <a:cubicBezTo>
                    <a:pt x="25411" y="93750"/>
                    <a:pt x="25411" y="93750"/>
                    <a:pt x="25411" y="93750"/>
                  </a:cubicBezTo>
                  <a:cubicBezTo>
                    <a:pt x="26823" y="92250"/>
                    <a:pt x="26823" y="92250"/>
                    <a:pt x="26823" y="92250"/>
                  </a:cubicBezTo>
                  <a:cubicBezTo>
                    <a:pt x="25411" y="91500"/>
                    <a:pt x="25411" y="91500"/>
                    <a:pt x="25411" y="91500"/>
                  </a:cubicBezTo>
                  <a:cubicBezTo>
                    <a:pt x="25411" y="89250"/>
                    <a:pt x="25411" y="89250"/>
                    <a:pt x="25411" y="89250"/>
                  </a:cubicBezTo>
                  <a:cubicBezTo>
                    <a:pt x="24000" y="88500"/>
                    <a:pt x="24000" y="88500"/>
                    <a:pt x="24000" y="88500"/>
                  </a:cubicBezTo>
                  <a:cubicBezTo>
                    <a:pt x="22588" y="87000"/>
                    <a:pt x="22588" y="87000"/>
                    <a:pt x="22588" y="87000"/>
                  </a:cubicBezTo>
                  <a:cubicBezTo>
                    <a:pt x="16941" y="83250"/>
                    <a:pt x="16941" y="83250"/>
                    <a:pt x="16941" y="83250"/>
                  </a:cubicBezTo>
                  <a:cubicBezTo>
                    <a:pt x="14117" y="81000"/>
                    <a:pt x="14117" y="81000"/>
                    <a:pt x="14117" y="81000"/>
                  </a:cubicBezTo>
                  <a:cubicBezTo>
                    <a:pt x="16941" y="77250"/>
                    <a:pt x="16941" y="77250"/>
                    <a:pt x="16941" y="77250"/>
                  </a:cubicBezTo>
                  <a:cubicBezTo>
                    <a:pt x="15529" y="75750"/>
                    <a:pt x="15529" y="75750"/>
                    <a:pt x="15529" y="75750"/>
                  </a:cubicBezTo>
                  <a:cubicBezTo>
                    <a:pt x="15529" y="75750"/>
                    <a:pt x="16941" y="75000"/>
                    <a:pt x="16941" y="75000"/>
                  </a:cubicBezTo>
                  <a:cubicBezTo>
                    <a:pt x="16941" y="75000"/>
                    <a:pt x="18352" y="74250"/>
                    <a:pt x="18352" y="74250"/>
                  </a:cubicBezTo>
                  <a:cubicBezTo>
                    <a:pt x="18352" y="74250"/>
                    <a:pt x="18352" y="73500"/>
                    <a:pt x="18352" y="73500"/>
                  </a:cubicBezTo>
                  <a:cubicBezTo>
                    <a:pt x="18352" y="72750"/>
                    <a:pt x="18352" y="72750"/>
                    <a:pt x="18352" y="72750"/>
                  </a:cubicBezTo>
                  <a:cubicBezTo>
                    <a:pt x="19764" y="71250"/>
                    <a:pt x="19764" y="71250"/>
                    <a:pt x="19764" y="71250"/>
                  </a:cubicBezTo>
                  <a:cubicBezTo>
                    <a:pt x="16941" y="71250"/>
                    <a:pt x="16941" y="71250"/>
                    <a:pt x="16941" y="71250"/>
                  </a:cubicBezTo>
                  <a:cubicBezTo>
                    <a:pt x="16941" y="70500"/>
                    <a:pt x="18352" y="69750"/>
                    <a:pt x="18352" y="69750"/>
                  </a:cubicBezTo>
                  <a:cubicBezTo>
                    <a:pt x="18352" y="69750"/>
                    <a:pt x="18352" y="69750"/>
                    <a:pt x="19764" y="69750"/>
                  </a:cubicBezTo>
                  <a:cubicBezTo>
                    <a:pt x="22588" y="68250"/>
                    <a:pt x="22588" y="68250"/>
                    <a:pt x="22588" y="68250"/>
                  </a:cubicBezTo>
                  <a:cubicBezTo>
                    <a:pt x="22588" y="67500"/>
                    <a:pt x="22588" y="67500"/>
                    <a:pt x="22588" y="67500"/>
                  </a:cubicBezTo>
                  <a:cubicBezTo>
                    <a:pt x="18352" y="66750"/>
                    <a:pt x="18352" y="66750"/>
                    <a:pt x="18352" y="66750"/>
                  </a:cubicBezTo>
                  <a:cubicBezTo>
                    <a:pt x="19764" y="64500"/>
                    <a:pt x="19764" y="64500"/>
                    <a:pt x="19764" y="64500"/>
                  </a:cubicBezTo>
                  <a:cubicBezTo>
                    <a:pt x="18352" y="63750"/>
                    <a:pt x="16941" y="62250"/>
                    <a:pt x="16941" y="62250"/>
                  </a:cubicBezTo>
                  <a:cubicBezTo>
                    <a:pt x="18352" y="60750"/>
                    <a:pt x="18352" y="60750"/>
                    <a:pt x="18352" y="60750"/>
                  </a:cubicBezTo>
                  <a:cubicBezTo>
                    <a:pt x="18352" y="60750"/>
                    <a:pt x="19764" y="58500"/>
                    <a:pt x="19764" y="57750"/>
                  </a:cubicBezTo>
                  <a:cubicBezTo>
                    <a:pt x="19764" y="57000"/>
                    <a:pt x="19764" y="56250"/>
                    <a:pt x="19764" y="56250"/>
                  </a:cubicBezTo>
                  <a:cubicBezTo>
                    <a:pt x="19764" y="55500"/>
                    <a:pt x="19764" y="55500"/>
                    <a:pt x="19764" y="55500"/>
                  </a:cubicBezTo>
                  <a:cubicBezTo>
                    <a:pt x="18352" y="54750"/>
                    <a:pt x="16941" y="54000"/>
                    <a:pt x="16941" y="54000"/>
                  </a:cubicBezTo>
                  <a:cubicBezTo>
                    <a:pt x="16941" y="54000"/>
                    <a:pt x="15529" y="54000"/>
                    <a:pt x="15529" y="53250"/>
                  </a:cubicBezTo>
                  <a:cubicBezTo>
                    <a:pt x="14117" y="53250"/>
                    <a:pt x="14117" y="53250"/>
                    <a:pt x="14117" y="53250"/>
                  </a:cubicBezTo>
                  <a:cubicBezTo>
                    <a:pt x="11294" y="51750"/>
                    <a:pt x="11294" y="51750"/>
                    <a:pt x="11294" y="51750"/>
                  </a:cubicBezTo>
                  <a:cubicBezTo>
                    <a:pt x="15529" y="50250"/>
                    <a:pt x="15529" y="50250"/>
                    <a:pt x="15529" y="50250"/>
                  </a:cubicBezTo>
                  <a:cubicBezTo>
                    <a:pt x="15529" y="49500"/>
                    <a:pt x="15529" y="49500"/>
                    <a:pt x="15529" y="49500"/>
                  </a:cubicBezTo>
                  <a:cubicBezTo>
                    <a:pt x="16941" y="48750"/>
                    <a:pt x="18352" y="48750"/>
                    <a:pt x="18352" y="48750"/>
                  </a:cubicBezTo>
                  <a:cubicBezTo>
                    <a:pt x="18352" y="48750"/>
                    <a:pt x="19764" y="48000"/>
                    <a:pt x="19764" y="48000"/>
                  </a:cubicBezTo>
                  <a:cubicBezTo>
                    <a:pt x="19764" y="47250"/>
                    <a:pt x="19764" y="46500"/>
                    <a:pt x="19764" y="45750"/>
                  </a:cubicBezTo>
                  <a:cubicBezTo>
                    <a:pt x="15529" y="45000"/>
                    <a:pt x="15529" y="45000"/>
                    <a:pt x="15529" y="45000"/>
                  </a:cubicBezTo>
                  <a:cubicBezTo>
                    <a:pt x="15529" y="44250"/>
                    <a:pt x="15529" y="44250"/>
                    <a:pt x="15529" y="44250"/>
                  </a:cubicBezTo>
                  <a:cubicBezTo>
                    <a:pt x="15529" y="44250"/>
                    <a:pt x="16941" y="44250"/>
                    <a:pt x="18352" y="43500"/>
                  </a:cubicBezTo>
                  <a:cubicBezTo>
                    <a:pt x="19764" y="43500"/>
                    <a:pt x="21176" y="42750"/>
                    <a:pt x="21176" y="42750"/>
                  </a:cubicBezTo>
                  <a:cubicBezTo>
                    <a:pt x="22588" y="42750"/>
                    <a:pt x="22588" y="42000"/>
                    <a:pt x="22588" y="41250"/>
                  </a:cubicBezTo>
                  <a:cubicBezTo>
                    <a:pt x="19764" y="40500"/>
                    <a:pt x="19764" y="40500"/>
                    <a:pt x="19764" y="40500"/>
                  </a:cubicBezTo>
                  <a:cubicBezTo>
                    <a:pt x="21176" y="39000"/>
                    <a:pt x="21176" y="39000"/>
                    <a:pt x="21176" y="39000"/>
                  </a:cubicBezTo>
                  <a:cubicBezTo>
                    <a:pt x="19764" y="36750"/>
                    <a:pt x="19764" y="36750"/>
                    <a:pt x="19764" y="36750"/>
                  </a:cubicBezTo>
                  <a:cubicBezTo>
                    <a:pt x="21176" y="35250"/>
                    <a:pt x="21176" y="35250"/>
                    <a:pt x="21176" y="35250"/>
                  </a:cubicBezTo>
                  <a:cubicBezTo>
                    <a:pt x="19764" y="34500"/>
                    <a:pt x="19764" y="34500"/>
                    <a:pt x="19764" y="34500"/>
                  </a:cubicBezTo>
                  <a:cubicBezTo>
                    <a:pt x="14117" y="33000"/>
                    <a:pt x="14117" y="33000"/>
                    <a:pt x="14117" y="33000"/>
                  </a:cubicBezTo>
                  <a:cubicBezTo>
                    <a:pt x="12705" y="33000"/>
                    <a:pt x="12705" y="33000"/>
                    <a:pt x="12705" y="33000"/>
                  </a:cubicBezTo>
                  <a:cubicBezTo>
                    <a:pt x="11294" y="33000"/>
                    <a:pt x="9882" y="33750"/>
                    <a:pt x="9882" y="33750"/>
                  </a:cubicBezTo>
                  <a:cubicBezTo>
                    <a:pt x="5647" y="33000"/>
                    <a:pt x="5647" y="32250"/>
                    <a:pt x="5647" y="32250"/>
                  </a:cubicBezTo>
                  <a:cubicBezTo>
                    <a:pt x="7058" y="32250"/>
                    <a:pt x="7058" y="31500"/>
                    <a:pt x="7058" y="31500"/>
                  </a:cubicBezTo>
                  <a:cubicBezTo>
                    <a:pt x="5647" y="30750"/>
                    <a:pt x="5647" y="30750"/>
                    <a:pt x="5647" y="30750"/>
                  </a:cubicBezTo>
                  <a:cubicBezTo>
                    <a:pt x="5647" y="29250"/>
                    <a:pt x="5647" y="29250"/>
                    <a:pt x="5647" y="29250"/>
                  </a:cubicBezTo>
                  <a:cubicBezTo>
                    <a:pt x="5647" y="29250"/>
                    <a:pt x="7058" y="27750"/>
                    <a:pt x="7058" y="27750"/>
                  </a:cubicBezTo>
                  <a:cubicBezTo>
                    <a:pt x="5647" y="27000"/>
                    <a:pt x="5647" y="26250"/>
                    <a:pt x="5647" y="26250"/>
                  </a:cubicBezTo>
                  <a:cubicBezTo>
                    <a:pt x="7058" y="24750"/>
                    <a:pt x="7058" y="24750"/>
                    <a:pt x="7058" y="24750"/>
                  </a:cubicBezTo>
                  <a:cubicBezTo>
                    <a:pt x="7058" y="24000"/>
                    <a:pt x="7058" y="24000"/>
                    <a:pt x="7058" y="24000"/>
                  </a:cubicBezTo>
                  <a:cubicBezTo>
                    <a:pt x="7058" y="23250"/>
                    <a:pt x="7058" y="22500"/>
                    <a:pt x="7058" y="22500"/>
                  </a:cubicBezTo>
                  <a:cubicBezTo>
                    <a:pt x="1411" y="21000"/>
                    <a:pt x="1411" y="21000"/>
                    <a:pt x="1411" y="21000"/>
                  </a:cubicBezTo>
                  <a:cubicBezTo>
                    <a:pt x="0" y="20250"/>
                    <a:pt x="0" y="20250"/>
                    <a:pt x="0" y="20250"/>
                  </a:cubicBezTo>
                  <a:cubicBezTo>
                    <a:pt x="0" y="18750"/>
                    <a:pt x="0" y="18750"/>
                    <a:pt x="0" y="18750"/>
                  </a:cubicBezTo>
                  <a:cubicBezTo>
                    <a:pt x="2823" y="17250"/>
                    <a:pt x="2823" y="17250"/>
                    <a:pt x="2823" y="17250"/>
                  </a:cubicBezTo>
                  <a:cubicBezTo>
                    <a:pt x="4235" y="15750"/>
                    <a:pt x="4235" y="15750"/>
                    <a:pt x="4235" y="15750"/>
                  </a:cubicBezTo>
                  <a:cubicBezTo>
                    <a:pt x="4235" y="15000"/>
                    <a:pt x="4235" y="15000"/>
                    <a:pt x="4235" y="14250"/>
                  </a:cubicBezTo>
                  <a:cubicBezTo>
                    <a:pt x="4235" y="14250"/>
                    <a:pt x="5647" y="13500"/>
                    <a:pt x="5647" y="13500"/>
                  </a:cubicBezTo>
                  <a:cubicBezTo>
                    <a:pt x="5647" y="12000"/>
                    <a:pt x="5647" y="12000"/>
                    <a:pt x="5647" y="12000"/>
                  </a:cubicBezTo>
                  <a:cubicBezTo>
                    <a:pt x="5647" y="11250"/>
                    <a:pt x="5647" y="11250"/>
                    <a:pt x="5647" y="11250"/>
                  </a:cubicBezTo>
                  <a:cubicBezTo>
                    <a:pt x="7058" y="10500"/>
                    <a:pt x="7058" y="10500"/>
                    <a:pt x="7058" y="10500"/>
                  </a:cubicBezTo>
                  <a:cubicBezTo>
                    <a:pt x="7058" y="10500"/>
                    <a:pt x="8470" y="9750"/>
                    <a:pt x="9882" y="9750"/>
                  </a:cubicBezTo>
                  <a:cubicBezTo>
                    <a:pt x="9882" y="9000"/>
                    <a:pt x="9882" y="8250"/>
                    <a:pt x="9882" y="8250"/>
                  </a:cubicBezTo>
                  <a:cubicBezTo>
                    <a:pt x="15529" y="3750"/>
                    <a:pt x="15529" y="3750"/>
                    <a:pt x="15529" y="3750"/>
                  </a:cubicBezTo>
                  <a:cubicBezTo>
                    <a:pt x="14117" y="3000"/>
                    <a:pt x="14117" y="3000"/>
                    <a:pt x="14117" y="3000"/>
                  </a:cubicBezTo>
                  <a:cubicBezTo>
                    <a:pt x="18352" y="0"/>
                    <a:pt x="19764" y="0"/>
                    <a:pt x="19764" y="0"/>
                  </a:cubicBezTo>
                  <a:cubicBezTo>
                    <a:pt x="21176" y="0"/>
                    <a:pt x="22588" y="0"/>
                    <a:pt x="22588" y="0"/>
                  </a:cubicBezTo>
                  <a:cubicBezTo>
                    <a:pt x="24000" y="750"/>
                    <a:pt x="24000" y="750"/>
                    <a:pt x="24000" y="750"/>
                  </a:cubicBezTo>
                  <a:cubicBezTo>
                    <a:pt x="25411" y="1500"/>
                    <a:pt x="25411" y="1500"/>
                    <a:pt x="25411" y="1500"/>
                  </a:cubicBezTo>
                  <a:cubicBezTo>
                    <a:pt x="25411" y="2250"/>
                    <a:pt x="25411" y="2250"/>
                    <a:pt x="25411" y="2250"/>
                  </a:cubicBezTo>
                  <a:cubicBezTo>
                    <a:pt x="25411" y="3000"/>
                    <a:pt x="24000" y="3000"/>
                    <a:pt x="24000" y="3750"/>
                  </a:cubicBezTo>
                  <a:cubicBezTo>
                    <a:pt x="25411" y="3750"/>
                    <a:pt x="24000" y="4500"/>
                    <a:pt x="24000" y="4500"/>
                  </a:cubicBezTo>
                  <a:cubicBezTo>
                    <a:pt x="25411" y="4500"/>
                    <a:pt x="25411" y="5250"/>
                    <a:pt x="25411" y="5250"/>
                  </a:cubicBezTo>
                  <a:cubicBezTo>
                    <a:pt x="26823" y="6000"/>
                    <a:pt x="26823" y="6000"/>
                    <a:pt x="26823" y="6000"/>
                  </a:cubicBezTo>
                  <a:cubicBezTo>
                    <a:pt x="26823" y="6750"/>
                    <a:pt x="28235" y="6750"/>
                    <a:pt x="28235" y="6750"/>
                  </a:cubicBezTo>
                  <a:cubicBezTo>
                    <a:pt x="31058" y="6000"/>
                    <a:pt x="31058" y="6000"/>
                    <a:pt x="31058" y="6000"/>
                  </a:cubicBezTo>
                  <a:cubicBezTo>
                    <a:pt x="33882" y="5250"/>
                    <a:pt x="33882" y="5250"/>
                    <a:pt x="33882" y="5250"/>
                  </a:cubicBezTo>
                  <a:cubicBezTo>
                    <a:pt x="33882" y="5250"/>
                    <a:pt x="36705" y="4500"/>
                    <a:pt x="38117" y="4500"/>
                  </a:cubicBezTo>
                  <a:cubicBezTo>
                    <a:pt x="38117" y="4500"/>
                    <a:pt x="38117" y="3750"/>
                    <a:pt x="39529" y="3000"/>
                  </a:cubicBezTo>
                  <a:cubicBezTo>
                    <a:pt x="40941" y="3000"/>
                    <a:pt x="40941" y="3000"/>
                    <a:pt x="40941" y="3000"/>
                  </a:cubicBezTo>
                  <a:cubicBezTo>
                    <a:pt x="43764" y="3000"/>
                    <a:pt x="43764" y="3000"/>
                    <a:pt x="43764" y="3000"/>
                  </a:cubicBezTo>
                  <a:cubicBezTo>
                    <a:pt x="45176" y="4500"/>
                    <a:pt x="45176" y="4500"/>
                    <a:pt x="45176" y="4500"/>
                  </a:cubicBezTo>
                  <a:cubicBezTo>
                    <a:pt x="48000" y="5250"/>
                    <a:pt x="48000" y="5250"/>
                    <a:pt x="48000" y="5250"/>
                  </a:cubicBezTo>
                  <a:cubicBezTo>
                    <a:pt x="50823" y="6750"/>
                    <a:pt x="50823" y="6750"/>
                    <a:pt x="50823" y="6750"/>
                  </a:cubicBezTo>
                  <a:cubicBezTo>
                    <a:pt x="52235" y="9000"/>
                    <a:pt x="52235" y="9000"/>
                    <a:pt x="52235" y="9000"/>
                  </a:cubicBezTo>
                  <a:cubicBezTo>
                    <a:pt x="55058" y="11250"/>
                    <a:pt x="55058" y="11250"/>
                    <a:pt x="55058" y="11250"/>
                  </a:cubicBezTo>
                  <a:cubicBezTo>
                    <a:pt x="56470" y="10500"/>
                    <a:pt x="56470" y="10500"/>
                    <a:pt x="56470" y="10500"/>
                  </a:cubicBezTo>
                  <a:cubicBezTo>
                    <a:pt x="59294" y="12000"/>
                    <a:pt x="59294" y="12000"/>
                    <a:pt x="59294" y="12000"/>
                  </a:cubicBezTo>
                  <a:cubicBezTo>
                    <a:pt x="62117" y="12750"/>
                    <a:pt x="62117" y="12750"/>
                    <a:pt x="62117" y="12750"/>
                  </a:cubicBezTo>
                  <a:cubicBezTo>
                    <a:pt x="62117" y="12750"/>
                    <a:pt x="64941" y="12750"/>
                    <a:pt x="67764" y="13500"/>
                  </a:cubicBezTo>
                  <a:cubicBezTo>
                    <a:pt x="69176" y="13500"/>
                    <a:pt x="69176" y="14250"/>
                    <a:pt x="69176" y="14250"/>
                  </a:cubicBezTo>
                  <a:cubicBezTo>
                    <a:pt x="70588" y="15750"/>
                    <a:pt x="73411" y="17250"/>
                    <a:pt x="73411" y="17250"/>
                  </a:cubicBezTo>
                  <a:cubicBezTo>
                    <a:pt x="74823" y="19500"/>
                    <a:pt x="74823" y="19500"/>
                    <a:pt x="74823" y="19500"/>
                  </a:cubicBezTo>
                  <a:cubicBezTo>
                    <a:pt x="74823" y="19500"/>
                    <a:pt x="76235" y="21000"/>
                    <a:pt x="76235" y="21750"/>
                  </a:cubicBezTo>
                  <a:cubicBezTo>
                    <a:pt x="76235" y="21750"/>
                    <a:pt x="76235" y="22500"/>
                    <a:pt x="76235" y="22500"/>
                  </a:cubicBezTo>
                  <a:cubicBezTo>
                    <a:pt x="80470" y="24750"/>
                    <a:pt x="80470" y="24750"/>
                    <a:pt x="80470" y="24750"/>
                  </a:cubicBezTo>
                  <a:cubicBezTo>
                    <a:pt x="79058" y="27000"/>
                    <a:pt x="79058" y="27000"/>
                    <a:pt x="79058" y="27000"/>
                  </a:cubicBezTo>
                  <a:cubicBezTo>
                    <a:pt x="77647" y="28500"/>
                    <a:pt x="77647" y="28500"/>
                    <a:pt x="77647" y="28500"/>
                  </a:cubicBezTo>
                  <a:cubicBezTo>
                    <a:pt x="77647" y="28500"/>
                    <a:pt x="77647" y="30000"/>
                    <a:pt x="77647" y="30000"/>
                  </a:cubicBezTo>
                  <a:cubicBezTo>
                    <a:pt x="77647" y="30000"/>
                    <a:pt x="77647" y="31500"/>
                    <a:pt x="77647" y="31500"/>
                  </a:cubicBezTo>
                  <a:cubicBezTo>
                    <a:pt x="76235" y="32250"/>
                    <a:pt x="76235" y="32250"/>
                    <a:pt x="76235" y="32250"/>
                  </a:cubicBezTo>
                  <a:cubicBezTo>
                    <a:pt x="77647" y="36000"/>
                    <a:pt x="77647" y="36000"/>
                    <a:pt x="77647" y="36000"/>
                  </a:cubicBezTo>
                  <a:cubicBezTo>
                    <a:pt x="76235" y="38250"/>
                    <a:pt x="76235" y="38250"/>
                    <a:pt x="76235" y="38250"/>
                  </a:cubicBezTo>
                  <a:cubicBezTo>
                    <a:pt x="77647" y="38250"/>
                    <a:pt x="79058" y="39000"/>
                    <a:pt x="79058" y="39750"/>
                  </a:cubicBezTo>
                  <a:cubicBezTo>
                    <a:pt x="80470" y="39750"/>
                    <a:pt x="79058" y="40500"/>
                    <a:pt x="79058" y="40500"/>
                  </a:cubicBezTo>
                  <a:cubicBezTo>
                    <a:pt x="77647" y="41250"/>
                    <a:pt x="77647" y="41250"/>
                    <a:pt x="76235" y="42000"/>
                  </a:cubicBezTo>
                  <a:cubicBezTo>
                    <a:pt x="74823" y="42000"/>
                    <a:pt x="74823" y="42000"/>
                    <a:pt x="74823" y="42000"/>
                  </a:cubicBezTo>
                  <a:cubicBezTo>
                    <a:pt x="74823" y="42750"/>
                    <a:pt x="73411" y="42750"/>
                    <a:pt x="73411" y="42750"/>
                  </a:cubicBezTo>
                  <a:cubicBezTo>
                    <a:pt x="73411" y="42750"/>
                    <a:pt x="73411" y="43500"/>
                    <a:pt x="73411" y="44250"/>
                  </a:cubicBezTo>
                  <a:cubicBezTo>
                    <a:pt x="74823" y="45000"/>
                    <a:pt x="77647" y="45750"/>
                    <a:pt x="77647" y="45750"/>
                  </a:cubicBezTo>
                  <a:cubicBezTo>
                    <a:pt x="77647" y="45750"/>
                    <a:pt x="80470" y="47250"/>
                    <a:pt x="80470" y="48000"/>
                  </a:cubicBezTo>
                  <a:cubicBezTo>
                    <a:pt x="81882" y="48000"/>
                    <a:pt x="80470" y="48750"/>
                    <a:pt x="80470" y="49500"/>
                  </a:cubicBezTo>
                  <a:cubicBezTo>
                    <a:pt x="80470" y="49500"/>
                    <a:pt x="80470" y="50250"/>
                    <a:pt x="77647" y="51000"/>
                  </a:cubicBezTo>
                  <a:cubicBezTo>
                    <a:pt x="79058" y="51750"/>
                    <a:pt x="79058" y="51750"/>
                    <a:pt x="79058" y="51750"/>
                  </a:cubicBezTo>
                  <a:cubicBezTo>
                    <a:pt x="80470" y="54000"/>
                    <a:pt x="80470" y="54000"/>
                    <a:pt x="80470" y="54000"/>
                  </a:cubicBezTo>
                  <a:cubicBezTo>
                    <a:pt x="80470" y="54000"/>
                    <a:pt x="80470" y="54750"/>
                    <a:pt x="80470" y="54750"/>
                  </a:cubicBezTo>
                  <a:cubicBezTo>
                    <a:pt x="81882" y="55500"/>
                    <a:pt x="83294" y="57000"/>
                    <a:pt x="84705" y="57000"/>
                  </a:cubicBezTo>
                  <a:cubicBezTo>
                    <a:pt x="84705" y="57000"/>
                    <a:pt x="86117" y="58500"/>
                    <a:pt x="86117" y="59250"/>
                  </a:cubicBezTo>
                  <a:cubicBezTo>
                    <a:pt x="86117" y="59250"/>
                    <a:pt x="86117" y="60000"/>
                    <a:pt x="86117" y="60000"/>
                  </a:cubicBezTo>
                  <a:cubicBezTo>
                    <a:pt x="86117" y="60000"/>
                    <a:pt x="87529" y="60000"/>
                    <a:pt x="87529" y="60000"/>
                  </a:cubicBezTo>
                  <a:cubicBezTo>
                    <a:pt x="88941" y="60750"/>
                    <a:pt x="91764" y="60750"/>
                    <a:pt x="91764" y="60750"/>
                  </a:cubicBezTo>
                  <a:cubicBezTo>
                    <a:pt x="91764" y="60750"/>
                    <a:pt x="93176" y="61500"/>
                    <a:pt x="93176" y="62250"/>
                  </a:cubicBezTo>
                  <a:cubicBezTo>
                    <a:pt x="94588" y="63000"/>
                    <a:pt x="96000" y="64500"/>
                    <a:pt x="96000" y="65250"/>
                  </a:cubicBezTo>
                  <a:cubicBezTo>
                    <a:pt x="96000" y="65250"/>
                    <a:pt x="96000" y="66000"/>
                    <a:pt x="96000" y="66000"/>
                  </a:cubicBezTo>
                  <a:cubicBezTo>
                    <a:pt x="96000" y="66750"/>
                    <a:pt x="96000" y="66750"/>
                    <a:pt x="96000" y="66750"/>
                  </a:cubicBezTo>
                  <a:cubicBezTo>
                    <a:pt x="96000" y="67500"/>
                    <a:pt x="97411" y="66750"/>
                    <a:pt x="97411" y="66750"/>
                  </a:cubicBezTo>
                  <a:cubicBezTo>
                    <a:pt x="97411" y="66750"/>
                    <a:pt x="98823" y="66000"/>
                    <a:pt x="98823" y="66000"/>
                  </a:cubicBezTo>
                  <a:cubicBezTo>
                    <a:pt x="100235" y="66000"/>
                    <a:pt x="101647" y="66000"/>
                    <a:pt x="103058" y="66000"/>
                  </a:cubicBezTo>
                  <a:cubicBezTo>
                    <a:pt x="104470" y="66000"/>
                    <a:pt x="104470" y="66000"/>
                    <a:pt x="104470" y="66000"/>
                  </a:cubicBezTo>
                  <a:cubicBezTo>
                    <a:pt x="107294" y="66000"/>
                    <a:pt x="107294" y="66000"/>
                    <a:pt x="108705" y="66000"/>
                  </a:cubicBezTo>
                  <a:cubicBezTo>
                    <a:pt x="111529" y="66750"/>
                    <a:pt x="111529" y="66750"/>
                    <a:pt x="111529" y="66750"/>
                  </a:cubicBezTo>
                  <a:cubicBezTo>
                    <a:pt x="112941" y="68250"/>
                    <a:pt x="112941" y="68250"/>
                    <a:pt x="112941" y="68250"/>
                  </a:cubicBezTo>
                  <a:cubicBezTo>
                    <a:pt x="112941" y="68250"/>
                    <a:pt x="114352" y="68250"/>
                    <a:pt x="114352" y="68250"/>
                  </a:cubicBezTo>
                  <a:cubicBezTo>
                    <a:pt x="115764" y="69750"/>
                    <a:pt x="115764" y="69750"/>
                    <a:pt x="115764" y="69750"/>
                  </a:cubicBezTo>
                  <a:cubicBezTo>
                    <a:pt x="118588" y="72000"/>
                    <a:pt x="118588" y="72000"/>
                    <a:pt x="118588" y="72000"/>
                  </a:cubicBezTo>
                  <a:cubicBezTo>
                    <a:pt x="120000" y="78000"/>
                    <a:pt x="120000" y="78000"/>
                    <a:pt x="120000" y="78000"/>
                  </a:cubicBezTo>
                  <a:cubicBezTo>
                    <a:pt x="117176" y="78000"/>
                    <a:pt x="114352" y="79500"/>
                    <a:pt x="112941" y="80250"/>
                  </a:cubicBezTo>
                  <a:cubicBezTo>
                    <a:pt x="108705" y="86250"/>
                    <a:pt x="108705" y="86250"/>
                    <a:pt x="108705" y="86250"/>
                  </a:cubicBezTo>
                  <a:cubicBezTo>
                    <a:pt x="105882" y="93000"/>
                    <a:pt x="105882" y="93000"/>
                    <a:pt x="105882" y="93000"/>
                  </a:cubicBezTo>
                  <a:cubicBezTo>
                    <a:pt x="98823" y="99000"/>
                    <a:pt x="98823" y="99000"/>
                    <a:pt x="98823" y="99000"/>
                  </a:cubicBezTo>
                  <a:cubicBezTo>
                    <a:pt x="88941" y="102000"/>
                    <a:pt x="88941" y="102000"/>
                    <a:pt x="88941" y="102000"/>
                  </a:cubicBezTo>
                  <a:cubicBezTo>
                    <a:pt x="87529" y="102000"/>
                    <a:pt x="87529" y="102000"/>
                    <a:pt x="87529" y="102000"/>
                  </a:cubicBezTo>
                  <a:cubicBezTo>
                    <a:pt x="87529" y="102000"/>
                    <a:pt x="86117" y="102750"/>
                    <a:pt x="86117" y="102750"/>
                  </a:cubicBezTo>
                  <a:cubicBezTo>
                    <a:pt x="84705" y="105000"/>
                    <a:pt x="84705" y="105000"/>
                    <a:pt x="84705" y="105000"/>
                  </a:cubicBezTo>
                  <a:cubicBezTo>
                    <a:pt x="83294" y="105750"/>
                    <a:pt x="83294" y="105750"/>
                    <a:pt x="83294" y="105750"/>
                  </a:cubicBezTo>
                  <a:cubicBezTo>
                    <a:pt x="81882" y="105750"/>
                    <a:pt x="81882" y="105750"/>
                    <a:pt x="81882" y="105750"/>
                  </a:cubicBezTo>
                  <a:cubicBezTo>
                    <a:pt x="81882" y="106500"/>
                    <a:pt x="81882" y="106500"/>
                    <a:pt x="81882" y="106500"/>
                  </a:cubicBezTo>
                  <a:cubicBezTo>
                    <a:pt x="81882" y="107250"/>
                    <a:pt x="81882" y="107250"/>
                    <a:pt x="81882" y="108000"/>
                  </a:cubicBezTo>
                  <a:cubicBezTo>
                    <a:pt x="81882" y="108000"/>
                    <a:pt x="81882" y="108000"/>
                    <a:pt x="81882" y="108750"/>
                  </a:cubicBezTo>
                  <a:cubicBezTo>
                    <a:pt x="81882" y="108750"/>
                    <a:pt x="83294" y="108750"/>
                    <a:pt x="83294" y="109500"/>
                  </a:cubicBezTo>
                  <a:cubicBezTo>
                    <a:pt x="83294" y="109500"/>
                    <a:pt x="84705" y="110250"/>
                    <a:pt x="86117" y="110250"/>
                  </a:cubicBezTo>
                  <a:cubicBezTo>
                    <a:pt x="87529" y="111000"/>
                    <a:pt x="88941" y="111000"/>
                    <a:pt x="88941" y="111000"/>
                  </a:cubicBezTo>
                  <a:cubicBezTo>
                    <a:pt x="90352" y="112500"/>
                    <a:pt x="90352" y="112500"/>
                    <a:pt x="90352" y="112500"/>
                  </a:cubicBezTo>
                  <a:cubicBezTo>
                    <a:pt x="88941" y="113250"/>
                    <a:pt x="87529" y="113250"/>
                    <a:pt x="86117" y="113250"/>
                  </a:cubicBezTo>
                  <a:cubicBezTo>
                    <a:pt x="86117" y="113250"/>
                    <a:pt x="84705" y="113250"/>
                    <a:pt x="84705" y="113250"/>
                  </a:cubicBezTo>
                  <a:cubicBezTo>
                    <a:pt x="83294" y="113250"/>
                    <a:pt x="83294" y="113250"/>
                    <a:pt x="81882" y="113250"/>
                  </a:cubicBezTo>
                  <a:cubicBezTo>
                    <a:pt x="81882" y="113250"/>
                    <a:pt x="81882" y="114000"/>
                    <a:pt x="81882" y="114750"/>
                  </a:cubicBezTo>
                  <a:cubicBezTo>
                    <a:pt x="83294" y="115500"/>
                    <a:pt x="83294" y="115500"/>
                    <a:pt x="83294" y="115500"/>
                  </a:cubicBezTo>
                  <a:cubicBezTo>
                    <a:pt x="83294" y="115500"/>
                    <a:pt x="83294" y="117000"/>
                    <a:pt x="83294" y="117000"/>
                  </a:cubicBezTo>
                  <a:cubicBezTo>
                    <a:pt x="83294" y="117000"/>
                    <a:pt x="83294" y="117750"/>
                    <a:pt x="80470" y="118500"/>
                  </a:cubicBezTo>
                  <a:cubicBezTo>
                    <a:pt x="79058" y="120000"/>
                    <a:pt x="79058" y="120000"/>
                    <a:pt x="79058" y="120000"/>
                  </a:cubicBezTo>
                  <a:cubicBezTo>
                    <a:pt x="73411" y="120000"/>
                    <a:pt x="73411" y="120000"/>
                    <a:pt x="73411" y="120000"/>
                  </a:cubicBezTo>
                  <a:cubicBezTo>
                    <a:pt x="73411" y="120000"/>
                    <a:pt x="73411" y="120000"/>
                    <a:pt x="73411" y="120000"/>
                  </a:cubicBezTo>
                  <a:close/>
                  <a:moveTo>
                    <a:pt x="69176" y="118500"/>
                  </a:moveTo>
                  <a:cubicBezTo>
                    <a:pt x="69176" y="118500"/>
                    <a:pt x="69176" y="118500"/>
                    <a:pt x="69176" y="118500"/>
                  </a:cubicBezTo>
                  <a:cubicBezTo>
                    <a:pt x="73411" y="119250"/>
                    <a:pt x="73411" y="119250"/>
                    <a:pt x="73411" y="119250"/>
                  </a:cubicBezTo>
                  <a:cubicBezTo>
                    <a:pt x="77647" y="119250"/>
                    <a:pt x="77647" y="119250"/>
                    <a:pt x="77647" y="119250"/>
                  </a:cubicBezTo>
                  <a:cubicBezTo>
                    <a:pt x="80470" y="118500"/>
                    <a:pt x="80470" y="118500"/>
                    <a:pt x="80470" y="118500"/>
                  </a:cubicBezTo>
                  <a:cubicBezTo>
                    <a:pt x="81882" y="117750"/>
                    <a:pt x="83294" y="117000"/>
                    <a:pt x="83294" y="117000"/>
                  </a:cubicBezTo>
                  <a:cubicBezTo>
                    <a:pt x="83294" y="117000"/>
                    <a:pt x="81882" y="115500"/>
                    <a:pt x="81882" y="115500"/>
                  </a:cubicBezTo>
                  <a:cubicBezTo>
                    <a:pt x="81882" y="114750"/>
                    <a:pt x="81882" y="114750"/>
                    <a:pt x="81882" y="114750"/>
                  </a:cubicBezTo>
                  <a:cubicBezTo>
                    <a:pt x="81882" y="114750"/>
                    <a:pt x="80470" y="114000"/>
                    <a:pt x="80470" y="113250"/>
                  </a:cubicBezTo>
                  <a:cubicBezTo>
                    <a:pt x="80470" y="113250"/>
                    <a:pt x="81882" y="112500"/>
                    <a:pt x="81882" y="112500"/>
                  </a:cubicBezTo>
                  <a:cubicBezTo>
                    <a:pt x="83294" y="112500"/>
                    <a:pt x="83294" y="112500"/>
                    <a:pt x="83294" y="112500"/>
                  </a:cubicBezTo>
                  <a:cubicBezTo>
                    <a:pt x="83294" y="112500"/>
                    <a:pt x="84705" y="112500"/>
                    <a:pt x="84705" y="112500"/>
                  </a:cubicBezTo>
                  <a:cubicBezTo>
                    <a:pt x="86117" y="113250"/>
                    <a:pt x="86117" y="113250"/>
                    <a:pt x="86117" y="113250"/>
                  </a:cubicBezTo>
                  <a:cubicBezTo>
                    <a:pt x="86117" y="113250"/>
                    <a:pt x="86117" y="113250"/>
                    <a:pt x="86117" y="113250"/>
                  </a:cubicBezTo>
                  <a:cubicBezTo>
                    <a:pt x="87529" y="113250"/>
                    <a:pt x="88941" y="112500"/>
                    <a:pt x="88941" y="111750"/>
                  </a:cubicBezTo>
                  <a:cubicBezTo>
                    <a:pt x="88941" y="111750"/>
                    <a:pt x="88941" y="111750"/>
                    <a:pt x="88941" y="111750"/>
                  </a:cubicBezTo>
                  <a:cubicBezTo>
                    <a:pt x="87529" y="111750"/>
                    <a:pt x="87529" y="111000"/>
                    <a:pt x="86117" y="111000"/>
                  </a:cubicBezTo>
                  <a:cubicBezTo>
                    <a:pt x="83294" y="110250"/>
                    <a:pt x="81882" y="109500"/>
                    <a:pt x="81882" y="109500"/>
                  </a:cubicBezTo>
                  <a:cubicBezTo>
                    <a:pt x="81882" y="109500"/>
                    <a:pt x="81882" y="108750"/>
                    <a:pt x="81882" y="108750"/>
                  </a:cubicBezTo>
                  <a:cubicBezTo>
                    <a:pt x="80470" y="108750"/>
                    <a:pt x="80470" y="108000"/>
                    <a:pt x="80470" y="108000"/>
                  </a:cubicBezTo>
                  <a:cubicBezTo>
                    <a:pt x="80470" y="107250"/>
                    <a:pt x="80470" y="106500"/>
                    <a:pt x="80470" y="106500"/>
                  </a:cubicBezTo>
                  <a:cubicBezTo>
                    <a:pt x="80470" y="105750"/>
                    <a:pt x="80470" y="105750"/>
                    <a:pt x="80470" y="105750"/>
                  </a:cubicBezTo>
                  <a:cubicBezTo>
                    <a:pt x="80470" y="105750"/>
                    <a:pt x="81882" y="105000"/>
                    <a:pt x="83294" y="105000"/>
                  </a:cubicBezTo>
                  <a:cubicBezTo>
                    <a:pt x="84705" y="105000"/>
                    <a:pt x="84705" y="105000"/>
                    <a:pt x="84705" y="105000"/>
                  </a:cubicBezTo>
                  <a:cubicBezTo>
                    <a:pt x="86117" y="102750"/>
                    <a:pt x="86117" y="102750"/>
                    <a:pt x="86117" y="102750"/>
                  </a:cubicBezTo>
                  <a:cubicBezTo>
                    <a:pt x="86117" y="102750"/>
                    <a:pt x="86117" y="102000"/>
                    <a:pt x="87529" y="102000"/>
                  </a:cubicBezTo>
                  <a:cubicBezTo>
                    <a:pt x="88941" y="102000"/>
                    <a:pt x="88941" y="102000"/>
                    <a:pt x="88941" y="102000"/>
                  </a:cubicBezTo>
                  <a:cubicBezTo>
                    <a:pt x="88941" y="102000"/>
                    <a:pt x="88941" y="102000"/>
                    <a:pt x="88941" y="102000"/>
                  </a:cubicBezTo>
                  <a:cubicBezTo>
                    <a:pt x="98823" y="99000"/>
                    <a:pt x="98823" y="99000"/>
                    <a:pt x="98823" y="99000"/>
                  </a:cubicBezTo>
                  <a:cubicBezTo>
                    <a:pt x="105882" y="93000"/>
                    <a:pt x="105882" y="93000"/>
                    <a:pt x="105882" y="93000"/>
                  </a:cubicBezTo>
                  <a:cubicBezTo>
                    <a:pt x="107294" y="86250"/>
                    <a:pt x="107294" y="86250"/>
                    <a:pt x="107294" y="86250"/>
                  </a:cubicBezTo>
                  <a:cubicBezTo>
                    <a:pt x="111529" y="80250"/>
                    <a:pt x="111529" y="80250"/>
                    <a:pt x="111529" y="80250"/>
                  </a:cubicBezTo>
                  <a:cubicBezTo>
                    <a:pt x="112941" y="79500"/>
                    <a:pt x="117176" y="78000"/>
                    <a:pt x="118588" y="78000"/>
                  </a:cubicBezTo>
                  <a:cubicBezTo>
                    <a:pt x="118588" y="77250"/>
                    <a:pt x="118588" y="75000"/>
                    <a:pt x="117176" y="72000"/>
                  </a:cubicBezTo>
                  <a:cubicBezTo>
                    <a:pt x="114352" y="69750"/>
                    <a:pt x="114352" y="69750"/>
                    <a:pt x="114352" y="69750"/>
                  </a:cubicBezTo>
                  <a:cubicBezTo>
                    <a:pt x="114352" y="68250"/>
                    <a:pt x="114352" y="68250"/>
                    <a:pt x="114352" y="68250"/>
                  </a:cubicBezTo>
                  <a:cubicBezTo>
                    <a:pt x="114352" y="69000"/>
                    <a:pt x="112941" y="69000"/>
                    <a:pt x="112941" y="68250"/>
                  </a:cubicBezTo>
                  <a:cubicBezTo>
                    <a:pt x="112941" y="68250"/>
                    <a:pt x="111529" y="68250"/>
                    <a:pt x="111529" y="68250"/>
                  </a:cubicBezTo>
                  <a:cubicBezTo>
                    <a:pt x="111529" y="67500"/>
                    <a:pt x="111529" y="67500"/>
                    <a:pt x="111529" y="67500"/>
                  </a:cubicBezTo>
                  <a:cubicBezTo>
                    <a:pt x="107294" y="66750"/>
                    <a:pt x="107294" y="66750"/>
                    <a:pt x="107294" y="66750"/>
                  </a:cubicBezTo>
                  <a:cubicBezTo>
                    <a:pt x="107294" y="66750"/>
                    <a:pt x="107294" y="66750"/>
                    <a:pt x="105882" y="66750"/>
                  </a:cubicBezTo>
                  <a:cubicBezTo>
                    <a:pt x="105882" y="66750"/>
                    <a:pt x="104470" y="66750"/>
                    <a:pt x="104470" y="66750"/>
                  </a:cubicBezTo>
                  <a:cubicBezTo>
                    <a:pt x="101647" y="66000"/>
                    <a:pt x="100235" y="66000"/>
                    <a:pt x="100235" y="66750"/>
                  </a:cubicBezTo>
                  <a:cubicBezTo>
                    <a:pt x="98823" y="66750"/>
                    <a:pt x="98823" y="66750"/>
                    <a:pt x="97411" y="67500"/>
                  </a:cubicBezTo>
                  <a:cubicBezTo>
                    <a:pt x="97411" y="67500"/>
                    <a:pt x="97411" y="67500"/>
                    <a:pt x="97411" y="67500"/>
                  </a:cubicBezTo>
                  <a:cubicBezTo>
                    <a:pt x="96000" y="68250"/>
                    <a:pt x="96000" y="67500"/>
                    <a:pt x="96000" y="67500"/>
                  </a:cubicBezTo>
                  <a:cubicBezTo>
                    <a:pt x="96000" y="67500"/>
                    <a:pt x="96000" y="67500"/>
                    <a:pt x="94588" y="67500"/>
                  </a:cubicBezTo>
                  <a:cubicBezTo>
                    <a:pt x="94588" y="66000"/>
                    <a:pt x="94588" y="66000"/>
                    <a:pt x="94588" y="66000"/>
                  </a:cubicBezTo>
                  <a:cubicBezTo>
                    <a:pt x="94588" y="66000"/>
                    <a:pt x="94588" y="65250"/>
                    <a:pt x="94588" y="65250"/>
                  </a:cubicBezTo>
                  <a:cubicBezTo>
                    <a:pt x="94588" y="64500"/>
                    <a:pt x="93176" y="63000"/>
                    <a:pt x="93176" y="62250"/>
                  </a:cubicBezTo>
                  <a:cubicBezTo>
                    <a:pt x="91764" y="61500"/>
                    <a:pt x="91764" y="61500"/>
                    <a:pt x="91764" y="60750"/>
                  </a:cubicBezTo>
                  <a:cubicBezTo>
                    <a:pt x="91764" y="60750"/>
                    <a:pt x="88941" y="60750"/>
                    <a:pt x="88941" y="60750"/>
                  </a:cubicBezTo>
                  <a:cubicBezTo>
                    <a:pt x="87529" y="60750"/>
                    <a:pt x="86117" y="60750"/>
                    <a:pt x="86117" y="60750"/>
                  </a:cubicBezTo>
                  <a:cubicBezTo>
                    <a:pt x="84705" y="60000"/>
                    <a:pt x="84705" y="59250"/>
                    <a:pt x="86117" y="58500"/>
                  </a:cubicBezTo>
                  <a:cubicBezTo>
                    <a:pt x="86117" y="58500"/>
                    <a:pt x="84705" y="57750"/>
                    <a:pt x="83294" y="57000"/>
                  </a:cubicBezTo>
                  <a:cubicBezTo>
                    <a:pt x="83294" y="57000"/>
                    <a:pt x="80470" y="54750"/>
                    <a:pt x="80470" y="54750"/>
                  </a:cubicBezTo>
                  <a:cubicBezTo>
                    <a:pt x="80470" y="54750"/>
                    <a:pt x="79058" y="54750"/>
                    <a:pt x="79058" y="54000"/>
                  </a:cubicBezTo>
                  <a:cubicBezTo>
                    <a:pt x="77647" y="51000"/>
                    <a:pt x="77647" y="51000"/>
                    <a:pt x="77647" y="51000"/>
                  </a:cubicBezTo>
                  <a:cubicBezTo>
                    <a:pt x="79058" y="50250"/>
                    <a:pt x="79058" y="49500"/>
                    <a:pt x="79058" y="49500"/>
                  </a:cubicBezTo>
                  <a:cubicBezTo>
                    <a:pt x="80470" y="48750"/>
                    <a:pt x="80470" y="48000"/>
                    <a:pt x="80470" y="48000"/>
                  </a:cubicBezTo>
                  <a:cubicBezTo>
                    <a:pt x="80470" y="48000"/>
                    <a:pt x="77647" y="46500"/>
                    <a:pt x="76235" y="46500"/>
                  </a:cubicBezTo>
                  <a:cubicBezTo>
                    <a:pt x="76235" y="46500"/>
                    <a:pt x="73411" y="45000"/>
                    <a:pt x="73411" y="44250"/>
                  </a:cubicBezTo>
                  <a:cubicBezTo>
                    <a:pt x="72000" y="43500"/>
                    <a:pt x="72000" y="42750"/>
                    <a:pt x="72000" y="42750"/>
                  </a:cubicBezTo>
                  <a:cubicBezTo>
                    <a:pt x="73411" y="42000"/>
                    <a:pt x="73411" y="42000"/>
                    <a:pt x="74823" y="42000"/>
                  </a:cubicBezTo>
                  <a:cubicBezTo>
                    <a:pt x="76235" y="41250"/>
                    <a:pt x="76235" y="41250"/>
                    <a:pt x="76235" y="41250"/>
                  </a:cubicBezTo>
                  <a:cubicBezTo>
                    <a:pt x="76235" y="41250"/>
                    <a:pt x="77647" y="40500"/>
                    <a:pt x="77647" y="40500"/>
                  </a:cubicBezTo>
                  <a:cubicBezTo>
                    <a:pt x="77647" y="39750"/>
                    <a:pt x="77647" y="39750"/>
                    <a:pt x="77647" y="39750"/>
                  </a:cubicBezTo>
                  <a:cubicBezTo>
                    <a:pt x="77647" y="39750"/>
                    <a:pt x="76235" y="38250"/>
                    <a:pt x="76235" y="38250"/>
                  </a:cubicBezTo>
                  <a:cubicBezTo>
                    <a:pt x="77647" y="36000"/>
                    <a:pt x="77647" y="36000"/>
                    <a:pt x="77647" y="36000"/>
                  </a:cubicBezTo>
                  <a:cubicBezTo>
                    <a:pt x="76235" y="35250"/>
                    <a:pt x="76235" y="35250"/>
                    <a:pt x="76235" y="35250"/>
                  </a:cubicBezTo>
                  <a:cubicBezTo>
                    <a:pt x="76235" y="32250"/>
                    <a:pt x="76235" y="32250"/>
                    <a:pt x="76235" y="32250"/>
                  </a:cubicBezTo>
                  <a:cubicBezTo>
                    <a:pt x="76235" y="31500"/>
                    <a:pt x="76235" y="31500"/>
                    <a:pt x="76235" y="31500"/>
                  </a:cubicBezTo>
                  <a:cubicBezTo>
                    <a:pt x="76235" y="30750"/>
                    <a:pt x="76235" y="30000"/>
                    <a:pt x="76235" y="30000"/>
                  </a:cubicBezTo>
                  <a:cubicBezTo>
                    <a:pt x="76235" y="29250"/>
                    <a:pt x="77647" y="28500"/>
                    <a:pt x="77647" y="27750"/>
                  </a:cubicBezTo>
                  <a:cubicBezTo>
                    <a:pt x="77647" y="26250"/>
                    <a:pt x="77647" y="26250"/>
                    <a:pt x="77647" y="26250"/>
                  </a:cubicBezTo>
                  <a:cubicBezTo>
                    <a:pt x="79058" y="24750"/>
                    <a:pt x="79058" y="24750"/>
                    <a:pt x="79058" y="24750"/>
                  </a:cubicBezTo>
                  <a:cubicBezTo>
                    <a:pt x="76235" y="22500"/>
                    <a:pt x="76235" y="22500"/>
                    <a:pt x="76235" y="22500"/>
                  </a:cubicBezTo>
                  <a:cubicBezTo>
                    <a:pt x="76235" y="22500"/>
                    <a:pt x="76235" y="22500"/>
                    <a:pt x="74823" y="21750"/>
                  </a:cubicBezTo>
                  <a:cubicBezTo>
                    <a:pt x="74823" y="21000"/>
                    <a:pt x="73411" y="19500"/>
                    <a:pt x="73411" y="19500"/>
                  </a:cubicBezTo>
                  <a:cubicBezTo>
                    <a:pt x="72000" y="18000"/>
                    <a:pt x="72000" y="18000"/>
                    <a:pt x="72000" y="18000"/>
                  </a:cubicBezTo>
                  <a:cubicBezTo>
                    <a:pt x="72000" y="17250"/>
                    <a:pt x="69176" y="15750"/>
                    <a:pt x="69176" y="15750"/>
                  </a:cubicBezTo>
                  <a:cubicBezTo>
                    <a:pt x="69176" y="15000"/>
                    <a:pt x="67764" y="15000"/>
                    <a:pt x="67764" y="15000"/>
                  </a:cubicBezTo>
                  <a:cubicBezTo>
                    <a:pt x="67764" y="14250"/>
                    <a:pt x="67764" y="14250"/>
                    <a:pt x="66352" y="14250"/>
                  </a:cubicBezTo>
                  <a:cubicBezTo>
                    <a:pt x="64941" y="13500"/>
                    <a:pt x="62117" y="12750"/>
                    <a:pt x="62117" y="12750"/>
                  </a:cubicBezTo>
                  <a:cubicBezTo>
                    <a:pt x="59294" y="12750"/>
                    <a:pt x="59294" y="12750"/>
                    <a:pt x="59294" y="12750"/>
                  </a:cubicBezTo>
                  <a:cubicBezTo>
                    <a:pt x="56470" y="11250"/>
                    <a:pt x="56470" y="11250"/>
                    <a:pt x="56470" y="11250"/>
                  </a:cubicBezTo>
                  <a:cubicBezTo>
                    <a:pt x="55058" y="12000"/>
                    <a:pt x="55058" y="12000"/>
                    <a:pt x="55058" y="12000"/>
                  </a:cubicBezTo>
                  <a:cubicBezTo>
                    <a:pt x="50823" y="9000"/>
                    <a:pt x="50823" y="9000"/>
                    <a:pt x="50823" y="9000"/>
                  </a:cubicBezTo>
                  <a:cubicBezTo>
                    <a:pt x="50823" y="6750"/>
                    <a:pt x="50823" y="6750"/>
                    <a:pt x="50823" y="6750"/>
                  </a:cubicBezTo>
                  <a:cubicBezTo>
                    <a:pt x="40941" y="3000"/>
                    <a:pt x="40941" y="3000"/>
                    <a:pt x="40941" y="3000"/>
                  </a:cubicBezTo>
                  <a:cubicBezTo>
                    <a:pt x="39529" y="3750"/>
                    <a:pt x="39529" y="3750"/>
                    <a:pt x="39529" y="3750"/>
                  </a:cubicBezTo>
                  <a:cubicBezTo>
                    <a:pt x="39529" y="3750"/>
                    <a:pt x="38117" y="4500"/>
                    <a:pt x="38117" y="4500"/>
                  </a:cubicBezTo>
                  <a:cubicBezTo>
                    <a:pt x="38117" y="5250"/>
                    <a:pt x="33882" y="5250"/>
                    <a:pt x="33882" y="5250"/>
                  </a:cubicBezTo>
                  <a:cubicBezTo>
                    <a:pt x="32470" y="6750"/>
                    <a:pt x="32470" y="6750"/>
                    <a:pt x="32470" y="6750"/>
                  </a:cubicBezTo>
                  <a:cubicBezTo>
                    <a:pt x="28235" y="7500"/>
                    <a:pt x="28235" y="7500"/>
                    <a:pt x="28235" y="7500"/>
                  </a:cubicBezTo>
                  <a:cubicBezTo>
                    <a:pt x="28235" y="7500"/>
                    <a:pt x="26823" y="7500"/>
                    <a:pt x="26823" y="7500"/>
                  </a:cubicBezTo>
                  <a:cubicBezTo>
                    <a:pt x="26823" y="6750"/>
                    <a:pt x="25411" y="6750"/>
                    <a:pt x="25411" y="6750"/>
                  </a:cubicBezTo>
                  <a:cubicBezTo>
                    <a:pt x="25411" y="6000"/>
                    <a:pt x="25411" y="6000"/>
                    <a:pt x="25411" y="6000"/>
                  </a:cubicBezTo>
                  <a:cubicBezTo>
                    <a:pt x="24000" y="5250"/>
                    <a:pt x="24000" y="4500"/>
                    <a:pt x="24000" y="4500"/>
                  </a:cubicBezTo>
                  <a:cubicBezTo>
                    <a:pt x="24000" y="3750"/>
                    <a:pt x="24000" y="3750"/>
                    <a:pt x="24000" y="3750"/>
                  </a:cubicBezTo>
                  <a:cubicBezTo>
                    <a:pt x="24000" y="3000"/>
                    <a:pt x="24000" y="3000"/>
                    <a:pt x="24000" y="2250"/>
                  </a:cubicBezTo>
                  <a:cubicBezTo>
                    <a:pt x="24000" y="1500"/>
                    <a:pt x="24000" y="1500"/>
                    <a:pt x="24000" y="1500"/>
                  </a:cubicBezTo>
                  <a:cubicBezTo>
                    <a:pt x="21176" y="750"/>
                    <a:pt x="21176" y="750"/>
                    <a:pt x="21176" y="750"/>
                  </a:cubicBezTo>
                  <a:cubicBezTo>
                    <a:pt x="21176" y="750"/>
                    <a:pt x="19764" y="0"/>
                    <a:pt x="19764" y="0"/>
                  </a:cubicBezTo>
                  <a:cubicBezTo>
                    <a:pt x="19764" y="750"/>
                    <a:pt x="16941" y="1500"/>
                    <a:pt x="15529" y="3000"/>
                  </a:cubicBezTo>
                  <a:cubicBezTo>
                    <a:pt x="15529" y="3750"/>
                    <a:pt x="15529" y="3750"/>
                    <a:pt x="15529" y="3750"/>
                  </a:cubicBezTo>
                  <a:cubicBezTo>
                    <a:pt x="12705" y="6750"/>
                    <a:pt x="12705" y="6750"/>
                    <a:pt x="12705" y="6750"/>
                  </a:cubicBezTo>
                  <a:cubicBezTo>
                    <a:pt x="11294" y="9000"/>
                    <a:pt x="11294" y="9000"/>
                    <a:pt x="11294" y="9000"/>
                  </a:cubicBezTo>
                  <a:cubicBezTo>
                    <a:pt x="11294" y="9000"/>
                    <a:pt x="11294" y="9750"/>
                    <a:pt x="9882" y="9750"/>
                  </a:cubicBezTo>
                  <a:cubicBezTo>
                    <a:pt x="9882" y="10500"/>
                    <a:pt x="8470" y="11250"/>
                    <a:pt x="8470" y="11250"/>
                  </a:cubicBezTo>
                  <a:cubicBezTo>
                    <a:pt x="7058" y="11250"/>
                    <a:pt x="7058" y="11250"/>
                    <a:pt x="7058" y="11250"/>
                  </a:cubicBezTo>
                  <a:cubicBezTo>
                    <a:pt x="5647" y="12000"/>
                    <a:pt x="5647" y="12000"/>
                    <a:pt x="5647" y="12000"/>
                  </a:cubicBezTo>
                  <a:cubicBezTo>
                    <a:pt x="7058" y="13500"/>
                    <a:pt x="7058" y="13500"/>
                    <a:pt x="7058" y="13500"/>
                  </a:cubicBezTo>
                  <a:cubicBezTo>
                    <a:pt x="5647" y="13500"/>
                    <a:pt x="5647" y="14250"/>
                    <a:pt x="5647" y="15000"/>
                  </a:cubicBezTo>
                  <a:cubicBezTo>
                    <a:pt x="5647" y="15000"/>
                    <a:pt x="5647" y="15000"/>
                    <a:pt x="4235" y="15750"/>
                  </a:cubicBezTo>
                  <a:cubicBezTo>
                    <a:pt x="4235" y="17250"/>
                    <a:pt x="4235" y="17250"/>
                    <a:pt x="4235" y="17250"/>
                  </a:cubicBezTo>
                  <a:cubicBezTo>
                    <a:pt x="0" y="19500"/>
                    <a:pt x="0" y="19500"/>
                    <a:pt x="0" y="19500"/>
                  </a:cubicBezTo>
                  <a:cubicBezTo>
                    <a:pt x="0" y="20250"/>
                    <a:pt x="0" y="20250"/>
                    <a:pt x="0" y="20250"/>
                  </a:cubicBezTo>
                  <a:cubicBezTo>
                    <a:pt x="1411" y="21000"/>
                    <a:pt x="1411" y="21000"/>
                    <a:pt x="1411" y="21000"/>
                  </a:cubicBezTo>
                  <a:cubicBezTo>
                    <a:pt x="7058" y="22500"/>
                    <a:pt x="7058" y="22500"/>
                    <a:pt x="7058" y="22500"/>
                  </a:cubicBezTo>
                  <a:cubicBezTo>
                    <a:pt x="8470" y="22500"/>
                    <a:pt x="8470" y="23250"/>
                    <a:pt x="8470" y="24000"/>
                  </a:cubicBezTo>
                  <a:cubicBezTo>
                    <a:pt x="8470" y="24000"/>
                    <a:pt x="7058" y="24750"/>
                    <a:pt x="7058" y="24750"/>
                  </a:cubicBezTo>
                  <a:cubicBezTo>
                    <a:pt x="7058" y="26250"/>
                    <a:pt x="7058" y="26250"/>
                    <a:pt x="7058" y="26250"/>
                  </a:cubicBezTo>
                  <a:cubicBezTo>
                    <a:pt x="7058" y="26250"/>
                    <a:pt x="7058" y="27000"/>
                    <a:pt x="7058" y="27000"/>
                  </a:cubicBezTo>
                  <a:cubicBezTo>
                    <a:pt x="7058" y="27000"/>
                    <a:pt x="8470" y="27750"/>
                    <a:pt x="8470" y="27750"/>
                  </a:cubicBezTo>
                  <a:cubicBezTo>
                    <a:pt x="8470" y="28500"/>
                    <a:pt x="7058" y="29250"/>
                    <a:pt x="7058" y="29250"/>
                  </a:cubicBezTo>
                  <a:cubicBezTo>
                    <a:pt x="5647" y="30000"/>
                    <a:pt x="5647" y="30000"/>
                    <a:pt x="5647" y="30000"/>
                  </a:cubicBezTo>
                  <a:cubicBezTo>
                    <a:pt x="7058" y="30750"/>
                    <a:pt x="7058" y="30750"/>
                    <a:pt x="7058" y="30750"/>
                  </a:cubicBezTo>
                  <a:cubicBezTo>
                    <a:pt x="7058" y="30750"/>
                    <a:pt x="7058" y="32250"/>
                    <a:pt x="7058" y="32250"/>
                  </a:cubicBezTo>
                  <a:cubicBezTo>
                    <a:pt x="7058" y="32250"/>
                    <a:pt x="8470" y="33000"/>
                    <a:pt x="9882" y="33000"/>
                  </a:cubicBezTo>
                  <a:cubicBezTo>
                    <a:pt x="9882" y="33000"/>
                    <a:pt x="9882" y="33000"/>
                    <a:pt x="11294" y="33000"/>
                  </a:cubicBezTo>
                  <a:cubicBezTo>
                    <a:pt x="12705" y="33000"/>
                    <a:pt x="12705" y="33000"/>
                    <a:pt x="12705" y="33000"/>
                  </a:cubicBezTo>
                  <a:cubicBezTo>
                    <a:pt x="14117" y="33000"/>
                    <a:pt x="14117" y="33000"/>
                    <a:pt x="14117" y="33000"/>
                  </a:cubicBezTo>
                  <a:cubicBezTo>
                    <a:pt x="19764" y="33750"/>
                    <a:pt x="19764" y="33750"/>
                    <a:pt x="19764" y="33750"/>
                  </a:cubicBezTo>
                  <a:cubicBezTo>
                    <a:pt x="21176" y="34500"/>
                    <a:pt x="21176" y="34500"/>
                    <a:pt x="21176" y="34500"/>
                  </a:cubicBezTo>
                  <a:cubicBezTo>
                    <a:pt x="21176" y="36750"/>
                    <a:pt x="21176" y="36750"/>
                    <a:pt x="21176" y="36750"/>
                  </a:cubicBezTo>
                  <a:cubicBezTo>
                    <a:pt x="22588" y="39000"/>
                    <a:pt x="22588" y="39000"/>
                    <a:pt x="22588" y="39000"/>
                  </a:cubicBezTo>
                  <a:cubicBezTo>
                    <a:pt x="21176" y="40500"/>
                    <a:pt x="21176" y="40500"/>
                    <a:pt x="21176" y="40500"/>
                  </a:cubicBezTo>
                  <a:cubicBezTo>
                    <a:pt x="22588" y="40500"/>
                    <a:pt x="22588" y="40500"/>
                    <a:pt x="22588" y="40500"/>
                  </a:cubicBezTo>
                  <a:cubicBezTo>
                    <a:pt x="22588" y="40500"/>
                    <a:pt x="22588" y="41250"/>
                    <a:pt x="22588" y="41250"/>
                  </a:cubicBezTo>
                  <a:cubicBezTo>
                    <a:pt x="22588" y="42000"/>
                    <a:pt x="22588" y="43500"/>
                    <a:pt x="22588" y="43500"/>
                  </a:cubicBezTo>
                  <a:cubicBezTo>
                    <a:pt x="21176" y="43500"/>
                    <a:pt x="19764" y="44250"/>
                    <a:pt x="18352" y="44250"/>
                  </a:cubicBezTo>
                  <a:cubicBezTo>
                    <a:pt x="16941" y="44250"/>
                    <a:pt x="15529" y="44250"/>
                    <a:pt x="15529" y="44250"/>
                  </a:cubicBezTo>
                  <a:cubicBezTo>
                    <a:pt x="15529" y="45000"/>
                    <a:pt x="15529" y="45000"/>
                    <a:pt x="15529" y="45000"/>
                  </a:cubicBezTo>
                  <a:cubicBezTo>
                    <a:pt x="18352" y="45750"/>
                    <a:pt x="18352" y="45750"/>
                    <a:pt x="18352" y="45750"/>
                  </a:cubicBezTo>
                  <a:cubicBezTo>
                    <a:pt x="19764" y="45750"/>
                    <a:pt x="19764" y="45750"/>
                    <a:pt x="19764" y="45750"/>
                  </a:cubicBezTo>
                  <a:cubicBezTo>
                    <a:pt x="21176" y="46500"/>
                    <a:pt x="21176" y="48000"/>
                    <a:pt x="21176" y="48000"/>
                  </a:cubicBezTo>
                  <a:cubicBezTo>
                    <a:pt x="19764" y="48000"/>
                    <a:pt x="19764" y="48750"/>
                    <a:pt x="19764" y="48750"/>
                  </a:cubicBezTo>
                  <a:cubicBezTo>
                    <a:pt x="18352" y="48750"/>
                    <a:pt x="16941" y="49500"/>
                    <a:pt x="16941" y="49500"/>
                  </a:cubicBezTo>
                  <a:cubicBezTo>
                    <a:pt x="14117" y="51000"/>
                    <a:pt x="14117" y="51000"/>
                    <a:pt x="14117" y="51000"/>
                  </a:cubicBezTo>
                  <a:cubicBezTo>
                    <a:pt x="12705" y="51750"/>
                    <a:pt x="12705" y="51750"/>
                    <a:pt x="12705" y="51750"/>
                  </a:cubicBezTo>
                  <a:cubicBezTo>
                    <a:pt x="14117" y="53250"/>
                    <a:pt x="14117" y="53250"/>
                    <a:pt x="14117" y="53250"/>
                  </a:cubicBezTo>
                  <a:cubicBezTo>
                    <a:pt x="15529" y="53250"/>
                    <a:pt x="15529" y="53250"/>
                    <a:pt x="15529" y="53250"/>
                  </a:cubicBezTo>
                  <a:cubicBezTo>
                    <a:pt x="16941" y="53250"/>
                    <a:pt x="16941" y="53250"/>
                    <a:pt x="16941" y="54000"/>
                  </a:cubicBezTo>
                  <a:cubicBezTo>
                    <a:pt x="16941" y="54000"/>
                    <a:pt x="16941" y="54000"/>
                    <a:pt x="21176" y="54750"/>
                  </a:cubicBezTo>
                  <a:cubicBezTo>
                    <a:pt x="21176" y="56250"/>
                    <a:pt x="21176" y="56250"/>
                    <a:pt x="21176" y="56250"/>
                  </a:cubicBezTo>
                  <a:cubicBezTo>
                    <a:pt x="21176" y="56250"/>
                    <a:pt x="21176" y="57000"/>
                    <a:pt x="21176" y="57750"/>
                  </a:cubicBezTo>
                  <a:cubicBezTo>
                    <a:pt x="21176" y="58500"/>
                    <a:pt x="19764" y="60750"/>
                    <a:pt x="19764" y="60750"/>
                  </a:cubicBezTo>
                  <a:cubicBezTo>
                    <a:pt x="18352" y="62250"/>
                    <a:pt x="18352" y="62250"/>
                    <a:pt x="18352" y="62250"/>
                  </a:cubicBezTo>
                  <a:cubicBezTo>
                    <a:pt x="18352" y="62250"/>
                    <a:pt x="19764" y="63000"/>
                    <a:pt x="19764" y="64500"/>
                  </a:cubicBezTo>
                  <a:cubicBezTo>
                    <a:pt x="18352" y="66750"/>
                    <a:pt x="18352" y="66750"/>
                    <a:pt x="18352" y="66750"/>
                  </a:cubicBezTo>
                  <a:cubicBezTo>
                    <a:pt x="24000" y="67500"/>
                    <a:pt x="24000" y="67500"/>
                    <a:pt x="24000" y="67500"/>
                  </a:cubicBezTo>
                  <a:cubicBezTo>
                    <a:pt x="24000" y="69000"/>
                    <a:pt x="24000" y="69000"/>
                    <a:pt x="24000" y="69000"/>
                  </a:cubicBezTo>
                  <a:cubicBezTo>
                    <a:pt x="19764" y="69750"/>
                    <a:pt x="19764" y="69750"/>
                    <a:pt x="19764" y="69750"/>
                  </a:cubicBezTo>
                  <a:cubicBezTo>
                    <a:pt x="19764" y="69750"/>
                    <a:pt x="18352" y="69750"/>
                    <a:pt x="18352" y="70500"/>
                  </a:cubicBezTo>
                  <a:cubicBezTo>
                    <a:pt x="18352" y="70500"/>
                    <a:pt x="18352" y="71250"/>
                    <a:pt x="18352" y="71250"/>
                  </a:cubicBezTo>
                  <a:cubicBezTo>
                    <a:pt x="21176" y="71250"/>
                    <a:pt x="21176" y="71250"/>
                    <a:pt x="21176" y="71250"/>
                  </a:cubicBezTo>
                  <a:cubicBezTo>
                    <a:pt x="18352" y="72750"/>
                    <a:pt x="18352" y="72750"/>
                    <a:pt x="18352" y="72750"/>
                  </a:cubicBezTo>
                  <a:cubicBezTo>
                    <a:pt x="18352" y="72750"/>
                    <a:pt x="18352" y="74250"/>
                    <a:pt x="18352" y="74250"/>
                  </a:cubicBezTo>
                  <a:cubicBezTo>
                    <a:pt x="18352" y="74250"/>
                    <a:pt x="18352" y="75000"/>
                    <a:pt x="18352" y="75750"/>
                  </a:cubicBezTo>
                  <a:cubicBezTo>
                    <a:pt x="16941" y="75750"/>
                    <a:pt x="16941" y="75750"/>
                    <a:pt x="16941" y="75750"/>
                  </a:cubicBezTo>
                  <a:cubicBezTo>
                    <a:pt x="16941" y="77250"/>
                    <a:pt x="16941" y="77250"/>
                    <a:pt x="16941" y="77250"/>
                  </a:cubicBezTo>
                  <a:cubicBezTo>
                    <a:pt x="15529" y="81000"/>
                    <a:pt x="15529" y="81000"/>
                    <a:pt x="15529" y="81000"/>
                  </a:cubicBezTo>
                  <a:cubicBezTo>
                    <a:pt x="19764" y="85500"/>
                    <a:pt x="19764" y="85500"/>
                    <a:pt x="19764" y="85500"/>
                  </a:cubicBezTo>
                  <a:cubicBezTo>
                    <a:pt x="24000" y="87750"/>
                    <a:pt x="24000" y="87750"/>
                    <a:pt x="24000" y="87750"/>
                  </a:cubicBezTo>
                  <a:cubicBezTo>
                    <a:pt x="26823" y="89250"/>
                    <a:pt x="26823" y="89250"/>
                    <a:pt x="26823" y="89250"/>
                  </a:cubicBezTo>
                  <a:cubicBezTo>
                    <a:pt x="25411" y="91500"/>
                    <a:pt x="25411" y="91500"/>
                    <a:pt x="25411" y="91500"/>
                  </a:cubicBezTo>
                  <a:cubicBezTo>
                    <a:pt x="26823" y="92250"/>
                    <a:pt x="26823" y="92250"/>
                    <a:pt x="26823" y="92250"/>
                  </a:cubicBezTo>
                  <a:cubicBezTo>
                    <a:pt x="26823" y="93750"/>
                    <a:pt x="26823" y="93750"/>
                    <a:pt x="26823" y="93750"/>
                  </a:cubicBezTo>
                  <a:cubicBezTo>
                    <a:pt x="26823" y="93750"/>
                    <a:pt x="26823" y="94500"/>
                    <a:pt x="25411" y="94500"/>
                  </a:cubicBezTo>
                  <a:cubicBezTo>
                    <a:pt x="25411" y="94500"/>
                    <a:pt x="24000" y="94500"/>
                    <a:pt x="24000" y="94500"/>
                  </a:cubicBezTo>
                  <a:cubicBezTo>
                    <a:pt x="22588" y="93750"/>
                    <a:pt x="21176" y="92250"/>
                    <a:pt x="21176" y="92250"/>
                  </a:cubicBezTo>
                  <a:cubicBezTo>
                    <a:pt x="21176" y="92250"/>
                    <a:pt x="19764" y="91500"/>
                    <a:pt x="19764" y="90750"/>
                  </a:cubicBezTo>
                  <a:cubicBezTo>
                    <a:pt x="19764" y="90750"/>
                    <a:pt x="18352" y="90000"/>
                    <a:pt x="18352" y="90000"/>
                  </a:cubicBezTo>
                  <a:cubicBezTo>
                    <a:pt x="15529" y="90000"/>
                    <a:pt x="15529" y="90000"/>
                    <a:pt x="15529" y="90000"/>
                  </a:cubicBezTo>
                  <a:cubicBezTo>
                    <a:pt x="15529" y="90750"/>
                    <a:pt x="15529" y="90750"/>
                    <a:pt x="15529" y="90750"/>
                  </a:cubicBezTo>
                  <a:cubicBezTo>
                    <a:pt x="15529" y="90750"/>
                    <a:pt x="16941" y="91500"/>
                    <a:pt x="16941" y="92250"/>
                  </a:cubicBezTo>
                  <a:cubicBezTo>
                    <a:pt x="18352" y="92250"/>
                    <a:pt x="19764" y="93000"/>
                    <a:pt x="19764" y="93000"/>
                  </a:cubicBezTo>
                  <a:cubicBezTo>
                    <a:pt x="19764" y="93000"/>
                    <a:pt x="21176" y="93750"/>
                    <a:pt x="21176" y="93750"/>
                  </a:cubicBezTo>
                  <a:cubicBezTo>
                    <a:pt x="21176" y="93750"/>
                    <a:pt x="22588" y="96000"/>
                    <a:pt x="22588" y="96000"/>
                  </a:cubicBezTo>
                  <a:cubicBezTo>
                    <a:pt x="38117" y="101250"/>
                    <a:pt x="38117" y="101250"/>
                    <a:pt x="38117" y="101250"/>
                  </a:cubicBezTo>
                  <a:cubicBezTo>
                    <a:pt x="43764" y="102000"/>
                    <a:pt x="43764" y="102000"/>
                    <a:pt x="43764" y="102000"/>
                  </a:cubicBezTo>
                  <a:cubicBezTo>
                    <a:pt x="45176" y="103500"/>
                    <a:pt x="45176" y="103500"/>
                    <a:pt x="45176" y="103500"/>
                  </a:cubicBezTo>
                  <a:cubicBezTo>
                    <a:pt x="46588" y="103500"/>
                    <a:pt x="46588" y="103500"/>
                    <a:pt x="46588" y="103500"/>
                  </a:cubicBezTo>
                  <a:cubicBezTo>
                    <a:pt x="46588" y="103500"/>
                    <a:pt x="48000" y="103500"/>
                    <a:pt x="49411" y="103500"/>
                  </a:cubicBezTo>
                  <a:cubicBezTo>
                    <a:pt x="49411" y="103500"/>
                    <a:pt x="49411" y="103500"/>
                    <a:pt x="49411" y="103500"/>
                  </a:cubicBezTo>
                  <a:cubicBezTo>
                    <a:pt x="49411" y="103500"/>
                    <a:pt x="52235" y="104250"/>
                    <a:pt x="52235" y="104250"/>
                  </a:cubicBezTo>
                  <a:cubicBezTo>
                    <a:pt x="52235" y="104250"/>
                    <a:pt x="53647" y="104250"/>
                    <a:pt x="53647" y="104250"/>
                  </a:cubicBezTo>
                  <a:cubicBezTo>
                    <a:pt x="53647" y="105000"/>
                    <a:pt x="56470" y="107250"/>
                    <a:pt x="57882" y="108750"/>
                  </a:cubicBezTo>
                  <a:cubicBezTo>
                    <a:pt x="57882" y="108750"/>
                    <a:pt x="59294" y="109500"/>
                    <a:pt x="59294" y="110250"/>
                  </a:cubicBezTo>
                  <a:cubicBezTo>
                    <a:pt x="60705" y="110250"/>
                    <a:pt x="63529" y="111000"/>
                    <a:pt x="63529" y="111000"/>
                  </a:cubicBezTo>
                  <a:cubicBezTo>
                    <a:pt x="63529" y="111750"/>
                    <a:pt x="63529" y="112500"/>
                    <a:pt x="63529" y="113250"/>
                  </a:cubicBezTo>
                  <a:cubicBezTo>
                    <a:pt x="63529" y="113250"/>
                    <a:pt x="63529" y="113250"/>
                    <a:pt x="63529" y="114000"/>
                  </a:cubicBezTo>
                  <a:cubicBezTo>
                    <a:pt x="63529" y="114750"/>
                    <a:pt x="64941" y="114750"/>
                    <a:pt x="64941" y="114750"/>
                  </a:cubicBezTo>
                  <a:cubicBezTo>
                    <a:pt x="64941" y="115500"/>
                    <a:pt x="66352" y="116250"/>
                    <a:pt x="66352" y="116250"/>
                  </a:cubicBezTo>
                  <a:cubicBezTo>
                    <a:pt x="66352" y="118500"/>
                    <a:pt x="66352" y="118500"/>
                    <a:pt x="66352" y="118500"/>
                  </a:cubicBezTo>
                  <a:cubicBezTo>
                    <a:pt x="67764" y="118500"/>
                    <a:pt x="67764" y="118500"/>
                    <a:pt x="67764" y="118500"/>
                  </a:cubicBezTo>
                  <a:lnTo>
                    <a:pt x="69176" y="11850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 cmpd="sng">
              <a:solidFill>
                <a:schemeClr val="tx1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defTabSz="457200"/>
              <a:endParaRPr kern="0">
                <a:solidFill>
                  <a:srgbClr val="7F7F7F"/>
                </a:solidFill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25" name="Shape 2017">
              <a:extLst>
                <a:ext uri="{FF2B5EF4-FFF2-40B4-BE49-F238E27FC236}">
                  <a16:creationId xmlns:a16="http://schemas.microsoft.com/office/drawing/2014/main" id="{AED8B421-7321-DA01-5112-1D164C04E42E}"/>
                </a:ext>
              </a:extLst>
            </p:cNvPr>
            <p:cNvSpPr/>
            <p:nvPr/>
          </p:nvSpPr>
          <p:spPr>
            <a:xfrm>
              <a:off x="4879637" y="3712660"/>
              <a:ext cx="163064" cy="180641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64615" y="117303"/>
                  </a:moveTo>
                  <a:cubicBezTo>
                    <a:pt x="64615" y="117303"/>
                    <a:pt x="72307" y="120000"/>
                    <a:pt x="70769" y="120000"/>
                  </a:cubicBezTo>
                  <a:cubicBezTo>
                    <a:pt x="70769" y="120000"/>
                    <a:pt x="70769" y="120000"/>
                    <a:pt x="70769" y="118651"/>
                  </a:cubicBezTo>
                  <a:cubicBezTo>
                    <a:pt x="70769" y="118651"/>
                    <a:pt x="69230" y="120000"/>
                    <a:pt x="69230" y="120000"/>
                  </a:cubicBezTo>
                  <a:cubicBezTo>
                    <a:pt x="69230" y="120000"/>
                    <a:pt x="66153" y="117303"/>
                    <a:pt x="67692" y="117303"/>
                  </a:cubicBezTo>
                  <a:cubicBezTo>
                    <a:pt x="67692" y="117303"/>
                    <a:pt x="67692" y="115955"/>
                    <a:pt x="67692" y="115955"/>
                  </a:cubicBezTo>
                  <a:cubicBezTo>
                    <a:pt x="67692" y="114606"/>
                    <a:pt x="66153" y="113258"/>
                    <a:pt x="66153" y="113258"/>
                  </a:cubicBezTo>
                  <a:cubicBezTo>
                    <a:pt x="67692" y="111910"/>
                    <a:pt x="67692" y="111910"/>
                    <a:pt x="67692" y="111910"/>
                  </a:cubicBezTo>
                  <a:cubicBezTo>
                    <a:pt x="67692" y="111910"/>
                    <a:pt x="67692" y="109213"/>
                    <a:pt x="67692" y="109213"/>
                  </a:cubicBezTo>
                  <a:cubicBezTo>
                    <a:pt x="67692" y="109213"/>
                    <a:pt x="67692" y="107865"/>
                    <a:pt x="67692" y="107865"/>
                  </a:cubicBezTo>
                  <a:cubicBezTo>
                    <a:pt x="67692" y="107865"/>
                    <a:pt x="66153" y="106516"/>
                    <a:pt x="66153" y="106516"/>
                  </a:cubicBezTo>
                  <a:cubicBezTo>
                    <a:pt x="67692" y="103820"/>
                    <a:pt x="67692" y="103820"/>
                    <a:pt x="67692" y="103820"/>
                  </a:cubicBezTo>
                  <a:cubicBezTo>
                    <a:pt x="67692" y="103820"/>
                    <a:pt x="67692" y="102471"/>
                    <a:pt x="67692" y="102471"/>
                  </a:cubicBezTo>
                  <a:cubicBezTo>
                    <a:pt x="67692" y="101123"/>
                    <a:pt x="67692" y="99775"/>
                    <a:pt x="67692" y="99775"/>
                  </a:cubicBezTo>
                  <a:cubicBezTo>
                    <a:pt x="64615" y="98426"/>
                    <a:pt x="64615" y="98426"/>
                    <a:pt x="64615" y="98426"/>
                  </a:cubicBezTo>
                  <a:cubicBezTo>
                    <a:pt x="61538" y="97078"/>
                    <a:pt x="61538" y="97078"/>
                    <a:pt x="61538" y="97078"/>
                  </a:cubicBezTo>
                  <a:cubicBezTo>
                    <a:pt x="60000" y="95730"/>
                    <a:pt x="60000" y="95730"/>
                    <a:pt x="60000" y="95730"/>
                  </a:cubicBezTo>
                  <a:cubicBezTo>
                    <a:pt x="60000" y="93033"/>
                    <a:pt x="60000" y="93033"/>
                    <a:pt x="60000" y="93033"/>
                  </a:cubicBezTo>
                  <a:cubicBezTo>
                    <a:pt x="63076" y="90337"/>
                    <a:pt x="63076" y="90337"/>
                    <a:pt x="63076" y="90337"/>
                  </a:cubicBezTo>
                  <a:cubicBezTo>
                    <a:pt x="64615" y="87640"/>
                    <a:pt x="64615" y="87640"/>
                    <a:pt x="64615" y="87640"/>
                  </a:cubicBezTo>
                  <a:cubicBezTo>
                    <a:pt x="64615" y="87640"/>
                    <a:pt x="66153" y="86292"/>
                    <a:pt x="66153" y="86292"/>
                  </a:cubicBezTo>
                  <a:cubicBezTo>
                    <a:pt x="66153" y="84943"/>
                    <a:pt x="66153" y="83595"/>
                    <a:pt x="66153" y="83595"/>
                  </a:cubicBezTo>
                  <a:cubicBezTo>
                    <a:pt x="66153" y="80898"/>
                    <a:pt x="66153" y="80898"/>
                    <a:pt x="66153" y="80898"/>
                  </a:cubicBezTo>
                  <a:cubicBezTo>
                    <a:pt x="67692" y="79550"/>
                    <a:pt x="67692" y="79550"/>
                    <a:pt x="67692" y="79550"/>
                  </a:cubicBezTo>
                  <a:cubicBezTo>
                    <a:pt x="69230" y="78202"/>
                    <a:pt x="69230" y="78202"/>
                    <a:pt x="69230" y="78202"/>
                  </a:cubicBezTo>
                  <a:cubicBezTo>
                    <a:pt x="69230" y="78202"/>
                    <a:pt x="70769" y="76853"/>
                    <a:pt x="70769" y="76853"/>
                  </a:cubicBezTo>
                  <a:cubicBezTo>
                    <a:pt x="70769" y="75505"/>
                    <a:pt x="72307" y="74157"/>
                    <a:pt x="72307" y="74157"/>
                  </a:cubicBezTo>
                  <a:cubicBezTo>
                    <a:pt x="73846" y="71460"/>
                    <a:pt x="73846" y="71460"/>
                    <a:pt x="73846" y="71460"/>
                  </a:cubicBezTo>
                  <a:cubicBezTo>
                    <a:pt x="75384" y="68764"/>
                    <a:pt x="75384" y="68764"/>
                    <a:pt x="75384" y="68764"/>
                  </a:cubicBezTo>
                  <a:cubicBezTo>
                    <a:pt x="76923" y="66067"/>
                    <a:pt x="76923" y="66067"/>
                    <a:pt x="76923" y="66067"/>
                  </a:cubicBezTo>
                  <a:cubicBezTo>
                    <a:pt x="75384" y="64719"/>
                    <a:pt x="75384" y="64719"/>
                    <a:pt x="75384" y="64719"/>
                  </a:cubicBezTo>
                  <a:cubicBezTo>
                    <a:pt x="75384" y="64719"/>
                    <a:pt x="81538" y="59325"/>
                    <a:pt x="81538" y="59325"/>
                  </a:cubicBezTo>
                  <a:cubicBezTo>
                    <a:pt x="81538" y="59325"/>
                    <a:pt x="84615" y="59325"/>
                    <a:pt x="84615" y="59325"/>
                  </a:cubicBezTo>
                  <a:cubicBezTo>
                    <a:pt x="84615" y="60674"/>
                    <a:pt x="84615" y="60674"/>
                    <a:pt x="84615" y="60674"/>
                  </a:cubicBezTo>
                  <a:cubicBezTo>
                    <a:pt x="86153" y="62022"/>
                    <a:pt x="86153" y="62022"/>
                    <a:pt x="86153" y="62022"/>
                  </a:cubicBezTo>
                  <a:cubicBezTo>
                    <a:pt x="86153" y="63370"/>
                    <a:pt x="86153" y="63370"/>
                    <a:pt x="86153" y="63370"/>
                  </a:cubicBezTo>
                  <a:cubicBezTo>
                    <a:pt x="86153" y="63370"/>
                    <a:pt x="86153" y="64719"/>
                    <a:pt x="86153" y="66067"/>
                  </a:cubicBezTo>
                  <a:cubicBezTo>
                    <a:pt x="86153" y="66067"/>
                    <a:pt x="86153" y="67415"/>
                    <a:pt x="86153" y="67415"/>
                  </a:cubicBezTo>
                  <a:cubicBezTo>
                    <a:pt x="86153" y="67415"/>
                    <a:pt x="87692" y="68764"/>
                    <a:pt x="87692" y="68764"/>
                  </a:cubicBezTo>
                  <a:cubicBezTo>
                    <a:pt x="87692" y="70112"/>
                    <a:pt x="89230" y="71460"/>
                    <a:pt x="89230" y="71460"/>
                  </a:cubicBezTo>
                  <a:cubicBezTo>
                    <a:pt x="89230" y="71460"/>
                    <a:pt x="89230" y="71460"/>
                    <a:pt x="90769" y="71460"/>
                  </a:cubicBezTo>
                  <a:cubicBezTo>
                    <a:pt x="90769" y="72808"/>
                    <a:pt x="90769" y="72808"/>
                    <a:pt x="90769" y="72808"/>
                  </a:cubicBezTo>
                  <a:cubicBezTo>
                    <a:pt x="93846" y="71460"/>
                    <a:pt x="93846" y="71460"/>
                    <a:pt x="93846" y="71460"/>
                  </a:cubicBezTo>
                  <a:cubicBezTo>
                    <a:pt x="96923" y="68764"/>
                    <a:pt x="96923" y="68764"/>
                    <a:pt x="96923" y="68764"/>
                  </a:cubicBezTo>
                  <a:cubicBezTo>
                    <a:pt x="96923" y="68764"/>
                    <a:pt x="101538" y="67415"/>
                    <a:pt x="101538" y="67415"/>
                  </a:cubicBezTo>
                  <a:cubicBezTo>
                    <a:pt x="101538" y="67415"/>
                    <a:pt x="103076" y="64719"/>
                    <a:pt x="103076" y="64719"/>
                  </a:cubicBezTo>
                  <a:cubicBezTo>
                    <a:pt x="104615" y="64719"/>
                    <a:pt x="104615" y="64719"/>
                    <a:pt x="104615" y="64719"/>
                  </a:cubicBezTo>
                  <a:cubicBezTo>
                    <a:pt x="104615" y="64719"/>
                    <a:pt x="104615" y="64719"/>
                    <a:pt x="104615" y="64719"/>
                  </a:cubicBezTo>
                  <a:cubicBezTo>
                    <a:pt x="103076" y="62022"/>
                    <a:pt x="106153" y="59325"/>
                    <a:pt x="104615" y="56629"/>
                  </a:cubicBezTo>
                  <a:cubicBezTo>
                    <a:pt x="104615" y="56629"/>
                    <a:pt x="103076" y="55280"/>
                    <a:pt x="103076" y="55280"/>
                  </a:cubicBezTo>
                  <a:cubicBezTo>
                    <a:pt x="103076" y="55280"/>
                    <a:pt x="103076" y="55280"/>
                    <a:pt x="103076" y="55280"/>
                  </a:cubicBezTo>
                  <a:cubicBezTo>
                    <a:pt x="103076" y="55280"/>
                    <a:pt x="103076" y="55280"/>
                    <a:pt x="103076" y="55280"/>
                  </a:cubicBezTo>
                  <a:cubicBezTo>
                    <a:pt x="100000" y="52584"/>
                    <a:pt x="95384" y="51235"/>
                    <a:pt x="96923" y="51235"/>
                  </a:cubicBezTo>
                  <a:cubicBezTo>
                    <a:pt x="98461" y="48539"/>
                    <a:pt x="104615" y="49887"/>
                    <a:pt x="107692" y="48539"/>
                  </a:cubicBezTo>
                  <a:cubicBezTo>
                    <a:pt x="109230" y="48539"/>
                    <a:pt x="109230" y="45842"/>
                    <a:pt x="110769" y="44494"/>
                  </a:cubicBezTo>
                  <a:cubicBezTo>
                    <a:pt x="112307" y="44494"/>
                    <a:pt x="115384" y="45842"/>
                    <a:pt x="115384" y="43146"/>
                  </a:cubicBezTo>
                  <a:cubicBezTo>
                    <a:pt x="115384" y="40449"/>
                    <a:pt x="118461" y="40449"/>
                    <a:pt x="120000" y="41797"/>
                  </a:cubicBezTo>
                  <a:cubicBezTo>
                    <a:pt x="120000" y="41797"/>
                    <a:pt x="120000" y="41797"/>
                    <a:pt x="120000" y="41797"/>
                  </a:cubicBezTo>
                  <a:cubicBezTo>
                    <a:pt x="118461" y="39101"/>
                    <a:pt x="113846" y="36404"/>
                    <a:pt x="112307" y="35056"/>
                  </a:cubicBezTo>
                  <a:cubicBezTo>
                    <a:pt x="112307" y="35056"/>
                    <a:pt x="112307" y="33707"/>
                    <a:pt x="109230" y="33707"/>
                  </a:cubicBezTo>
                  <a:cubicBezTo>
                    <a:pt x="107692" y="33707"/>
                    <a:pt x="104615" y="31011"/>
                    <a:pt x="104615" y="31011"/>
                  </a:cubicBezTo>
                  <a:cubicBezTo>
                    <a:pt x="100000" y="31011"/>
                    <a:pt x="100000" y="31011"/>
                    <a:pt x="100000" y="31011"/>
                  </a:cubicBezTo>
                  <a:cubicBezTo>
                    <a:pt x="100000" y="31011"/>
                    <a:pt x="95384" y="26966"/>
                    <a:pt x="95384" y="26966"/>
                  </a:cubicBezTo>
                  <a:cubicBezTo>
                    <a:pt x="93846" y="26966"/>
                    <a:pt x="89230" y="25617"/>
                    <a:pt x="89230" y="25617"/>
                  </a:cubicBezTo>
                  <a:cubicBezTo>
                    <a:pt x="89230" y="22921"/>
                    <a:pt x="89230" y="22921"/>
                    <a:pt x="89230" y="22921"/>
                  </a:cubicBezTo>
                  <a:cubicBezTo>
                    <a:pt x="89230" y="22921"/>
                    <a:pt x="87692" y="22921"/>
                    <a:pt x="87692" y="22921"/>
                  </a:cubicBezTo>
                  <a:cubicBezTo>
                    <a:pt x="86153" y="22921"/>
                    <a:pt x="84615" y="24269"/>
                    <a:pt x="84615" y="24269"/>
                  </a:cubicBezTo>
                  <a:cubicBezTo>
                    <a:pt x="80000" y="25617"/>
                    <a:pt x="80000" y="25617"/>
                    <a:pt x="80000" y="25617"/>
                  </a:cubicBezTo>
                  <a:cubicBezTo>
                    <a:pt x="80000" y="25617"/>
                    <a:pt x="76923" y="25617"/>
                    <a:pt x="76923" y="25617"/>
                  </a:cubicBezTo>
                  <a:cubicBezTo>
                    <a:pt x="75384" y="24269"/>
                    <a:pt x="73846" y="21573"/>
                    <a:pt x="73846" y="21573"/>
                  </a:cubicBezTo>
                  <a:cubicBezTo>
                    <a:pt x="73846" y="21573"/>
                    <a:pt x="73846" y="21573"/>
                    <a:pt x="72307" y="21573"/>
                  </a:cubicBezTo>
                  <a:cubicBezTo>
                    <a:pt x="70769" y="22921"/>
                    <a:pt x="73846" y="24269"/>
                    <a:pt x="70769" y="22921"/>
                  </a:cubicBezTo>
                  <a:cubicBezTo>
                    <a:pt x="66153" y="21573"/>
                    <a:pt x="66153" y="21573"/>
                    <a:pt x="66153" y="21573"/>
                  </a:cubicBezTo>
                  <a:cubicBezTo>
                    <a:pt x="63076" y="18876"/>
                    <a:pt x="63076" y="18876"/>
                    <a:pt x="63076" y="18876"/>
                  </a:cubicBezTo>
                  <a:cubicBezTo>
                    <a:pt x="61538" y="18876"/>
                    <a:pt x="61538" y="18876"/>
                    <a:pt x="61538" y="18876"/>
                  </a:cubicBezTo>
                  <a:cubicBezTo>
                    <a:pt x="60000" y="18876"/>
                    <a:pt x="60000" y="18876"/>
                    <a:pt x="60000" y="18876"/>
                  </a:cubicBezTo>
                  <a:cubicBezTo>
                    <a:pt x="60000" y="18876"/>
                    <a:pt x="58461" y="16179"/>
                    <a:pt x="58461" y="16179"/>
                  </a:cubicBezTo>
                  <a:cubicBezTo>
                    <a:pt x="58461" y="16179"/>
                    <a:pt x="58461" y="13483"/>
                    <a:pt x="58461" y="13483"/>
                  </a:cubicBezTo>
                  <a:cubicBezTo>
                    <a:pt x="56923" y="13483"/>
                    <a:pt x="52307" y="12134"/>
                    <a:pt x="52307" y="12134"/>
                  </a:cubicBezTo>
                  <a:cubicBezTo>
                    <a:pt x="50769" y="9438"/>
                    <a:pt x="50769" y="9438"/>
                    <a:pt x="50769" y="9438"/>
                  </a:cubicBezTo>
                  <a:cubicBezTo>
                    <a:pt x="50769" y="9438"/>
                    <a:pt x="50769" y="9438"/>
                    <a:pt x="50769" y="9438"/>
                  </a:cubicBezTo>
                  <a:cubicBezTo>
                    <a:pt x="49230" y="9438"/>
                    <a:pt x="46153" y="8089"/>
                    <a:pt x="46153" y="8089"/>
                  </a:cubicBezTo>
                  <a:cubicBezTo>
                    <a:pt x="44615" y="6741"/>
                    <a:pt x="44615" y="6741"/>
                    <a:pt x="44615" y="6741"/>
                  </a:cubicBezTo>
                  <a:cubicBezTo>
                    <a:pt x="40000" y="6741"/>
                    <a:pt x="40000" y="6741"/>
                    <a:pt x="40000" y="6741"/>
                  </a:cubicBezTo>
                  <a:cubicBezTo>
                    <a:pt x="38461" y="4044"/>
                    <a:pt x="38461" y="4044"/>
                    <a:pt x="38461" y="4044"/>
                  </a:cubicBezTo>
                  <a:cubicBezTo>
                    <a:pt x="38461" y="4044"/>
                    <a:pt x="36923" y="2696"/>
                    <a:pt x="36923" y="2696"/>
                  </a:cubicBezTo>
                  <a:cubicBezTo>
                    <a:pt x="38461" y="2696"/>
                    <a:pt x="38461" y="0"/>
                    <a:pt x="38461" y="0"/>
                  </a:cubicBezTo>
                  <a:cubicBezTo>
                    <a:pt x="35384" y="0"/>
                    <a:pt x="35384" y="0"/>
                    <a:pt x="35384" y="0"/>
                  </a:cubicBezTo>
                  <a:cubicBezTo>
                    <a:pt x="35384" y="0"/>
                    <a:pt x="32307" y="1348"/>
                    <a:pt x="32307" y="1348"/>
                  </a:cubicBezTo>
                  <a:cubicBezTo>
                    <a:pt x="32307" y="1348"/>
                    <a:pt x="30769" y="2696"/>
                    <a:pt x="30769" y="2696"/>
                  </a:cubicBezTo>
                  <a:cubicBezTo>
                    <a:pt x="29230" y="2696"/>
                    <a:pt x="29230" y="2696"/>
                    <a:pt x="29230" y="2696"/>
                  </a:cubicBezTo>
                  <a:cubicBezTo>
                    <a:pt x="27692" y="1348"/>
                    <a:pt x="27692" y="1348"/>
                    <a:pt x="27692" y="1348"/>
                  </a:cubicBezTo>
                  <a:cubicBezTo>
                    <a:pt x="26153" y="0"/>
                    <a:pt x="26153" y="0"/>
                    <a:pt x="26153" y="0"/>
                  </a:cubicBezTo>
                  <a:cubicBezTo>
                    <a:pt x="23076" y="2696"/>
                    <a:pt x="23076" y="2696"/>
                    <a:pt x="23076" y="2696"/>
                  </a:cubicBezTo>
                  <a:cubicBezTo>
                    <a:pt x="21538" y="4044"/>
                    <a:pt x="21538" y="4044"/>
                    <a:pt x="21538" y="4044"/>
                  </a:cubicBezTo>
                  <a:cubicBezTo>
                    <a:pt x="21538" y="4044"/>
                    <a:pt x="21538" y="5393"/>
                    <a:pt x="21538" y="5393"/>
                  </a:cubicBezTo>
                  <a:cubicBezTo>
                    <a:pt x="21538" y="5393"/>
                    <a:pt x="24615" y="5393"/>
                    <a:pt x="24615" y="5393"/>
                  </a:cubicBezTo>
                  <a:cubicBezTo>
                    <a:pt x="24615" y="8089"/>
                    <a:pt x="24615" y="8089"/>
                    <a:pt x="24615" y="8089"/>
                  </a:cubicBezTo>
                  <a:cubicBezTo>
                    <a:pt x="24615" y="8089"/>
                    <a:pt x="24615" y="8089"/>
                    <a:pt x="26153" y="8089"/>
                  </a:cubicBezTo>
                  <a:cubicBezTo>
                    <a:pt x="26153" y="8089"/>
                    <a:pt x="27692" y="9438"/>
                    <a:pt x="27692" y="9438"/>
                  </a:cubicBezTo>
                  <a:cubicBezTo>
                    <a:pt x="29230" y="10786"/>
                    <a:pt x="29230" y="10786"/>
                    <a:pt x="29230" y="10786"/>
                  </a:cubicBezTo>
                  <a:cubicBezTo>
                    <a:pt x="29230" y="13483"/>
                    <a:pt x="29230" y="13483"/>
                    <a:pt x="29230" y="13483"/>
                  </a:cubicBezTo>
                  <a:cubicBezTo>
                    <a:pt x="32307" y="14831"/>
                    <a:pt x="32307" y="14831"/>
                    <a:pt x="32307" y="14831"/>
                  </a:cubicBezTo>
                  <a:cubicBezTo>
                    <a:pt x="32307" y="17528"/>
                    <a:pt x="32307" y="17528"/>
                    <a:pt x="32307" y="17528"/>
                  </a:cubicBezTo>
                  <a:cubicBezTo>
                    <a:pt x="30769" y="18876"/>
                    <a:pt x="30769" y="18876"/>
                    <a:pt x="30769" y="18876"/>
                  </a:cubicBezTo>
                  <a:cubicBezTo>
                    <a:pt x="29230" y="20224"/>
                    <a:pt x="29230" y="20224"/>
                    <a:pt x="29230" y="20224"/>
                  </a:cubicBezTo>
                  <a:cubicBezTo>
                    <a:pt x="26153" y="20224"/>
                    <a:pt x="26153" y="20224"/>
                    <a:pt x="26153" y="20224"/>
                  </a:cubicBezTo>
                  <a:cubicBezTo>
                    <a:pt x="26153" y="18876"/>
                    <a:pt x="26153" y="18876"/>
                    <a:pt x="26153" y="18876"/>
                  </a:cubicBezTo>
                  <a:cubicBezTo>
                    <a:pt x="24615" y="16179"/>
                    <a:pt x="24615" y="16179"/>
                    <a:pt x="24615" y="16179"/>
                  </a:cubicBezTo>
                  <a:cubicBezTo>
                    <a:pt x="23076" y="14831"/>
                    <a:pt x="23076" y="14831"/>
                    <a:pt x="23076" y="14831"/>
                  </a:cubicBezTo>
                  <a:cubicBezTo>
                    <a:pt x="18461" y="16179"/>
                    <a:pt x="18461" y="16179"/>
                    <a:pt x="18461" y="16179"/>
                  </a:cubicBezTo>
                  <a:cubicBezTo>
                    <a:pt x="18461" y="18876"/>
                    <a:pt x="18461" y="18876"/>
                    <a:pt x="18461" y="18876"/>
                  </a:cubicBezTo>
                  <a:cubicBezTo>
                    <a:pt x="10769" y="24269"/>
                    <a:pt x="10769" y="24269"/>
                    <a:pt x="10769" y="24269"/>
                  </a:cubicBezTo>
                  <a:cubicBezTo>
                    <a:pt x="12307" y="26966"/>
                    <a:pt x="12307" y="26966"/>
                    <a:pt x="12307" y="26966"/>
                  </a:cubicBezTo>
                  <a:cubicBezTo>
                    <a:pt x="9230" y="29662"/>
                    <a:pt x="9230" y="29662"/>
                    <a:pt x="9230" y="29662"/>
                  </a:cubicBezTo>
                  <a:cubicBezTo>
                    <a:pt x="9230" y="33707"/>
                    <a:pt x="9230" y="33707"/>
                    <a:pt x="9230" y="33707"/>
                  </a:cubicBezTo>
                  <a:cubicBezTo>
                    <a:pt x="10769" y="37752"/>
                    <a:pt x="10769" y="37752"/>
                    <a:pt x="10769" y="37752"/>
                  </a:cubicBezTo>
                  <a:cubicBezTo>
                    <a:pt x="10769" y="40449"/>
                    <a:pt x="10769" y="40449"/>
                    <a:pt x="10769" y="40449"/>
                  </a:cubicBezTo>
                  <a:cubicBezTo>
                    <a:pt x="4615" y="41797"/>
                    <a:pt x="4615" y="41797"/>
                    <a:pt x="4615" y="41797"/>
                  </a:cubicBezTo>
                  <a:cubicBezTo>
                    <a:pt x="0" y="43146"/>
                    <a:pt x="0" y="43146"/>
                    <a:pt x="0" y="43146"/>
                  </a:cubicBezTo>
                  <a:cubicBezTo>
                    <a:pt x="0" y="47191"/>
                    <a:pt x="0" y="47191"/>
                    <a:pt x="0" y="47191"/>
                  </a:cubicBezTo>
                  <a:cubicBezTo>
                    <a:pt x="0" y="48539"/>
                    <a:pt x="0" y="48539"/>
                    <a:pt x="0" y="48539"/>
                  </a:cubicBezTo>
                  <a:cubicBezTo>
                    <a:pt x="4615" y="53932"/>
                    <a:pt x="4615" y="53932"/>
                    <a:pt x="4615" y="53932"/>
                  </a:cubicBezTo>
                  <a:cubicBezTo>
                    <a:pt x="3076" y="55280"/>
                    <a:pt x="3076" y="55280"/>
                    <a:pt x="3076" y="55280"/>
                  </a:cubicBezTo>
                  <a:cubicBezTo>
                    <a:pt x="1538" y="56629"/>
                    <a:pt x="1538" y="56629"/>
                    <a:pt x="1538" y="56629"/>
                  </a:cubicBezTo>
                  <a:cubicBezTo>
                    <a:pt x="6153" y="62022"/>
                    <a:pt x="6153" y="62022"/>
                    <a:pt x="6153" y="62022"/>
                  </a:cubicBezTo>
                  <a:cubicBezTo>
                    <a:pt x="7692" y="63370"/>
                    <a:pt x="7692" y="63370"/>
                    <a:pt x="7692" y="63370"/>
                  </a:cubicBezTo>
                  <a:cubicBezTo>
                    <a:pt x="10769" y="63370"/>
                    <a:pt x="10769" y="63370"/>
                    <a:pt x="10769" y="63370"/>
                  </a:cubicBezTo>
                  <a:cubicBezTo>
                    <a:pt x="10769" y="66067"/>
                    <a:pt x="10769" y="66067"/>
                    <a:pt x="10769" y="66067"/>
                  </a:cubicBezTo>
                  <a:cubicBezTo>
                    <a:pt x="10769" y="67415"/>
                    <a:pt x="10769" y="67415"/>
                    <a:pt x="10769" y="67415"/>
                  </a:cubicBezTo>
                  <a:cubicBezTo>
                    <a:pt x="10769" y="70112"/>
                    <a:pt x="10769" y="70112"/>
                    <a:pt x="10769" y="70112"/>
                  </a:cubicBezTo>
                  <a:cubicBezTo>
                    <a:pt x="7692" y="72808"/>
                    <a:pt x="7692" y="72808"/>
                    <a:pt x="7692" y="72808"/>
                  </a:cubicBezTo>
                  <a:cubicBezTo>
                    <a:pt x="9230" y="75505"/>
                    <a:pt x="9230" y="75505"/>
                    <a:pt x="9230" y="75505"/>
                  </a:cubicBezTo>
                  <a:cubicBezTo>
                    <a:pt x="6153" y="74157"/>
                    <a:pt x="6153" y="74157"/>
                    <a:pt x="6153" y="74157"/>
                  </a:cubicBezTo>
                  <a:cubicBezTo>
                    <a:pt x="4615" y="76853"/>
                    <a:pt x="4615" y="76853"/>
                    <a:pt x="4615" y="76853"/>
                  </a:cubicBezTo>
                  <a:cubicBezTo>
                    <a:pt x="6153" y="78202"/>
                    <a:pt x="6153" y="78202"/>
                    <a:pt x="6153" y="78202"/>
                  </a:cubicBezTo>
                  <a:cubicBezTo>
                    <a:pt x="4615" y="79550"/>
                    <a:pt x="4615" y="79550"/>
                    <a:pt x="4615" y="79550"/>
                  </a:cubicBezTo>
                  <a:cubicBezTo>
                    <a:pt x="7692" y="82247"/>
                    <a:pt x="7692" y="82247"/>
                    <a:pt x="7692" y="82247"/>
                  </a:cubicBezTo>
                  <a:cubicBezTo>
                    <a:pt x="13846" y="83595"/>
                    <a:pt x="13846" y="83595"/>
                    <a:pt x="13846" y="83595"/>
                  </a:cubicBezTo>
                  <a:cubicBezTo>
                    <a:pt x="16923" y="82247"/>
                    <a:pt x="16923" y="82247"/>
                    <a:pt x="16923" y="82247"/>
                  </a:cubicBezTo>
                  <a:cubicBezTo>
                    <a:pt x="18461" y="80898"/>
                    <a:pt x="18461" y="80898"/>
                    <a:pt x="18461" y="80898"/>
                  </a:cubicBezTo>
                  <a:cubicBezTo>
                    <a:pt x="16923" y="79550"/>
                    <a:pt x="16923" y="79550"/>
                    <a:pt x="16923" y="79550"/>
                  </a:cubicBezTo>
                  <a:cubicBezTo>
                    <a:pt x="16923" y="79550"/>
                    <a:pt x="16923" y="78202"/>
                    <a:pt x="18461" y="78202"/>
                  </a:cubicBezTo>
                  <a:cubicBezTo>
                    <a:pt x="18461" y="76853"/>
                    <a:pt x="20000" y="76853"/>
                    <a:pt x="20000" y="76853"/>
                  </a:cubicBezTo>
                  <a:cubicBezTo>
                    <a:pt x="20000" y="78202"/>
                    <a:pt x="20000" y="78202"/>
                    <a:pt x="20000" y="78202"/>
                  </a:cubicBezTo>
                  <a:cubicBezTo>
                    <a:pt x="24615" y="78202"/>
                    <a:pt x="24615" y="78202"/>
                    <a:pt x="24615" y="78202"/>
                  </a:cubicBezTo>
                  <a:cubicBezTo>
                    <a:pt x="24615" y="80898"/>
                    <a:pt x="24615" y="80898"/>
                    <a:pt x="24615" y="80898"/>
                  </a:cubicBezTo>
                  <a:cubicBezTo>
                    <a:pt x="23076" y="82247"/>
                    <a:pt x="23076" y="82247"/>
                    <a:pt x="23076" y="82247"/>
                  </a:cubicBezTo>
                  <a:cubicBezTo>
                    <a:pt x="21538" y="80898"/>
                    <a:pt x="21538" y="80898"/>
                    <a:pt x="21538" y="80898"/>
                  </a:cubicBezTo>
                  <a:cubicBezTo>
                    <a:pt x="21538" y="80898"/>
                    <a:pt x="21538" y="82247"/>
                    <a:pt x="21538" y="82247"/>
                  </a:cubicBezTo>
                  <a:cubicBezTo>
                    <a:pt x="21538" y="82247"/>
                    <a:pt x="21538" y="86292"/>
                    <a:pt x="21538" y="86292"/>
                  </a:cubicBezTo>
                  <a:cubicBezTo>
                    <a:pt x="21538" y="86292"/>
                    <a:pt x="21538" y="87640"/>
                    <a:pt x="20000" y="86292"/>
                  </a:cubicBezTo>
                  <a:cubicBezTo>
                    <a:pt x="20000" y="86292"/>
                    <a:pt x="18461" y="84943"/>
                    <a:pt x="18461" y="84943"/>
                  </a:cubicBezTo>
                  <a:cubicBezTo>
                    <a:pt x="13846" y="83595"/>
                    <a:pt x="13846" y="83595"/>
                    <a:pt x="13846" y="83595"/>
                  </a:cubicBezTo>
                  <a:cubicBezTo>
                    <a:pt x="12307" y="84943"/>
                    <a:pt x="12307" y="84943"/>
                    <a:pt x="12307" y="84943"/>
                  </a:cubicBezTo>
                  <a:cubicBezTo>
                    <a:pt x="12307" y="84943"/>
                    <a:pt x="12307" y="86292"/>
                    <a:pt x="12307" y="87640"/>
                  </a:cubicBezTo>
                  <a:cubicBezTo>
                    <a:pt x="13846" y="87640"/>
                    <a:pt x="15384" y="87640"/>
                    <a:pt x="15384" y="87640"/>
                  </a:cubicBezTo>
                  <a:cubicBezTo>
                    <a:pt x="15384" y="87640"/>
                    <a:pt x="18461" y="87640"/>
                    <a:pt x="18461" y="87640"/>
                  </a:cubicBezTo>
                  <a:cubicBezTo>
                    <a:pt x="18461" y="87640"/>
                    <a:pt x="18461" y="87640"/>
                    <a:pt x="20000" y="87640"/>
                  </a:cubicBezTo>
                  <a:cubicBezTo>
                    <a:pt x="20000" y="87640"/>
                    <a:pt x="23076" y="87640"/>
                    <a:pt x="23076" y="87640"/>
                  </a:cubicBezTo>
                  <a:cubicBezTo>
                    <a:pt x="23076" y="90337"/>
                    <a:pt x="23076" y="90337"/>
                    <a:pt x="23076" y="90337"/>
                  </a:cubicBezTo>
                  <a:cubicBezTo>
                    <a:pt x="26153" y="93033"/>
                    <a:pt x="26153" y="93033"/>
                    <a:pt x="26153" y="93033"/>
                  </a:cubicBezTo>
                  <a:cubicBezTo>
                    <a:pt x="32307" y="93033"/>
                    <a:pt x="32307" y="93033"/>
                    <a:pt x="32307" y="93033"/>
                  </a:cubicBezTo>
                  <a:cubicBezTo>
                    <a:pt x="33846" y="93033"/>
                    <a:pt x="33846" y="93033"/>
                    <a:pt x="33846" y="93033"/>
                  </a:cubicBezTo>
                  <a:cubicBezTo>
                    <a:pt x="38461" y="95730"/>
                    <a:pt x="38461" y="95730"/>
                    <a:pt x="38461" y="95730"/>
                  </a:cubicBezTo>
                  <a:cubicBezTo>
                    <a:pt x="38461" y="95730"/>
                    <a:pt x="40000" y="98426"/>
                    <a:pt x="41538" y="98426"/>
                  </a:cubicBezTo>
                  <a:cubicBezTo>
                    <a:pt x="41538" y="98426"/>
                    <a:pt x="43076" y="101123"/>
                    <a:pt x="43076" y="101123"/>
                  </a:cubicBezTo>
                  <a:cubicBezTo>
                    <a:pt x="46153" y="101123"/>
                    <a:pt x="46153" y="101123"/>
                    <a:pt x="46153" y="101123"/>
                  </a:cubicBezTo>
                  <a:cubicBezTo>
                    <a:pt x="47692" y="101123"/>
                    <a:pt x="47692" y="101123"/>
                    <a:pt x="47692" y="101123"/>
                  </a:cubicBezTo>
                  <a:cubicBezTo>
                    <a:pt x="47692" y="101123"/>
                    <a:pt x="49230" y="102471"/>
                    <a:pt x="49230" y="102471"/>
                  </a:cubicBezTo>
                  <a:cubicBezTo>
                    <a:pt x="47692" y="103820"/>
                    <a:pt x="47692" y="103820"/>
                    <a:pt x="47692" y="103820"/>
                  </a:cubicBezTo>
                  <a:cubicBezTo>
                    <a:pt x="49230" y="106516"/>
                    <a:pt x="49230" y="106516"/>
                    <a:pt x="49230" y="106516"/>
                  </a:cubicBezTo>
                  <a:cubicBezTo>
                    <a:pt x="52307" y="106516"/>
                    <a:pt x="52307" y="106516"/>
                    <a:pt x="52307" y="106516"/>
                  </a:cubicBezTo>
                  <a:cubicBezTo>
                    <a:pt x="52307" y="106516"/>
                    <a:pt x="52307" y="106516"/>
                    <a:pt x="52307" y="107865"/>
                  </a:cubicBezTo>
                  <a:cubicBezTo>
                    <a:pt x="52307" y="107865"/>
                    <a:pt x="53846" y="110561"/>
                    <a:pt x="53846" y="110561"/>
                  </a:cubicBezTo>
                  <a:cubicBezTo>
                    <a:pt x="53846" y="111910"/>
                    <a:pt x="53846" y="111910"/>
                    <a:pt x="53846" y="111910"/>
                  </a:cubicBezTo>
                  <a:cubicBezTo>
                    <a:pt x="53846" y="111910"/>
                    <a:pt x="55384" y="111910"/>
                    <a:pt x="55384" y="113258"/>
                  </a:cubicBezTo>
                  <a:cubicBezTo>
                    <a:pt x="55384" y="113258"/>
                    <a:pt x="55384" y="113258"/>
                    <a:pt x="55384" y="114606"/>
                  </a:cubicBezTo>
                  <a:cubicBezTo>
                    <a:pt x="56923" y="114606"/>
                    <a:pt x="60000" y="114606"/>
                    <a:pt x="60000" y="114606"/>
                  </a:cubicBezTo>
                  <a:cubicBezTo>
                    <a:pt x="61538" y="115955"/>
                    <a:pt x="61538" y="115955"/>
                    <a:pt x="61538" y="115955"/>
                  </a:cubicBezTo>
                  <a:cubicBezTo>
                    <a:pt x="63076" y="117303"/>
                    <a:pt x="63076" y="117303"/>
                    <a:pt x="63076" y="117303"/>
                  </a:cubicBezTo>
                  <a:lnTo>
                    <a:pt x="64615" y="117303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 cmpd="sng">
              <a:solidFill>
                <a:schemeClr val="tx1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defTabSz="457200"/>
              <a:endParaRPr kern="0">
                <a:solidFill>
                  <a:srgbClr val="7F7F7F"/>
                </a:solidFill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26" name="Shape 2018">
              <a:extLst>
                <a:ext uri="{FF2B5EF4-FFF2-40B4-BE49-F238E27FC236}">
                  <a16:creationId xmlns:a16="http://schemas.microsoft.com/office/drawing/2014/main" id="{1556A295-4B6D-200F-8B84-4F3CEFE5534F}"/>
                </a:ext>
              </a:extLst>
            </p:cNvPr>
            <p:cNvSpPr/>
            <p:nvPr/>
          </p:nvSpPr>
          <p:spPr>
            <a:xfrm>
              <a:off x="5070047" y="3798070"/>
              <a:ext cx="222820" cy="189477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23773" y="116129"/>
                  </a:moveTo>
                  <a:cubicBezTo>
                    <a:pt x="23773" y="116129"/>
                    <a:pt x="22641" y="116129"/>
                    <a:pt x="21509" y="116129"/>
                  </a:cubicBezTo>
                  <a:cubicBezTo>
                    <a:pt x="20377" y="116129"/>
                    <a:pt x="19245" y="118709"/>
                    <a:pt x="18113" y="118709"/>
                  </a:cubicBezTo>
                  <a:cubicBezTo>
                    <a:pt x="18113" y="118709"/>
                    <a:pt x="18113" y="118709"/>
                    <a:pt x="18113" y="117419"/>
                  </a:cubicBezTo>
                  <a:cubicBezTo>
                    <a:pt x="18113" y="116129"/>
                    <a:pt x="18113" y="116129"/>
                    <a:pt x="16981" y="114838"/>
                  </a:cubicBezTo>
                  <a:cubicBezTo>
                    <a:pt x="16981" y="113548"/>
                    <a:pt x="16981" y="110967"/>
                    <a:pt x="15849" y="109677"/>
                  </a:cubicBezTo>
                  <a:cubicBezTo>
                    <a:pt x="14716" y="108387"/>
                    <a:pt x="14716" y="107096"/>
                    <a:pt x="14716" y="107096"/>
                  </a:cubicBezTo>
                  <a:cubicBezTo>
                    <a:pt x="14716" y="107096"/>
                    <a:pt x="12452" y="107096"/>
                    <a:pt x="11320" y="107096"/>
                  </a:cubicBezTo>
                  <a:cubicBezTo>
                    <a:pt x="11320" y="107096"/>
                    <a:pt x="10188" y="107096"/>
                    <a:pt x="10188" y="107096"/>
                  </a:cubicBezTo>
                  <a:cubicBezTo>
                    <a:pt x="10188" y="107096"/>
                    <a:pt x="9056" y="104516"/>
                    <a:pt x="10188" y="104516"/>
                  </a:cubicBezTo>
                  <a:cubicBezTo>
                    <a:pt x="10188" y="103225"/>
                    <a:pt x="9056" y="101935"/>
                    <a:pt x="7924" y="100645"/>
                  </a:cubicBezTo>
                  <a:cubicBezTo>
                    <a:pt x="7924" y="100645"/>
                    <a:pt x="5660" y="96774"/>
                    <a:pt x="5660" y="96774"/>
                  </a:cubicBezTo>
                  <a:cubicBezTo>
                    <a:pt x="5660" y="96774"/>
                    <a:pt x="4528" y="96774"/>
                    <a:pt x="4528" y="95483"/>
                  </a:cubicBezTo>
                  <a:cubicBezTo>
                    <a:pt x="4528" y="94193"/>
                    <a:pt x="4528" y="92903"/>
                    <a:pt x="4528" y="92903"/>
                  </a:cubicBezTo>
                  <a:cubicBezTo>
                    <a:pt x="3396" y="90322"/>
                    <a:pt x="3396" y="90322"/>
                    <a:pt x="3396" y="90322"/>
                  </a:cubicBezTo>
                  <a:cubicBezTo>
                    <a:pt x="3396" y="90322"/>
                    <a:pt x="5660" y="89032"/>
                    <a:pt x="5660" y="87741"/>
                  </a:cubicBezTo>
                  <a:cubicBezTo>
                    <a:pt x="5660" y="87741"/>
                    <a:pt x="6792" y="86451"/>
                    <a:pt x="5660" y="85161"/>
                  </a:cubicBezTo>
                  <a:cubicBezTo>
                    <a:pt x="5660" y="83870"/>
                    <a:pt x="3396" y="82580"/>
                    <a:pt x="3396" y="82580"/>
                  </a:cubicBezTo>
                  <a:cubicBezTo>
                    <a:pt x="2264" y="81290"/>
                    <a:pt x="1132" y="80000"/>
                    <a:pt x="0" y="78709"/>
                  </a:cubicBezTo>
                  <a:cubicBezTo>
                    <a:pt x="0" y="77419"/>
                    <a:pt x="0" y="76129"/>
                    <a:pt x="0" y="76129"/>
                  </a:cubicBezTo>
                  <a:cubicBezTo>
                    <a:pt x="0" y="76129"/>
                    <a:pt x="0" y="74838"/>
                    <a:pt x="1132" y="74838"/>
                  </a:cubicBezTo>
                  <a:cubicBezTo>
                    <a:pt x="2264" y="73548"/>
                    <a:pt x="3396" y="73548"/>
                    <a:pt x="3396" y="72258"/>
                  </a:cubicBezTo>
                  <a:cubicBezTo>
                    <a:pt x="3396" y="72258"/>
                    <a:pt x="4528" y="72258"/>
                    <a:pt x="4528" y="70967"/>
                  </a:cubicBezTo>
                  <a:cubicBezTo>
                    <a:pt x="3396" y="69677"/>
                    <a:pt x="2264" y="68387"/>
                    <a:pt x="2264" y="68387"/>
                  </a:cubicBezTo>
                  <a:cubicBezTo>
                    <a:pt x="3396" y="64516"/>
                    <a:pt x="3396" y="64516"/>
                    <a:pt x="3396" y="64516"/>
                  </a:cubicBezTo>
                  <a:cubicBezTo>
                    <a:pt x="2264" y="63225"/>
                    <a:pt x="2264" y="63225"/>
                    <a:pt x="2264" y="63225"/>
                  </a:cubicBezTo>
                  <a:cubicBezTo>
                    <a:pt x="2264" y="58064"/>
                    <a:pt x="2264" y="58064"/>
                    <a:pt x="2264" y="58064"/>
                  </a:cubicBezTo>
                  <a:cubicBezTo>
                    <a:pt x="2264" y="56774"/>
                    <a:pt x="2264" y="56774"/>
                    <a:pt x="2264" y="56774"/>
                  </a:cubicBezTo>
                  <a:cubicBezTo>
                    <a:pt x="2264" y="56774"/>
                    <a:pt x="3396" y="54193"/>
                    <a:pt x="3396" y="54193"/>
                  </a:cubicBezTo>
                  <a:cubicBezTo>
                    <a:pt x="3396" y="52903"/>
                    <a:pt x="3396" y="50322"/>
                    <a:pt x="3396" y="50322"/>
                  </a:cubicBezTo>
                  <a:cubicBezTo>
                    <a:pt x="3396" y="50322"/>
                    <a:pt x="3396" y="50322"/>
                    <a:pt x="3396" y="50322"/>
                  </a:cubicBezTo>
                  <a:cubicBezTo>
                    <a:pt x="5660" y="51612"/>
                    <a:pt x="9056" y="50322"/>
                    <a:pt x="10188" y="50322"/>
                  </a:cubicBezTo>
                  <a:cubicBezTo>
                    <a:pt x="12452" y="50322"/>
                    <a:pt x="12452" y="46451"/>
                    <a:pt x="11320" y="42580"/>
                  </a:cubicBezTo>
                  <a:cubicBezTo>
                    <a:pt x="11320" y="40000"/>
                    <a:pt x="12452" y="37419"/>
                    <a:pt x="12452" y="34838"/>
                  </a:cubicBezTo>
                  <a:cubicBezTo>
                    <a:pt x="13584" y="32258"/>
                    <a:pt x="16981" y="30967"/>
                    <a:pt x="20377" y="28387"/>
                  </a:cubicBezTo>
                  <a:cubicBezTo>
                    <a:pt x="22641" y="25806"/>
                    <a:pt x="22641" y="23225"/>
                    <a:pt x="26037" y="23225"/>
                  </a:cubicBezTo>
                  <a:cubicBezTo>
                    <a:pt x="26037" y="23225"/>
                    <a:pt x="27169" y="23225"/>
                    <a:pt x="28301" y="24516"/>
                  </a:cubicBezTo>
                  <a:cubicBezTo>
                    <a:pt x="28301" y="24516"/>
                    <a:pt x="28301" y="25806"/>
                    <a:pt x="29433" y="27096"/>
                  </a:cubicBezTo>
                  <a:cubicBezTo>
                    <a:pt x="29433" y="27096"/>
                    <a:pt x="29433" y="27096"/>
                    <a:pt x="30566" y="27096"/>
                  </a:cubicBezTo>
                  <a:cubicBezTo>
                    <a:pt x="32830" y="30967"/>
                    <a:pt x="35094" y="33548"/>
                    <a:pt x="35094" y="23225"/>
                  </a:cubicBezTo>
                  <a:cubicBezTo>
                    <a:pt x="36226" y="14193"/>
                    <a:pt x="41886" y="16774"/>
                    <a:pt x="46415" y="14193"/>
                  </a:cubicBezTo>
                  <a:cubicBezTo>
                    <a:pt x="46415" y="14193"/>
                    <a:pt x="46415" y="14193"/>
                    <a:pt x="47547" y="12903"/>
                  </a:cubicBezTo>
                  <a:cubicBezTo>
                    <a:pt x="48679" y="14193"/>
                    <a:pt x="49811" y="14193"/>
                    <a:pt x="50943" y="14193"/>
                  </a:cubicBezTo>
                  <a:cubicBezTo>
                    <a:pt x="52075" y="14193"/>
                    <a:pt x="52075" y="14193"/>
                    <a:pt x="52075" y="14193"/>
                  </a:cubicBezTo>
                  <a:cubicBezTo>
                    <a:pt x="52075" y="14193"/>
                    <a:pt x="55471" y="9032"/>
                    <a:pt x="55471" y="9032"/>
                  </a:cubicBezTo>
                  <a:cubicBezTo>
                    <a:pt x="56603" y="9032"/>
                    <a:pt x="58867" y="7741"/>
                    <a:pt x="58867" y="7741"/>
                  </a:cubicBezTo>
                  <a:cubicBezTo>
                    <a:pt x="61132" y="3870"/>
                    <a:pt x="61132" y="3870"/>
                    <a:pt x="61132" y="3870"/>
                  </a:cubicBezTo>
                  <a:cubicBezTo>
                    <a:pt x="61132" y="3870"/>
                    <a:pt x="63396" y="5161"/>
                    <a:pt x="64528" y="5161"/>
                  </a:cubicBezTo>
                  <a:cubicBezTo>
                    <a:pt x="65660" y="5161"/>
                    <a:pt x="66792" y="5161"/>
                    <a:pt x="69056" y="5161"/>
                  </a:cubicBezTo>
                  <a:cubicBezTo>
                    <a:pt x="70188" y="3870"/>
                    <a:pt x="70188" y="3870"/>
                    <a:pt x="70188" y="3870"/>
                  </a:cubicBezTo>
                  <a:cubicBezTo>
                    <a:pt x="70188" y="3870"/>
                    <a:pt x="72452" y="1290"/>
                    <a:pt x="74716" y="1290"/>
                  </a:cubicBezTo>
                  <a:cubicBezTo>
                    <a:pt x="76981" y="0"/>
                    <a:pt x="76981" y="1290"/>
                    <a:pt x="76981" y="1290"/>
                  </a:cubicBezTo>
                  <a:cubicBezTo>
                    <a:pt x="76981" y="1290"/>
                    <a:pt x="80377" y="1290"/>
                    <a:pt x="82641" y="1290"/>
                  </a:cubicBezTo>
                  <a:cubicBezTo>
                    <a:pt x="82641" y="1290"/>
                    <a:pt x="82641" y="0"/>
                    <a:pt x="82641" y="0"/>
                  </a:cubicBezTo>
                  <a:cubicBezTo>
                    <a:pt x="86037" y="2580"/>
                    <a:pt x="86037" y="6451"/>
                    <a:pt x="89433" y="10322"/>
                  </a:cubicBezTo>
                  <a:cubicBezTo>
                    <a:pt x="93962" y="15483"/>
                    <a:pt x="98490" y="14193"/>
                    <a:pt x="106415" y="19354"/>
                  </a:cubicBezTo>
                  <a:cubicBezTo>
                    <a:pt x="106415" y="20645"/>
                    <a:pt x="110943" y="24516"/>
                    <a:pt x="112075" y="28387"/>
                  </a:cubicBezTo>
                  <a:cubicBezTo>
                    <a:pt x="113207" y="33548"/>
                    <a:pt x="117735" y="33548"/>
                    <a:pt x="118867" y="38709"/>
                  </a:cubicBezTo>
                  <a:cubicBezTo>
                    <a:pt x="118867" y="42580"/>
                    <a:pt x="116603" y="43870"/>
                    <a:pt x="116603" y="47741"/>
                  </a:cubicBezTo>
                  <a:cubicBezTo>
                    <a:pt x="116603" y="51612"/>
                    <a:pt x="118867" y="60645"/>
                    <a:pt x="120000" y="61935"/>
                  </a:cubicBezTo>
                  <a:cubicBezTo>
                    <a:pt x="120000" y="61935"/>
                    <a:pt x="120000" y="63225"/>
                    <a:pt x="120000" y="63225"/>
                  </a:cubicBezTo>
                  <a:cubicBezTo>
                    <a:pt x="109811" y="65806"/>
                    <a:pt x="109811" y="65806"/>
                    <a:pt x="109811" y="65806"/>
                  </a:cubicBezTo>
                  <a:cubicBezTo>
                    <a:pt x="110943" y="77419"/>
                    <a:pt x="110943" y="77419"/>
                    <a:pt x="110943" y="77419"/>
                  </a:cubicBezTo>
                  <a:cubicBezTo>
                    <a:pt x="105283" y="82580"/>
                    <a:pt x="105283" y="82580"/>
                    <a:pt x="105283" y="82580"/>
                  </a:cubicBezTo>
                  <a:cubicBezTo>
                    <a:pt x="105283" y="82580"/>
                    <a:pt x="91698" y="85161"/>
                    <a:pt x="90566" y="85161"/>
                  </a:cubicBezTo>
                  <a:cubicBezTo>
                    <a:pt x="89433" y="85161"/>
                    <a:pt x="83773" y="86451"/>
                    <a:pt x="81509" y="87741"/>
                  </a:cubicBezTo>
                  <a:cubicBezTo>
                    <a:pt x="79245" y="87741"/>
                    <a:pt x="75849" y="90322"/>
                    <a:pt x="74716" y="90322"/>
                  </a:cubicBezTo>
                  <a:cubicBezTo>
                    <a:pt x="72452" y="91612"/>
                    <a:pt x="71320" y="98064"/>
                    <a:pt x="71320" y="98064"/>
                  </a:cubicBezTo>
                  <a:cubicBezTo>
                    <a:pt x="71320" y="98064"/>
                    <a:pt x="67924" y="103225"/>
                    <a:pt x="66792" y="104516"/>
                  </a:cubicBezTo>
                  <a:cubicBezTo>
                    <a:pt x="65660" y="105806"/>
                    <a:pt x="60000" y="109677"/>
                    <a:pt x="60000" y="109677"/>
                  </a:cubicBezTo>
                  <a:cubicBezTo>
                    <a:pt x="60000" y="109677"/>
                    <a:pt x="54339" y="109677"/>
                    <a:pt x="53207" y="109677"/>
                  </a:cubicBezTo>
                  <a:cubicBezTo>
                    <a:pt x="50943" y="109677"/>
                    <a:pt x="48679" y="112258"/>
                    <a:pt x="46415" y="112258"/>
                  </a:cubicBezTo>
                  <a:cubicBezTo>
                    <a:pt x="43018" y="113548"/>
                    <a:pt x="40754" y="114838"/>
                    <a:pt x="39622" y="114838"/>
                  </a:cubicBezTo>
                  <a:cubicBezTo>
                    <a:pt x="38490" y="114838"/>
                    <a:pt x="32830" y="116129"/>
                    <a:pt x="32830" y="116129"/>
                  </a:cubicBezTo>
                  <a:cubicBezTo>
                    <a:pt x="32830" y="120000"/>
                    <a:pt x="32830" y="120000"/>
                    <a:pt x="32830" y="120000"/>
                  </a:cubicBezTo>
                  <a:cubicBezTo>
                    <a:pt x="32830" y="120000"/>
                    <a:pt x="31698" y="120000"/>
                    <a:pt x="31698" y="120000"/>
                  </a:cubicBezTo>
                  <a:cubicBezTo>
                    <a:pt x="31698" y="120000"/>
                    <a:pt x="31698" y="120000"/>
                    <a:pt x="30566" y="120000"/>
                  </a:cubicBezTo>
                  <a:cubicBezTo>
                    <a:pt x="30566" y="118709"/>
                    <a:pt x="30566" y="118709"/>
                    <a:pt x="30566" y="118709"/>
                  </a:cubicBezTo>
                  <a:cubicBezTo>
                    <a:pt x="28301" y="116129"/>
                    <a:pt x="28301" y="116129"/>
                    <a:pt x="28301" y="116129"/>
                  </a:cubicBezTo>
                  <a:cubicBezTo>
                    <a:pt x="28301" y="116129"/>
                    <a:pt x="27169" y="117419"/>
                    <a:pt x="26037" y="117419"/>
                  </a:cubicBezTo>
                  <a:cubicBezTo>
                    <a:pt x="24905" y="117419"/>
                    <a:pt x="24905" y="116129"/>
                    <a:pt x="23773" y="11612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 cmpd="sng">
              <a:solidFill>
                <a:schemeClr val="tx1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defTabSz="457200"/>
              <a:endParaRPr kern="0">
                <a:solidFill>
                  <a:srgbClr val="7F7F7F"/>
                </a:solidFill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27" name="Shape 2019">
              <a:extLst>
                <a:ext uri="{FF2B5EF4-FFF2-40B4-BE49-F238E27FC236}">
                  <a16:creationId xmlns:a16="http://schemas.microsoft.com/office/drawing/2014/main" id="{87022F3D-963A-02A6-3791-3243A59E0587}"/>
                </a:ext>
              </a:extLst>
            </p:cNvPr>
            <p:cNvSpPr/>
            <p:nvPr/>
          </p:nvSpPr>
          <p:spPr>
            <a:xfrm>
              <a:off x="4675047" y="3038201"/>
              <a:ext cx="410192" cy="221875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6000" y="59449"/>
                  </a:moveTo>
                  <a:cubicBezTo>
                    <a:pt x="17846" y="57247"/>
                    <a:pt x="17846" y="57247"/>
                    <a:pt x="17846" y="57247"/>
                  </a:cubicBezTo>
                  <a:cubicBezTo>
                    <a:pt x="17846" y="57247"/>
                    <a:pt x="17846" y="53944"/>
                    <a:pt x="18461" y="55045"/>
                  </a:cubicBezTo>
                  <a:cubicBezTo>
                    <a:pt x="18461" y="55045"/>
                    <a:pt x="19692" y="53944"/>
                    <a:pt x="19692" y="53944"/>
                  </a:cubicBezTo>
                  <a:cubicBezTo>
                    <a:pt x="20307" y="51743"/>
                    <a:pt x="20307" y="51743"/>
                    <a:pt x="20307" y="51743"/>
                  </a:cubicBezTo>
                  <a:cubicBezTo>
                    <a:pt x="20923" y="48440"/>
                    <a:pt x="20923" y="48440"/>
                    <a:pt x="20923" y="48440"/>
                  </a:cubicBezTo>
                  <a:cubicBezTo>
                    <a:pt x="24000" y="46238"/>
                    <a:pt x="24000" y="46238"/>
                    <a:pt x="24000" y="46238"/>
                  </a:cubicBezTo>
                  <a:cubicBezTo>
                    <a:pt x="24615" y="40733"/>
                    <a:pt x="24615" y="40733"/>
                    <a:pt x="24615" y="40733"/>
                  </a:cubicBezTo>
                  <a:cubicBezTo>
                    <a:pt x="24000" y="37431"/>
                    <a:pt x="24000" y="37431"/>
                    <a:pt x="24000" y="37431"/>
                  </a:cubicBezTo>
                  <a:cubicBezTo>
                    <a:pt x="24000" y="37431"/>
                    <a:pt x="24000" y="33027"/>
                    <a:pt x="24615" y="33027"/>
                  </a:cubicBezTo>
                  <a:cubicBezTo>
                    <a:pt x="25230" y="33027"/>
                    <a:pt x="27076" y="30825"/>
                    <a:pt x="27076" y="30825"/>
                  </a:cubicBezTo>
                  <a:cubicBezTo>
                    <a:pt x="28923" y="27522"/>
                    <a:pt x="28923" y="27522"/>
                    <a:pt x="28923" y="27522"/>
                  </a:cubicBezTo>
                  <a:cubicBezTo>
                    <a:pt x="28923" y="25321"/>
                    <a:pt x="28923" y="25321"/>
                    <a:pt x="28923" y="25321"/>
                  </a:cubicBezTo>
                  <a:cubicBezTo>
                    <a:pt x="30153" y="20917"/>
                    <a:pt x="30153" y="20917"/>
                    <a:pt x="30153" y="20917"/>
                  </a:cubicBezTo>
                  <a:cubicBezTo>
                    <a:pt x="31384" y="18715"/>
                    <a:pt x="31384" y="18715"/>
                    <a:pt x="31384" y="18715"/>
                  </a:cubicBezTo>
                  <a:cubicBezTo>
                    <a:pt x="32615" y="16513"/>
                    <a:pt x="32615" y="16513"/>
                    <a:pt x="32615" y="16513"/>
                  </a:cubicBezTo>
                  <a:cubicBezTo>
                    <a:pt x="34461" y="15412"/>
                    <a:pt x="34461" y="15412"/>
                    <a:pt x="34461" y="15412"/>
                  </a:cubicBezTo>
                  <a:cubicBezTo>
                    <a:pt x="34461" y="15412"/>
                    <a:pt x="35076" y="15412"/>
                    <a:pt x="35692" y="15412"/>
                  </a:cubicBezTo>
                  <a:cubicBezTo>
                    <a:pt x="36307" y="15412"/>
                    <a:pt x="36923" y="14311"/>
                    <a:pt x="36923" y="14311"/>
                  </a:cubicBezTo>
                  <a:cubicBezTo>
                    <a:pt x="37538" y="14311"/>
                    <a:pt x="39384" y="14311"/>
                    <a:pt x="39384" y="14311"/>
                  </a:cubicBezTo>
                  <a:cubicBezTo>
                    <a:pt x="39384" y="14311"/>
                    <a:pt x="40615" y="12110"/>
                    <a:pt x="40615" y="13211"/>
                  </a:cubicBezTo>
                  <a:cubicBezTo>
                    <a:pt x="40615" y="15412"/>
                    <a:pt x="40615" y="16513"/>
                    <a:pt x="40615" y="16513"/>
                  </a:cubicBezTo>
                  <a:cubicBezTo>
                    <a:pt x="41230" y="17614"/>
                    <a:pt x="41846" y="19816"/>
                    <a:pt x="41846" y="19816"/>
                  </a:cubicBezTo>
                  <a:cubicBezTo>
                    <a:pt x="41846" y="19816"/>
                    <a:pt x="43076" y="19816"/>
                    <a:pt x="43692" y="18715"/>
                  </a:cubicBezTo>
                  <a:cubicBezTo>
                    <a:pt x="44307" y="17614"/>
                    <a:pt x="45538" y="16513"/>
                    <a:pt x="45538" y="16513"/>
                  </a:cubicBezTo>
                  <a:cubicBezTo>
                    <a:pt x="45538" y="16513"/>
                    <a:pt x="46769" y="18715"/>
                    <a:pt x="46769" y="17614"/>
                  </a:cubicBezTo>
                  <a:cubicBezTo>
                    <a:pt x="46769" y="16513"/>
                    <a:pt x="46769" y="12110"/>
                    <a:pt x="46769" y="12110"/>
                  </a:cubicBezTo>
                  <a:cubicBezTo>
                    <a:pt x="48000" y="8807"/>
                    <a:pt x="48000" y="8807"/>
                    <a:pt x="48000" y="8807"/>
                  </a:cubicBezTo>
                  <a:cubicBezTo>
                    <a:pt x="48000" y="8807"/>
                    <a:pt x="49230" y="8807"/>
                    <a:pt x="49230" y="7706"/>
                  </a:cubicBezTo>
                  <a:cubicBezTo>
                    <a:pt x="49230" y="6605"/>
                    <a:pt x="50461" y="4403"/>
                    <a:pt x="50461" y="4403"/>
                  </a:cubicBezTo>
                  <a:cubicBezTo>
                    <a:pt x="52307" y="4403"/>
                    <a:pt x="52307" y="4403"/>
                    <a:pt x="52307" y="4403"/>
                  </a:cubicBezTo>
                  <a:cubicBezTo>
                    <a:pt x="53538" y="11009"/>
                    <a:pt x="53538" y="11009"/>
                    <a:pt x="53538" y="11009"/>
                  </a:cubicBezTo>
                  <a:cubicBezTo>
                    <a:pt x="55384" y="13211"/>
                    <a:pt x="55384" y="13211"/>
                    <a:pt x="55384" y="13211"/>
                  </a:cubicBezTo>
                  <a:cubicBezTo>
                    <a:pt x="56000" y="14311"/>
                    <a:pt x="56000" y="14311"/>
                    <a:pt x="56000" y="14311"/>
                  </a:cubicBezTo>
                  <a:cubicBezTo>
                    <a:pt x="57230" y="15412"/>
                    <a:pt x="57230" y="15412"/>
                    <a:pt x="57230" y="15412"/>
                  </a:cubicBezTo>
                  <a:cubicBezTo>
                    <a:pt x="59076" y="15412"/>
                    <a:pt x="59076" y="15412"/>
                    <a:pt x="59076" y="15412"/>
                  </a:cubicBezTo>
                  <a:cubicBezTo>
                    <a:pt x="59076" y="16513"/>
                    <a:pt x="59076" y="16513"/>
                    <a:pt x="59076" y="16513"/>
                  </a:cubicBezTo>
                  <a:cubicBezTo>
                    <a:pt x="60307" y="18715"/>
                    <a:pt x="60307" y="18715"/>
                    <a:pt x="60307" y="18715"/>
                  </a:cubicBezTo>
                  <a:cubicBezTo>
                    <a:pt x="60923" y="22018"/>
                    <a:pt x="60923" y="22018"/>
                    <a:pt x="60923" y="22018"/>
                  </a:cubicBezTo>
                  <a:cubicBezTo>
                    <a:pt x="59692" y="24220"/>
                    <a:pt x="59692" y="24220"/>
                    <a:pt x="59692" y="24220"/>
                  </a:cubicBezTo>
                  <a:cubicBezTo>
                    <a:pt x="59692" y="25321"/>
                    <a:pt x="59692" y="25321"/>
                    <a:pt x="59692" y="25321"/>
                  </a:cubicBezTo>
                  <a:cubicBezTo>
                    <a:pt x="60307" y="26422"/>
                    <a:pt x="60307" y="26422"/>
                    <a:pt x="60307" y="26422"/>
                  </a:cubicBezTo>
                  <a:cubicBezTo>
                    <a:pt x="60307" y="26422"/>
                    <a:pt x="60923" y="26422"/>
                    <a:pt x="60923" y="26422"/>
                  </a:cubicBezTo>
                  <a:cubicBezTo>
                    <a:pt x="60923" y="26422"/>
                    <a:pt x="62153" y="25321"/>
                    <a:pt x="62769" y="25321"/>
                  </a:cubicBezTo>
                  <a:cubicBezTo>
                    <a:pt x="62769" y="25321"/>
                    <a:pt x="62769" y="24220"/>
                    <a:pt x="62769" y="24220"/>
                  </a:cubicBezTo>
                  <a:cubicBezTo>
                    <a:pt x="62769" y="24220"/>
                    <a:pt x="64000" y="23119"/>
                    <a:pt x="64000" y="23119"/>
                  </a:cubicBezTo>
                  <a:cubicBezTo>
                    <a:pt x="64000" y="23119"/>
                    <a:pt x="64615" y="23119"/>
                    <a:pt x="64615" y="23119"/>
                  </a:cubicBezTo>
                  <a:cubicBezTo>
                    <a:pt x="64615" y="24220"/>
                    <a:pt x="65230" y="25321"/>
                    <a:pt x="65230" y="25321"/>
                  </a:cubicBezTo>
                  <a:cubicBezTo>
                    <a:pt x="65230" y="25321"/>
                    <a:pt x="65846" y="24220"/>
                    <a:pt x="65846" y="25321"/>
                  </a:cubicBezTo>
                  <a:cubicBezTo>
                    <a:pt x="65846" y="25321"/>
                    <a:pt x="66461" y="25321"/>
                    <a:pt x="66461" y="25321"/>
                  </a:cubicBezTo>
                  <a:cubicBezTo>
                    <a:pt x="66461" y="25321"/>
                    <a:pt x="66461" y="25321"/>
                    <a:pt x="66461" y="24220"/>
                  </a:cubicBezTo>
                  <a:cubicBezTo>
                    <a:pt x="66461" y="22018"/>
                    <a:pt x="66461" y="22018"/>
                    <a:pt x="66461" y="22018"/>
                  </a:cubicBezTo>
                  <a:cubicBezTo>
                    <a:pt x="66461" y="20917"/>
                    <a:pt x="66461" y="19816"/>
                    <a:pt x="66461" y="19816"/>
                  </a:cubicBezTo>
                  <a:cubicBezTo>
                    <a:pt x="67076" y="18715"/>
                    <a:pt x="67076" y="18715"/>
                    <a:pt x="67076" y="17614"/>
                  </a:cubicBezTo>
                  <a:cubicBezTo>
                    <a:pt x="67076" y="17614"/>
                    <a:pt x="66461" y="16513"/>
                    <a:pt x="67076" y="16513"/>
                  </a:cubicBezTo>
                  <a:cubicBezTo>
                    <a:pt x="67692" y="16513"/>
                    <a:pt x="68307" y="16513"/>
                    <a:pt x="68307" y="16513"/>
                  </a:cubicBezTo>
                  <a:cubicBezTo>
                    <a:pt x="68307" y="16513"/>
                    <a:pt x="68307" y="15412"/>
                    <a:pt x="68307" y="15412"/>
                  </a:cubicBezTo>
                  <a:cubicBezTo>
                    <a:pt x="68307" y="15412"/>
                    <a:pt x="68923" y="14311"/>
                    <a:pt x="69538" y="14311"/>
                  </a:cubicBezTo>
                  <a:cubicBezTo>
                    <a:pt x="69538" y="14311"/>
                    <a:pt x="69538" y="15412"/>
                    <a:pt x="70153" y="14311"/>
                  </a:cubicBezTo>
                  <a:cubicBezTo>
                    <a:pt x="70769" y="13211"/>
                    <a:pt x="70153" y="13211"/>
                    <a:pt x="70153" y="13211"/>
                  </a:cubicBezTo>
                  <a:cubicBezTo>
                    <a:pt x="70153" y="12110"/>
                    <a:pt x="70153" y="12110"/>
                    <a:pt x="70153" y="12110"/>
                  </a:cubicBezTo>
                  <a:cubicBezTo>
                    <a:pt x="70769" y="11009"/>
                    <a:pt x="70153" y="12110"/>
                    <a:pt x="71384" y="12110"/>
                  </a:cubicBezTo>
                  <a:cubicBezTo>
                    <a:pt x="72000" y="11009"/>
                    <a:pt x="72615" y="11009"/>
                    <a:pt x="72615" y="11009"/>
                  </a:cubicBezTo>
                  <a:cubicBezTo>
                    <a:pt x="72615" y="11009"/>
                    <a:pt x="72615" y="9908"/>
                    <a:pt x="72615" y="9908"/>
                  </a:cubicBezTo>
                  <a:cubicBezTo>
                    <a:pt x="73846" y="8807"/>
                    <a:pt x="73846" y="8807"/>
                    <a:pt x="73846" y="8807"/>
                  </a:cubicBezTo>
                  <a:cubicBezTo>
                    <a:pt x="73846" y="8807"/>
                    <a:pt x="73846" y="9908"/>
                    <a:pt x="73846" y="9908"/>
                  </a:cubicBezTo>
                  <a:cubicBezTo>
                    <a:pt x="73846" y="9908"/>
                    <a:pt x="74461" y="9908"/>
                    <a:pt x="75076" y="9908"/>
                  </a:cubicBezTo>
                  <a:cubicBezTo>
                    <a:pt x="75076" y="9908"/>
                    <a:pt x="75692" y="11009"/>
                    <a:pt x="75692" y="9908"/>
                  </a:cubicBezTo>
                  <a:cubicBezTo>
                    <a:pt x="75692" y="9908"/>
                    <a:pt x="76307" y="9908"/>
                    <a:pt x="76307" y="8807"/>
                  </a:cubicBezTo>
                  <a:cubicBezTo>
                    <a:pt x="76307" y="8807"/>
                    <a:pt x="76307" y="8807"/>
                    <a:pt x="76307" y="8807"/>
                  </a:cubicBezTo>
                  <a:cubicBezTo>
                    <a:pt x="76307" y="8807"/>
                    <a:pt x="76307" y="7706"/>
                    <a:pt x="76923" y="7706"/>
                  </a:cubicBezTo>
                  <a:cubicBezTo>
                    <a:pt x="77538" y="8807"/>
                    <a:pt x="76923" y="8807"/>
                    <a:pt x="77538" y="8807"/>
                  </a:cubicBezTo>
                  <a:cubicBezTo>
                    <a:pt x="77538" y="7706"/>
                    <a:pt x="78769" y="6605"/>
                    <a:pt x="78769" y="6605"/>
                  </a:cubicBezTo>
                  <a:cubicBezTo>
                    <a:pt x="78769" y="6605"/>
                    <a:pt x="78769" y="6605"/>
                    <a:pt x="79384" y="8807"/>
                  </a:cubicBezTo>
                  <a:cubicBezTo>
                    <a:pt x="79384" y="9908"/>
                    <a:pt x="80000" y="9908"/>
                    <a:pt x="80615" y="9908"/>
                  </a:cubicBezTo>
                  <a:cubicBezTo>
                    <a:pt x="80615" y="9908"/>
                    <a:pt x="80615" y="9908"/>
                    <a:pt x="80615" y="9908"/>
                  </a:cubicBezTo>
                  <a:cubicBezTo>
                    <a:pt x="80615" y="11009"/>
                    <a:pt x="81230" y="12110"/>
                    <a:pt x="81230" y="12110"/>
                  </a:cubicBezTo>
                  <a:cubicBezTo>
                    <a:pt x="81846" y="12110"/>
                    <a:pt x="81846" y="12110"/>
                    <a:pt x="81846" y="12110"/>
                  </a:cubicBezTo>
                  <a:cubicBezTo>
                    <a:pt x="82461" y="11009"/>
                    <a:pt x="82461" y="11009"/>
                    <a:pt x="82461" y="11009"/>
                  </a:cubicBezTo>
                  <a:cubicBezTo>
                    <a:pt x="82461" y="11009"/>
                    <a:pt x="82461" y="12110"/>
                    <a:pt x="83076" y="12110"/>
                  </a:cubicBezTo>
                  <a:cubicBezTo>
                    <a:pt x="83692" y="12110"/>
                    <a:pt x="84307" y="13211"/>
                    <a:pt x="84307" y="13211"/>
                  </a:cubicBezTo>
                  <a:cubicBezTo>
                    <a:pt x="84307" y="12110"/>
                    <a:pt x="84923" y="11009"/>
                    <a:pt x="84923" y="11009"/>
                  </a:cubicBezTo>
                  <a:cubicBezTo>
                    <a:pt x="84923" y="9908"/>
                    <a:pt x="84923" y="9908"/>
                    <a:pt x="85538" y="8807"/>
                  </a:cubicBezTo>
                  <a:cubicBezTo>
                    <a:pt x="85538" y="8807"/>
                    <a:pt x="87384" y="7706"/>
                    <a:pt x="87384" y="7706"/>
                  </a:cubicBezTo>
                  <a:cubicBezTo>
                    <a:pt x="87384" y="7706"/>
                    <a:pt x="86769" y="5504"/>
                    <a:pt x="86153" y="5504"/>
                  </a:cubicBezTo>
                  <a:cubicBezTo>
                    <a:pt x="86153" y="5504"/>
                    <a:pt x="85538" y="4403"/>
                    <a:pt x="86769" y="3302"/>
                  </a:cubicBezTo>
                  <a:cubicBezTo>
                    <a:pt x="87384" y="3302"/>
                    <a:pt x="88000" y="3302"/>
                    <a:pt x="88000" y="3302"/>
                  </a:cubicBezTo>
                  <a:cubicBezTo>
                    <a:pt x="89230" y="4403"/>
                    <a:pt x="89230" y="4403"/>
                    <a:pt x="89230" y="4403"/>
                  </a:cubicBezTo>
                  <a:cubicBezTo>
                    <a:pt x="89230" y="3302"/>
                    <a:pt x="89230" y="3302"/>
                    <a:pt x="89230" y="3302"/>
                  </a:cubicBezTo>
                  <a:cubicBezTo>
                    <a:pt x="89846" y="2201"/>
                    <a:pt x="89846" y="2201"/>
                    <a:pt x="89846" y="2201"/>
                  </a:cubicBezTo>
                  <a:cubicBezTo>
                    <a:pt x="89846" y="2201"/>
                    <a:pt x="90461" y="1100"/>
                    <a:pt x="90461" y="1100"/>
                  </a:cubicBezTo>
                  <a:cubicBezTo>
                    <a:pt x="90461" y="1100"/>
                    <a:pt x="91076" y="1100"/>
                    <a:pt x="91076" y="1100"/>
                  </a:cubicBezTo>
                  <a:cubicBezTo>
                    <a:pt x="91692" y="1100"/>
                    <a:pt x="92307" y="1100"/>
                    <a:pt x="92307" y="1100"/>
                  </a:cubicBezTo>
                  <a:cubicBezTo>
                    <a:pt x="92307" y="1100"/>
                    <a:pt x="92923" y="2201"/>
                    <a:pt x="92923" y="2201"/>
                  </a:cubicBezTo>
                  <a:cubicBezTo>
                    <a:pt x="93538" y="2201"/>
                    <a:pt x="94153" y="2201"/>
                    <a:pt x="94153" y="2201"/>
                  </a:cubicBezTo>
                  <a:cubicBezTo>
                    <a:pt x="94153" y="2201"/>
                    <a:pt x="94769" y="3302"/>
                    <a:pt x="94769" y="2201"/>
                  </a:cubicBezTo>
                  <a:cubicBezTo>
                    <a:pt x="95384" y="2201"/>
                    <a:pt x="95384" y="1100"/>
                    <a:pt x="95384" y="1100"/>
                  </a:cubicBezTo>
                  <a:cubicBezTo>
                    <a:pt x="95384" y="1100"/>
                    <a:pt x="97846" y="0"/>
                    <a:pt x="97846" y="0"/>
                  </a:cubicBezTo>
                  <a:cubicBezTo>
                    <a:pt x="97846" y="0"/>
                    <a:pt x="98461" y="0"/>
                    <a:pt x="98461" y="0"/>
                  </a:cubicBezTo>
                  <a:cubicBezTo>
                    <a:pt x="99076" y="1100"/>
                    <a:pt x="99692" y="1100"/>
                    <a:pt x="99692" y="1100"/>
                  </a:cubicBezTo>
                  <a:cubicBezTo>
                    <a:pt x="100307" y="1100"/>
                    <a:pt x="100923" y="2201"/>
                    <a:pt x="100923" y="2201"/>
                  </a:cubicBezTo>
                  <a:cubicBezTo>
                    <a:pt x="101538" y="3302"/>
                    <a:pt x="102153" y="3302"/>
                    <a:pt x="102153" y="3302"/>
                  </a:cubicBezTo>
                  <a:cubicBezTo>
                    <a:pt x="102153" y="3302"/>
                    <a:pt x="102153" y="1100"/>
                    <a:pt x="102153" y="1100"/>
                  </a:cubicBezTo>
                  <a:cubicBezTo>
                    <a:pt x="102769" y="1100"/>
                    <a:pt x="103384" y="1100"/>
                    <a:pt x="103384" y="1100"/>
                  </a:cubicBezTo>
                  <a:cubicBezTo>
                    <a:pt x="104000" y="2201"/>
                    <a:pt x="104000" y="2201"/>
                    <a:pt x="104000" y="2201"/>
                  </a:cubicBezTo>
                  <a:cubicBezTo>
                    <a:pt x="104000" y="2201"/>
                    <a:pt x="104615" y="3302"/>
                    <a:pt x="105230" y="3302"/>
                  </a:cubicBezTo>
                  <a:cubicBezTo>
                    <a:pt x="105230" y="3302"/>
                    <a:pt x="105846" y="2201"/>
                    <a:pt x="105846" y="2201"/>
                  </a:cubicBezTo>
                  <a:cubicBezTo>
                    <a:pt x="105846" y="3302"/>
                    <a:pt x="106461" y="3302"/>
                    <a:pt x="106461" y="4403"/>
                  </a:cubicBezTo>
                  <a:cubicBezTo>
                    <a:pt x="106461" y="4403"/>
                    <a:pt x="107076" y="5504"/>
                    <a:pt x="107076" y="5504"/>
                  </a:cubicBezTo>
                  <a:cubicBezTo>
                    <a:pt x="107076" y="6605"/>
                    <a:pt x="107692" y="6605"/>
                    <a:pt x="107692" y="6605"/>
                  </a:cubicBezTo>
                  <a:cubicBezTo>
                    <a:pt x="107692" y="7706"/>
                    <a:pt x="107692" y="8807"/>
                    <a:pt x="107692" y="8807"/>
                  </a:cubicBezTo>
                  <a:cubicBezTo>
                    <a:pt x="107692" y="8807"/>
                    <a:pt x="107692" y="8807"/>
                    <a:pt x="107692" y="9908"/>
                  </a:cubicBezTo>
                  <a:cubicBezTo>
                    <a:pt x="108307" y="9908"/>
                    <a:pt x="110153" y="9908"/>
                    <a:pt x="110153" y="9908"/>
                  </a:cubicBezTo>
                  <a:cubicBezTo>
                    <a:pt x="110153" y="9908"/>
                    <a:pt x="110769" y="9908"/>
                    <a:pt x="110769" y="11009"/>
                  </a:cubicBezTo>
                  <a:cubicBezTo>
                    <a:pt x="110769" y="11009"/>
                    <a:pt x="112000" y="11009"/>
                    <a:pt x="112000" y="11009"/>
                  </a:cubicBezTo>
                  <a:cubicBezTo>
                    <a:pt x="112000" y="11009"/>
                    <a:pt x="112615" y="9908"/>
                    <a:pt x="112615" y="11009"/>
                  </a:cubicBezTo>
                  <a:cubicBezTo>
                    <a:pt x="112615" y="11009"/>
                    <a:pt x="112615" y="12110"/>
                    <a:pt x="112615" y="12110"/>
                  </a:cubicBezTo>
                  <a:cubicBezTo>
                    <a:pt x="113846" y="12110"/>
                    <a:pt x="113846" y="12110"/>
                    <a:pt x="113846" y="12110"/>
                  </a:cubicBezTo>
                  <a:cubicBezTo>
                    <a:pt x="114461" y="12110"/>
                    <a:pt x="114461" y="12110"/>
                    <a:pt x="114461" y="12110"/>
                  </a:cubicBezTo>
                  <a:cubicBezTo>
                    <a:pt x="114461" y="12110"/>
                    <a:pt x="115076" y="11009"/>
                    <a:pt x="115076" y="12110"/>
                  </a:cubicBezTo>
                  <a:cubicBezTo>
                    <a:pt x="115076" y="12110"/>
                    <a:pt x="115692" y="12110"/>
                    <a:pt x="115692" y="12110"/>
                  </a:cubicBezTo>
                  <a:cubicBezTo>
                    <a:pt x="115692" y="12110"/>
                    <a:pt x="116923" y="13211"/>
                    <a:pt x="116923" y="13211"/>
                  </a:cubicBezTo>
                  <a:cubicBezTo>
                    <a:pt x="116923" y="13211"/>
                    <a:pt x="117538" y="13211"/>
                    <a:pt x="118153" y="13211"/>
                  </a:cubicBezTo>
                  <a:cubicBezTo>
                    <a:pt x="118153" y="13211"/>
                    <a:pt x="120000" y="13211"/>
                    <a:pt x="120000" y="13211"/>
                  </a:cubicBezTo>
                  <a:cubicBezTo>
                    <a:pt x="120000" y="13211"/>
                    <a:pt x="120000" y="14311"/>
                    <a:pt x="120000" y="15412"/>
                  </a:cubicBezTo>
                  <a:cubicBezTo>
                    <a:pt x="120000" y="15412"/>
                    <a:pt x="120000" y="17614"/>
                    <a:pt x="120000" y="17614"/>
                  </a:cubicBezTo>
                  <a:cubicBezTo>
                    <a:pt x="120000" y="17614"/>
                    <a:pt x="119384" y="18715"/>
                    <a:pt x="119384" y="19816"/>
                  </a:cubicBezTo>
                  <a:cubicBezTo>
                    <a:pt x="118769" y="19816"/>
                    <a:pt x="118769" y="22018"/>
                    <a:pt x="118769" y="22018"/>
                  </a:cubicBezTo>
                  <a:cubicBezTo>
                    <a:pt x="118769" y="22018"/>
                    <a:pt x="118769" y="23119"/>
                    <a:pt x="118769" y="23119"/>
                  </a:cubicBezTo>
                  <a:cubicBezTo>
                    <a:pt x="118769" y="23119"/>
                    <a:pt x="118769" y="25321"/>
                    <a:pt x="118769" y="25321"/>
                  </a:cubicBezTo>
                  <a:cubicBezTo>
                    <a:pt x="118153" y="27522"/>
                    <a:pt x="118153" y="27522"/>
                    <a:pt x="118153" y="27522"/>
                  </a:cubicBezTo>
                  <a:cubicBezTo>
                    <a:pt x="118153" y="27522"/>
                    <a:pt x="117538" y="28623"/>
                    <a:pt x="118153" y="29724"/>
                  </a:cubicBezTo>
                  <a:cubicBezTo>
                    <a:pt x="118153" y="29724"/>
                    <a:pt x="118153" y="30825"/>
                    <a:pt x="118153" y="30825"/>
                  </a:cubicBezTo>
                  <a:cubicBezTo>
                    <a:pt x="118769" y="31926"/>
                    <a:pt x="118769" y="31926"/>
                    <a:pt x="118769" y="31926"/>
                  </a:cubicBezTo>
                  <a:cubicBezTo>
                    <a:pt x="117538" y="34128"/>
                    <a:pt x="117538" y="34128"/>
                    <a:pt x="117538" y="34128"/>
                  </a:cubicBezTo>
                  <a:cubicBezTo>
                    <a:pt x="117538" y="36330"/>
                    <a:pt x="117538" y="36330"/>
                    <a:pt x="117538" y="36330"/>
                  </a:cubicBezTo>
                  <a:cubicBezTo>
                    <a:pt x="117538" y="36330"/>
                    <a:pt x="118153" y="37431"/>
                    <a:pt x="117538" y="38532"/>
                  </a:cubicBezTo>
                  <a:cubicBezTo>
                    <a:pt x="117538" y="38532"/>
                    <a:pt x="116923" y="39633"/>
                    <a:pt x="116923" y="39633"/>
                  </a:cubicBezTo>
                  <a:cubicBezTo>
                    <a:pt x="116923" y="39633"/>
                    <a:pt x="115692" y="41834"/>
                    <a:pt x="115692" y="41834"/>
                  </a:cubicBezTo>
                  <a:cubicBezTo>
                    <a:pt x="115692" y="41834"/>
                    <a:pt x="115692" y="42935"/>
                    <a:pt x="115692" y="42935"/>
                  </a:cubicBezTo>
                  <a:cubicBezTo>
                    <a:pt x="115692" y="42935"/>
                    <a:pt x="115076" y="45137"/>
                    <a:pt x="115076" y="45137"/>
                  </a:cubicBezTo>
                  <a:cubicBezTo>
                    <a:pt x="115076" y="45137"/>
                    <a:pt x="115076" y="48440"/>
                    <a:pt x="115076" y="48440"/>
                  </a:cubicBezTo>
                  <a:cubicBezTo>
                    <a:pt x="115076" y="48440"/>
                    <a:pt x="115692" y="49541"/>
                    <a:pt x="115692" y="49541"/>
                  </a:cubicBezTo>
                  <a:cubicBezTo>
                    <a:pt x="115692" y="49541"/>
                    <a:pt x="115692" y="50642"/>
                    <a:pt x="115692" y="51743"/>
                  </a:cubicBezTo>
                  <a:cubicBezTo>
                    <a:pt x="115076" y="51743"/>
                    <a:pt x="115692" y="52844"/>
                    <a:pt x="115692" y="53944"/>
                  </a:cubicBezTo>
                  <a:cubicBezTo>
                    <a:pt x="115692" y="53944"/>
                    <a:pt x="115692" y="55045"/>
                    <a:pt x="115692" y="55045"/>
                  </a:cubicBezTo>
                  <a:cubicBezTo>
                    <a:pt x="115076" y="57247"/>
                    <a:pt x="115076" y="57247"/>
                    <a:pt x="115076" y="57247"/>
                  </a:cubicBezTo>
                  <a:cubicBezTo>
                    <a:pt x="114461" y="57247"/>
                    <a:pt x="114461" y="57247"/>
                    <a:pt x="114461" y="57247"/>
                  </a:cubicBezTo>
                  <a:cubicBezTo>
                    <a:pt x="115076" y="60550"/>
                    <a:pt x="115076" y="60550"/>
                    <a:pt x="115076" y="60550"/>
                  </a:cubicBezTo>
                  <a:cubicBezTo>
                    <a:pt x="113846" y="62752"/>
                    <a:pt x="113846" y="62752"/>
                    <a:pt x="113846" y="62752"/>
                  </a:cubicBezTo>
                  <a:cubicBezTo>
                    <a:pt x="108923" y="62752"/>
                    <a:pt x="108923" y="62752"/>
                    <a:pt x="108923" y="62752"/>
                  </a:cubicBezTo>
                  <a:cubicBezTo>
                    <a:pt x="104000" y="53944"/>
                    <a:pt x="104000" y="53944"/>
                    <a:pt x="104000" y="53944"/>
                  </a:cubicBezTo>
                  <a:cubicBezTo>
                    <a:pt x="100307" y="52844"/>
                    <a:pt x="100307" y="52844"/>
                    <a:pt x="100307" y="52844"/>
                  </a:cubicBezTo>
                  <a:cubicBezTo>
                    <a:pt x="97230" y="57247"/>
                    <a:pt x="97230" y="57247"/>
                    <a:pt x="97230" y="57247"/>
                  </a:cubicBezTo>
                  <a:cubicBezTo>
                    <a:pt x="92923" y="58348"/>
                    <a:pt x="92923" y="58348"/>
                    <a:pt x="92923" y="58348"/>
                  </a:cubicBezTo>
                  <a:cubicBezTo>
                    <a:pt x="89846" y="55045"/>
                    <a:pt x="89846" y="55045"/>
                    <a:pt x="89846" y="55045"/>
                  </a:cubicBezTo>
                  <a:cubicBezTo>
                    <a:pt x="81230" y="59449"/>
                    <a:pt x="81230" y="59449"/>
                    <a:pt x="81230" y="59449"/>
                  </a:cubicBezTo>
                  <a:cubicBezTo>
                    <a:pt x="80615" y="62752"/>
                    <a:pt x="80615" y="62752"/>
                    <a:pt x="80615" y="62752"/>
                  </a:cubicBezTo>
                  <a:cubicBezTo>
                    <a:pt x="79384" y="70458"/>
                    <a:pt x="79384" y="70458"/>
                    <a:pt x="79384" y="70458"/>
                  </a:cubicBezTo>
                  <a:cubicBezTo>
                    <a:pt x="77538" y="77064"/>
                    <a:pt x="77538" y="77064"/>
                    <a:pt x="77538" y="77064"/>
                  </a:cubicBezTo>
                  <a:cubicBezTo>
                    <a:pt x="75076" y="79266"/>
                    <a:pt x="75076" y="79266"/>
                    <a:pt x="75076" y="79266"/>
                  </a:cubicBezTo>
                  <a:cubicBezTo>
                    <a:pt x="73230" y="81467"/>
                    <a:pt x="73230" y="81467"/>
                    <a:pt x="73230" y="81467"/>
                  </a:cubicBezTo>
                  <a:cubicBezTo>
                    <a:pt x="71384" y="85871"/>
                    <a:pt x="71384" y="85871"/>
                    <a:pt x="71384" y="85871"/>
                  </a:cubicBezTo>
                  <a:cubicBezTo>
                    <a:pt x="67692" y="85871"/>
                    <a:pt x="67692" y="85871"/>
                    <a:pt x="67692" y="85871"/>
                  </a:cubicBezTo>
                  <a:cubicBezTo>
                    <a:pt x="65230" y="84770"/>
                    <a:pt x="65230" y="84770"/>
                    <a:pt x="65230" y="84770"/>
                  </a:cubicBezTo>
                  <a:cubicBezTo>
                    <a:pt x="61538" y="85871"/>
                    <a:pt x="61538" y="85871"/>
                    <a:pt x="61538" y="85871"/>
                  </a:cubicBezTo>
                  <a:cubicBezTo>
                    <a:pt x="60307" y="92477"/>
                    <a:pt x="60307" y="92477"/>
                    <a:pt x="60307" y="92477"/>
                  </a:cubicBezTo>
                  <a:cubicBezTo>
                    <a:pt x="57846" y="93577"/>
                    <a:pt x="57846" y="93577"/>
                    <a:pt x="57846" y="93577"/>
                  </a:cubicBezTo>
                  <a:cubicBezTo>
                    <a:pt x="53538" y="94678"/>
                    <a:pt x="53538" y="94678"/>
                    <a:pt x="53538" y="94678"/>
                  </a:cubicBezTo>
                  <a:cubicBezTo>
                    <a:pt x="48000" y="97981"/>
                    <a:pt x="48000" y="97981"/>
                    <a:pt x="48000" y="97981"/>
                  </a:cubicBezTo>
                  <a:cubicBezTo>
                    <a:pt x="44923" y="103486"/>
                    <a:pt x="44923" y="103486"/>
                    <a:pt x="44923" y="103486"/>
                  </a:cubicBezTo>
                  <a:cubicBezTo>
                    <a:pt x="44923" y="105688"/>
                    <a:pt x="44923" y="105688"/>
                    <a:pt x="44923" y="105688"/>
                  </a:cubicBezTo>
                  <a:cubicBezTo>
                    <a:pt x="44923" y="105688"/>
                    <a:pt x="47384" y="108990"/>
                    <a:pt x="48615" y="110091"/>
                  </a:cubicBezTo>
                  <a:cubicBezTo>
                    <a:pt x="49846" y="112293"/>
                    <a:pt x="46153" y="113394"/>
                    <a:pt x="45538" y="114495"/>
                  </a:cubicBezTo>
                  <a:cubicBezTo>
                    <a:pt x="44923" y="115596"/>
                    <a:pt x="39384" y="116697"/>
                    <a:pt x="39384" y="116697"/>
                  </a:cubicBezTo>
                  <a:cubicBezTo>
                    <a:pt x="28923" y="117798"/>
                    <a:pt x="28923" y="117798"/>
                    <a:pt x="28923" y="117798"/>
                  </a:cubicBezTo>
                  <a:cubicBezTo>
                    <a:pt x="23384" y="120000"/>
                    <a:pt x="23384" y="120000"/>
                    <a:pt x="23384" y="120000"/>
                  </a:cubicBezTo>
                  <a:cubicBezTo>
                    <a:pt x="20923" y="117798"/>
                    <a:pt x="20923" y="117798"/>
                    <a:pt x="20923" y="117798"/>
                  </a:cubicBezTo>
                  <a:cubicBezTo>
                    <a:pt x="16615" y="113394"/>
                    <a:pt x="16615" y="113394"/>
                    <a:pt x="16615" y="113394"/>
                  </a:cubicBezTo>
                  <a:cubicBezTo>
                    <a:pt x="13538" y="107889"/>
                    <a:pt x="13538" y="107889"/>
                    <a:pt x="13538" y="107889"/>
                  </a:cubicBezTo>
                  <a:cubicBezTo>
                    <a:pt x="13538" y="107889"/>
                    <a:pt x="13538" y="107889"/>
                    <a:pt x="13538" y="107889"/>
                  </a:cubicBezTo>
                  <a:cubicBezTo>
                    <a:pt x="8615" y="106788"/>
                    <a:pt x="8615" y="106788"/>
                    <a:pt x="8615" y="106788"/>
                  </a:cubicBezTo>
                  <a:cubicBezTo>
                    <a:pt x="8615" y="107889"/>
                    <a:pt x="8615" y="107889"/>
                    <a:pt x="8615" y="107889"/>
                  </a:cubicBezTo>
                  <a:cubicBezTo>
                    <a:pt x="8615" y="112293"/>
                    <a:pt x="8615" y="112293"/>
                    <a:pt x="8615" y="112293"/>
                  </a:cubicBezTo>
                  <a:cubicBezTo>
                    <a:pt x="6769" y="116697"/>
                    <a:pt x="6769" y="116697"/>
                    <a:pt x="6769" y="116697"/>
                  </a:cubicBezTo>
                  <a:cubicBezTo>
                    <a:pt x="5538" y="113394"/>
                    <a:pt x="4923" y="107889"/>
                    <a:pt x="3692" y="102385"/>
                  </a:cubicBezTo>
                  <a:cubicBezTo>
                    <a:pt x="3692" y="102385"/>
                    <a:pt x="3692" y="101284"/>
                    <a:pt x="3076" y="100183"/>
                  </a:cubicBezTo>
                  <a:cubicBezTo>
                    <a:pt x="3076" y="99082"/>
                    <a:pt x="2461" y="96880"/>
                    <a:pt x="2461" y="96880"/>
                  </a:cubicBezTo>
                  <a:cubicBezTo>
                    <a:pt x="2461" y="96880"/>
                    <a:pt x="2461" y="96880"/>
                    <a:pt x="2461" y="96880"/>
                  </a:cubicBezTo>
                  <a:cubicBezTo>
                    <a:pt x="1846" y="95779"/>
                    <a:pt x="1230" y="94678"/>
                    <a:pt x="1230" y="94678"/>
                  </a:cubicBezTo>
                  <a:cubicBezTo>
                    <a:pt x="1230" y="94678"/>
                    <a:pt x="1230" y="93577"/>
                    <a:pt x="1230" y="93577"/>
                  </a:cubicBezTo>
                  <a:cubicBezTo>
                    <a:pt x="615" y="93577"/>
                    <a:pt x="0" y="92477"/>
                    <a:pt x="0" y="92477"/>
                  </a:cubicBezTo>
                  <a:cubicBezTo>
                    <a:pt x="0" y="92477"/>
                    <a:pt x="0" y="89174"/>
                    <a:pt x="0" y="89174"/>
                  </a:cubicBezTo>
                  <a:cubicBezTo>
                    <a:pt x="0" y="86972"/>
                    <a:pt x="0" y="86972"/>
                    <a:pt x="0" y="86972"/>
                  </a:cubicBezTo>
                  <a:cubicBezTo>
                    <a:pt x="1230" y="84770"/>
                    <a:pt x="1230" y="84770"/>
                    <a:pt x="1230" y="84770"/>
                  </a:cubicBezTo>
                  <a:cubicBezTo>
                    <a:pt x="1230" y="84770"/>
                    <a:pt x="1230" y="82568"/>
                    <a:pt x="1230" y="82568"/>
                  </a:cubicBezTo>
                  <a:cubicBezTo>
                    <a:pt x="1230" y="82568"/>
                    <a:pt x="1846" y="80366"/>
                    <a:pt x="1846" y="80366"/>
                  </a:cubicBezTo>
                  <a:cubicBezTo>
                    <a:pt x="1230" y="79266"/>
                    <a:pt x="1230" y="79266"/>
                    <a:pt x="1230" y="79266"/>
                  </a:cubicBezTo>
                  <a:cubicBezTo>
                    <a:pt x="1230" y="75963"/>
                    <a:pt x="1230" y="75963"/>
                    <a:pt x="1230" y="75963"/>
                  </a:cubicBezTo>
                  <a:cubicBezTo>
                    <a:pt x="1846" y="74862"/>
                    <a:pt x="1846" y="74862"/>
                    <a:pt x="1846" y="74862"/>
                  </a:cubicBezTo>
                  <a:cubicBezTo>
                    <a:pt x="1846" y="72660"/>
                    <a:pt x="1846" y="72660"/>
                    <a:pt x="1846" y="72660"/>
                  </a:cubicBezTo>
                  <a:cubicBezTo>
                    <a:pt x="1846" y="72660"/>
                    <a:pt x="1846" y="71559"/>
                    <a:pt x="1846" y="71559"/>
                  </a:cubicBezTo>
                  <a:cubicBezTo>
                    <a:pt x="2461" y="71559"/>
                    <a:pt x="2461" y="68256"/>
                    <a:pt x="2461" y="68256"/>
                  </a:cubicBezTo>
                  <a:cubicBezTo>
                    <a:pt x="2461" y="68256"/>
                    <a:pt x="3076" y="66055"/>
                    <a:pt x="3076" y="66055"/>
                  </a:cubicBezTo>
                  <a:cubicBezTo>
                    <a:pt x="3692" y="66055"/>
                    <a:pt x="3692" y="64954"/>
                    <a:pt x="3692" y="64954"/>
                  </a:cubicBezTo>
                  <a:cubicBezTo>
                    <a:pt x="3692" y="63853"/>
                    <a:pt x="3692" y="62752"/>
                    <a:pt x="3692" y="62752"/>
                  </a:cubicBezTo>
                  <a:cubicBezTo>
                    <a:pt x="4923" y="61651"/>
                    <a:pt x="4923" y="61651"/>
                    <a:pt x="4923" y="61651"/>
                  </a:cubicBezTo>
                  <a:cubicBezTo>
                    <a:pt x="4923" y="61651"/>
                    <a:pt x="5538" y="60550"/>
                    <a:pt x="5538" y="60550"/>
                  </a:cubicBezTo>
                  <a:cubicBezTo>
                    <a:pt x="5538" y="60550"/>
                    <a:pt x="6153" y="60550"/>
                    <a:pt x="6769" y="60550"/>
                  </a:cubicBezTo>
                  <a:cubicBezTo>
                    <a:pt x="6769" y="60550"/>
                    <a:pt x="7384" y="60550"/>
                    <a:pt x="8000" y="60550"/>
                  </a:cubicBezTo>
                  <a:cubicBezTo>
                    <a:pt x="8000" y="60550"/>
                    <a:pt x="8000" y="61651"/>
                    <a:pt x="8615" y="61651"/>
                  </a:cubicBezTo>
                  <a:cubicBezTo>
                    <a:pt x="9230" y="61651"/>
                    <a:pt x="9846" y="62752"/>
                    <a:pt x="9846" y="62752"/>
                  </a:cubicBezTo>
                  <a:cubicBezTo>
                    <a:pt x="10461" y="61651"/>
                    <a:pt x="10461" y="61651"/>
                    <a:pt x="10461" y="61651"/>
                  </a:cubicBezTo>
                  <a:cubicBezTo>
                    <a:pt x="11076" y="61651"/>
                    <a:pt x="11076" y="60550"/>
                    <a:pt x="11076" y="60550"/>
                  </a:cubicBezTo>
                  <a:cubicBezTo>
                    <a:pt x="11692" y="60550"/>
                    <a:pt x="12923" y="61651"/>
                    <a:pt x="12923" y="61651"/>
                  </a:cubicBezTo>
                  <a:cubicBezTo>
                    <a:pt x="12923" y="61651"/>
                    <a:pt x="13538" y="62752"/>
                    <a:pt x="13538" y="61651"/>
                  </a:cubicBezTo>
                  <a:cubicBezTo>
                    <a:pt x="14153" y="61651"/>
                    <a:pt x="14769" y="60550"/>
                    <a:pt x="14769" y="60550"/>
                  </a:cubicBezTo>
                  <a:cubicBezTo>
                    <a:pt x="16000" y="59449"/>
                    <a:pt x="16000" y="59449"/>
                    <a:pt x="16000" y="59449"/>
                  </a:cubicBezTo>
                  <a:close/>
                </a:path>
              </a:pathLst>
            </a:custGeom>
            <a:solidFill>
              <a:srgbClr val="00B050"/>
            </a:solidFill>
            <a:ln w="3175" cap="flat" cmpd="sng">
              <a:solidFill>
                <a:schemeClr val="tx1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defTabSz="457200"/>
              <a:endParaRPr kern="0">
                <a:solidFill>
                  <a:srgbClr val="7F7F7F"/>
                </a:solidFill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28" name="Shape 2020">
              <a:extLst>
                <a:ext uri="{FF2B5EF4-FFF2-40B4-BE49-F238E27FC236}">
                  <a16:creationId xmlns:a16="http://schemas.microsoft.com/office/drawing/2014/main" id="{691CA3F1-B461-40AD-AB96-9386F76827B5}"/>
                </a:ext>
              </a:extLst>
            </p:cNvPr>
            <p:cNvSpPr/>
            <p:nvPr/>
          </p:nvSpPr>
          <p:spPr>
            <a:xfrm>
              <a:off x="4427918" y="3370030"/>
              <a:ext cx="245102" cy="17966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9230" y="65454"/>
                  </a:moveTo>
                  <a:cubicBezTo>
                    <a:pt x="7179" y="64090"/>
                    <a:pt x="7179" y="64090"/>
                    <a:pt x="7179" y="64090"/>
                  </a:cubicBezTo>
                  <a:cubicBezTo>
                    <a:pt x="5128" y="62727"/>
                    <a:pt x="5128" y="62727"/>
                    <a:pt x="5128" y="62727"/>
                  </a:cubicBezTo>
                  <a:cubicBezTo>
                    <a:pt x="2051" y="62727"/>
                    <a:pt x="2051" y="62727"/>
                    <a:pt x="2051" y="62727"/>
                  </a:cubicBezTo>
                  <a:cubicBezTo>
                    <a:pt x="0" y="60000"/>
                    <a:pt x="0" y="60000"/>
                    <a:pt x="0" y="60000"/>
                  </a:cubicBezTo>
                  <a:cubicBezTo>
                    <a:pt x="1025" y="57272"/>
                    <a:pt x="1025" y="57272"/>
                    <a:pt x="1025" y="57272"/>
                  </a:cubicBezTo>
                  <a:cubicBezTo>
                    <a:pt x="1025" y="54545"/>
                    <a:pt x="1025" y="54545"/>
                    <a:pt x="1025" y="54545"/>
                  </a:cubicBezTo>
                  <a:cubicBezTo>
                    <a:pt x="1025" y="54545"/>
                    <a:pt x="3076" y="51818"/>
                    <a:pt x="3076" y="51818"/>
                  </a:cubicBezTo>
                  <a:cubicBezTo>
                    <a:pt x="4102" y="50454"/>
                    <a:pt x="6153" y="49090"/>
                    <a:pt x="6153" y="49090"/>
                  </a:cubicBezTo>
                  <a:cubicBezTo>
                    <a:pt x="7179" y="46363"/>
                    <a:pt x="7179" y="46363"/>
                    <a:pt x="7179" y="46363"/>
                  </a:cubicBezTo>
                  <a:cubicBezTo>
                    <a:pt x="7179" y="46363"/>
                    <a:pt x="8205" y="45000"/>
                    <a:pt x="9230" y="45000"/>
                  </a:cubicBezTo>
                  <a:cubicBezTo>
                    <a:pt x="10256" y="45000"/>
                    <a:pt x="10256" y="46363"/>
                    <a:pt x="10256" y="45000"/>
                  </a:cubicBezTo>
                  <a:cubicBezTo>
                    <a:pt x="11282" y="45000"/>
                    <a:pt x="11282" y="39545"/>
                    <a:pt x="11282" y="39545"/>
                  </a:cubicBezTo>
                  <a:cubicBezTo>
                    <a:pt x="11282" y="36818"/>
                    <a:pt x="11282" y="36818"/>
                    <a:pt x="11282" y="36818"/>
                  </a:cubicBezTo>
                  <a:cubicBezTo>
                    <a:pt x="13333" y="36818"/>
                    <a:pt x="13333" y="36818"/>
                    <a:pt x="13333" y="36818"/>
                  </a:cubicBezTo>
                  <a:cubicBezTo>
                    <a:pt x="22564" y="40909"/>
                    <a:pt x="22564" y="40909"/>
                    <a:pt x="22564" y="40909"/>
                  </a:cubicBezTo>
                  <a:cubicBezTo>
                    <a:pt x="32820" y="42272"/>
                    <a:pt x="32820" y="42272"/>
                    <a:pt x="32820" y="42272"/>
                  </a:cubicBezTo>
                  <a:cubicBezTo>
                    <a:pt x="42051" y="42272"/>
                    <a:pt x="42051" y="42272"/>
                    <a:pt x="42051" y="42272"/>
                  </a:cubicBezTo>
                  <a:cubicBezTo>
                    <a:pt x="44102" y="42272"/>
                    <a:pt x="44102" y="42272"/>
                    <a:pt x="44102" y="42272"/>
                  </a:cubicBezTo>
                  <a:cubicBezTo>
                    <a:pt x="47179" y="39545"/>
                    <a:pt x="47179" y="39545"/>
                    <a:pt x="47179" y="39545"/>
                  </a:cubicBezTo>
                  <a:cubicBezTo>
                    <a:pt x="49230" y="35454"/>
                    <a:pt x="49230" y="35454"/>
                    <a:pt x="49230" y="35454"/>
                  </a:cubicBezTo>
                  <a:cubicBezTo>
                    <a:pt x="53333" y="34090"/>
                    <a:pt x="53333" y="34090"/>
                    <a:pt x="53333" y="34090"/>
                  </a:cubicBezTo>
                  <a:cubicBezTo>
                    <a:pt x="54358" y="31363"/>
                    <a:pt x="54358" y="31363"/>
                    <a:pt x="54358" y="31363"/>
                  </a:cubicBezTo>
                  <a:cubicBezTo>
                    <a:pt x="56410" y="25909"/>
                    <a:pt x="56410" y="25909"/>
                    <a:pt x="56410" y="25909"/>
                  </a:cubicBezTo>
                  <a:cubicBezTo>
                    <a:pt x="59487" y="23181"/>
                    <a:pt x="59487" y="23181"/>
                    <a:pt x="59487" y="23181"/>
                  </a:cubicBezTo>
                  <a:cubicBezTo>
                    <a:pt x="65641" y="23181"/>
                    <a:pt x="65641" y="23181"/>
                    <a:pt x="65641" y="23181"/>
                  </a:cubicBezTo>
                  <a:cubicBezTo>
                    <a:pt x="72820" y="20454"/>
                    <a:pt x="72820" y="20454"/>
                    <a:pt x="72820" y="20454"/>
                  </a:cubicBezTo>
                  <a:cubicBezTo>
                    <a:pt x="77948" y="23181"/>
                    <a:pt x="77948" y="23181"/>
                    <a:pt x="77948" y="23181"/>
                  </a:cubicBezTo>
                  <a:cubicBezTo>
                    <a:pt x="84102" y="17727"/>
                    <a:pt x="84102" y="17727"/>
                    <a:pt x="84102" y="17727"/>
                  </a:cubicBezTo>
                  <a:cubicBezTo>
                    <a:pt x="87179" y="16363"/>
                    <a:pt x="87179" y="16363"/>
                    <a:pt x="87179" y="16363"/>
                  </a:cubicBezTo>
                  <a:cubicBezTo>
                    <a:pt x="92307" y="13636"/>
                    <a:pt x="92307" y="13636"/>
                    <a:pt x="92307" y="13636"/>
                  </a:cubicBezTo>
                  <a:cubicBezTo>
                    <a:pt x="98461" y="19090"/>
                    <a:pt x="98461" y="19090"/>
                    <a:pt x="98461" y="19090"/>
                  </a:cubicBezTo>
                  <a:cubicBezTo>
                    <a:pt x="97435" y="10909"/>
                    <a:pt x="97435" y="10909"/>
                    <a:pt x="97435" y="10909"/>
                  </a:cubicBezTo>
                  <a:cubicBezTo>
                    <a:pt x="98461" y="5454"/>
                    <a:pt x="98461" y="5454"/>
                    <a:pt x="98461" y="5454"/>
                  </a:cubicBezTo>
                  <a:cubicBezTo>
                    <a:pt x="102564" y="2727"/>
                    <a:pt x="102564" y="2727"/>
                    <a:pt x="102564" y="2727"/>
                  </a:cubicBezTo>
                  <a:cubicBezTo>
                    <a:pt x="103589" y="2727"/>
                    <a:pt x="103589" y="2727"/>
                    <a:pt x="103589" y="2727"/>
                  </a:cubicBezTo>
                  <a:cubicBezTo>
                    <a:pt x="103589" y="2727"/>
                    <a:pt x="103589" y="2727"/>
                    <a:pt x="103589" y="2727"/>
                  </a:cubicBezTo>
                  <a:cubicBezTo>
                    <a:pt x="107692" y="0"/>
                    <a:pt x="107692" y="0"/>
                    <a:pt x="107692" y="0"/>
                  </a:cubicBezTo>
                  <a:cubicBezTo>
                    <a:pt x="109743" y="2727"/>
                    <a:pt x="109743" y="2727"/>
                    <a:pt x="109743" y="2727"/>
                  </a:cubicBezTo>
                  <a:cubicBezTo>
                    <a:pt x="110769" y="5454"/>
                    <a:pt x="110769" y="5454"/>
                    <a:pt x="110769" y="5454"/>
                  </a:cubicBezTo>
                  <a:cubicBezTo>
                    <a:pt x="110769" y="5454"/>
                    <a:pt x="110769" y="5454"/>
                    <a:pt x="110769" y="5454"/>
                  </a:cubicBezTo>
                  <a:cubicBezTo>
                    <a:pt x="110769" y="5454"/>
                    <a:pt x="110769" y="5454"/>
                    <a:pt x="110769" y="6818"/>
                  </a:cubicBezTo>
                  <a:cubicBezTo>
                    <a:pt x="110769" y="6818"/>
                    <a:pt x="110769" y="6818"/>
                    <a:pt x="110769" y="6818"/>
                  </a:cubicBezTo>
                  <a:cubicBezTo>
                    <a:pt x="110769" y="8181"/>
                    <a:pt x="110769" y="8181"/>
                    <a:pt x="110769" y="8181"/>
                  </a:cubicBezTo>
                  <a:cubicBezTo>
                    <a:pt x="111794" y="9545"/>
                    <a:pt x="111794" y="9545"/>
                    <a:pt x="111794" y="9545"/>
                  </a:cubicBezTo>
                  <a:cubicBezTo>
                    <a:pt x="112820" y="10909"/>
                    <a:pt x="112820" y="10909"/>
                    <a:pt x="112820" y="10909"/>
                  </a:cubicBezTo>
                  <a:cubicBezTo>
                    <a:pt x="112820" y="10909"/>
                    <a:pt x="112820" y="10909"/>
                    <a:pt x="112820" y="10909"/>
                  </a:cubicBezTo>
                  <a:cubicBezTo>
                    <a:pt x="113846" y="13636"/>
                    <a:pt x="113846" y="13636"/>
                    <a:pt x="113846" y="13636"/>
                  </a:cubicBezTo>
                  <a:cubicBezTo>
                    <a:pt x="113846" y="16363"/>
                    <a:pt x="113846" y="16363"/>
                    <a:pt x="113846" y="16363"/>
                  </a:cubicBezTo>
                  <a:cubicBezTo>
                    <a:pt x="120000" y="25909"/>
                    <a:pt x="120000" y="25909"/>
                    <a:pt x="120000" y="25909"/>
                  </a:cubicBezTo>
                  <a:cubicBezTo>
                    <a:pt x="120000" y="25909"/>
                    <a:pt x="117948" y="25909"/>
                    <a:pt x="117948" y="25909"/>
                  </a:cubicBezTo>
                  <a:cubicBezTo>
                    <a:pt x="116923" y="25909"/>
                    <a:pt x="114871" y="25909"/>
                    <a:pt x="114871" y="25909"/>
                  </a:cubicBezTo>
                  <a:cubicBezTo>
                    <a:pt x="114871" y="25909"/>
                    <a:pt x="113846" y="27272"/>
                    <a:pt x="112820" y="27272"/>
                  </a:cubicBezTo>
                  <a:cubicBezTo>
                    <a:pt x="112820" y="27272"/>
                    <a:pt x="111794" y="30000"/>
                    <a:pt x="111794" y="30000"/>
                  </a:cubicBezTo>
                  <a:cubicBezTo>
                    <a:pt x="110769" y="31363"/>
                    <a:pt x="110769" y="31363"/>
                    <a:pt x="110769" y="31363"/>
                  </a:cubicBezTo>
                  <a:cubicBezTo>
                    <a:pt x="111794" y="32727"/>
                    <a:pt x="111794" y="32727"/>
                    <a:pt x="111794" y="32727"/>
                  </a:cubicBezTo>
                  <a:cubicBezTo>
                    <a:pt x="113846" y="38181"/>
                    <a:pt x="114871" y="38181"/>
                    <a:pt x="109743" y="36818"/>
                  </a:cubicBezTo>
                  <a:cubicBezTo>
                    <a:pt x="107692" y="35454"/>
                    <a:pt x="107692" y="35454"/>
                    <a:pt x="107692" y="35454"/>
                  </a:cubicBezTo>
                  <a:cubicBezTo>
                    <a:pt x="106666" y="36818"/>
                    <a:pt x="106666" y="36818"/>
                    <a:pt x="106666" y="36818"/>
                  </a:cubicBezTo>
                  <a:cubicBezTo>
                    <a:pt x="104615" y="38181"/>
                    <a:pt x="104615" y="38181"/>
                    <a:pt x="104615" y="38181"/>
                  </a:cubicBezTo>
                  <a:cubicBezTo>
                    <a:pt x="104615" y="38181"/>
                    <a:pt x="104615" y="38181"/>
                    <a:pt x="104615" y="38181"/>
                  </a:cubicBezTo>
                  <a:cubicBezTo>
                    <a:pt x="104615" y="38181"/>
                    <a:pt x="104615" y="40909"/>
                    <a:pt x="104615" y="40909"/>
                  </a:cubicBezTo>
                  <a:cubicBezTo>
                    <a:pt x="103589" y="43636"/>
                    <a:pt x="103589" y="43636"/>
                    <a:pt x="103589" y="43636"/>
                  </a:cubicBezTo>
                  <a:cubicBezTo>
                    <a:pt x="101538" y="45000"/>
                    <a:pt x="101538" y="45000"/>
                    <a:pt x="101538" y="45000"/>
                  </a:cubicBezTo>
                  <a:cubicBezTo>
                    <a:pt x="99487" y="46363"/>
                    <a:pt x="99487" y="46363"/>
                    <a:pt x="99487" y="46363"/>
                  </a:cubicBezTo>
                  <a:cubicBezTo>
                    <a:pt x="98461" y="47727"/>
                    <a:pt x="98461" y="47727"/>
                    <a:pt x="98461" y="47727"/>
                  </a:cubicBezTo>
                  <a:cubicBezTo>
                    <a:pt x="96410" y="47727"/>
                    <a:pt x="96410" y="47727"/>
                    <a:pt x="96410" y="47727"/>
                  </a:cubicBezTo>
                  <a:cubicBezTo>
                    <a:pt x="94358" y="49090"/>
                    <a:pt x="94358" y="49090"/>
                    <a:pt x="94358" y="49090"/>
                  </a:cubicBezTo>
                  <a:cubicBezTo>
                    <a:pt x="93333" y="51818"/>
                    <a:pt x="93333" y="51818"/>
                    <a:pt x="93333" y="51818"/>
                  </a:cubicBezTo>
                  <a:cubicBezTo>
                    <a:pt x="93333" y="51818"/>
                    <a:pt x="91282" y="51818"/>
                    <a:pt x="91282" y="51818"/>
                  </a:cubicBezTo>
                  <a:cubicBezTo>
                    <a:pt x="91282" y="51818"/>
                    <a:pt x="88205" y="53181"/>
                    <a:pt x="88205" y="53181"/>
                  </a:cubicBezTo>
                  <a:cubicBezTo>
                    <a:pt x="88205" y="55909"/>
                    <a:pt x="88205" y="55909"/>
                    <a:pt x="88205" y="55909"/>
                  </a:cubicBezTo>
                  <a:cubicBezTo>
                    <a:pt x="88205" y="55909"/>
                    <a:pt x="87179" y="57272"/>
                    <a:pt x="87179" y="57272"/>
                  </a:cubicBezTo>
                  <a:cubicBezTo>
                    <a:pt x="87179" y="57272"/>
                    <a:pt x="87179" y="61363"/>
                    <a:pt x="87179" y="61363"/>
                  </a:cubicBezTo>
                  <a:cubicBezTo>
                    <a:pt x="87179" y="61363"/>
                    <a:pt x="89230" y="62727"/>
                    <a:pt x="89230" y="62727"/>
                  </a:cubicBezTo>
                  <a:cubicBezTo>
                    <a:pt x="90256" y="64090"/>
                    <a:pt x="90256" y="64090"/>
                    <a:pt x="90256" y="64090"/>
                  </a:cubicBezTo>
                  <a:cubicBezTo>
                    <a:pt x="91282" y="65454"/>
                    <a:pt x="91282" y="65454"/>
                    <a:pt x="91282" y="65454"/>
                  </a:cubicBezTo>
                  <a:cubicBezTo>
                    <a:pt x="91282" y="65454"/>
                    <a:pt x="92307" y="66818"/>
                    <a:pt x="92307" y="66818"/>
                  </a:cubicBezTo>
                  <a:cubicBezTo>
                    <a:pt x="91282" y="66818"/>
                    <a:pt x="91282" y="70909"/>
                    <a:pt x="91282" y="70909"/>
                  </a:cubicBezTo>
                  <a:cubicBezTo>
                    <a:pt x="92307" y="75000"/>
                    <a:pt x="92307" y="75000"/>
                    <a:pt x="92307" y="75000"/>
                  </a:cubicBezTo>
                  <a:cubicBezTo>
                    <a:pt x="91282" y="76363"/>
                    <a:pt x="91282" y="76363"/>
                    <a:pt x="91282" y="76363"/>
                  </a:cubicBezTo>
                  <a:cubicBezTo>
                    <a:pt x="92307" y="79090"/>
                    <a:pt x="92307" y="79090"/>
                    <a:pt x="92307" y="79090"/>
                  </a:cubicBezTo>
                  <a:cubicBezTo>
                    <a:pt x="92307" y="79090"/>
                    <a:pt x="93333" y="79090"/>
                    <a:pt x="92307" y="80454"/>
                  </a:cubicBezTo>
                  <a:cubicBezTo>
                    <a:pt x="91282" y="80454"/>
                    <a:pt x="90256" y="81818"/>
                    <a:pt x="90256" y="81818"/>
                  </a:cubicBezTo>
                  <a:cubicBezTo>
                    <a:pt x="90256" y="81818"/>
                    <a:pt x="88205" y="81818"/>
                    <a:pt x="88205" y="81818"/>
                  </a:cubicBezTo>
                  <a:cubicBezTo>
                    <a:pt x="88205" y="81818"/>
                    <a:pt x="86153" y="81818"/>
                    <a:pt x="86153" y="81818"/>
                  </a:cubicBezTo>
                  <a:cubicBezTo>
                    <a:pt x="85128" y="84545"/>
                    <a:pt x="85128" y="84545"/>
                    <a:pt x="85128" y="84545"/>
                  </a:cubicBezTo>
                  <a:cubicBezTo>
                    <a:pt x="83076" y="83181"/>
                    <a:pt x="83076" y="83181"/>
                    <a:pt x="83076" y="83181"/>
                  </a:cubicBezTo>
                  <a:cubicBezTo>
                    <a:pt x="83076" y="85909"/>
                    <a:pt x="83076" y="85909"/>
                    <a:pt x="83076" y="85909"/>
                  </a:cubicBezTo>
                  <a:cubicBezTo>
                    <a:pt x="80000" y="87272"/>
                    <a:pt x="80000" y="87272"/>
                    <a:pt x="80000" y="87272"/>
                  </a:cubicBezTo>
                  <a:cubicBezTo>
                    <a:pt x="77948" y="88636"/>
                    <a:pt x="77948" y="88636"/>
                    <a:pt x="77948" y="88636"/>
                  </a:cubicBezTo>
                  <a:cubicBezTo>
                    <a:pt x="76923" y="91363"/>
                    <a:pt x="76923" y="91363"/>
                    <a:pt x="76923" y="91363"/>
                  </a:cubicBezTo>
                  <a:cubicBezTo>
                    <a:pt x="77948" y="92727"/>
                    <a:pt x="77948" y="92727"/>
                    <a:pt x="77948" y="92727"/>
                  </a:cubicBezTo>
                  <a:cubicBezTo>
                    <a:pt x="77948" y="92727"/>
                    <a:pt x="78974" y="94090"/>
                    <a:pt x="78974" y="92727"/>
                  </a:cubicBezTo>
                  <a:cubicBezTo>
                    <a:pt x="78974" y="92727"/>
                    <a:pt x="78974" y="91363"/>
                    <a:pt x="78974" y="91363"/>
                  </a:cubicBezTo>
                  <a:cubicBezTo>
                    <a:pt x="80000" y="92727"/>
                    <a:pt x="81025" y="94090"/>
                    <a:pt x="81025" y="94090"/>
                  </a:cubicBezTo>
                  <a:cubicBezTo>
                    <a:pt x="82051" y="96818"/>
                    <a:pt x="82051" y="96818"/>
                    <a:pt x="82051" y="96818"/>
                  </a:cubicBezTo>
                  <a:cubicBezTo>
                    <a:pt x="82051" y="96818"/>
                    <a:pt x="80000" y="96818"/>
                    <a:pt x="80000" y="96818"/>
                  </a:cubicBezTo>
                  <a:cubicBezTo>
                    <a:pt x="80000" y="96818"/>
                    <a:pt x="78974" y="98181"/>
                    <a:pt x="78974" y="98181"/>
                  </a:cubicBezTo>
                  <a:cubicBezTo>
                    <a:pt x="77948" y="99545"/>
                    <a:pt x="77948" y="99545"/>
                    <a:pt x="77948" y="99545"/>
                  </a:cubicBezTo>
                  <a:cubicBezTo>
                    <a:pt x="77948" y="100909"/>
                    <a:pt x="77948" y="100909"/>
                    <a:pt x="77948" y="102272"/>
                  </a:cubicBezTo>
                  <a:cubicBezTo>
                    <a:pt x="77948" y="102272"/>
                    <a:pt x="77948" y="103636"/>
                    <a:pt x="77948" y="103636"/>
                  </a:cubicBezTo>
                  <a:cubicBezTo>
                    <a:pt x="78974" y="103636"/>
                    <a:pt x="80000" y="106363"/>
                    <a:pt x="80000" y="106363"/>
                  </a:cubicBezTo>
                  <a:cubicBezTo>
                    <a:pt x="80000" y="106363"/>
                    <a:pt x="81025" y="107727"/>
                    <a:pt x="81025" y="107727"/>
                  </a:cubicBezTo>
                  <a:cubicBezTo>
                    <a:pt x="81025" y="107727"/>
                    <a:pt x="81025" y="109090"/>
                    <a:pt x="81025" y="109090"/>
                  </a:cubicBezTo>
                  <a:cubicBezTo>
                    <a:pt x="81025" y="109090"/>
                    <a:pt x="80000" y="110454"/>
                    <a:pt x="78974" y="110454"/>
                  </a:cubicBezTo>
                  <a:cubicBezTo>
                    <a:pt x="78974" y="110454"/>
                    <a:pt x="76923" y="110454"/>
                    <a:pt x="76923" y="110454"/>
                  </a:cubicBezTo>
                  <a:cubicBezTo>
                    <a:pt x="76923" y="110454"/>
                    <a:pt x="75897" y="113181"/>
                    <a:pt x="75897" y="113181"/>
                  </a:cubicBezTo>
                  <a:cubicBezTo>
                    <a:pt x="75897" y="113181"/>
                    <a:pt x="74871" y="113181"/>
                    <a:pt x="73846" y="113181"/>
                  </a:cubicBezTo>
                  <a:cubicBezTo>
                    <a:pt x="73846" y="113181"/>
                    <a:pt x="75897" y="114545"/>
                    <a:pt x="73846" y="113181"/>
                  </a:cubicBezTo>
                  <a:cubicBezTo>
                    <a:pt x="70769" y="111818"/>
                    <a:pt x="70769" y="110454"/>
                    <a:pt x="70769" y="110454"/>
                  </a:cubicBezTo>
                  <a:cubicBezTo>
                    <a:pt x="70769" y="110454"/>
                    <a:pt x="69743" y="109090"/>
                    <a:pt x="69743" y="109090"/>
                  </a:cubicBezTo>
                  <a:cubicBezTo>
                    <a:pt x="68717" y="109090"/>
                    <a:pt x="67692" y="109090"/>
                    <a:pt x="67692" y="109090"/>
                  </a:cubicBezTo>
                  <a:cubicBezTo>
                    <a:pt x="65641" y="109090"/>
                    <a:pt x="65641" y="109090"/>
                    <a:pt x="65641" y="109090"/>
                  </a:cubicBezTo>
                  <a:cubicBezTo>
                    <a:pt x="64615" y="107727"/>
                    <a:pt x="64615" y="107727"/>
                    <a:pt x="64615" y="107727"/>
                  </a:cubicBezTo>
                  <a:cubicBezTo>
                    <a:pt x="63589" y="110454"/>
                    <a:pt x="63589" y="110454"/>
                    <a:pt x="63589" y="110454"/>
                  </a:cubicBezTo>
                  <a:cubicBezTo>
                    <a:pt x="63589" y="110454"/>
                    <a:pt x="63589" y="111818"/>
                    <a:pt x="62564" y="111818"/>
                  </a:cubicBezTo>
                  <a:cubicBezTo>
                    <a:pt x="61538" y="113181"/>
                    <a:pt x="62564" y="113181"/>
                    <a:pt x="61538" y="113181"/>
                  </a:cubicBezTo>
                  <a:cubicBezTo>
                    <a:pt x="59487" y="113181"/>
                    <a:pt x="58461" y="110454"/>
                    <a:pt x="58461" y="110454"/>
                  </a:cubicBezTo>
                  <a:cubicBezTo>
                    <a:pt x="58461" y="110454"/>
                    <a:pt x="56410" y="109090"/>
                    <a:pt x="56410" y="109090"/>
                  </a:cubicBezTo>
                  <a:cubicBezTo>
                    <a:pt x="55384" y="107727"/>
                    <a:pt x="55384" y="107727"/>
                    <a:pt x="55384" y="107727"/>
                  </a:cubicBezTo>
                  <a:cubicBezTo>
                    <a:pt x="54358" y="107727"/>
                    <a:pt x="54358" y="109090"/>
                    <a:pt x="54358" y="106363"/>
                  </a:cubicBezTo>
                  <a:cubicBezTo>
                    <a:pt x="54358" y="105000"/>
                    <a:pt x="54358" y="105000"/>
                    <a:pt x="54358" y="105000"/>
                  </a:cubicBezTo>
                  <a:cubicBezTo>
                    <a:pt x="53333" y="103636"/>
                    <a:pt x="53333" y="105000"/>
                    <a:pt x="52307" y="103636"/>
                  </a:cubicBezTo>
                  <a:cubicBezTo>
                    <a:pt x="52307" y="102272"/>
                    <a:pt x="51282" y="100909"/>
                    <a:pt x="51282" y="100909"/>
                  </a:cubicBezTo>
                  <a:cubicBezTo>
                    <a:pt x="50256" y="98181"/>
                    <a:pt x="50256" y="98181"/>
                    <a:pt x="50256" y="98181"/>
                  </a:cubicBezTo>
                  <a:cubicBezTo>
                    <a:pt x="50256" y="98181"/>
                    <a:pt x="50256" y="98181"/>
                    <a:pt x="50256" y="99545"/>
                  </a:cubicBezTo>
                  <a:cubicBezTo>
                    <a:pt x="49230" y="100909"/>
                    <a:pt x="48205" y="100909"/>
                    <a:pt x="48205" y="100909"/>
                  </a:cubicBezTo>
                  <a:cubicBezTo>
                    <a:pt x="48205" y="102272"/>
                    <a:pt x="47179" y="103636"/>
                    <a:pt x="47179" y="103636"/>
                  </a:cubicBezTo>
                  <a:cubicBezTo>
                    <a:pt x="47179" y="103636"/>
                    <a:pt x="46153" y="105000"/>
                    <a:pt x="46153" y="106363"/>
                  </a:cubicBezTo>
                  <a:cubicBezTo>
                    <a:pt x="47179" y="106363"/>
                    <a:pt x="47179" y="106363"/>
                    <a:pt x="47179" y="107727"/>
                  </a:cubicBezTo>
                  <a:cubicBezTo>
                    <a:pt x="47179" y="107727"/>
                    <a:pt x="46153" y="109090"/>
                    <a:pt x="46153" y="109090"/>
                  </a:cubicBezTo>
                  <a:cubicBezTo>
                    <a:pt x="45128" y="110454"/>
                    <a:pt x="45128" y="110454"/>
                    <a:pt x="44102" y="110454"/>
                  </a:cubicBezTo>
                  <a:cubicBezTo>
                    <a:pt x="44102" y="111818"/>
                    <a:pt x="42051" y="113181"/>
                    <a:pt x="42051" y="113181"/>
                  </a:cubicBezTo>
                  <a:cubicBezTo>
                    <a:pt x="40000" y="113181"/>
                    <a:pt x="40000" y="113181"/>
                    <a:pt x="40000" y="113181"/>
                  </a:cubicBezTo>
                  <a:cubicBezTo>
                    <a:pt x="36923" y="111818"/>
                    <a:pt x="36923" y="111818"/>
                    <a:pt x="36923" y="111818"/>
                  </a:cubicBezTo>
                  <a:cubicBezTo>
                    <a:pt x="34871" y="114545"/>
                    <a:pt x="34871" y="114545"/>
                    <a:pt x="34871" y="114545"/>
                  </a:cubicBezTo>
                  <a:cubicBezTo>
                    <a:pt x="34871" y="114545"/>
                    <a:pt x="33846" y="114545"/>
                    <a:pt x="33846" y="114545"/>
                  </a:cubicBezTo>
                  <a:cubicBezTo>
                    <a:pt x="32820" y="114545"/>
                    <a:pt x="31794" y="114545"/>
                    <a:pt x="31794" y="114545"/>
                  </a:cubicBezTo>
                  <a:cubicBezTo>
                    <a:pt x="31794" y="114545"/>
                    <a:pt x="30769" y="113181"/>
                    <a:pt x="29743" y="113181"/>
                  </a:cubicBezTo>
                  <a:cubicBezTo>
                    <a:pt x="29743" y="113181"/>
                    <a:pt x="28717" y="113181"/>
                    <a:pt x="28717" y="113181"/>
                  </a:cubicBezTo>
                  <a:cubicBezTo>
                    <a:pt x="27692" y="113181"/>
                    <a:pt x="26666" y="113181"/>
                    <a:pt x="26666" y="113181"/>
                  </a:cubicBezTo>
                  <a:cubicBezTo>
                    <a:pt x="26666" y="114545"/>
                    <a:pt x="26666" y="114545"/>
                    <a:pt x="26666" y="114545"/>
                  </a:cubicBezTo>
                  <a:cubicBezTo>
                    <a:pt x="26666" y="114545"/>
                    <a:pt x="27692" y="114545"/>
                    <a:pt x="27692" y="114545"/>
                  </a:cubicBezTo>
                  <a:cubicBezTo>
                    <a:pt x="27692" y="115909"/>
                    <a:pt x="27692" y="117272"/>
                    <a:pt x="27692" y="117272"/>
                  </a:cubicBezTo>
                  <a:cubicBezTo>
                    <a:pt x="27692" y="117272"/>
                    <a:pt x="26666" y="117272"/>
                    <a:pt x="26666" y="117272"/>
                  </a:cubicBezTo>
                  <a:cubicBezTo>
                    <a:pt x="26666" y="118636"/>
                    <a:pt x="24615" y="118636"/>
                    <a:pt x="24615" y="118636"/>
                  </a:cubicBezTo>
                  <a:cubicBezTo>
                    <a:pt x="24615" y="118636"/>
                    <a:pt x="24615" y="120000"/>
                    <a:pt x="24615" y="120000"/>
                  </a:cubicBezTo>
                  <a:cubicBezTo>
                    <a:pt x="24615" y="120000"/>
                    <a:pt x="24615" y="120000"/>
                    <a:pt x="23589" y="120000"/>
                  </a:cubicBezTo>
                  <a:cubicBezTo>
                    <a:pt x="22564" y="120000"/>
                    <a:pt x="22564" y="120000"/>
                    <a:pt x="21538" y="120000"/>
                  </a:cubicBezTo>
                  <a:cubicBezTo>
                    <a:pt x="21538" y="118636"/>
                    <a:pt x="20512" y="118636"/>
                    <a:pt x="19487" y="118636"/>
                  </a:cubicBezTo>
                  <a:cubicBezTo>
                    <a:pt x="19487" y="118636"/>
                    <a:pt x="16410" y="117272"/>
                    <a:pt x="16410" y="117272"/>
                  </a:cubicBezTo>
                  <a:cubicBezTo>
                    <a:pt x="16410" y="117272"/>
                    <a:pt x="15384" y="118636"/>
                    <a:pt x="15384" y="118636"/>
                  </a:cubicBezTo>
                  <a:cubicBezTo>
                    <a:pt x="14358" y="118636"/>
                    <a:pt x="13333" y="118636"/>
                    <a:pt x="12307" y="117272"/>
                  </a:cubicBezTo>
                  <a:cubicBezTo>
                    <a:pt x="12307" y="117272"/>
                    <a:pt x="11282" y="117272"/>
                    <a:pt x="11282" y="117272"/>
                  </a:cubicBezTo>
                  <a:cubicBezTo>
                    <a:pt x="11282" y="115909"/>
                    <a:pt x="11282" y="114545"/>
                    <a:pt x="11282" y="114545"/>
                  </a:cubicBezTo>
                  <a:cubicBezTo>
                    <a:pt x="11282" y="114545"/>
                    <a:pt x="10256" y="113181"/>
                    <a:pt x="11282" y="113181"/>
                  </a:cubicBezTo>
                  <a:cubicBezTo>
                    <a:pt x="11282" y="113181"/>
                    <a:pt x="12307" y="113181"/>
                    <a:pt x="13333" y="113181"/>
                  </a:cubicBezTo>
                  <a:cubicBezTo>
                    <a:pt x="14358" y="113181"/>
                    <a:pt x="15384" y="113181"/>
                    <a:pt x="15384" y="111818"/>
                  </a:cubicBezTo>
                  <a:cubicBezTo>
                    <a:pt x="15384" y="111818"/>
                    <a:pt x="15384" y="111818"/>
                    <a:pt x="16410" y="111818"/>
                  </a:cubicBezTo>
                  <a:cubicBezTo>
                    <a:pt x="16410" y="111818"/>
                    <a:pt x="17435" y="113181"/>
                    <a:pt x="17435" y="111818"/>
                  </a:cubicBezTo>
                  <a:cubicBezTo>
                    <a:pt x="17435" y="110454"/>
                    <a:pt x="17435" y="110454"/>
                    <a:pt x="17435" y="110454"/>
                  </a:cubicBezTo>
                  <a:cubicBezTo>
                    <a:pt x="16410" y="109090"/>
                    <a:pt x="16410" y="109090"/>
                    <a:pt x="16410" y="109090"/>
                  </a:cubicBezTo>
                  <a:cubicBezTo>
                    <a:pt x="16410" y="109090"/>
                    <a:pt x="17435" y="107727"/>
                    <a:pt x="17435" y="107727"/>
                  </a:cubicBezTo>
                  <a:cubicBezTo>
                    <a:pt x="18461" y="107727"/>
                    <a:pt x="19487" y="107727"/>
                    <a:pt x="19487" y="107727"/>
                  </a:cubicBezTo>
                  <a:cubicBezTo>
                    <a:pt x="20512" y="107727"/>
                    <a:pt x="21538" y="107727"/>
                    <a:pt x="21538" y="107727"/>
                  </a:cubicBezTo>
                  <a:cubicBezTo>
                    <a:pt x="21538" y="107727"/>
                    <a:pt x="21538" y="107727"/>
                    <a:pt x="22564" y="106363"/>
                  </a:cubicBezTo>
                  <a:cubicBezTo>
                    <a:pt x="22564" y="106363"/>
                    <a:pt x="18461" y="106363"/>
                    <a:pt x="17435" y="105000"/>
                  </a:cubicBezTo>
                  <a:cubicBezTo>
                    <a:pt x="15384" y="102272"/>
                    <a:pt x="13333" y="100909"/>
                    <a:pt x="13333" y="95454"/>
                  </a:cubicBezTo>
                  <a:cubicBezTo>
                    <a:pt x="12307" y="95454"/>
                    <a:pt x="12307" y="92727"/>
                    <a:pt x="11282" y="92727"/>
                  </a:cubicBezTo>
                  <a:cubicBezTo>
                    <a:pt x="11282" y="92727"/>
                    <a:pt x="9230" y="91363"/>
                    <a:pt x="9230" y="91363"/>
                  </a:cubicBezTo>
                  <a:cubicBezTo>
                    <a:pt x="9230" y="90000"/>
                    <a:pt x="9230" y="90000"/>
                    <a:pt x="10256" y="88636"/>
                  </a:cubicBezTo>
                  <a:cubicBezTo>
                    <a:pt x="10256" y="87272"/>
                    <a:pt x="10256" y="87272"/>
                    <a:pt x="11282" y="85909"/>
                  </a:cubicBezTo>
                  <a:cubicBezTo>
                    <a:pt x="11282" y="85909"/>
                    <a:pt x="11282" y="83181"/>
                    <a:pt x="11282" y="83181"/>
                  </a:cubicBezTo>
                  <a:cubicBezTo>
                    <a:pt x="11282" y="83181"/>
                    <a:pt x="12307" y="81818"/>
                    <a:pt x="11282" y="81818"/>
                  </a:cubicBezTo>
                  <a:cubicBezTo>
                    <a:pt x="11282" y="80454"/>
                    <a:pt x="10256" y="79090"/>
                    <a:pt x="10256" y="79090"/>
                  </a:cubicBezTo>
                  <a:cubicBezTo>
                    <a:pt x="10256" y="79090"/>
                    <a:pt x="10256" y="79090"/>
                    <a:pt x="9230" y="79090"/>
                  </a:cubicBezTo>
                  <a:cubicBezTo>
                    <a:pt x="9230" y="80454"/>
                    <a:pt x="9230" y="80454"/>
                    <a:pt x="9230" y="80454"/>
                  </a:cubicBezTo>
                  <a:cubicBezTo>
                    <a:pt x="7179" y="81818"/>
                    <a:pt x="7179" y="81818"/>
                    <a:pt x="7179" y="81818"/>
                  </a:cubicBezTo>
                  <a:cubicBezTo>
                    <a:pt x="7179" y="81818"/>
                    <a:pt x="6153" y="79090"/>
                    <a:pt x="6153" y="79090"/>
                  </a:cubicBezTo>
                  <a:cubicBezTo>
                    <a:pt x="5128" y="79090"/>
                    <a:pt x="5128" y="79090"/>
                    <a:pt x="5128" y="77727"/>
                  </a:cubicBezTo>
                  <a:cubicBezTo>
                    <a:pt x="5128" y="77727"/>
                    <a:pt x="6153" y="76363"/>
                    <a:pt x="6153" y="76363"/>
                  </a:cubicBezTo>
                  <a:cubicBezTo>
                    <a:pt x="6153" y="76363"/>
                    <a:pt x="5128" y="75000"/>
                    <a:pt x="5128" y="75000"/>
                  </a:cubicBezTo>
                  <a:cubicBezTo>
                    <a:pt x="5128" y="75000"/>
                    <a:pt x="6153" y="72272"/>
                    <a:pt x="7179" y="72272"/>
                  </a:cubicBezTo>
                  <a:cubicBezTo>
                    <a:pt x="8205" y="70909"/>
                    <a:pt x="10256" y="68181"/>
                    <a:pt x="10256" y="68181"/>
                  </a:cubicBezTo>
                  <a:cubicBezTo>
                    <a:pt x="11282" y="65454"/>
                    <a:pt x="11282" y="65454"/>
                    <a:pt x="11282" y="65454"/>
                  </a:cubicBezTo>
                  <a:cubicBezTo>
                    <a:pt x="10256" y="64090"/>
                    <a:pt x="10256" y="64090"/>
                    <a:pt x="10256" y="64090"/>
                  </a:cubicBezTo>
                  <a:cubicBezTo>
                    <a:pt x="10256" y="64090"/>
                    <a:pt x="9230" y="65454"/>
                    <a:pt x="9230" y="6545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 cmpd="sng">
              <a:solidFill>
                <a:schemeClr val="tx1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defTabSz="457200"/>
              <a:endParaRPr kern="0">
                <a:solidFill>
                  <a:srgbClr val="7F7F7F"/>
                </a:solidFill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29" name="Shape 2021">
              <a:extLst>
                <a:ext uri="{FF2B5EF4-FFF2-40B4-BE49-F238E27FC236}">
                  <a16:creationId xmlns:a16="http://schemas.microsoft.com/office/drawing/2014/main" id="{ABE6B48E-7AC5-4664-EB11-FA3A152D56C4}"/>
                </a:ext>
              </a:extLst>
            </p:cNvPr>
            <p:cNvSpPr/>
            <p:nvPr/>
          </p:nvSpPr>
          <p:spPr>
            <a:xfrm>
              <a:off x="4444123" y="3408318"/>
              <a:ext cx="477039" cy="430004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3656" y="46635"/>
                  </a:moveTo>
                  <a:cubicBezTo>
                    <a:pt x="113656" y="45497"/>
                    <a:pt x="113127" y="44928"/>
                    <a:pt x="114185" y="44360"/>
                  </a:cubicBezTo>
                  <a:cubicBezTo>
                    <a:pt x="114713" y="44360"/>
                    <a:pt x="115242" y="45497"/>
                    <a:pt x="115242" y="44360"/>
                  </a:cubicBezTo>
                  <a:cubicBezTo>
                    <a:pt x="115242" y="43222"/>
                    <a:pt x="115770" y="43791"/>
                    <a:pt x="115242" y="42654"/>
                  </a:cubicBezTo>
                  <a:cubicBezTo>
                    <a:pt x="115242" y="42654"/>
                    <a:pt x="115242" y="42654"/>
                    <a:pt x="115242" y="42654"/>
                  </a:cubicBezTo>
                  <a:cubicBezTo>
                    <a:pt x="115242" y="42654"/>
                    <a:pt x="115242" y="42654"/>
                    <a:pt x="115242" y="42654"/>
                  </a:cubicBezTo>
                  <a:cubicBezTo>
                    <a:pt x="115242" y="42654"/>
                    <a:pt x="115242" y="43791"/>
                    <a:pt x="114713" y="43791"/>
                  </a:cubicBezTo>
                  <a:cubicBezTo>
                    <a:pt x="114713" y="43791"/>
                    <a:pt x="114185" y="44360"/>
                    <a:pt x="113656" y="44360"/>
                  </a:cubicBezTo>
                  <a:cubicBezTo>
                    <a:pt x="113127" y="43791"/>
                    <a:pt x="113127" y="43791"/>
                    <a:pt x="113127" y="43791"/>
                  </a:cubicBezTo>
                  <a:cubicBezTo>
                    <a:pt x="114185" y="42654"/>
                    <a:pt x="114185" y="42654"/>
                    <a:pt x="114185" y="42654"/>
                  </a:cubicBezTo>
                  <a:cubicBezTo>
                    <a:pt x="114185" y="40379"/>
                    <a:pt x="114185" y="40379"/>
                    <a:pt x="114185" y="40379"/>
                  </a:cubicBezTo>
                  <a:cubicBezTo>
                    <a:pt x="114185" y="40379"/>
                    <a:pt x="113656" y="39241"/>
                    <a:pt x="113127" y="38104"/>
                  </a:cubicBezTo>
                  <a:cubicBezTo>
                    <a:pt x="112599" y="37535"/>
                    <a:pt x="112070" y="36966"/>
                    <a:pt x="112070" y="36966"/>
                  </a:cubicBezTo>
                  <a:cubicBezTo>
                    <a:pt x="113656" y="35829"/>
                    <a:pt x="113656" y="35829"/>
                    <a:pt x="113656" y="35829"/>
                  </a:cubicBezTo>
                  <a:cubicBezTo>
                    <a:pt x="114185" y="35260"/>
                    <a:pt x="114185" y="35260"/>
                    <a:pt x="114185" y="35260"/>
                  </a:cubicBezTo>
                  <a:cubicBezTo>
                    <a:pt x="114185" y="34691"/>
                    <a:pt x="114185" y="34691"/>
                    <a:pt x="114185" y="34691"/>
                  </a:cubicBezTo>
                  <a:cubicBezTo>
                    <a:pt x="114185" y="34691"/>
                    <a:pt x="115242" y="35829"/>
                    <a:pt x="116299" y="35829"/>
                  </a:cubicBezTo>
                  <a:cubicBezTo>
                    <a:pt x="116828" y="35829"/>
                    <a:pt x="116299" y="35829"/>
                    <a:pt x="117356" y="35260"/>
                  </a:cubicBezTo>
                  <a:cubicBezTo>
                    <a:pt x="118414" y="35260"/>
                    <a:pt x="120000" y="33554"/>
                    <a:pt x="120000" y="33554"/>
                  </a:cubicBezTo>
                  <a:cubicBezTo>
                    <a:pt x="120000" y="33554"/>
                    <a:pt x="118942" y="32417"/>
                    <a:pt x="118414" y="32417"/>
                  </a:cubicBezTo>
                  <a:cubicBezTo>
                    <a:pt x="117885" y="32985"/>
                    <a:pt x="118414" y="32985"/>
                    <a:pt x="116828" y="32985"/>
                  </a:cubicBezTo>
                  <a:cubicBezTo>
                    <a:pt x="115242" y="32417"/>
                    <a:pt x="114713" y="31848"/>
                    <a:pt x="114713" y="31848"/>
                  </a:cubicBezTo>
                  <a:cubicBezTo>
                    <a:pt x="114713" y="31848"/>
                    <a:pt x="114185" y="31848"/>
                    <a:pt x="113656" y="31848"/>
                  </a:cubicBezTo>
                  <a:cubicBezTo>
                    <a:pt x="113127" y="31848"/>
                    <a:pt x="113127" y="31848"/>
                    <a:pt x="112599" y="31279"/>
                  </a:cubicBezTo>
                  <a:cubicBezTo>
                    <a:pt x="111541" y="30142"/>
                    <a:pt x="110484" y="29004"/>
                    <a:pt x="110484" y="29004"/>
                  </a:cubicBezTo>
                  <a:cubicBezTo>
                    <a:pt x="110484" y="29004"/>
                    <a:pt x="109427" y="29573"/>
                    <a:pt x="109427" y="29004"/>
                  </a:cubicBezTo>
                  <a:cubicBezTo>
                    <a:pt x="109427" y="29004"/>
                    <a:pt x="109955" y="27867"/>
                    <a:pt x="109955" y="27867"/>
                  </a:cubicBezTo>
                  <a:cubicBezTo>
                    <a:pt x="109955" y="27298"/>
                    <a:pt x="109955" y="27298"/>
                    <a:pt x="109955" y="27298"/>
                  </a:cubicBezTo>
                  <a:cubicBezTo>
                    <a:pt x="109427" y="26729"/>
                    <a:pt x="109427" y="26729"/>
                    <a:pt x="109427" y="26729"/>
                  </a:cubicBezTo>
                  <a:cubicBezTo>
                    <a:pt x="109427" y="26729"/>
                    <a:pt x="110484" y="26729"/>
                    <a:pt x="110484" y="26729"/>
                  </a:cubicBezTo>
                  <a:cubicBezTo>
                    <a:pt x="111013" y="26161"/>
                    <a:pt x="111013" y="26161"/>
                    <a:pt x="111013" y="26161"/>
                  </a:cubicBezTo>
                  <a:cubicBezTo>
                    <a:pt x="112070" y="25023"/>
                    <a:pt x="111013" y="23886"/>
                    <a:pt x="109427" y="24454"/>
                  </a:cubicBezTo>
                  <a:cubicBezTo>
                    <a:pt x="108898" y="24454"/>
                    <a:pt x="108370" y="25023"/>
                    <a:pt x="108370" y="25023"/>
                  </a:cubicBezTo>
                  <a:cubicBezTo>
                    <a:pt x="107841" y="25023"/>
                    <a:pt x="106784" y="24454"/>
                    <a:pt x="106784" y="23886"/>
                  </a:cubicBezTo>
                  <a:cubicBezTo>
                    <a:pt x="106784" y="23317"/>
                    <a:pt x="106255" y="23317"/>
                    <a:pt x="107312" y="22748"/>
                  </a:cubicBezTo>
                  <a:cubicBezTo>
                    <a:pt x="107841" y="22748"/>
                    <a:pt x="108370" y="21611"/>
                    <a:pt x="108370" y="21611"/>
                  </a:cubicBezTo>
                  <a:cubicBezTo>
                    <a:pt x="107312" y="19905"/>
                    <a:pt x="107312" y="19905"/>
                    <a:pt x="107312" y="19905"/>
                  </a:cubicBezTo>
                  <a:cubicBezTo>
                    <a:pt x="107841" y="16492"/>
                    <a:pt x="107841" y="16492"/>
                    <a:pt x="107841" y="16492"/>
                  </a:cubicBezTo>
                  <a:cubicBezTo>
                    <a:pt x="105726" y="15924"/>
                    <a:pt x="105726" y="15924"/>
                    <a:pt x="105726" y="15924"/>
                  </a:cubicBezTo>
                  <a:cubicBezTo>
                    <a:pt x="105726" y="14786"/>
                    <a:pt x="105726" y="14786"/>
                    <a:pt x="105726" y="14786"/>
                  </a:cubicBezTo>
                  <a:cubicBezTo>
                    <a:pt x="104669" y="14218"/>
                    <a:pt x="104669" y="14218"/>
                    <a:pt x="104669" y="14218"/>
                  </a:cubicBezTo>
                  <a:cubicBezTo>
                    <a:pt x="103612" y="17061"/>
                    <a:pt x="103612" y="17061"/>
                    <a:pt x="103612" y="17061"/>
                  </a:cubicBezTo>
                  <a:cubicBezTo>
                    <a:pt x="103612" y="17061"/>
                    <a:pt x="102026" y="17630"/>
                    <a:pt x="102026" y="18199"/>
                  </a:cubicBezTo>
                  <a:cubicBezTo>
                    <a:pt x="101497" y="18767"/>
                    <a:pt x="98854" y="18767"/>
                    <a:pt x="98854" y="18767"/>
                  </a:cubicBezTo>
                  <a:cubicBezTo>
                    <a:pt x="96740" y="18767"/>
                    <a:pt x="96740" y="18767"/>
                    <a:pt x="96740" y="18767"/>
                  </a:cubicBezTo>
                  <a:cubicBezTo>
                    <a:pt x="93039" y="19905"/>
                    <a:pt x="93039" y="19905"/>
                    <a:pt x="93039" y="19905"/>
                  </a:cubicBezTo>
                  <a:cubicBezTo>
                    <a:pt x="93039" y="19905"/>
                    <a:pt x="91982" y="20473"/>
                    <a:pt x="91453" y="20473"/>
                  </a:cubicBezTo>
                  <a:cubicBezTo>
                    <a:pt x="90925" y="20473"/>
                    <a:pt x="88281" y="19905"/>
                    <a:pt x="88281" y="19905"/>
                  </a:cubicBezTo>
                  <a:cubicBezTo>
                    <a:pt x="86696" y="20473"/>
                    <a:pt x="86696" y="20473"/>
                    <a:pt x="86696" y="20473"/>
                  </a:cubicBezTo>
                  <a:cubicBezTo>
                    <a:pt x="82995" y="19336"/>
                    <a:pt x="82995" y="19336"/>
                    <a:pt x="82995" y="19336"/>
                  </a:cubicBezTo>
                  <a:cubicBezTo>
                    <a:pt x="81938" y="18199"/>
                    <a:pt x="81938" y="18199"/>
                    <a:pt x="81938" y="18199"/>
                  </a:cubicBezTo>
                  <a:cubicBezTo>
                    <a:pt x="81409" y="17630"/>
                    <a:pt x="81409" y="17630"/>
                    <a:pt x="81409" y="17630"/>
                  </a:cubicBezTo>
                  <a:cubicBezTo>
                    <a:pt x="78766" y="17061"/>
                    <a:pt x="78766" y="17061"/>
                    <a:pt x="78766" y="17061"/>
                  </a:cubicBezTo>
                  <a:cubicBezTo>
                    <a:pt x="78237" y="15924"/>
                    <a:pt x="78237" y="15924"/>
                    <a:pt x="78237" y="15924"/>
                  </a:cubicBezTo>
                  <a:cubicBezTo>
                    <a:pt x="76123" y="15924"/>
                    <a:pt x="76123" y="15924"/>
                    <a:pt x="76123" y="15924"/>
                  </a:cubicBezTo>
                  <a:cubicBezTo>
                    <a:pt x="76123" y="15924"/>
                    <a:pt x="76123" y="15924"/>
                    <a:pt x="76123" y="15924"/>
                  </a:cubicBezTo>
                  <a:cubicBezTo>
                    <a:pt x="76123" y="15924"/>
                    <a:pt x="76123" y="15924"/>
                    <a:pt x="76123" y="15924"/>
                  </a:cubicBezTo>
                  <a:cubicBezTo>
                    <a:pt x="75066" y="15355"/>
                    <a:pt x="75066" y="15355"/>
                    <a:pt x="75066" y="15355"/>
                  </a:cubicBezTo>
                  <a:cubicBezTo>
                    <a:pt x="75066" y="14786"/>
                    <a:pt x="75066" y="14786"/>
                    <a:pt x="75066" y="14786"/>
                  </a:cubicBezTo>
                  <a:cubicBezTo>
                    <a:pt x="74537" y="14786"/>
                    <a:pt x="74537" y="14786"/>
                    <a:pt x="74537" y="14218"/>
                  </a:cubicBezTo>
                  <a:cubicBezTo>
                    <a:pt x="74008" y="13649"/>
                    <a:pt x="74008" y="13649"/>
                    <a:pt x="74008" y="13649"/>
                  </a:cubicBezTo>
                  <a:cubicBezTo>
                    <a:pt x="71365" y="10236"/>
                    <a:pt x="71365" y="10236"/>
                    <a:pt x="71365" y="10236"/>
                  </a:cubicBezTo>
                  <a:cubicBezTo>
                    <a:pt x="70837" y="10236"/>
                    <a:pt x="70837" y="10236"/>
                    <a:pt x="70837" y="10236"/>
                  </a:cubicBezTo>
                  <a:cubicBezTo>
                    <a:pt x="70837" y="10236"/>
                    <a:pt x="70837" y="10236"/>
                    <a:pt x="70837" y="10236"/>
                  </a:cubicBezTo>
                  <a:cubicBezTo>
                    <a:pt x="66079" y="8530"/>
                    <a:pt x="66079" y="8530"/>
                    <a:pt x="66079" y="8530"/>
                  </a:cubicBezTo>
                  <a:cubicBezTo>
                    <a:pt x="64493" y="6255"/>
                    <a:pt x="64493" y="6255"/>
                    <a:pt x="64493" y="6255"/>
                  </a:cubicBezTo>
                  <a:cubicBezTo>
                    <a:pt x="62907" y="5118"/>
                    <a:pt x="62907" y="5118"/>
                    <a:pt x="62907" y="5118"/>
                  </a:cubicBezTo>
                  <a:cubicBezTo>
                    <a:pt x="60792" y="3412"/>
                    <a:pt x="60792" y="3412"/>
                    <a:pt x="60792" y="3412"/>
                  </a:cubicBezTo>
                  <a:cubicBezTo>
                    <a:pt x="58678" y="1706"/>
                    <a:pt x="58678" y="1706"/>
                    <a:pt x="58678" y="1706"/>
                  </a:cubicBezTo>
                  <a:cubicBezTo>
                    <a:pt x="57621" y="568"/>
                    <a:pt x="57621" y="568"/>
                    <a:pt x="57621" y="568"/>
                  </a:cubicBezTo>
                  <a:cubicBezTo>
                    <a:pt x="57621" y="568"/>
                    <a:pt x="57621" y="568"/>
                    <a:pt x="57621" y="568"/>
                  </a:cubicBezTo>
                  <a:cubicBezTo>
                    <a:pt x="57621" y="568"/>
                    <a:pt x="57092" y="0"/>
                    <a:pt x="57092" y="0"/>
                  </a:cubicBezTo>
                  <a:cubicBezTo>
                    <a:pt x="57092" y="0"/>
                    <a:pt x="56563" y="0"/>
                    <a:pt x="56563" y="0"/>
                  </a:cubicBezTo>
                  <a:cubicBezTo>
                    <a:pt x="56035" y="0"/>
                    <a:pt x="54977" y="0"/>
                    <a:pt x="54977" y="0"/>
                  </a:cubicBezTo>
                  <a:cubicBezTo>
                    <a:pt x="54977" y="0"/>
                    <a:pt x="54449" y="568"/>
                    <a:pt x="53920" y="568"/>
                  </a:cubicBezTo>
                  <a:cubicBezTo>
                    <a:pt x="53920" y="568"/>
                    <a:pt x="53392" y="1706"/>
                    <a:pt x="53392" y="1706"/>
                  </a:cubicBezTo>
                  <a:cubicBezTo>
                    <a:pt x="52863" y="2274"/>
                    <a:pt x="52863" y="2274"/>
                    <a:pt x="52863" y="2274"/>
                  </a:cubicBezTo>
                  <a:cubicBezTo>
                    <a:pt x="53392" y="2843"/>
                    <a:pt x="53392" y="2843"/>
                    <a:pt x="53392" y="2843"/>
                  </a:cubicBezTo>
                  <a:cubicBezTo>
                    <a:pt x="54449" y="5118"/>
                    <a:pt x="54977" y="5118"/>
                    <a:pt x="52334" y="4549"/>
                  </a:cubicBezTo>
                  <a:cubicBezTo>
                    <a:pt x="51277" y="3981"/>
                    <a:pt x="51277" y="3981"/>
                    <a:pt x="51277" y="3981"/>
                  </a:cubicBezTo>
                  <a:cubicBezTo>
                    <a:pt x="50748" y="4549"/>
                    <a:pt x="50748" y="4549"/>
                    <a:pt x="50748" y="4549"/>
                  </a:cubicBezTo>
                  <a:cubicBezTo>
                    <a:pt x="49691" y="5118"/>
                    <a:pt x="49691" y="5118"/>
                    <a:pt x="49691" y="5118"/>
                  </a:cubicBezTo>
                  <a:cubicBezTo>
                    <a:pt x="49691" y="5118"/>
                    <a:pt x="49691" y="5118"/>
                    <a:pt x="49691" y="5118"/>
                  </a:cubicBezTo>
                  <a:cubicBezTo>
                    <a:pt x="49691" y="5118"/>
                    <a:pt x="49691" y="6255"/>
                    <a:pt x="49691" y="6255"/>
                  </a:cubicBezTo>
                  <a:cubicBezTo>
                    <a:pt x="49162" y="7393"/>
                    <a:pt x="49162" y="7393"/>
                    <a:pt x="49162" y="7393"/>
                  </a:cubicBezTo>
                  <a:cubicBezTo>
                    <a:pt x="48105" y="7962"/>
                    <a:pt x="48105" y="7962"/>
                    <a:pt x="48105" y="7962"/>
                  </a:cubicBezTo>
                  <a:cubicBezTo>
                    <a:pt x="47048" y="8530"/>
                    <a:pt x="47048" y="8530"/>
                    <a:pt x="47048" y="8530"/>
                  </a:cubicBezTo>
                  <a:cubicBezTo>
                    <a:pt x="46519" y="9099"/>
                    <a:pt x="46519" y="9099"/>
                    <a:pt x="46519" y="9099"/>
                  </a:cubicBezTo>
                  <a:cubicBezTo>
                    <a:pt x="45462" y="9099"/>
                    <a:pt x="45462" y="9099"/>
                    <a:pt x="45462" y="9099"/>
                  </a:cubicBezTo>
                  <a:cubicBezTo>
                    <a:pt x="44405" y="9668"/>
                    <a:pt x="44405" y="9668"/>
                    <a:pt x="44405" y="9668"/>
                  </a:cubicBezTo>
                  <a:cubicBezTo>
                    <a:pt x="43876" y="10805"/>
                    <a:pt x="43876" y="10805"/>
                    <a:pt x="43876" y="10805"/>
                  </a:cubicBezTo>
                  <a:cubicBezTo>
                    <a:pt x="43876" y="10805"/>
                    <a:pt x="42819" y="10805"/>
                    <a:pt x="42819" y="10805"/>
                  </a:cubicBezTo>
                  <a:cubicBezTo>
                    <a:pt x="42819" y="10805"/>
                    <a:pt x="41233" y="11374"/>
                    <a:pt x="41233" y="11374"/>
                  </a:cubicBezTo>
                  <a:cubicBezTo>
                    <a:pt x="41233" y="12511"/>
                    <a:pt x="41233" y="12511"/>
                    <a:pt x="41233" y="12511"/>
                  </a:cubicBezTo>
                  <a:cubicBezTo>
                    <a:pt x="41233" y="12511"/>
                    <a:pt x="40704" y="13080"/>
                    <a:pt x="40704" y="13080"/>
                  </a:cubicBezTo>
                  <a:cubicBezTo>
                    <a:pt x="40704" y="13080"/>
                    <a:pt x="40704" y="14786"/>
                    <a:pt x="40704" y="14786"/>
                  </a:cubicBezTo>
                  <a:cubicBezTo>
                    <a:pt x="40704" y="14786"/>
                    <a:pt x="41762" y="15355"/>
                    <a:pt x="41762" y="15355"/>
                  </a:cubicBezTo>
                  <a:cubicBezTo>
                    <a:pt x="42290" y="15924"/>
                    <a:pt x="42290" y="15924"/>
                    <a:pt x="42290" y="15924"/>
                  </a:cubicBezTo>
                  <a:cubicBezTo>
                    <a:pt x="42819" y="16492"/>
                    <a:pt x="42819" y="16492"/>
                    <a:pt x="42819" y="16492"/>
                  </a:cubicBezTo>
                  <a:cubicBezTo>
                    <a:pt x="42819" y="16492"/>
                    <a:pt x="43348" y="17061"/>
                    <a:pt x="43348" y="17061"/>
                  </a:cubicBezTo>
                  <a:cubicBezTo>
                    <a:pt x="42819" y="17061"/>
                    <a:pt x="42819" y="18767"/>
                    <a:pt x="42819" y="18767"/>
                  </a:cubicBezTo>
                  <a:cubicBezTo>
                    <a:pt x="43348" y="20473"/>
                    <a:pt x="43348" y="20473"/>
                    <a:pt x="43348" y="20473"/>
                  </a:cubicBezTo>
                  <a:cubicBezTo>
                    <a:pt x="42819" y="21042"/>
                    <a:pt x="42819" y="21042"/>
                    <a:pt x="42819" y="21042"/>
                  </a:cubicBezTo>
                  <a:cubicBezTo>
                    <a:pt x="43348" y="22180"/>
                    <a:pt x="43348" y="22180"/>
                    <a:pt x="43348" y="22180"/>
                  </a:cubicBezTo>
                  <a:cubicBezTo>
                    <a:pt x="43348" y="22180"/>
                    <a:pt x="43876" y="22180"/>
                    <a:pt x="43348" y="22748"/>
                  </a:cubicBezTo>
                  <a:cubicBezTo>
                    <a:pt x="42819" y="22748"/>
                    <a:pt x="42290" y="23317"/>
                    <a:pt x="42290" y="23317"/>
                  </a:cubicBezTo>
                  <a:cubicBezTo>
                    <a:pt x="42290" y="23317"/>
                    <a:pt x="41233" y="23317"/>
                    <a:pt x="41233" y="23317"/>
                  </a:cubicBezTo>
                  <a:cubicBezTo>
                    <a:pt x="41233" y="23317"/>
                    <a:pt x="40176" y="23317"/>
                    <a:pt x="40176" y="23317"/>
                  </a:cubicBezTo>
                  <a:cubicBezTo>
                    <a:pt x="39647" y="24454"/>
                    <a:pt x="39647" y="24454"/>
                    <a:pt x="39647" y="24454"/>
                  </a:cubicBezTo>
                  <a:cubicBezTo>
                    <a:pt x="38590" y="23886"/>
                    <a:pt x="38590" y="23886"/>
                    <a:pt x="38590" y="23886"/>
                  </a:cubicBezTo>
                  <a:cubicBezTo>
                    <a:pt x="38590" y="25023"/>
                    <a:pt x="38590" y="25023"/>
                    <a:pt x="38590" y="25023"/>
                  </a:cubicBezTo>
                  <a:cubicBezTo>
                    <a:pt x="37004" y="25592"/>
                    <a:pt x="37004" y="25592"/>
                    <a:pt x="37004" y="25592"/>
                  </a:cubicBezTo>
                  <a:cubicBezTo>
                    <a:pt x="35947" y="26161"/>
                    <a:pt x="35947" y="26161"/>
                    <a:pt x="35947" y="26161"/>
                  </a:cubicBezTo>
                  <a:cubicBezTo>
                    <a:pt x="35418" y="27298"/>
                    <a:pt x="35418" y="27298"/>
                    <a:pt x="35418" y="27298"/>
                  </a:cubicBezTo>
                  <a:cubicBezTo>
                    <a:pt x="35947" y="27867"/>
                    <a:pt x="35947" y="27867"/>
                    <a:pt x="35947" y="27867"/>
                  </a:cubicBezTo>
                  <a:cubicBezTo>
                    <a:pt x="35947" y="27867"/>
                    <a:pt x="36475" y="28436"/>
                    <a:pt x="36475" y="27867"/>
                  </a:cubicBezTo>
                  <a:cubicBezTo>
                    <a:pt x="36475" y="27867"/>
                    <a:pt x="36475" y="27298"/>
                    <a:pt x="36475" y="27298"/>
                  </a:cubicBezTo>
                  <a:cubicBezTo>
                    <a:pt x="37004" y="27867"/>
                    <a:pt x="37533" y="28436"/>
                    <a:pt x="37533" y="28436"/>
                  </a:cubicBezTo>
                  <a:cubicBezTo>
                    <a:pt x="38061" y="29573"/>
                    <a:pt x="38061" y="29573"/>
                    <a:pt x="38061" y="29573"/>
                  </a:cubicBezTo>
                  <a:cubicBezTo>
                    <a:pt x="38061" y="29573"/>
                    <a:pt x="37004" y="29573"/>
                    <a:pt x="37004" y="29573"/>
                  </a:cubicBezTo>
                  <a:cubicBezTo>
                    <a:pt x="37004" y="29573"/>
                    <a:pt x="36475" y="30142"/>
                    <a:pt x="36475" y="30142"/>
                  </a:cubicBezTo>
                  <a:cubicBezTo>
                    <a:pt x="35947" y="30710"/>
                    <a:pt x="35947" y="30710"/>
                    <a:pt x="35947" y="30710"/>
                  </a:cubicBezTo>
                  <a:cubicBezTo>
                    <a:pt x="35947" y="31279"/>
                    <a:pt x="35947" y="31279"/>
                    <a:pt x="35947" y="31848"/>
                  </a:cubicBezTo>
                  <a:cubicBezTo>
                    <a:pt x="35947" y="31848"/>
                    <a:pt x="35947" y="32417"/>
                    <a:pt x="35947" y="32417"/>
                  </a:cubicBezTo>
                  <a:cubicBezTo>
                    <a:pt x="36475" y="32417"/>
                    <a:pt x="37004" y="33554"/>
                    <a:pt x="37004" y="33554"/>
                  </a:cubicBezTo>
                  <a:cubicBezTo>
                    <a:pt x="37004" y="33554"/>
                    <a:pt x="37533" y="34123"/>
                    <a:pt x="37533" y="34123"/>
                  </a:cubicBezTo>
                  <a:cubicBezTo>
                    <a:pt x="37533" y="34123"/>
                    <a:pt x="37533" y="34691"/>
                    <a:pt x="37533" y="34691"/>
                  </a:cubicBezTo>
                  <a:cubicBezTo>
                    <a:pt x="37533" y="34691"/>
                    <a:pt x="37004" y="35260"/>
                    <a:pt x="36475" y="35260"/>
                  </a:cubicBezTo>
                  <a:cubicBezTo>
                    <a:pt x="36475" y="35260"/>
                    <a:pt x="35418" y="35260"/>
                    <a:pt x="35418" y="35260"/>
                  </a:cubicBezTo>
                  <a:cubicBezTo>
                    <a:pt x="35418" y="35260"/>
                    <a:pt x="34889" y="36398"/>
                    <a:pt x="34889" y="36398"/>
                  </a:cubicBezTo>
                  <a:cubicBezTo>
                    <a:pt x="34889" y="36398"/>
                    <a:pt x="34361" y="36398"/>
                    <a:pt x="33832" y="36398"/>
                  </a:cubicBezTo>
                  <a:cubicBezTo>
                    <a:pt x="33832" y="36398"/>
                    <a:pt x="34889" y="36966"/>
                    <a:pt x="33832" y="36398"/>
                  </a:cubicBezTo>
                  <a:cubicBezTo>
                    <a:pt x="32246" y="35829"/>
                    <a:pt x="32246" y="35260"/>
                    <a:pt x="32246" y="35260"/>
                  </a:cubicBezTo>
                  <a:cubicBezTo>
                    <a:pt x="32246" y="35260"/>
                    <a:pt x="31718" y="34691"/>
                    <a:pt x="31718" y="34691"/>
                  </a:cubicBezTo>
                  <a:cubicBezTo>
                    <a:pt x="31189" y="34691"/>
                    <a:pt x="30660" y="34691"/>
                    <a:pt x="30660" y="34691"/>
                  </a:cubicBezTo>
                  <a:cubicBezTo>
                    <a:pt x="29603" y="34691"/>
                    <a:pt x="29603" y="34691"/>
                    <a:pt x="29603" y="34691"/>
                  </a:cubicBezTo>
                  <a:cubicBezTo>
                    <a:pt x="29074" y="34123"/>
                    <a:pt x="29074" y="34123"/>
                    <a:pt x="29074" y="34123"/>
                  </a:cubicBezTo>
                  <a:cubicBezTo>
                    <a:pt x="28546" y="35260"/>
                    <a:pt x="28546" y="35260"/>
                    <a:pt x="28546" y="35260"/>
                  </a:cubicBezTo>
                  <a:cubicBezTo>
                    <a:pt x="28546" y="35260"/>
                    <a:pt x="28546" y="35829"/>
                    <a:pt x="28017" y="35829"/>
                  </a:cubicBezTo>
                  <a:cubicBezTo>
                    <a:pt x="27488" y="36398"/>
                    <a:pt x="28017" y="36398"/>
                    <a:pt x="27488" y="36398"/>
                  </a:cubicBezTo>
                  <a:cubicBezTo>
                    <a:pt x="26431" y="36398"/>
                    <a:pt x="25903" y="35260"/>
                    <a:pt x="25903" y="35260"/>
                  </a:cubicBezTo>
                  <a:cubicBezTo>
                    <a:pt x="25903" y="35260"/>
                    <a:pt x="24845" y="34691"/>
                    <a:pt x="24845" y="34691"/>
                  </a:cubicBezTo>
                  <a:cubicBezTo>
                    <a:pt x="24317" y="34123"/>
                    <a:pt x="24317" y="34123"/>
                    <a:pt x="24317" y="34123"/>
                  </a:cubicBezTo>
                  <a:cubicBezTo>
                    <a:pt x="23788" y="34123"/>
                    <a:pt x="23788" y="34691"/>
                    <a:pt x="23788" y="33554"/>
                  </a:cubicBezTo>
                  <a:cubicBezTo>
                    <a:pt x="23788" y="32985"/>
                    <a:pt x="23788" y="32985"/>
                    <a:pt x="23788" y="32985"/>
                  </a:cubicBezTo>
                  <a:cubicBezTo>
                    <a:pt x="23259" y="32417"/>
                    <a:pt x="23259" y="32985"/>
                    <a:pt x="22731" y="32417"/>
                  </a:cubicBezTo>
                  <a:cubicBezTo>
                    <a:pt x="22731" y="31848"/>
                    <a:pt x="22202" y="31279"/>
                    <a:pt x="22202" y="31279"/>
                  </a:cubicBezTo>
                  <a:cubicBezTo>
                    <a:pt x="21674" y="30142"/>
                    <a:pt x="21674" y="30142"/>
                    <a:pt x="21674" y="30142"/>
                  </a:cubicBezTo>
                  <a:cubicBezTo>
                    <a:pt x="21674" y="30142"/>
                    <a:pt x="21674" y="30142"/>
                    <a:pt x="21674" y="30710"/>
                  </a:cubicBezTo>
                  <a:cubicBezTo>
                    <a:pt x="21145" y="31279"/>
                    <a:pt x="20616" y="31279"/>
                    <a:pt x="20616" y="31279"/>
                  </a:cubicBezTo>
                  <a:cubicBezTo>
                    <a:pt x="20616" y="31848"/>
                    <a:pt x="20088" y="32417"/>
                    <a:pt x="20088" y="32417"/>
                  </a:cubicBezTo>
                  <a:cubicBezTo>
                    <a:pt x="20088" y="32417"/>
                    <a:pt x="19559" y="32985"/>
                    <a:pt x="19559" y="33554"/>
                  </a:cubicBezTo>
                  <a:cubicBezTo>
                    <a:pt x="20088" y="33554"/>
                    <a:pt x="20088" y="33554"/>
                    <a:pt x="20088" y="34123"/>
                  </a:cubicBezTo>
                  <a:cubicBezTo>
                    <a:pt x="20088" y="34123"/>
                    <a:pt x="19559" y="34691"/>
                    <a:pt x="19559" y="34691"/>
                  </a:cubicBezTo>
                  <a:cubicBezTo>
                    <a:pt x="19030" y="35260"/>
                    <a:pt x="19030" y="35260"/>
                    <a:pt x="18502" y="35260"/>
                  </a:cubicBezTo>
                  <a:cubicBezTo>
                    <a:pt x="18502" y="35829"/>
                    <a:pt x="17444" y="36398"/>
                    <a:pt x="17444" y="36398"/>
                  </a:cubicBezTo>
                  <a:cubicBezTo>
                    <a:pt x="16387" y="36398"/>
                    <a:pt x="16387" y="36398"/>
                    <a:pt x="16387" y="36398"/>
                  </a:cubicBezTo>
                  <a:cubicBezTo>
                    <a:pt x="14801" y="35829"/>
                    <a:pt x="14801" y="35829"/>
                    <a:pt x="14801" y="35829"/>
                  </a:cubicBezTo>
                  <a:cubicBezTo>
                    <a:pt x="13744" y="36966"/>
                    <a:pt x="13744" y="36966"/>
                    <a:pt x="13744" y="36966"/>
                  </a:cubicBezTo>
                  <a:cubicBezTo>
                    <a:pt x="13744" y="36966"/>
                    <a:pt x="13215" y="36966"/>
                    <a:pt x="13215" y="36966"/>
                  </a:cubicBezTo>
                  <a:cubicBezTo>
                    <a:pt x="12687" y="36966"/>
                    <a:pt x="12158" y="36966"/>
                    <a:pt x="12158" y="36966"/>
                  </a:cubicBezTo>
                  <a:cubicBezTo>
                    <a:pt x="12158" y="36966"/>
                    <a:pt x="11629" y="36398"/>
                    <a:pt x="11101" y="36398"/>
                  </a:cubicBezTo>
                  <a:cubicBezTo>
                    <a:pt x="11101" y="36398"/>
                    <a:pt x="10572" y="36398"/>
                    <a:pt x="10572" y="36398"/>
                  </a:cubicBezTo>
                  <a:cubicBezTo>
                    <a:pt x="10044" y="36398"/>
                    <a:pt x="9515" y="36398"/>
                    <a:pt x="9515" y="36398"/>
                  </a:cubicBezTo>
                  <a:cubicBezTo>
                    <a:pt x="9515" y="36966"/>
                    <a:pt x="9515" y="36966"/>
                    <a:pt x="9515" y="36966"/>
                  </a:cubicBezTo>
                  <a:cubicBezTo>
                    <a:pt x="9515" y="36966"/>
                    <a:pt x="10044" y="36966"/>
                    <a:pt x="10044" y="36966"/>
                  </a:cubicBezTo>
                  <a:cubicBezTo>
                    <a:pt x="10044" y="37535"/>
                    <a:pt x="10044" y="38104"/>
                    <a:pt x="10044" y="38104"/>
                  </a:cubicBezTo>
                  <a:cubicBezTo>
                    <a:pt x="10044" y="38104"/>
                    <a:pt x="9515" y="38104"/>
                    <a:pt x="9515" y="38104"/>
                  </a:cubicBezTo>
                  <a:cubicBezTo>
                    <a:pt x="9515" y="38672"/>
                    <a:pt x="8458" y="38672"/>
                    <a:pt x="8458" y="38672"/>
                  </a:cubicBezTo>
                  <a:cubicBezTo>
                    <a:pt x="8458" y="38672"/>
                    <a:pt x="8458" y="39241"/>
                    <a:pt x="8458" y="39241"/>
                  </a:cubicBezTo>
                  <a:cubicBezTo>
                    <a:pt x="8458" y="39241"/>
                    <a:pt x="8458" y="39241"/>
                    <a:pt x="7929" y="39241"/>
                  </a:cubicBezTo>
                  <a:cubicBezTo>
                    <a:pt x="7400" y="39241"/>
                    <a:pt x="7400" y="39241"/>
                    <a:pt x="6872" y="39241"/>
                  </a:cubicBezTo>
                  <a:cubicBezTo>
                    <a:pt x="6872" y="38672"/>
                    <a:pt x="6343" y="38672"/>
                    <a:pt x="5814" y="38672"/>
                  </a:cubicBezTo>
                  <a:cubicBezTo>
                    <a:pt x="5814" y="38672"/>
                    <a:pt x="4229" y="38104"/>
                    <a:pt x="4229" y="38104"/>
                  </a:cubicBezTo>
                  <a:cubicBezTo>
                    <a:pt x="4229" y="38104"/>
                    <a:pt x="3700" y="38672"/>
                    <a:pt x="3700" y="38672"/>
                  </a:cubicBezTo>
                  <a:cubicBezTo>
                    <a:pt x="3171" y="38672"/>
                    <a:pt x="2643" y="38672"/>
                    <a:pt x="2114" y="38104"/>
                  </a:cubicBezTo>
                  <a:cubicBezTo>
                    <a:pt x="2114" y="38104"/>
                    <a:pt x="1585" y="38104"/>
                    <a:pt x="1585" y="38104"/>
                  </a:cubicBezTo>
                  <a:cubicBezTo>
                    <a:pt x="1585" y="38104"/>
                    <a:pt x="1585" y="38104"/>
                    <a:pt x="1585" y="38104"/>
                  </a:cubicBezTo>
                  <a:cubicBezTo>
                    <a:pt x="1585" y="38104"/>
                    <a:pt x="1585" y="38104"/>
                    <a:pt x="1585" y="38104"/>
                  </a:cubicBezTo>
                  <a:cubicBezTo>
                    <a:pt x="1585" y="38104"/>
                    <a:pt x="1585" y="38104"/>
                    <a:pt x="1585" y="38104"/>
                  </a:cubicBezTo>
                  <a:cubicBezTo>
                    <a:pt x="1585" y="38104"/>
                    <a:pt x="1585" y="38104"/>
                    <a:pt x="1585" y="38104"/>
                  </a:cubicBezTo>
                  <a:cubicBezTo>
                    <a:pt x="1585" y="38104"/>
                    <a:pt x="1585" y="38104"/>
                    <a:pt x="1585" y="38104"/>
                  </a:cubicBezTo>
                  <a:cubicBezTo>
                    <a:pt x="1585" y="38104"/>
                    <a:pt x="1585" y="38104"/>
                    <a:pt x="1585" y="38104"/>
                  </a:cubicBezTo>
                  <a:cubicBezTo>
                    <a:pt x="1585" y="38104"/>
                    <a:pt x="1585" y="38104"/>
                    <a:pt x="1585" y="38104"/>
                  </a:cubicBezTo>
                  <a:cubicBezTo>
                    <a:pt x="1585" y="38104"/>
                    <a:pt x="1585" y="38104"/>
                    <a:pt x="1585" y="38104"/>
                  </a:cubicBezTo>
                  <a:cubicBezTo>
                    <a:pt x="1585" y="38104"/>
                    <a:pt x="1585" y="38104"/>
                    <a:pt x="1585" y="38104"/>
                  </a:cubicBezTo>
                  <a:cubicBezTo>
                    <a:pt x="1585" y="38104"/>
                    <a:pt x="1585" y="38104"/>
                    <a:pt x="1585" y="38104"/>
                  </a:cubicBezTo>
                  <a:cubicBezTo>
                    <a:pt x="1585" y="38104"/>
                    <a:pt x="1585" y="38104"/>
                    <a:pt x="1585" y="38104"/>
                  </a:cubicBezTo>
                  <a:cubicBezTo>
                    <a:pt x="1585" y="38104"/>
                    <a:pt x="1585" y="38104"/>
                    <a:pt x="1585" y="38104"/>
                  </a:cubicBezTo>
                  <a:cubicBezTo>
                    <a:pt x="1585" y="38104"/>
                    <a:pt x="1585" y="38104"/>
                    <a:pt x="1585" y="38104"/>
                  </a:cubicBezTo>
                  <a:cubicBezTo>
                    <a:pt x="1585" y="37535"/>
                    <a:pt x="1585" y="37535"/>
                    <a:pt x="1585" y="37535"/>
                  </a:cubicBezTo>
                  <a:cubicBezTo>
                    <a:pt x="1585" y="37535"/>
                    <a:pt x="1585" y="37535"/>
                    <a:pt x="1585" y="37535"/>
                  </a:cubicBezTo>
                  <a:cubicBezTo>
                    <a:pt x="1585" y="37535"/>
                    <a:pt x="1585" y="37535"/>
                    <a:pt x="1585" y="37535"/>
                  </a:cubicBezTo>
                  <a:cubicBezTo>
                    <a:pt x="1585" y="37535"/>
                    <a:pt x="1585" y="37535"/>
                    <a:pt x="1585" y="37535"/>
                  </a:cubicBezTo>
                  <a:cubicBezTo>
                    <a:pt x="1585" y="37535"/>
                    <a:pt x="1585" y="37535"/>
                    <a:pt x="1585" y="37535"/>
                  </a:cubicBezTo>
                  <a:cubicBezTo>
                    <a:pt x="1585" y="37535"/>
                    <a:pt x="1585" y="37535"/>
                    <a:pt x="1585" y="37535"/>
                  </a:cubicBezTo>
                  <a:cubicBezTo>
                    <a:pt x="1585" y="37535"/>
                    <a:pt x="1585" y="37535"/>
                    <a:pt x="1585" y="37535"/>
                  </a:cubicBezTo>
                  <a:cubicBezTo>
                    <a:pt x="1585" y="37535"/>
                    <a:pt x="1585" y="37535"/>
                    <a:pt x="1585" y="37535"/>
                  </a:cubicBezTo>
                  <a:cubicBezTo>
                    <a:pt x="1585" y="37535"/>
                    <a:pt x="1585" y="37535"/>
                    <a:pt x="1585" y="37535"/>
                  </a:cubicBezTo>
                  <a:cubicBezTo>
                    <a:pt x="1585" y="37535"/>
                    <a:pt x="1585" y="37535"/>
                    <a:pt x="1585" y="37535"/>
                  </a:cubicBezTo>
                  <a:cubicBezTo>
                    <a:pt x="1585" y="37535"/>
                    <a:pt x="1585" y="37535"/>
                    <a:pt x="1585" y="37535"/>
                  </a:cubicBezTo>
                  <a:cubicBezTo>
                    <a:pt x="1585" y="37535"/>
                    <a:pt x="1585" y="37535"/>
                    <a:pt x="1585" y="37535"/>
                  </a:cubicBezTo>
                  <a:cubicBezTo>
                    <a:pt x="1585" y="37535"/>
                    <a:pt x="1585" y="37535"/>
                    <a:pt x="1585" y="37535"/>
                  </a:cubicBezTo>
                  <a:cubicBezTo>
                    <a:pt x="1585" y="37535"/>
                    <a:pt x="1585" y="37535"/>
                    <a:pt x="1585" y="37535"/>
                  </a:cubicBezTo>
                  <a:cubicBezTo>
                    <a:pt x="1585" y="37535"/>
                    <a:pt x="1585" y="37535"/>
                    <a:pt x="1585" y="37535"/>
                  </a:cubicBezTo>
                  <a:cubicBezTo>
                    <a:pt x="1585" y="37535"/>
                    <a:pt x="1585" y="37535"/>
                    <a:pt x="1585" y="37535"/>
                  </a:cubicBezTo>
                  <a:cubicBezTo>
                    <a:pt x="1585" y="37535"/>
                    <a:pt x="1585" y="37535"/>
                    <a:pt x="1585" y="37535"/>
                  </a:cubicBezTo>
                  <a:cubicBezTo>
                    <a:pt x="1585" y="37535"/>
                    <a:pt x="1585" y="37535"/>
                    <a:pt x="1585" y="37535"/>
                  </a:cubicBezTo>
                  <a:cubicBezTo>
                    <a:pt x="1585" y="37535"/>
                    <a:pt x="1585" y="37535"/>
                    <a:pt x="1585" y="37535"/>
                  </a:cubicBezTo>
                  <a:cubicBezTo>
                    <a:pt x="1585" y="37535"/>
                    <a:pt x="1585" y="37535"/>
                    <a:pt x="1585" y="37535"/>
                  </a:cubicBezTo>
                  <a:cubicBezTo>
                    <a:pt x="1585" y="37535"/>
                    <a:pt x="1585" y="37535"/>
                    <a:pt x="1585" y="37535"/>
                  </a:cubicBezTo>
                  <a:cubicBezTo>
                    <a:pt x="1585" y="37535"/>
                    <a:pt x="1585" y="37535"/>
                    <a:pt x="1585" y="37535"/>
                  </a:cubicBezTo>
                  <a:cubicBezTo>
                    <a:pt x="1585" y="37535"/>
                    <a:pt x="1585" y="37535"/>
                    <a:pt x="1585" y="37535"/>
                  </a:cubicBezTo>
                  <a:cubicBezTo>
                    <a:pt x="1585" y="37535"/>
                    <a:pt x="1585" y="37535"/>
                    <a:pt x="1585" y="37535"/>
                  </a:cubicBezTo>
                  <a:cubicBezTo>
                    <a:pt x="1585" y="37535"/>
                    <a:pt x="1585" y="37535"/>
                    <a:pt x="1585" y="37535"/>
                  </a:cubicBezTo>
                  <a:cubicBezTo>
                    <a:pt x="1585" y="37535"/>
                    <a:pt x="1585" y="37535"/>
                    <a:pt x="1585" y="37535"/>
                  </a:cubicBezTo>
                  <a:cubicBezTo>
                    <a:pt x="1585" y="37535"/>
                    <a:pt x="1585" y="37535"/>
                    <a:pt x="1585" y="37535"/>
                  </a:cubicBezTo>
                  <a:cubicBezTo>
                    <a:pt x="1585" y="36966"/>
                    <a:pt x="1585" y="36966"/>
                    <a:pt x="1585" y="36966"/>
                  </a:cubicBezTo>
                  <a:cubicBezTo>
                    <a:pt x="0" y="38104"/>
                    <a:pt x="0" y="38104"/>
                    <a:pt x="0" y="38104"/>
                  </a:cubicBezTo>
                  <a:cubicBezTo>
                    <a:pt x="1057" y="40379"/>
                    <a:pt x="1057" y="40379"/>
                    <a:pt x="1057" y="40379"/>
                  </a:cubicBezTo>
                  <a:cubicBezTo>
                    <a:pt x="528" y="40947"/>
                    <a:pt x="528" y="40947"/>
                    <a:pt x="528" y="40947"/>
                  </a:cubicBezTo>
                  <a:cubicBezTo>
                    <a:pt x="528" y="40947"/>
                    <a:pt x="1057" y="41516"/>
                    <a:pt x="1057" y="41516"/>
                  </a:cubicBezTo>
                  <a:cubicBezTo>
                    <a:pt x="1057" y="42085"/>
                    <a:pt x="1585" y="42085"/>
                    <a:pt x="1585" y="42654"/>
                  </a:cubicBezTo>
                  <a:cubicBezTo>
                    <a:pt x="1585" y="43222"/>
                    <a:pt x="1585" y="43791"/>
                    <a:pt x="1585" y="43791"/>
                  </a:cubicBezTo>
                  <a:cubicBezTo>
                    <a:pt x="2114" y="43791"/>
                    <a:pt x="2114" y="43791"/>
                    <a:pt x="2114" y="43791"/>
                  </a:cubicBezTo>
                  <a:cubicBezTo>
                    <a:pt x="2643" y="44928"/>
                    <a:pt x="2643" y="44928"/>
                    <a:pt x="2643" y="44928"/>
                  </a:cubicBezTo>
                  <a:cubicBezTo>
                    <a:pt x="2643" y="45497"/>
                    <a:pt x="2643" y="45497"/>
                    <a:pt x="2643" y="45497"/>
                  </a:cubicBezTo>
                  <a:cubicBezTo>
                    <a:pt x="2643" y="46635"/>
                    <a:pt x="2643" y="46635"/>
                    <a:pt x="2643" y="46635"/>
                  </a:cubicBezTo>
                  <a:cubicBezTo>
                    <a:pt x="2643" y="46635"/>
                    <a:pt x="3171" y="47203"/>
                    <a:pt x="3171" y="47772"/>
                  </a:cubicBezTo>
                  <a:cubicBezTo>
                    <a:pt x="3171" y="47772"/>
                    <a:pt x="3171" y="48341"/>
                    <a:pt x="3171" y="48909"/>
                  </a:cubicBezTo>
                  <a:cubicBezTo>
                    <a:pt x="3171" y="48909"/>
                    <a:pt x="4229" y="50047"/>
                    <a:pt x="4229" y="50047"/>
                  </a:cubicBezTo>
                  <a:cubicBezTo>
                    <a:pt x="4229" y="51184"/>
                    <a:pt x="4229" y="51184"/>
                    <a:pt x="4229" y="51184"/>
                  </a:cubicBezTo>
                  <a:cubicBezTo>
                    <a:pt x="4229" y="51184"/>
                    <a:pt x="4757" y="51753"/>
                    <a:pt x="5286" y="52322"/>
                  </a:cubicBezTo>
                  <a:cubicBezTo>
                    <a:pt x="5286" y="52322"/>
                    <a:pt x="5814" y="52890"/>
                    <a:pt x="5814" y="52890"/>
                  </a:cubicBezTo>
                  <a:cubicBezTo>
                    <a:pt x="6343" y="54028"/>
                    <a:pt x="6343" y="54028"/>
                    <a:pt x="6343" y="54028"/>
                  </a:cubicBezTo>
                  <a:cubicBezTo>
                    <a:pt x="6872" y="55165"/>
                    <a:pt x="6872" y="55165"/>
                    <a:pt x="6872" y="55165"/>
                  </a:cubicBezTo>
                  <a:cubicBezTo>
                    <a:pt x="7400" y="55734"/>
                    <a:pt x="7400" y="55734"/>
                    <a:pt x="7400" y="55734"/>
                  </a:cubicBezTo>
                  <a:cubicBezTo>
                    <a:pt x="7929" y="56872"/>
                    <a:pt x="7929" y="56872"/>
                    <a:pt x="7929" y="56872"/>
                  </a:cubicBezTo>
                  <a:cubicBezTo>
                    <a:pt x="8458" y="57440"/>
                    <a:pt x="8458" y="57440"/>
                    <a:pt x="8458" y="57440"/>
                  </a:cubicBezTo>
                  <a:cubicBezTo>
                    <a:pt x="8986" y="58009"/>
                    <a:pt x="8986" y="58009"/>
                    <a:pt x="8986" y="58009"/>
                  </a:cubicBezTo>
                  <a:cubicBezTo>
                    <a:pt x="8986" y="58009"/>
                    <a:pt x="8986" y="58578"/>
                    <a:pt x="9515" y="58578"/>
                  </a:cubicBezTo>
                  <a:cubicBezTo>
                    <a:pt x="10044" y="58578"/>
                    <a:pt x="10572" y="58578"/>
                    <a:pt x="10572" y="58578"/>
                  </a:cubicBezTo>
                  <a:cubicBezTo>
                    <a:pt x="11101" y="58578"/>
                    <a:pt x="11101" y="59146"/>
                    <a:pt x="11629" y="57440"/>
                  </a:cubicBezTo>
                  <a:cubicBezTo>
                    <a:pt x="11629" y="56303"/>
                    <a:pt x="11629" y="55734"/>
                    <a:pt x="11629" y="55734"/>
                  </a:cubicBezTo>
                  <a:cubicBezTo>
                    <a:pt x="11629" y="55734"/>
                    <a:pt x="12158" y="55734"/>
                    <a:pt x="12158" y="55165"/>
                  </a:cubicBezTo>
                  <a:cubicBezTo>
                    <a:pt x="12687" y="55165"/>
                    <a:pt x="13215" y="55165"/>
                    <a:pt x="13215" y="54597"/>
                  </a:cubicBezTo>
                  <a:cubicBezTo>
                    <a:pt x="13215" y="53459"/>
                    <a:pt x="12158" y="52890"/>
                    <a:pt x="12158" y="52890"/>
                  </a:cubicBezTo>
                  <a:cubicBezTo>
                    <a:pt x="12158" y="52890"/>
                    <a:pt x="13215" y="52322"/>
                    <a:pt x="13744" y="52890"/>
                  </a:cubicBezTo>
                  <a:cubicBezTo>
                    <a:pt x="13744" y="53459"/>
                    <a:pt x="13744" y="54028"/>
                    <a:pt x="14273" y="53459"/>
                  </a:cubicBezTo>
                  <a:cubicBezTo>
                    <a:pt x="14801" y="52322"/>
                    <a:pt x="14801" y="52322"/>
                    <a:pt x="14801" y="52322"/>
                  </a:cubicBezTo>
                  <a:cubicBezTo>
                    <a:pt x="14273" y="51753"/>
                    <a:pt x="14273" y="51184"/>
                    <a:pt x="14273" y="50616"/>
                  </a:cubicBezTo>
                  <a:cubicBezTo>
                    <a:pt x="14273" y="50616"/>
                    <a:pt x="14801" y="50047"/>
                    <a:pt x="14801" y="49478"/>
                  </a:cubicBezTo>
                  <a:cubicBezTo>
                    <a:pt x="15330" y="48909"/>
                    <a:pt x="15330" y="48341"/>
                    <a:pt x="15330" y="47772"/>
                  </a:cubicBezTo>
                  <a:cubicBezTo>
                    <a:pt x="15330" y="46635"/>
                    <a:pt x="15330" y="47203"/>
                    <a:pt x="15859" y="46066"/>
                  </a:cubicBezTo>
                  <a:cubicBezTo>
                    <a:pt x="15859" y="45497"/>
                    <a:pt x="15859" y="46066"/>
                    <a:pt x="15859" y="43791"/>
                  </a:cubicBezTo>
                  <a:cubicBezTo>
                    <a:pt x="16387" y="42085"/>
                    <a:pt x="16387" y="41516"/>
                    <a:pt x="16916" y="41516"/>
                  </a:cubicBezTo>
                  <a:cubicBezTo>
                    <a:pt x="16916" y="41516"/>
                    <a:pt x="21145" y="43222"/>
                    <a:pt x="21145" y="43222"/>
                  </a:cubicBezTo>
                  <a:cubicBezTo>
                    <a:pt x="21145" y="43222"/>
                    <a:pt x="21674" y="44360"/>
                    <a:pt x="21674" y="44360"/>
                  </a:cubicBezTo>
                  <a:cubicBezTo>
                    <a:pt x="21674" y="44928"/>
                    <a:pt x="21674" y="45497"/>
                    <a:pt x="21674" y="45497"/>
                  </a:cubicBezTo>
                  <a:cubicBezTo>
                    <a:pt x="21674" y="46066"/>
                    <a:pt x="21145" y="47203"/>
                    <a:pt x="21145" y="47203"/>
                  </a:cubicBezTo>
                  <a:cubicBezTo>
                    <a:pt x="21145" y="47772"/>
                    <a:pt x="21145" y="47772"/>
                    <a:pt x="21145" y="47772"/>
                  </a:cubicBezTo>
                  <a:cubicBezTo>
                    <a:pt x="21145" y="47772"/>
                    <a:pt x="20088" y="47772"/>
                    <a:pt x="20088" y="48909"/>
                  </a:cubicBezTo>
                  <a:cubicBezTo>
                    <a:pt x="19559" y="49478"/>
                    <a:pt x="19559" y="49478"/>
                    <a:pt x="20088" y="50047"/>
                  </a:cubicBezTo>
                  <a:cubicBezTo>
                    <a:pt x="20616" y="50616"/>
                    <a:pt x="21145" y="51184"/>
                    <a:pt x="21145" y="51184"/>
                  </a:cubicBezTo>
                  <a:cubicBezTo>
                    <a:pt x="21674" y="51184"/>
                    <a:pt x="22202" y="50616"/>
                    <a:pt x="22731" y="50616"/>
                  </a:cubicBezTo>
                  <a:cubicBezTo>
                    <a:pt x="22731" y="50616"/>
                    <a:pt x="23259" y="50616"/>
                    <a:pt x="23259" y="50616"/>
                  </a:cubicBezTo>
                  <a:cubicBezTo>
                    <a:pt x="23259" y="51184"/>
                    <a:pt x="23259" y="51753"/>
                    <a:pt x="23788" y="52322"/>
                  </a:cubicBezTo>
                  <a:cubicBezTo>
                    <a:pt x="24317" y="52322"/>
                    <a:pt x="24845" y="52890"/>
                    <a:pt x="24845" y="52890"/>
                  </a:cubicBezTo>
                  <a:cubicBezTo>
                    <a:pt x="25374" y="52890"/>
                    <a:pt x="25903" y="52890"/>
                    <a:pt x="25903" y="52890"/>
                  </a:cubicBezTo>
                  <a:cubicBezTo>
                    <a:pt x="25903" y="52890"/>
                    <a:pt x="26431" y="52322"/>
                    <a:pt x="26960" y="52322"/>
                  </a:cubicBezTo>
                  <a:cubicBezTo>
                    <a:pt x="26960" y="52322"/>
                    <a:pt x="28546" y="54028"/>
                    <a:pt x="27488" y="51753"/>
                  </a:cubicBezTo>
                  <a:cubicBezTo>
                    <a:pt x="25903" y="50047"/>
                    <a:pt x="25903" y="50047"/>
                    <a:pt x="25903" y="49478"/>
                  </a:cubicBezTo>
                  <a:cubicBezTo>
                    <a:pt x="25374" y="49478"/>
                    <a:pt x="24845" y="48909"/>
                    <a:pt x="24845" y="48909"/>
                  </a:cubicBezTo>
                  <a:cubicBezTo>
                    <a:pt x="24317" y="48909"/>
                    <a:pt x="24317" y="48909"/>
                    <a:pt x="24317" y="48909"/>
                  </a:cubicBezTo>
                  <a:cubicBezTo>
                    <a:pt x="24317" y="48909"/>
                    <a:pt x="24317" y="48341"/>
                    <a:pt x="24317" y="47772"/>
                  </a:cubicBezTo>
                  <a:cubicBezTo>
                    <a:pt x="24845" y="47203"/>
                    <a:pt x="24845" y="47203"/>
                    <a:pt x="25374" y="47203"/>
                  </a:cubicBezTo>
                  <a:cubicBezTo>
                    <a:pt x="25903" y="47203"/>
                    <a:pt x="25903" y="46635"/>
                    <a:pt x="26960" y="47772"/>
                  </a:cubicBezTo>
                  <a:cubicBezTo>
                    <a:pt x="27488" y="48341"/>
                    <a:pt x="27488" y="48341"/>
                    <a:pt x="27488" y="48909"/>
                  </a:cubicBezTo>
                  <a:cubicBezTo>
                    <a:pt x="28017" y="50047"/>
                    <a:pt x="28546" y="50616"/>
                    <a:pt x="29074" y="51184"/>
                  </a:cubicBezTo>
                  <a:cubicBezTo>
                    <a:pt x="29074" y="51184"/>
                    <a:pt x="29603" y="51184"/>
                    <a:pt x="29603" y="52322"/>
                  </a:cubicBezTo>
                  <a:cubicBezTo>
                    <a:pt x="29603" y="53459"/>
                    <a:pt x="29603" y="54597"/>
                    <a:pt x="29603" y="55165"/>
                  </a:cubicBezTo>
                  <a:cubicBezTo>
                    <a:pt x="29603" y="55165"/>
                    <a:pt x="29603" y="57440"/>
                    <a:pt x="29603" y="57440"/>
                  </a:cubicBezTo>
                  <a:cubicBezTo>
                    <a:pt x="29603" y="57440"/>
                    <a:pt x="29603" y="58578"/>
                    <a:pt x="29603" y="59146"/>
                  </a:cubicBezTo>
                  <a:cubicBezTo>
                    <a:pt x="29603" y="59715"/>
                    <a:pt x="32246" y="63696"/>
                    <a:pt x="32246" y="63696"/>
                  </a:cubicBezTo>
                  <a:cubicBezTo>
                    <a:pt x="32246" y="63696"/>
                    <a:pt x="33303" y="65402"/>
                    <a:pt x="33832" y="65402"/>
                  </a:cubicBezTo>
                  <a:cubicBezTo>
                    <a:pt x="33832" y="65402"/>
                    <a:pt x="34361" y="67109"/>
                    <a:pt x="34889" y="67677"/>
                  </a:cubicBezTo>
                  <a:cubicBezTo>
                    <a:pt x="35947" y="67677"/>
                    <a:pt x="38061" y="68815"/>
                    <a:pt x="38061" y="68815"/>
                  </a:cubicBezTo>
                  <a:cubicBezTo>
                    <a:pt x="41762" y="71090"/>
                    <a:pt x="41762" y="71090"/>
                    <a:pt x="41762" y="71090"/>
                  </a:cubicBezTo>
                  <a:cubicBezTo>
                    <a:pt x="41762" y="71090"/>
                    <a:pt x="42819" y="72796"/>
                    <a:pt x="43348" y="72796"/>
                  </a:cubicBezTo>
                  <a:cubicBezTo>
                    <a:pt x="43348" y="72796"/>
                    <a:pt x="45991" y="72796"/>
                    <a:pt x="43876" y="72796"/>
                  </a:cubicBezTo>
                  <a:cubicBezTo>
                    <a:pt x="42290" y="72796"/>
                    <a:pt x="40176" y="71658"/>
                    <a:pt x="40176" y="71658"/>
                  </a:cubicBezTo>
                  <a:cubicBezTo>
                    <a:pt x="40176" y="71658"/>
                    <a:pt x="39647" y="70521"/>
                    <a:pt x="39647" y="70521"/>
                  </a:cubicBezTo>
                  <a:cubicBezTo>
                    <a:pt x="39118" y="70521"/>
                    <a:pt x="37004" y="69952"/>
                    <a:pt x="36475" y="69383"/>
                  </a:cubicBezTo>
                  <a:cubicBezTo>
                    <a:pt x="36475" y="69383"/>
                    <a:pt x="35947" y="68815"/>
                    <a:pt x="35418" y="68246"/>
                  </a:cubicBezTo>
                  <a:cubicBezTo>
                    <a:pt x="34889" y="67109"/>
                    <a:pt x="33832" y="66540"/>
                    <a:pt x="33832" y="66540"/>
                  </a:cubicBezTo>
                  <a:cubicBezTo>
                    <a:pt x="33832" y="66540"/>
                    <a:pt x="33303" y="65971"/>
                    <a:pt x="32775" y="64834"/>
                  </a:cubicBezTo>
                  <a:cubicBezTo>
                    <a:pt x="32246" y="64265"/>
                    <a:pt x="32246" y="64265"/>
                    <a:pt x="32246" y="63696"/>
                  </a:cubicBezTo>
                  <a:cubicBezTo>
                    <a:pt x="31718" y="63696"/>
                    <a:pt x="32246" y="63696"/>
                    <a:pt x="31189" y="63127"/>
                  </a:cubicBezTo>
                  <a:cubicBezTo>
                    <a:pt x="30132" y="62559"/>
                    <a:pt x="29603" y="61990"/>
                    <a:pt x="29603" y="61990"/>
                  </a:cubicBezTo>
                  <a:cubicBezTo>
                    <a:pt x="29074" y="61990"/>
                    <a:pt x="28017" y="61421"/>
                    <a:pt x="28017" y="61421"/>
                  </a:cubicBezTo>
                  <a:cubicBezTo>
                    <a:pt x="28017" y="61421"/>
                    <a:pt x="26960" y="60284"/>
                    <a:pt x="26960" y="60284"/>
                  </a:cubicBezTo>
                  <a:cubicBezTo>
                    <a:pt x="26960" y="60284"/>
                    <a:pt x="26431" y="61421"/>
                    <a:pt x="27488" y="61990"/>
                  </a:cubicBezTo>
                  <a:cubicBezTo>
                    <a:pt x="28017" y="61990"/>
                    <a:pt x="29074" y="63127"/>
                    <a:pt x="29074" y="63127"/>
                  </a:cubicBezTo>
                  <a:cubicBezTo>
                    <a:pt x="29074" y="63127"/>
                    <a:pt x="30132" y="63696"/>
                    <a:pt x="30132" y="63696"/>
                  </a:cubicBezTo>
                  <a:cubicBezTo>
                    <a:pt x="30132" y="63696"/>
                    <a:pt x="30132" y="64834"/>
                    <a:pt x="30132" y="64834"/>
                  </a:cubicBezTo>
                  <a:cubicBezTo>
                    <a:pt x="30132" y="64834"/>
                    <a:pt x="28546" y="64265"/>
                    <a:pt x="30132" y="64834"/>
                  </a:cubicBezTo>
                  <a:cubicBezTo>
                    <a:pt x="31189" y="65402"/>
                    <a:pt x="32246" y="65402"/>
                    <a:pt x="32246" y="65402"/>
                  </a:cubicBezTo>
                  <a:cubicBezTo>
                    <a:pt x="32246" y="65402"/>
                    <a:pt x="31189" y="65971"/>
                    <a:pt x="30660" y="65971"/>
                  </a:cubicBezTo>
                  <a:cubicBezTo>
                    <a:pt x="30660" y="66540"/>
                    <a:pt x="31718" y="68246"/>
                    <a:pt x="31718" y="67677"/>
                  </a:cubicBezTo>
                  <a:cubicBezTo>
                    <a:pt x="32246" y="67677"/>
                    <a:pt x="32775" y="68246"/>
                    <a:pt x="33303" y="68246"/>
                  </a:cubicBezTo>
                  <a:cubicBezTo>
                    <a:pt x="33303" y="68246"/>
                    <a:pt x="34361" y="68246"/>
                    <a:pt x="34361" y="68815"/>
                  </a:cubicBezTo>
                  <a:cubicBezTo>
                    <a:pt x="34889" y="68815"/>
                    <a:pt x="34889" y="68815"/>
                    <a:pt x="34889" y="69383"/>
                  </a:cubicBezTo>
                  <a:cubicBezTo>
                    <a:pt x="34361" y="69383"/>
                    <a:pt x="34889" y="70521"/>
                    <a:pt x="34889" y="70521"/>
                  </a:cubicBezTo>
                  <a:cubicBezTo>
                    <a:pt x="35947" y="71090"/>
                    <a:pt x="35947" y="71090"/>
                    <a:pt x="35947" y="71090"/>
                  </a:cubicBezTo>
                  <a:cubicBezTo>
                    <a:pt x="35947" y="71090"/>
                    <a:pt x="34361" y="71090"/>
                    <a:pt x="34361" y="70521"/>
                  </a:cubicBezTo>
                  <a:cubicBezTo>
                    <a:pt x="33832" y="70521"/>
                    <a:pt x="33832" y="69952"/>
                    <a:pt x="33303" y="70521"/>
                  </a:cubicBezTo>
                  <a:cubicBezTo>
                    <a:pt x="32775" y="71090"/>
                    <a:pt x="32775" y="71090"/>
                    <a:pt x="32775" y="71658"/>
                  </a:cubicBezTo>
                  <a:cubicBezTo>
                    <a:pt x="33303" y="72227"/>
                    <a:pt x="33832" y="72796"/>
                    <a:pt x="34361" y="72227"/>
                  </a:cubicBezTo>
                  <a:cubicBezTo>
                    <a:pt x="34361" y="72227"/>
                    <a:pt x="34361" y="72227"/>
                    <a:pt x="34889" y="71658"/>
                  </a:cubicBezTo>
                  <a:cubicBezTo>
                    <a:pt x="34889" y="71658"/>
                    <a:pt x="34889" y="71658"/>
                    <a:pt x="35418" y="71658"/>
                  </a:cubicBezTo>
                  <a:cubicBezTo>
                    <a:pt x="35418" y="71658"/>
                    <a:pt x="35947" y="71658"/>
                    <a:pt x="35947" y="71658"/>
                  </a:cubicBezTo>
                  <a:cubicBezTo>
                    <a:pt x="36475" y="71090"/>
                    <a:pt x="36475" y="71090"/>
                    <a:pt x="36475" y="71090"/>
                  </a:cubicBezTo>
                  <a:cubicBezTo>
                    <a:pt x="36475" y="71090"/>
                    <a:pt x="36475" y="71090"/>
                    <a:pt x="36475" y="71658"/>
                  </a:cubicBezTo>
                  <a:cubicBezTo>
                    <a:pt x="36475" y="71658"/>
                    <a:pt x="37004" y="71658"/>
                    <a:pt x="36475" y="72227"/>
                  </a:cubicBezTo>
                  <a:cubicBezTo>
                    <a:pt x="36475" y="72796"/>
                    <a:pt x="35947" y="72796"/>
                    <a:pt x="35947" y="72796"/>
                  </a:cubicBezTo>
                  <a:cubicBezTo>
                    <a:pt x="35947" y="73364"/>
                    <a:pt x="35418" y="72796"/>
                    <a:pt x="35947" y="73933"/>
                  </a:cubicBezTo>
                  <a:cubicBezTo>
                    <a:pt x="35947" y="74502"/>
                    <a:pt x="35947" y="75071"/>
                    <a:pt x="35947" y="75071"/>
                  </a:cubicBezTo>
                  <a:cubicBezTo>
                    <a:pt x="35947" y="75071"/>
                    <a:pt x="36475" y="75071"/>
                    <a:pt x="36475" y="75071"/>
                  </a:cubicBezTo>
                  <a:cubicBezTo>
                    <a:pt x="37004" y="75639"/>
                    <a:pt x="37004" y="76208"/>
                    <a:pt x="37004" y="76777"/>
                  </a:cubicBezTo>
                  <a:cubicBezTo>
                    <a:pt x="37533" y="76777"/>
                    <a:pt x="38590" y="78483"/>
                    <a:pt x="38590" y="78483"/>
                  </a:cubicBezTo>
                  <a:cubicBezTo>
                    <a:pt x="38590" y="78483"/>
                    <a:pt x="40176" y="79620"/>
                    <a:pt x="40176" y="79620"/>
                  </a:cubicBezTo>
                  <a:cubicBezTo>
                    <a:pt x="40176" y="79620"/>
                    <a:pt x="40704" y="80189"/>
                    <a:pt x="40704" y="80189"/>
                  </a:cubicBezTo>
                  <a:cubicBezTo>
                    <a:pt x="40704" y="80189"/>
                    <a:pt x="40704" y="80758"/>
                    <a:pt x="40176" y="80189"/>
                  </a:cubicBezTo>
                  <a:cubicBezTo>
                    <a:pt x="39647" y="79620"/>
                    <a:pt x="38590" y="79052"/>
                    <a:pt x="38590" y="79052"/>
                  </a:cubicBezTo>
                  <a:cubicBezTo>
                    <a:pt x="38590" y="80189"/>
                    <a:pt x="38590" y="80189"/>
                    <a:pt x="38590" y="80189"/>
                  </a:cubicBezTo>
                  <a:cubicBezTo>
                    <a:pt x="38590" y="80189"/>
                    <a:pt x="39118" y="80758"/>
                    <a:pt x="39647" y="80758"/>
                  </a:cubicBezTo>
                  <a:cubicBezTo>
                    <a:pt x="39647" y="81327"/>
                    <a:pt x="39647" y="81327"/>
                    <a:pt x="40176" y="81895"/>
                  </a:cubicBezTo>
                  <a:cubicBezTo>
                    <a:pt x="40704" y="81895"/>
                    <a:pt x="41233" y="81895"/>
                    <a:pt x="41762" y="81895"/>
                  </a:cubicBezTo>
                  <a:cubicBezTo>
                    <a:pt x="41762" y="82464"/>
                    <a:pt x="41762" y="81327"/>
                    <a:pt x="41762" y="81327"/>
                  </a:cubicBezTo>
                  <a:cubicBezTo>
                    <a:pt x="41762" y="81327"/>
                    <a:pt x="42290" y="81327"/>
                    <a:pt x="42290" y="81327"/>
                  </a:cubicBezTo>
                  <a:cubicBezTo>
                    <a:pt x="42290" y="81895"/>
                    <a:pt x="42819" y="82464"/>
                    <a:pt x="42290" y="83033"/>
                  </a:cubicBezTo>
                  <a:cubicBezTo>
                    <a:pt x="42290" y="83033"/>
                    <a:pt x="42290" y="83601"/>
                    <a:pt x="41762" y="83033"/>
                  </a:cubicBezTo>
                  <a:cubicBezTo>
                    <a:pt x="41233" y="83033"/>
                    <a:pt x="40704" y="82464"/>
                    <a:pt x="40176" y="82464"/>
                  </a:cubicBezTo>
                  <a:cubicBezTo>
                    <a:pt x="40176" y="82464"/>
                    <a:pt x="39647" y="81895"/>
                    <a:pt x="39118" y="82464"/>
                  </a:cubicBezTo>
                  <a:cubicBezTo>
                    <a:pt x="39118" y="82464"/>
                    <a:pt x="38061" y="81895"/>
                    <a:pt x="38061" y="82464"/>
                  </a:cubicBezTo>
                  <a:cubicBezTo>
                    <a:pt x="38061" y="83033"/>
                    <a:pt x="38061" y="83601"/>
                    <a:pt x="38061" y="83601"/>
                  </a:cubicBezTo>
                  <a:cubicBezTo>
                    <a:pt x="38061" y="83601"/>
                    <a:pt x="37533" y="81327"/>
                    <a:pt x="37004" y="81327"/>
                  </a:cubicBezTo>
                  <a:cubicBezTo>
                    <a:pt x="36475" y="81327"/>
                    <a:pt x="35418" y="80758"/>
                    <a:pt x="35418" y="80758"/>
                  </a:cubicBezTo>
                  <a:cubicBezTo>
                    <a:pt x="34889" y="79620"/>
                    <a:pt x="34889" y="79620"/>
                    <a:pt x="34889" y="79620"/>
                  </a:cubicBezTo>
                  <a:cubicBezTo>
                    <a:pt x="34889" y="79620"/>
                    <a:pt x="35418" y="79620"/>
                    <a:pt x="35418" y="79620"/>
                  </a:cubicBezTo>
                  <a:cubicBezTo>
                    <a:pt x="35947" y="80189"/>
                    <a:pt x="35418" y="80189"/>
                    <a:pt x="35947" y="80189"/>
                  </a:cubicBezTo>
                  <a:cubicBezTo>
                    <a:pt x="36475" y="80189"/>
                    <a:pt x="35418" y="79052"/>
                    <a:pt x="36475" y="79052"/>
                  </a:cubicBezTo>
                  <a:cubicBezTo>
                    <a:pt x="37533" y="79052"/>
                    <a:pt x="37533" y="79052"/>
                    <a:pt x="37533" y="79052"/>
                  </a:cubicBezTo>
                  <a:cubicBezTo>
                    <a:pt x="37533" y="78483"/>
                    <a:pt x="38590" y="78483"/>
                    <a:pt x="37533" y="77914"/>
                  </a:cubicBezTo>
                  <a:cubicBezTo>
                    <a:pt x="36475" y="77345"/>
                    <a:pt x="36475" y="77345"/>
                    <a:pt x="36475" y="77345"/>
                  </a:cubicBezTo>
                  <a:cubicBezTo>
                    <a:pt x="35947" y="77345"/>
                    <a:pt x="35947" y="77345"/>
                    <a:pt x="35947" y="76777"/>
                  </a:cubicBezTo>
                  <a:cubicBezTo>
                    <a:pt x="35418" y="76208"/>
                    <a:pt x="35418" y="75639"/>
                    <a:pt x="34889" y="75639"/>
                  </a:cubicBezTo>
                  <a:cubicBezTo>
                    <a:pt x="34889" y="75639"/>
                    <a:pt x="33303" y="75639"/>
                    <a:pt x="33303" y="75639"/>
                  </a:cubicBezTo>
                  <a:cubicBezTo>
                    <a:pt x="33303" y="75639"/>
                    <a:pt x="32775" y="75071"/>
                    <a:pt x="32246" y="75071"/>
                  </a:cubicBezTo>
                  <a:cubicBezTo>
                    <a:pt x="31718" y="75071"/>
                    <a:pt x="30660" y="73933"/>
                    <a:pt x="30660" y="73933"/>
                  </a:cubicBezTo>
                  <a:cubicBezTo>
                    <a:pt x="30132" y="73364"/>
                    <a:pt x="28546" y="72796"/>
                    <a:pt x="28546" y="72796"/>
                  </a:cubicBezTo>
                  <a:cubicBezTo>
                    <a:pt x="28546" y="72796"/>
                    <a:pt x="28017" y="72227"/>
                    <a:pt x="27488" y="72227"/>
                  </a:cubicBezTo>
                  <a:cubicBezTo>
                    <a:pt x="26960" y="72227"/>
                    <a:pt x="26960" y="72227"/>
                    <a:pt x="26431" y="72227"/>
                  </a:cubicBezTo>
                  <a:cubicBezTo>
                    <a:pt x="25903" y="71658"/>
                    <a:pt x="25374" y="71090"/>
                    <a:pt x="25374" y="71090"/>
                  </a:cubicBezTo>
                  <a:cubicBezTo>
                    <a:pt x="24845" y="70521"/>
                    <a:pt x="24317" y="70521"/>
                    <a:pt x="24317" y="70521"/>
                  </a:cubicBezTo>
                  <a:cubicBezTo>
                    <a:pt x="24845" y="71090"/>
                    <a:pt x="24317" y="71090"/>
                    <a:pt x="25374" y="71658"/>
                  </a:cubicBezTo>
                  <a:cubicBezTo>
                    <a:pt x="25903" y="72227"/>
                    <a:pt x="26431" y="72227"/>
                    <a:pt x="26431" y="72227"/>
                  </a:cubicBezTo>
                  <a:cubicBezTo>
                    <a:pt x="26431" y="72227"/>
                    <a:pt x="26960" y="72796"/>
                    <a:pt x="26960" y="72796"/>
                  </a:cubicBezTo>
                  <a:cubicBezTo>
                    <a:pt x="26960" y="73364"/>
                    <a:pt x="27488" y="72796"/>
                    <a:pt x="28017" y="72796"/>
                  </a:cubicBezTo>
                  <a:cubicBezTo>
                    <a:pt x="28017" y="73364"/>
                    <a:pt x="28546" y="73364"/>
                    <a:pt x="28546" y="73933"/>
                  </a:cubicBezTo>
                  <a:cubicBezTo>
                    <a:pt x="28546" y="73933"/>
                    <a:pt x="30132" y="73933"/>
                    <a:pt x="30132" y="74502"/>
                  </a:cubicBezTo>
                  <a:cubicBezTo>
                    <a:pt x="30132" y="75071"/>
                    <a:pt x="30660" y="75639"/>
                    <a:pt x="30132" y="75639"/>
                  </a:cubicBezTo>
                  <a:cubicBezTo>
                    <a:pt x="30132" y="75639"/>
                    <a:pt x="29603" y="76208"/>
                    <a:pt x="29603" y="76208"/>
                  </a:cubicBezTo>
                  <a:cubicBezTo>
                    <a:pt x="30132" y="76208"/>
                    <a:pt x="30660" y="76777"/>
                    <a:pt x="31189" y="76777"/>
                  </a:cubicBezTo>
                  <a:cubicBezTo>
                    <a:pt x="31718" y="76777"/>
                    <a:pt x="31189" y="76777"/>
                    <a:pt x="32246" y="77345"/>
                  </a:cubicBezTo>
                  <a:cubicBezTo>
                    <a:pt x="33303" y="77345"/>
                    <a:pt x="33303" y="78483"/>
                    <a:pt x="33303" y="78483"/>
                  </a:cubicBezTo>
                  <a:cubicBezTo>
                    <a:pt x="33303" y="79052"/>
                    <a:pt x="34361" y="79620"/>
                    <a:pt x="34361" y="79620"/>
                  </a:cubicBezTo>
                  <a:cubicBezTo>
                    <a:pt x="34361" y="79620"/>
                    <a:pt x="33832" y="79620"/>
                    <a:pt x="34361" y="80189"/>
                  </a:cubicBezTo>
                  <a:cubicBezTo>
                    <a:pt x="34361" y="80189"/>
                    <a:pt x="33832" y="80189"/>
                    <a:pt x="34361" y="80758"/>
                  </a:cubicBezTo>
                  <a:cubicBezTo>
                    <a:pt x="34889" y="80758"/>
                    <a:pt x="35418" y="80758"/>
                    <a:pt x="35418" y="80758"/>
                  </a:cubicBezTo>
                  <a:cubicBezTo>
                    <a:pt x="35418" y="81327"/>
                    <a:pt x="35418" y="81327"/>
                    <a:pt x="35418" y="81895"/>
                  </a:cubicBezTo>
                  <a:cubicBezTo>
                    <a:pt x="35418" y="81895"/>
                    <a:pt x="34361" y="83033"/>
                    <a:pt x="35947" y="83033"/>
                  </a:cubicBezTo>
                  <a:cubicBezTo>
                    <a:pt x="37004" y="83033"/>
                    <a:pt x="37004" y="83033"/>
                    <a:pt x="37004" y="83033"/>
                  </a:cubicBezTo>
                  <a:cubicBezTo>
                    <a:pt x="37533" y="83601"/>
                    <a:pt x="37533" y="83601"/>
                    <a:pt x="37533" y="83601"/>
                  </a:cubicBezTo>
                  <a:cubicBezTo>
                    <a:pt x="37533" y="83601"/>
                    <a:pt x="37004" y="84170"/>
                    <a:pt x="37533" y="84739"/>
                  </a:cubicBezTo>
                  <a:cubicBezTo>
                    <a:pt x="37533" y="85308"/>
                    <a:pt x="39647" y="85308"/>
                    <a:pt x="39647" y="85308"/>
                  </a:cubicBezTo>
                  <a:cubicBezTo>
                    <a:pt x="39647" y="84739"/>
                    <a:pt x="39647" y="84739"/>
                    <a:pt x="39647" y="84739"/>
                  </a:cubicBezTo>
                  <a:cubicBezTo>
                    <a:pt x="39647" y="84739"/>
                    <a:pt x="40704" y="85308"/>
                    <a:pt x="40176" y="85308"/>
                  </a:cubicBezTo>
                  <a:cubicBezTo>
                    <a:pt x="40176" y="85876"/>
                    <a:pt x="39647" y="85876"/>
                    <a:pt x="39647" y="85876"/>
                  </a:cubicBezTo>
                  <a:cubicBezTo>
                    <a:pt x="39647" y="85876"/>
                    <a:pt x="39647" y="87014"/>
                    <a:pt x="40176" y="87014"/>
                  </a:cubicBezTo>
                  <a:cubicBezTo>
                    <a:pt x="40704" y="87014"/>
                    <a:pt x="41233" y="87582"/>
                    <a:pt x="41233" y="87582"/>
                  </a:cubicBezTo>
                  <a:cubicBezTo>
                    <a:pt x="41233" y="87582"/>
                    <a:pt x="41762" y="87582"/>
                    <a:pt x="41762" y="88151"/>
                  </a:cubicBezTo>
                  <a:cubicBezTo>
                    <a:pt x="42290" y="88151"/>
                    <a:pt x="42290" y="88720"/>
                    <a:pt x="42290" y="88720"/>
                  </a:cubicBezTo>
                  <a:cubicBezTo>
                    <a:pt x="42819" y="88720"/>
                    <a:pt x="43348" y="88720"/>
                    <a:pt x="43348" y="89289"/>
                  </a:cubicBezTo>
                  <a:cubicBezTo>
                    <a:pt x="43876" y="89289"/>
                    <a:pt x="44405" y="89857"/>
                    <a:pt x="44405" y="89289"/>
                  </a:cubicBezTo>
                  <a:cubicBezTo>
                    <a:pt x="44405" y="88720"/>
                    <a:pt x="44933" y="88720"/>
                    <a:pt x="44405" y="88151"/>
                  </a:cubicBezTo>
                  <a:cubicBezTo>
                    <a:pt x="43876" y="87582"/>
                    <a:pt x="43348" y="87582"/>
                    <a:pt x="42819" y="87582"/>
                  </a:cubicBezTo>
                  <a:cubicBezTo>
                    <a:pt x="42819" y="87582"/>
                    <a:pt x="42290" y="87582"/>
                    <a:pt x="42290" y="87014"/>
                  </a:cubicBezTo>
                  <a:cubicBezTo>
                    <a:pt x="41762" y="87014"/>
                    <a:pt x="41762" y="87014"/>
                    <a:pt x="41762" y="86445"/>
                  </a:cubicBezTo>
                  <a:cubicBezTo>
                    <a:pt x="41762" y="85876"/>
                    <a:pt x="41233" y="85308"/>
                    <a:pt x="41233" y="85308"/>
                  </a:cubicBezTo>
                  <a:cubicBezTo>
                    <a:pt x="41233" y="85308"/>
                    <a:pt x="41233" y="84170"/>
                    <a:pt x="41233" y="84170"/>
                  </a:cubicBezTo>
                  <a:cubicBezTo>
                    <a:pt x="40704" y="84170"/>
                    <a:pt x="40704" y="84170"/>
                    <a:pt x="40176" y="84170"/>
                  </a:cubicBezTo>
                  <a:cubicBezTo>
                    <a:pt x="40176" y="84170"/>
                    <a:pt x="39647" y="83601"/>
                    <a:pt x="39647" y="83601"/>
                  </a:cubicBezTo>
                  <a:cubicBezTo>
                    <a:pt x="39118" y="83601"/>
                    <a:pt x="38590" y="83601"/>
                    <a:pt x="38590" y="83601"/>
                  </a:cubicBezTo>
                  <a:cubicBezTo>
                    <a:pt x="38590" y="83033"/>
                    <a:pt x="39118" y="83033"/>
                    <a:pt x="39118" y="83033"/>
                  </a:cubicBezTo>
                  <a:cubicBezTo>
                    <a:pt x="39118" y="83033"/>
                    <a:pt x="39647" y="83033"/>
                    <a:pt x="40176" y="83033"/>
                  </a:cubicBezTo>
                  <a:cubicBezTo>
                    <a:pt x="40704" y="83601"/>
                    <a:pt x="40704" y="83033"/>
                    <a:pt x="41233" y="83601"/>
                  </a:cubicBezTo>
                  <a:cubicBezTo>
                    <a:pt x="41762" y="83601"/>
                    <a:pt x="41233" y="84170"/>
                    <a:pt x="41762" y="84170"/>
                  </a:cubicBezTo>
                  <a:cubicBezTo>
                    <a:pt x="42819" y="84170"/>
                    <a:pt x="42819" y="83601"/>
                    <a:pt x="42819" y="83601"/>
                  </a:cubicBezTo>
                  <a:cubicBezTo>
                    <a:pt x="43876" y="83033"/>
                    <a:pt x="43876" y="83033"/>
                    <a:pt x="43876" y="83033"/>
                  </a:cubicBezTo>
                  <a:cubicBezTo>
                    <a:pt x="43876" y="83033"/>
                    <a:pt x="43876" y="83033"/>
                    <a:pt x="44405" y="83601"/>
                  </a:cubicBezTo>
                  <a:cubicBezTo>
                    <a:pt x="44933" y="83601"/>
                    <a:pt x="43876" y="84170"/>
                    <a:pt x="44933" y="84170"/>
                  </a:cubicBezTo>
                  <a:cubicBezTo>
                    <a:pt x="45991" y="84170"/>
                    <a:pt x="46519" y="84170"/>
                    <a:pt x="46519" y="84170"/>
                  </a:cubicBezTo>
                  <a:cubicBezTo>
                    <a:pt x="46519" y="84739"/>
                    <a:pt x="46519" y="85308"/>
                    <a:pt x="46519" y="85308"/>
                  </a:cubicBezTo>
                  <a:cubicBezTo>
                    <a:pt x="46519" y="85308"/>
                    <a:pt x="46519" y="85876"/>
                    <a:pt x="46519" y="85876"/>
                  </a:cubicBezTo>
                  <a:cubicBezTo>
                    <a:pt x="47048" y="85876"/>
                    <a:pt x="48105" y="85876"/>
                    <a:pt x="48105" y="85876"/>
                  </a:cubicBezTo>
                  <a:cubicBezTo>
                    <a:pt x="48105" y="85876"/>
                    <a:pt x="48634" y="85876"/>
                    <a:pt x="48634" y="86445"/>
                  </a:cubicBezTo>
                  <a:cubicBezTo>
                    <a:pt x="49162" y="87014"/>
                    <a:pt x="47577" y="87582"/>
                    <a:pt x="47577" y="87582"/>
                  </a:cubicBezTo>
                  <a:cubicBezTo>
                    <a:pt x="47577" y="87582"/>
                    <a:pt x="47048" y="87014"/>
                    <a:pt x="47048" y="87582"/>
                  </a:cubicBezTo>
                  <a:cubicBezTo>
                    <a:pt x="47048" y="88151"/>
                    <a:pt x="46519" y="88151"/>
                    <a:pt x="47048" y="88720"/>
                  </a:cubicBezTo>
                  <a:cubicBezTo>
                    <a:pt x="47577" y="88720"/>
                    <a:pt x="47048" y="88720"/>
                    <a:pt x="47048" y="88720"/>
                  </a:cubicBezTo>
                  <a:cubicBezTo>
                    <a:pt x="46519" y="88720"/>
                    <a:pt x="45991" y="88151"/>
                    <a:pt x="46519" y="89289"/>
                  </a:cubicBezTo>
                  <a:cubicBezTo>
                    <a:pt x="46519" y="89857"/>
                    <a:pt x="47048" y="90426"/>
                    <a:pt x="47048" y="90426"/>
                  </a:cubicBezTo>
                  <a:cubicBezTo>
                    <a:pt x="47577" y="90426"/>
                    <a:pt x="48634" y="90426"/>
                    <a:pt x="48634" y="90426"/>
                  </a:cubicBezTo>
                  <a:cubicBezTo>
                    <a:pt x="49162" y="90426"/>
                    <a:pt x="49691" y="90426"/>
                    <a:pt x="49162" y="90426"/>
                  </a:cubicBezTo>
                  <a:cubicBezTo>
                    <a:pt x="48634" y="89857"/>
                    <a:pt x="48105" y="89857"/>
                    <a:pt x="48105" y="89857"/>
                  </a:cubicBezTo>
                  <a:cubicBezTo>
                    <a:pt x="48105" y="89857"/>
                    <a:pt x="48105" y="89857"/>
                    <a:pt x="48105" y="89289"/>
                  </a:cubicBezTo>
                  <a:cubicBezTo>
                    <a:pt x="48105" y="89289"/>
                    <a:pt x="48634" y="89289"/>
                    <a:pt x="48634" y="89289"/>
                  </a:cubicBezTo>
                  <a:cubicBezTo>
                    <a:pt x="48634" y="88720"/>
                    <a:pt x="49162" y="88151"/>
                    <a:pt x="49162" y="88151"/>
                  </a:cubicBezTo>
                  <a:cubicBezTo>
                    <a:pt x="49162" y="88151"/>
                    <a:pt x="49691" y="87014"/>
                    <a:pt x="50220" y="87582"/>
                  </a:cubicBezTo>
                  <a:cubicBezTo>
                    <a:pt x="50220" y="88151"/>
                    <a:pt x="50220" y="88151"/>
                    <a:pt x="50748" y="88151"/>
                  </a:cubicBezTo>
                  <a:cubicBezTo>
                    <a:pt x="50748" y="88151"/>
                    <a:pt x="52334" y="86445"/>
                    <a:pt x="52334" y="86445"/>
                  </a:cubicBezTo>
                  <a:cubicBezTo>
                    <a:pt x="52334" y="86445"/>
                    <a:pt x="52863" y="86445"/>
                    <a:pt x="52334" y="87014"/>
                  </a:cubicBezTo>
                  <a:cubicBezTo>
                    <a:pt x="52334" y="87582"/>
                    <a:pt x="51806" y="88151"/>
                    <a:pt x="52334" y="88720"/>
                  </a:cubicBezTo>
                  <a:cubicBezTo>
                    <a:pt x="52334" y="89289"/>
                    <a:pt x="52334" y="89289"/>
                    <a:pt x="52334" y="89289"/>
                  </a:cubicBezTo>
                  <a:cubicBezTo>
                    <a:pt x="52863" y="89857"/>
                    <a:pt x="52334" y="89857"/>
                    <a:pt x="52863" y="90426"/>
                  </a:cubicBezTo>
                  <a:cubicBezTo>
                    <a:pt x="52863" y="90995"/>
                    <a:pt x="52863" y="90426"/>
                    <a:pt x="52863" y="90995"/>
                  </a:cubicBezTo>
                  <a:cubicBezTo>
                    <a:pt x="53392" y="91563"/>
                    <a:pt x="53920" y="92701"/>
                    <a:pt x="53920" y="92701"/>
                  </a:cubicBezTo>
                  <a:cubicBezTo>
                    <a:pt x="53920" y="92701"/>
                    <a:pt x="53392" y="93270"/>
                    <a:pt x="53920" y="93270"/>
                  </a:cubicBezTo>
                  <a:cubicBezTo>
                    <a:pt x="54449" y="93838"/>
                    <a:pt x="55506" y="93838"/>
                    <a:pt x="55506" y="93838"/>
                  </a:cubicBezTo>
                  <a:cubicBezTo>
                    <a:pt x="55506" y="93838"/>
                    <a:pt x="55506" y="93838"/>
                    <a:pt x="55506" y="93838"/>
                  </a:cubicBezTo>
                  <a:cubicBezTo>
                    <a:pt x="55506" y="93838"/>
                    <a:pt x="56035" y="94407"/>
                    <a:pt x="56563" y="93838"/>
                  </a:cubicBezTo>
                  <a:cubicBezTo>
                    <a:pt x="56563" y="93270"/>
                    <a:pt x="57092" y="93270"/>
                    <a:pt x="57092" y="93270"/>
                  </a:cubicBezTo>
                  <a:cubicBezTo>
                    <a:pt x="57621" y="93270"/>
                    <a:pt x="57092" y="93270"/>
                    <a:pt x="58149" y="93270"/>
                  </a:cubicBezTo>
                  <a:cubicBezTo>
                    <a:pt x="59207" y="93270"/>
                    <a:pt x="59207" y="93838"/>
                    <a:pt x="59735" y="93270"/>
                  </a:cubicBezTo>
                  <a:cubicBezTo>
                    <a:pt x="60264" y="92701"/>
                    <a:pt x="59735" y="92701"/>
                    <a:pt x="60792" y="92701"/>
                  </a:cubicBezTo>
                  <a:cubicBezTo>
                    <a:pt x="61850" y="92701"/>
                    <a:pt x="62907" y="92132"/>
                    <a:pt x="62907" y="92132"/>
                  </a:cubicBezTo>
                  <a:cubicBezTo>
                    <a:pt x="62907" y="92132"/>
                    <a:pt x="64493" y="92132"/>
                    <a:pt x="64493" y="92132"/>
                  </a:cubicBezTo>
                  <a:cubicBezTo>
                    <a:pt x="65550" y="92701"/>
                    <a:pt x="65550" y="92701"/>
                    <a:pt x="65550" y="92701"/>
                  </a:cubicBezTo>
                  <a:cubicBezTo>
                    <a:pt x="65550" y="92701"/>
                    <a:pt x="66079" y="93270"/>
                    <a:pt x="66607" y="93270"/>
                  </a:cubicBezTo>
                  <a:cubicBezTo>
                    <a:pt x="66607" y="93270"/>
                    <a:pt x="67136" y="93270"/>
                    <a:pt x="67665" y="93270"/>
                  </a:cubicBezTo>
                  <a:cubicBezTo>
                    <a:pt x="67665" y="93270"/>
                    <a:pt x="69779" y="93838"/>
                    <a:pt x="69779" y="93838"/>
                  </a:cubicBezTo>
                  <a:cubicBezTo>
                    <a:pt x="71894" y="94407"/>
                    <a:pt x="71894" y="94407"/>
                    <a:pt x="71894" y="94407"/>
                  </a:cubicBezTo>
                  <a:cubicBezTo>
                    <a:pt x="72951" y="94976"/>
                    <a:pt x="72951" y="94976"/>
                    <a:pt x="72951" y="94976"/>
                  </a:cubicBezTo>
                  <a:cubicBezTo>
                    <a:pt x="75066" y="96682"/>
                    <a:pt x="75066" y="96682"/>
                    <a:pt x="75066" y="96682"/>
                  </a:cubicBezTo>
                  <a:cubicBezTo>
                    <a:pt x="77180" y="98957"/>
                    <a:pt x="77180" y="98957"/>
                    <a:pt x="77180" y="98957"/>
                  </a:cubicBezTo>
                  <a:cubicBezTo>
                    <a:pt x="79823" y="100094"/>
                    <a:pt x="79823" y="100094"/>
                    <a:pt x="79823" y="100094"/>
                  </a:cubicBezTo>
                  <a:cubicBezTo>
                    <a:pt x="81409" y="101232"/>
                    <a:pt x="81409" y="101232"/>
                    <a:pt x="81409" y="101232"/>
                  </a:cubicBezTo>
                  <a:cubicBezTo>
                    <a:pt x="82466" y="102369"/>
                    <a:pt x="82466" y="102369"/>
                    <a:pt x="82466" y="102369"/>
                  </a:cubicBezTo>
                  <a:cubicBezTo>
                    <a:pt x="82466" y="102369"/>
                    <a:pt x="84052" y="103507"/>
                    <a:pt x="84052" y="103507"/>
                  </a:cubicBezTo>
                  <a:cubicBezTo>
                    <a:pt x="84581" y="103507"/>
                    <a:pt x="86167" y="104644"/>
                    <a:pt x="86167" y="104644"/>
                  </a:cubicBezTo>
                  <a:cubicBezTo>
                    <a:pt x="87753" y="105781"/>
                    <a:pt x="87753" y="105781"/>
                    <a:pt x="87753" y="105781"/>
                  </a:cubicBezTo>
                  <a:cubicBezTo>
                    <a:pt x="87753" y="105781"/>
                    <a:pt x="88281" y="106919"/>
                    <a:pt x="88281" y="106919"/>
                  </a:cubicBezTo>
                  <a:cubicBezTo>
                    <a:pt x="88281" y="107488"/>
                    <a:pt x="87753" y="106919"/>
                    <a:pt x="87224" y="106919"/>
                  </a:cubicBezTo>
                  <a:cubicBezTo>
                    <a:pt x="86696" y="107488"/>
                    <a:pt x="84581" y="106350"/>
                    <a:pt x="84581" y="106350"/>
                  </a:cubicBezTo>
                  <a:cubicBezTo>
                    <a:pt x="83524" y="105213"/>
                    <a:pt x="83524" y="105213"/>
                    <a:pt x="83524" y="105213"/>
                  </a:cubicBezTo>
                  <a:cubicBezTo>
                    <a:pt x="81938" y="105213"/>
                    <a:pt x="81938" y="105213"/>
                    <a:pt x="81938" y="105213"/>
                  </a:cubicBezTo>
                  <a:cubicBezTo>
                    <a:pt x="80881" y="104644"/>
                    <a:pt x="80881" y="104644"/>
                    <a:pt x="80881" y="104644"/>
                  </a:cubicBezTo>
                  <a:cubicBezTo>
                    <a:pt x="78766" y="105213"/>
                    <a:pt x="78766" y="105213"/>
                    <a:pt x="78766" y="105213"/>
                  </a:cubicBezTo>
                  <a:cubicBezTo>
                    <a:pt x="77180" y="104644"/>
                    <a:pt x="77180" y="104644"/>
                    <a:pt x="77180" y="104644"/>
                  </a:cubicBezTo>
                  <a:cubicBezTo>
                    <a:pt x="77180" y="104644"/>
                    <a:pt x="76651" y="104644"/>
                    <a:pt x="77180" y="105213"/>
                  </a:cubicBezTo>
                  <a:cubicBezTo>
                    <a:pt x="77180" y="105213"/>
                    <a:pt x="77180" y="105781"/>
                    <a:pt x="77180" y="105781"/>
                  </a:cubicBezTo>
                  <a:cubicBezTo>
                    <a:pt x="75594" y="106919"/>
                    <a:pt x="75594" y="106919"/>
                    <a:pt x="75594" y="106919"/>
                  </a:cubicBezTo>
                  <a:cubicBezTo>
                    <a:pt x="73480" y="107488"/>
                    <a:pt x="73480" y="107488"/>
                    <a:pt x="73480" y="107488"/>
                  </a:cubicBezTo>
                  <a:cubicBezTo>
                    <a:pt x="71365" y="107488"/>
                    <a:pt x="71365" y="107488"/>
                    <a:pt x="71365" y="107488"/>
                  </a:cubicBezTo>
                  <a:cubicBezTo>
                    <a:pt x="69779" y="107488"/>
                    <a:pt x="69779" y="107488"/>
                    <a:pt x="69779" y="107488"/>
                  </a:cubicBezTo>
                  <a:cubicBezTo>
                    <a:pt x="69779" y="108625"/>
                    <a:pt x="69779" y="108625"/>
                    <a:pt x="69779" y="108625"/>
                  </a:cubicBezTo>
                  <a:cubicBezTo>
                    <a:pt x="69779" y="108625"/>
                    <a:pt x="67665" y="108625"/>
                    <a:pt x="69779" y="109194"/>
                  </a:cubicBezTo>
                  <a:cubicBezTo>
                    <a:pt x="71894" y="109194"/>
                    <a:pt x="72951" y="109194"/>
                    <a:pt x="72951" y="108625"/>
                  </a:cubicBezTo>
                  <a:cubicBezTo>
                    <a:pt x="73480" y="108625"/>
                    <a:pt x="73480" y="108056"/>
                    <a:pt x="74008" y="108056"/>
                  </a:cubicBezTo>
                  <a:cubicBezTo>
                    <a:pt x="74537" y="108056"/>
                    <a:pt x="75594" y="108056"/>
                    <a:pt x="76123" y="108056"/>
                  </a:cubicBezTo>
                  <a:cubicBezTo>
                    <a:pt x="76123" y="108056"/>
                    <a:pt x="76651" y="108056"/>
                    <a:pt x="77709" y="107488"/>
                  </a:cubicBezTo>
                  <a:cubicBezTo>
                    <a:pt x="78237" y="107488"/>
                    <a:pt x="78237" y="106919"/>
                    <a:pt x="79295" y="107488"/>
                  </a:cubicBezTo>
                  <a:cubicBezTo>
                    <a:pt x="80352" y="108056"/>
                    <a:pt x="79823" y="106350"/>
                    <a:pt x="79823" y="106350"/>
                  </a:cubicBezTo>
                  <a:cubicBezTo>
                    <a:pt x="79823" y="106350"/>
                    <a:pt x="79823" y="105781"/>
                    <a:pt x="80352" y="105781"/>
                  </a:cubicBezTo>
                  <a:cubicBezTo>
                    <a:pt x="81409" y="106350"/>
                    <a:pt x="81409" y="106350"/>
                    <a:pt x="81409" y="106350"/>
                  </a:cubicBezTo>
                  <a:cubicBezTo>
                    <a:pt x="81938" y="106350"/>
                    <a:pt x="82995" y="106919"/>
                    <a:pt x="82995" y="106919"/>
                  </a:cubicBezTo>
                  <a:cubicBezTo>
                    <a:pt x="83524" y="106919"/>
                    <a:pt x="85638" y="107488"/>
                    <a:pt x="85638" y="107488"/>
                  </a:cubicBezTo>
                  <a:cubicBezTo>
                    <a:pt x="85638" y="107488"/>
                    <a:pt x="86167" y="109194"/>
                    <a:pt x="86167" y="109194"/>
                  </a:cubicBezTo>
                  <a:cubicBezTo>
                    <a:pt x="86696" y="109194"/>
                    <a:pt x="88281" y="109194"/>
                    <a:pt x="88810" y="109194"/>
                  </a:cubicBezTo>
                  <a:cubicBezTo>
                    <a:pt x="89339" y="109194"/>
                    <a:pt x="90396" y="109194"/>
                    <a:pt x="90925" y="109763"/>
                  </a:cubicBezTo>
                  <a:cubicBezTo>
                    <a:pt x="91453" y="110331"/>
                    <a:pt x="91982" y="110331"/>
                    <a:pt x="91982" y="110331"/>
                  </a:cubicBezTo>
                  <a:cubicBezTo>
                    <a:pt x="91982" y="110331"/>
                    <a:pt x="92511" y="110900"/>
                    <a:pt x="93039" y="111469"/>
                  </a:cubicBezTo>
                  <a:cubicBezTo>
                    <a:pt x="93039" y="111469"/>
                    <a:pt x="94625" y="112606"/>
                    <a:pt x="94625" y="112606"/>
                  </a:cubicBezTo>
                  <a:cubicBezTo>
                    <a:pt x="94625" y="112606"/>
                    <a:pt x="97268" y="113744"/>
                    <a:pt x="97268" y="113744"/>
                  </a:cubicBezTo>
                  <a:cubicBezTo>
                    <a:pt x="97797" y="113175"/>
                    <a:pt x="97797" y="113175"/>
                    <a:pt x="97797" y="113175"/>
                  </a:cubicBezTo>
                  <a:cubicBezTo>
                    <a:pt x="97797" y="112606"/>
                    <a:pt x="97797" y="112037"/>
                    <a:pt x="97797" y="112037"/>
                  </a:cubicBezTo>
                  <a:cubicBezTo>
                    <a:pt x="97268" y="111469"/>
                    <a:pt x="95154" y="110900"/>
                    <a:pt x="95154" y="110900"/>
                  </a:cubicBezTo>
                  <a:cubicBezTo>
                    <a:pt x="95154" y="110900"/>
                    <a:pt x="94096" y="110331"/>
                    <a:pt x="94096" y="110331"/>
                  </a:cubicBezTo>
                  <a:cubicBezTo>
                    <a:pt x="93568" y="107488"/>
                    <a:pt x="94096" y="109763"/>
                    <a:pt x="92511" y="109194"/>
                  </a:cubicBezTo>
                  <a:cubicBezTo>
                    <a:pt x="92511" y="109194"/>
                    <a:pt x="92511" y="109194"/>
                    <a:pt x="92511" y="109194"/>
                  </a:cubicBezTo>
                  <a:cubicBezTo>
                    <a:pt x="92511" y="109194"/>
                    <a:pt x="92511" y="109194"/>
                    <a:pt x="92511" y="109194"/>
                  </a:cubicBezTo>
                  <a:cubicBezTo>
                    <a:pt x="91453" y="109763"/>
                    <a:pt x="91453" y="109194"/>
                    <a:pt x="91453" y="109194"/>
                  </a:cubicBezTo>
                  <a:cubicBezTo>
                    <a:pt x="91453" y="108625"/>
                    <a:pt x="91453" y="108625"/>
                    <a:pt x="91453" y="108625"/>
                  </a:cubicBezTo>
                  <a:cubicBezTo>
                    <a:pt x="90925" y="108056"/>
                    <a:pt x="90925" y="108056"/>
                    <a:pt x="90925" y="108056"/>
                  </a:cubicBezTo>
                  <a:cubicBezTo>
                    <a:pt x="90925" y="108056"/>
                    <a:pt x="90396" y="106919"/>
                    <a:pt x="90925" y="106350"/>
                  </a:cubicBezTo>
                  <a:cubicBezTo>
                    <a:pt x="91453" y="106350"/>
                    <a:pt x="90396" y="109194"/>
                    <a:pt x="92511" y="105781"/>
                  </a:cubicBezTo>
                  <a:cubicBezTo>
                    <a:pt x="92511" y="105781"/>
                    <a:pt x="92511" y="105213"/>
                    <a:pt x="92511" y="105213"/>
                  </a:cubicBezTo>
                  <a:cubicBezTo>
                    <a:pt x="91982" y="105213"/>
                    <a:pt x="91982" y="105213"/>
                    <a:pt x="91982" y="105213"/>
                  </a:cubicBezTo>
                  <a:cubicBezTo>
                    <a:pt x="90396" y="105213"/>
                    <a:pt x="90396" y="105213"/>
                    <a:pt x="90396" y="105213"/>
                  </a:cubicBezTo>
                  <a:cubicBezTo>
                    <a:pt x="90396" y="105213"/>
                    <a:pt x="90396" y="105781"/>
                    <a:pt x="89867" y="106350"/>
                  </a:cubicBezTo>
                  <a:cubicBezTo>
                    <a:pt x="89339" y="106919"/>
                    <a:pt x="89339" y="106350"/>
                    <a:pt x="89339" y="106350"/>
                  </a:cubicBezTo>
                  <a:cubicBezTo>
                    <a:pt x="89339" y="105781"/>
                    <a:pt x="89339" y="105781"/>
                    <a:pt x="89339" y="105781"/>
                  </a:cubicBezTo>
                  <a:cubicBezTo>
                    <a:pt x="89867" y="105213"/>
                    <a:pt x="89867" y="105213"/>
                    <a:pt x="89867" y="105213"/>
                  </a:cubicBezTo>
                  <a:cubicBezTo>
                    <a:pt x="89867" y="105213"/>
                    <a:pt x="89867" y="103507"/>
                    <a:pt x="89867" y="102938"/>
                  </a:cubicBezTo>
                  <a:cubicBezTo>
                    <a:pt x="89867" y="102938"/>
                    <a:pt x="89867" y="102938"/>
                    <a:pt x="89867" y="102938"/>
                  </a:cubicBezTo>
                  <a:cubicBezTo>
                    <a:pt x="88281" y="101800"/>
                    <a:pt x="88281" y="101800"/>
                    <a:pt x="88281" y="101800"/>
                  </a:cubicBezTo>
                  <a:cubicBezTo>
                    <a:pt x="87224" y="100663"/>
                    <a:pt x="87224" y="100663"/>
                    <a:pt x="87224" y="100663"/>
                  </a:cubicBezTo>
                  <a:cubicBezTo>
                    <a:pt x="85638" y="99526"/>
                    <a:pt x="85638" y="99526"/>
                    <a:pt x="85638" y="99526"/>
                  </a:cubicBezTo>
                  <a:cubicBezTo>
                    <a:pt x="83524" y="97251"/>
                    <a:pt x="83524" y="97251"/>
                    <a:pt x="83524" y="97251"/>
                  </a:cubicBezTo>
                  <a:cubicBezTo>
                    <a:pt x="82466" y="96682"/>
                    <a:pt x="82466" y="96682"/>
                    <a:pt x="82466" y="96682"/>
                  </a:cubicBezTo>
                  <a:cubicBezTo>
                    <a:pt x="81409" y="95545"/>
                    <a:pt x="81409" y="95545"/>
                    <a:pt x="81409" y="95545"/>
                  </a:cubicBezTo>
                  <a:cubicBezTo>
                    <a:pt x="81409" y="94407"/>
                    <a:pt x="81409" y="94407"/>
                    <a:pt x="81409" y="94407"/>
                  </a:cubicBezTo>
                  <a:cubicBezTo>
                    <a:pt x="80881" y="92132"/>
                    <a:pt x="80881" y="92132"/>
                    <a:pt x="80881" y="92132"/>
                  </a:cubicBezTo>
                  <a:cubicBezTo>
                    <a:pt x="80881" y="92132"/>
                    <a:pt x="80881" y="92132"/>
                    <a:pt x="80881" y="92132"/>
                  </a:cubicBezTo>
                  <a:cubicBezTo>
                    <a:pt x="80881" y="92132"/>
                    <a:pt x="78766" y="91563"/>
                    <a:pt x="77709" y="90995"/>
                  </a:cubicBezTo>
                  <a:cubicBezTo>
                    <a:pt x="76651" y="90426"/>
                    <a:pt x="76651" y="90426"/>
                    <a:pt x="76651" y="90426"/>
                  </a:cubicBezTo>
                  <a:cubicBezTo>
                    <a:pt x="75594" y="88720"/>
                    <a:pt x="75594" y="88720"/>
                    <a:pt x="75594" y="88720"/>
                  </a:cubicBezTo>
                  <a:cubicBezTo>
                    <a:pt x="75066" y="88151"/>
                    <a:pt x="75066" y="88151"/>
                    <a:pt x="75066" y="88151"/>
                  </a:cubicBezTo>
                  <a:cubicBezTo>
                    <a:pt x="73480" y="86445"/>
                    <a:pt x="73480" y="86445"/>
                    <a:pt x="73480" y="86445"/>
                  </a:cubicBezTo>
                  <a:cubicBezTo>
                    <a:pt x="72951" y="86445"/>
                    <a:pt x="72951" y="86445"/>
                    <a:pt x="72951" y="86445"/>
                  </a:cubicBezTo>
                  <a:cubicBezTo>
                    <a:pt x="70308" y="85308"/>
                    <a:pt x="70308" y="85308"/>
                    <a:pt x="70308" y="85308"/>
                  </a:cubicBezTo>
                  <a:cubicBezTo>
                    <a:pt x="69779" y="84170"/>
                    <a:pt x="69779" y="84170"/>
                    <a:pt x="69779" y="84170"/>
                  </a:cubicBezTo>
                  <a:cubicBezTo>
                    <a:pt x="68722" y="83601"/>
                    <a:pt x="68722" y="83601"/>
                    <a:pt x="68722" y="83601"/>
                  </a:cubicBezTo>
                  <a:cubicBezTo>
                    <a:pt x="68193" y="82464"/>
                    <a:pt x="68193" y="82464"/>
                    <a:pt x="68193" y="82464"/>
                  </a:cubicBezTo>
                  <a:cubicBezTo>
                    <a:pt x="66607" y="81895"/>
                    <a:pt x="66607" y="81895"/>
                    <a:pt x="66607" y="81895"/>
                  </a:cubicBezTo>
                  <a:cubicBezTo>
                    <a:pt x="66079" y="80758"/>
                    <a:pt x="66079" y="80758"/>
                    <a:pt x="66079" y="80758"/>
                  </a:cubicBezTo>
                  <a:cubicBezTo>
                    <a:pt x="65550" y="80189"/>
                    <a:pt x="65550" y="80189"/>
                    <a:pt x="65550" y="80189"/>
                  </a:cubicBezTo>
                  <a:cubicBezTo>
                    <a:pt x="63964" y="77914"/>
                    <a:pt x="63964" y="77914"/>
                    <a:pt x="63964" y="77914"/>
                  </a:cubicBezTo>
                  <a:cubicBezTo>
                    <a:pt x="62378" y="76777"/>
                    <a:pt x="62378" y="76777"/>
                    <a:pt x="62378" y="76777"/>
                  </a:cubicBezTo>
                  <a:cubicBezTo>
                    <a:pt x="61850" y="76208"/>
                    <a:pt x="61850" y="76208"/>
                    <a:pt x="61850" y="76208"/>
                  </a:cubicBezTo>
                  <a:cubicBezTo>
                    <a:pt x="61321" y="75639"/>
                    <a:pt x="61321" y="75639"/>
                    <a:pt x="61321" y="75639"/>
                  </a:cubicBezTo>
                  <a:cubicBezTo>
                    <a:pt x="60264" y="73933"/>
                    <a:pt x="60264" y="73933"/>
                    <a:pt x="60264" y="73933"/>
                  </a:cubicBezTo>
                  <a:cubicBezTo>
                    <a:pt x="58678" y="72227"/>
                    <a:pt x="58678" y="72227"/>
                    <a:pt x="58678" y="72227"/>
                  </a:cubicBezTo>
                  <a:cubicBezTo>
                    <a:pt x="57621" y="71090"/>
                    <a:pt x="57621" y="71090"/>
                    <a:pt x="57621" y="71090"/>
                  </a:cubicBezTo>
                  <a:cubicBezTo>
                    <a:pt x="56563" y="69383"/>
                    <a:pt x="56563" y="69383"/>
                    <a:pt x="56563" y="69383"/>
                  </a:cubicBezTo>
                  <a:cubicBezTo>
                    <a:pt x="57621" y="68246"/>
                    <a:pt x="57621" y="68246"/>
                    <a:pt x="57621" y="68246"/>
                  </a:cubicBezTo>
                  <a:cubicBezTo>
                    <a:pt x="57092" y="67677"/>
                    <a:pt x="56563" y="67677"/>
                    <a:pt x="56563" y="67109"/>
                  </a:cubicBezTo>
                  <a:cubicBezTo>
                    <a:pt x="56035" y="67109"/>
                    <a:pt x="54977" y="66540"/>
                    <a:pt x="55506" y="65971"/>
                  </a:cubicBezTo>
                  <a:cubicBezTo>
                    <a:pt x="55506" y="65402"/>
                    <a:pt x="54977" y="64834"/>
                    <a:pt x="54977" y="63696"/>
                  </a:cubicBezTo>
                  <a:cubicBezTo>
                    <a:pt x="54977" y="63127"/>
                    <a:pt x="54977" y="62559"/>
                    <a:pt x="54449" y="62559"/>
                  </a:cubicBezTo>
                  <a:cubicBezTo>
                    <a:pt x="53920" y="61990"/>
                    <a:pt x="53920" y="61990"/>
                    <a:pt x="53920" y="61990"/>
                  </a:cubicBezTo>
                  <a:cubicBezTo>
                    <a:pt x="53392" y="61990"/>
                    <a:pt x="52863" y="61990"/>
                    <a:pt x="52863" y="61990"/>
                  </a:cubicBezTo>
                  <a:cubicBezTo>
                    <a:pt x="52334" y="61990"/>
                    <a:pt x="52334" y="61990"/>
                    <a:pt x="52334" y="61990"/>
                  </a:cubicBezTo>
                  <a:cubicBezTo>
                    <a:pt x="52334" y="61990"/>
                    <a:pt x="52863" y="60853"/>
                    <a:pt x="52863" y="59715"/>
                  </a:cubicBezTo>
                  <a:cubicBezTo>
                    <a:pt x="50748" y="59146"/>
                    <a:pt x="50748" y="59146"/>
                    <a:pt x="50748" y="59146"/>
                  </a:cubicBezTo>
                  <a:cubicBezTo>
                    <a:pt x="50748" y="59146"/>
                    <a:pt x="50748" y="57440"/>
                    <a:pt x="49691" y="56872"/>
                  </a:cubicBezTo>
                  <a:cubicBezTo>
                    <a:pt x="48634" y="56872"/>
                    <a:pt x="48634" y="56872"/>
                    <a:pt x="48634" y="56872"/>
                  </a:cubicBezTo>
                  <a:cubicBezTo>
                    <a:pt x="48105" y="57440"/>
                    <a:pt x="48105" y="58009"/>
                    <a:pt x="48105" y="58009"/>
                  </a:cubicBezTo>
                  <a:cubicBezTo>
                    <a:pt x="45991" y="55734"/>
                    <a:pt x="45991" y="55734"/>
                    <a:pt x="45991" y="55734"/>
                  </a:cubicBezTo>
                  <a:cubicBezTo>
                    <a:pt x="45991" y="55734"/>
                    <a:pt x="45991" y="55165"/>
                    <a:pt x="46519" y="54028"/>
                  </a:cubicBezTo>
                  <a:cubicBezTo>
                    <a:pt x="47577" y="52890"/>
                    <a:pt x="46519" y="52322"/>
                    <a:pt x="46519" y="52322"/>
                  </a:cubicBezTo>
                  <a:cubicBezTo>
                    <a:pt x="45991" y="50616"/>
                    <a:pt x="45991" y="50616"/>
                    <a:pt x="45991" y="50616"/>
                  </a:cubicBezTo>
                  <a:cubicBezTo>
                    <a:pt x="46519" y="49478"/>
                    <a:pt x="46519" y="49478"/>
                    <a:pt x="46519" y="49478"/>
                  </a:cubicBezTo>
                  <a:cubicBezTo>
                    <a:pt x="45991" y="48909"/>
                    <a:pt x="45991" y="48909"/>
                    <a:pt x="45991" y="48909"/>
                  </a:cubicBezTo>
                  <a:cubicBezTo>
                    <a:pt x="45462" y="48341"/>
                    <a:pt x="45462" y="48341"/>
                    <a:pt x="45462" y="48341"/>
                  </a:cubicBezTo>
                  <a:cubicBezTo>
                    <a:pt x="45462" y="48341"/>
                    <a:pt x="45462" y="48341"/>
                    <a:pt x="45462" y="48341"/>
                  </a:cubicBezTo>
                  <a:cubicBezTo>
                    <a:pt x="45462" y="48341"/>
                    <a:pt x="45462" y="48341"/>
                    <a:pt x="45462" y="48341"/>
                  </a:cubicBezTo>
                  <a:cubicBezTo>
                    <a:pt x="46519" y="46066"/>
                    <a:pt x="46519" y="46066"/>
                    <a:pt x="46519" y="46066"/>
                  </a:cubicBezTo>
                  <a:cubicBezTo>
                    <a:pt x="46519" y="46066"/>
                    <a:pt x="45991" y="43791"/>
                    <a:pt x="46519" y="43222"/>
                  </a:cubicBezTo>
                  <a:cubicBezTo>
                    <a:pt x="46519" y="43222"/>
                    <a:pt x="46519" y="43222"/>
                    <a:pt x="46519" y="43222"/>
                  </a:cubicBezTo>
                  <a:cubicBezTo>
                    <a:pt x="46519" y="42654"/>
                    <a:pt x="46519" y="42654"/>
                    <a:pt x="47048" y="42654"/>
                  </a:cubicBezTo>
                  <a:cubicBezTo>
                    <a:pt x="47048" y="42085"/>
                    <a:pt x="49691" y="41516"/>
                    <a:pt x="49691" y="41516"/>
                  </a:cubicBezTo>
                  <a:cubicBezTo>
                    <a:pt x="50748" y="40947"/>
                    <a:pt x="50748" y="40947"/>
                    <a:pt x="50748" y="40947"/>
                  </a:cubicBezTo>
                  <a:cubicBezTo>
                    <a:pt x="52863" y="43791"/>
                    <a:pt x="52863" y="43791"/>
                    <a:pt x="52863" y="43791"/>
                  </a:cubicBezTo>
                  <a:cubicBezTo>
                    <a:pt x="54977" y="46066"/>
                    <a:pt x="54977" y="46066"/>
                    <a:pt x="54977" y="46066"/>
                  </a:cubicBezTo>
                  <a:cubicBezTo>
                    <a:pt x="56563" y="47203"/>
                    <a:pt x="56563" y="47203"/>
                    <a:pt x="56563" y="47203"/>
                  </a:cubicBezTo>
                  <a:cubicBezTo>
                    <a:pt x="56563" y="47203"/>
                    <a:pt x="57092" y="46635"/>
                    <a:pt x="57621" y="46635"/>
                  </a:cubicBezTo>
                  <a:cubicBezTo>
                    <a:pt x="57621" y="46066"/>
                    <a:pt x="57621" y="44928"/>
                    <a:pt x="57621" y="44928"/>
                  </a:cubicBezTo>
                  <a:cubicBezTo>
                    <a:pt x="58678" y="43791"/>
                    <a:pt x="58678" y="43791"/>
                    <a:pt x="58678" y="43791"/>
                  </a:cubicBezTo>
                  <a:cubicBezTo>
                    <a:pt x="59207" y="42654"/>
                    <a:pt x="59207" y="42654"/>
                    <a:pt x="59207" y="42654"/>
                  </a:cubicBezTo>
                  <a:cubicBezTo>
                    <a:pt x="59207" y="41516"/>
                    <a:pt x="59207" y="41516"/>
                    <a:pt x="59207" y="41516"/>
                  </a:cubicBezTo>
                  <a:cubicBezTo>
                    <a:pt x="60264" y="40947"/>
                    <a:pt x="60264" y="40947"/>
                    <a:pt x="60264" y="40947"/>
                  </a:cubicBezTo>
                  <a:cubicBezTo>
                    <a:pt x="61850" y="40379"/>
                    <a:pt x="61850" y="40379"/>
                    <a:pt x="61850" y="40379"/>
                  </a:cubicBezTo>
                  <a:cubicBezTo>
                    <a:pt x="63964" y="39810"/>
                    <a:pt x="63964" y="39810"/>
                    <a:pt x="63964" y="39810"/>
                  </a:cubicBezTo>
                  <a:cubicBezTo>
                    <a:pt x="63964" y="39810"/>
                    <a:pt x="65550" y="40379"/>
                    <a:pt x="66079" y="40379"/>
                  </a:cubicBezTo>
                  <a:cubicBezTo>
                    <a:pt x="66079" y="40379"/>
                    <a:pt x="66607" y="40379"/>
                    <a:pt x="66607" y="40379"/>
                  </a:cubicBezTo>
                  <a:cubicBezTo>
                    <a:pt x="67665" y="38672"/>
                    <a:pt x="67665" y="38672"/>
                    <a:pt x="67665" y="38672"/>
                  </a:cubicBezTo>
                  <a:cubicBezTo>
                    <a:pt x="67665" y="38672"/>
                    <a:pt x="67665" y="38672"/>
                    <a:pt x="67665" y="38672"/>
                  </a:cubicBezTo>
                  <a:cubicBezTo>
                    <a:pt x="68193" y="37535"/>
                    <a:pt x="68193" y="37535"/>
                    <a:pt x="68193" y="37535"/>
                  </a:cubicBezTo>
                  <a:cubicBezTo>
                    <a:pt x="70837" y="38672"/>
                    <a:pt x="70837" y="38672"/>
                    <a:pt x="70837" y="38672"/>
                  </a:cubicBezTo>
                  <a:cubicBezTo>
                    <a:pt x="71894" y="39810"/>
                    <a:pt x="71894" y="39810"/>
                    <a:pt x="71894" y="39810"/>
                  </a:cubicBezTo>
                  <a:cubicBezTo>
                    <a:pt x="74537" y="40379"/>
                    <a:pt x="74537" y="40379"/>
                    <a:pt x="74537" y="40379"/>
                  </a:cubicBezTo>
                  <a:cubicBezTo>
                    <a:pt x="74537" y="40379"/>
                    <a:pt x="74537" y="40379"/>
                    <a:pt x="74537" y="40379"/>
                  </a:cubicBezTo>
                  <a:cubicBezTo>
                    <a:pt x="75594" y="40379"/>
                    <a:pt x="75594" y="40379"/>
                    <a:pt x="75594" y="40379"/>
                  </a:cubicBezTo>
                  <a:cubicBezTo>
                    <a:pt x="75594" y="39810"/>
                    <a:pt x="75594" y="39810"/>
                    <a:pt x="75594" y="39810"/>
                  </a:cubicBezTo>
                  <a:cubicBezTo>
                    <a:pt x="77709" y="39810"/>
                    <a:pt x="77709" y="39810"/>
                    <a:pt x="77709" y="39810"/>
                  </a:cubicBezTo>
                  <a:cubicBezTo>
                    <a:pt x="80352" y="40379"/>
                    <a:pt x="80352" y="40379"/>
                    <a:pt x="80352" y="40379"/>
                  </a:cubicBezTo>
                  <a:cubicBezTo>
                    <a:pt x="81938" y="40379"/>
                    <a:pt x="81938" y="40379"/>
                    <a:pt x="81938" y="40379"/>
                  </a:cubicBezTo>
                  <a:cubicBezTo>
                    <a:pt x="84581" y="40379"/>
                    <a:pt x="84581" y="40379"/>
                    <a:pt x="84581" y="40379"/>
                  </a:cubicBezTo>
                  <a:cubicBezTo>
                    <a:pt x="86167" y="40947"/>
                    <a:pt x="86167" y="40947"/>
                    <a:pt x="86167" y="40947"/>
                  </a:cubicBezTo>
                  <a:cubicBezTo>
                    <a:pt x="87224" y="41516"/>
                    <a:pt x="87224" y="41516"/>
                    <a:pt x="87224" y="41516"/>
                  </a:cubicBezTo>
                  <a:cubicBezTo>
                    <a:pt x="87224" y="41516"/>
                    <a:pt x="87224" y="41516"/>
                    <a:pt x="87753" y="40947"/>
                  </a:cubicBezTo>
                  <a:cubicBezTo>
                    <a:pt x="87753" y="40947"/>
                    <a:pt x="89339" y="40947"/>
                    <a:pt x="89339" y="40947"/>
                  </a:cubicBezTo>
                  <a:cubicBezTo>
                    <a:pt x="89867" y="39241"/>
                    <a:pt x="89867" y="39241"/>
                    <a:pt x="89867" y="39241"/>
                  </a:cubicBezTo>
                  <a:cubicBezTo>
                    <a:pt x="90396" y="40379"/>
                    <a:pt x="90396" y="40379"/>
                    <a:pt x="90396" y="40379"/>
                  </a:cubicBezTo>
                  <a:cubicBezTo>
                    <a:pt x="90925" y="40379"/>
                    <a:pt x="91982" y="40379"/>
                    <a:pt x="91982" y="40379"/>
                  </a:cubicBezTo>
                  <a:cubicBezTo>
                    <a:pt x="92511" y="38672"/>
                    <a:pt x="92511" y="38672"/>
                    <a:pt x="92511" y="38672"/>
                  </a:cubicBezTo>
                  <a:cubicBezTo>
                    <a:pt x="93039" y="39241"/>
                    <a:pt x="93039" y="39241"/>
                    <a:pt x="93039" y="39241"/>
                  </a:cubicBezTo>
                  <a:cubicBezTo>
                    <a:pt x="93568" y="39241"/>
                    <a:pt x="93568" y="39241"/>
                    <a:pt x="94096" y="39241"/>
                  </a:cubicBezTo>
                  <a:cubicBezTo>
                    <a:pt x="94625" y="39241"/>
                    <a:pt x="95154" y="38672"/>
                    <a:pt x="95154" y="38672"/>
                  </a:cubicBezTo>
                  <a:cubicBezTo>
                    <a:pt x="95154" y="38672"/>
                    <a:pt x="95682" y="39241"/>
                    <a:pt x="95682" y="39241"/>
                  </a:cubicBezTo>
                  <a:cubicBezTo>
                    <a:pt x="95682" y="39241"/>
                    <a:pt x="96211" y="38672"/>
                    <a:pt x="96740" y="38672"/>
                  </a:cubicBezTo>
                  <a:cubicBezTo>
                    <a:pt x="97797" y="38672"/>
                    <a:pt x="98325" y="38104"/>
                    <a:pt x="98325" y="38104"/>
                  </a:cubicBezTo>
                  <a:cubicBezTo>
                    <a:pt x="98325" y="38104"/>
                    <a:pt x="98854" y="39241"/>
                    <a:pt x="99911" y="39810"/>
                  </a:cubicBezTo>
                  <a:cubicBezTo>
                    <a:pt x="99911" y="39810"/>
                    <a:pt x="99911" y="39810"/>
                    <a:pt x="99911" y="39810"/>
                  </a:cubicBezTo>
                  <a:cubicBezTo>
                    <a:pt x="100969" y="39810"/>
                    <a:pt x="100969" y="39810"/>
                    <a:pt x="100969" y="39810"/>
                  </a:cubicBezTo>
                  <a:cubicBezTo>
                    <a:pt x="100969" y="39810"/>
                    <a:pt x="100969" y="39810"/>
                    <a:pt x="100969" y="39810"/>
                  </a:cubicBezTo>
                  <a:cubicBezTo>
                    <a:pt x="100969" y="39810"/>
                    <a:pt x="101497" y="39241"/>
                    <a:pt x="102026" y="39241"/>
                  </a:cubicBezTo>
                  <a:cubicBezTo>
                    <a:pt x="103083" y="39241"/>
                    <a:pt x="103612" y="39241"/>
                    <a:pt x="104140" y="39241"/>
                  </a:cubicBezTo>
                  <a:cubicBezTo>
                    <a:pt x="105198" y="39241"/>
                    <a:pt x="105726" y="40379"/>
                    <a:pt x="105726" y="40379"/>
                  </a:cubicBezTo>
                  <a:cubicBezTo>
                    <a:pt x="107312" y="42085"/>
                    <a:pt x="107312" y="42085"/>
                    <a:pt x="107312" y="42085"/>
                  </a:cubicBezTo>
                  <a:cubicBezTo>
                    <a:pt x="107312" y="42085"/>
                    <a:pt x="107841" y="43222"/>
                    <a:pt x="107841" y="43791"/>
                  </a:cubicBezTo>
                  <a:cubicBezTo>
                    <a:pt x="108370" y="44360"/>
                    <a:pt x="108370" y="44928"/>
                    <a:pt x="108370" y="44928"/>
                  </a:cubicBezTo>
                  <a:cubicBezTo>
                    <a:pt x="108370" y="44928"/>
                    <a:pt x="112599" y="46635"/>
                    <a:pt x="113127" y="46635"/>
                  </a:cubicBezTo>
                  <a:cubicBezTo>
                    <a:pt x="113127" y="46635"/>
                    <a:pt x="113656" y="46635"/>
                    <a:pt x="113656" y="46635"/>
                  </a:cubicBezTo>
                  <a:close/>
                  <a:moveTo>
                    <a:pt x="92511" y="108625"/>
                  </a:moveTo>
                  <a:cubicBezTo>
                    <a:pt x="92511" y="108625"/>
                    <a:pt x="92511" y="108625"/>
                    <a:pt x="92511" y="108625"/>
                  </a:cubicBezTo>
                  <a:cubicBezTo>
                    <a:pt x="93039" y="108625"/>
                    <a:pt x="93039" y="108056"/>
                    <a:pt x="93039" y="108056"/>
                  </a:cubicBezTo>
                  <a:cubicBezTo>
                    <a:pt x="94625" y="108056"/>
                    <a:pt x="94625" y="108056"/>
                    <a:pt x="94625" y="108056"/>
                  </a:cubicBezTo>
                  <a:cubicBezTo>
                    <a:pt x="94625" y="108056"/>
                    <a:pt x="94625" y="108056"/>
                    <a:pt x="94625" y="108056"/>
                  </a:cubicBezTo>
                  <a:cubicBezTo>
                    <a:pt x="96211" y="108625"/>
                    <a:pt x="96211" y="108625"/>
                    <a:pt x="96211" y="108625"/>
                  </a:cubicBezTo>
                  <a:cubicBezTo>
                    <a:pt x="97268" y="109763"/>
                    <a:pt x="97268" y="109763"/>
                    <a:pt x="97268" y="109763"/>
                  </a:cubicBezTo>
                  <a:cubicBezTo>
                    <a:pt x="97797" y="110900"/>
                    <a:pt x="97797" y="110900"/>
                    <a:pt x="97797" y="110900"/>
                  </a:cubicBezTo>
                  <a:cubicBezTo>
                    <a:pt x="98854" y="112037"/>
                    <a:pt x="98854" y="112037"/>
                    <a:pt x="98854" y="112037"/>
                  </a:cubicBezTo>
                  <a:cubicBezTo>
                    <a:pt x="101497" y="113744"/>
                    <a:pt x="101497" y="113744"/>
                    <a:pt x="101497" y="113744"/>
                  </a:cubicBezTo>
                  <a:cubicBezTo>
                    <a:pt x="104669" y="115450"/>
                    <a:pt x="104669" y="115450"/>
                    <a:pt x="104669" y="115450"/>
                  </a:cubicBezTo>
                  <a:cubicBezTo>
                    <a:pt x="104669" y="115450"/>
                    <a:pt x="106784" y="116587"/>
                    <a:pt x="107312" y="116587"/>
                  </a:cubicBezTo>
                  <a:cubicBezTo>
                    <a:pt x="107312" y="116587"/>
                    <a:pt x="107312" y="117156"/>
                    <a:pt x="107841" y="117156"/>
                  </a:cubicBezTo>
                  <a:cubicBezTo>
                    <a:pt x="107841" y="117725"/>
                    <a:pt x="108898" y="119431"/>
                    <a:pt x="108898" y="119431"/>
                  </a:cubicBezTo>
                  <a:cubicBezTo>
                    <a:pt x="109427" y="120000"/>
                    <a:pt x="107841" y="118862"/>
                    <a:pt x="107841" y="118862"/>
                  </a:cubicBezTo>
                  <a:cubicBezTo>
                    <a:pt x="107841" y="118862"/>
                    <a:pt x="107312" y="117725"/>
                    <a:pt x="106784" y="117156"/>
                  </a:cubicBezTo>
                  <a:cubicBezTo>
                    <a:pt x="105726" y="117156"/>
                    <a:pt x="104669" y="117156"/>
                    <a:pt x="104140" y="116587"/>
                  </a:cubicBezTo>
                  <a:cubicBezTo>
                    <a:pt x="103612" y="116018"/>
                    <a:pt x="103612" y="115450"/>
                    <a:pt x="103612" y="115450"/>
                  </a:cubicBezTo>
                  <a:cubicBezTo>
                    <a:pt x="103083" y="115450"/>
                    <a:pt x="103083" y="114312"/>
                    <a:pt x="101497" y="114312"/>
                  </a:cubicBezTo>
                  <a:cubicBezTo>
                    <a:pt x="99911" y="113744"/>
                    <a:pt x="99911" y="114312"/>
                    <a:pt x="99383" y="113175"/>
                  </a:cubicBezTo>
                  <a:cubicBezTo>
                    <a:pt x="98854" y="111469"/>
                    <a:pt x="98854" y="112606"/>
                    <a:pt x="98325" y="111469"/>
                  </a:cubicBezTo>
                  <a:cubicBezTo>
                    <a:pt x="97268" y="110900"/>
                    <a:pt x="97797" y="111469"/>
                    <a:pt x="95682" y="110900"/>
                  </a:cubicBezTo>
                  <a:cubicBezTo>
                    <a:pt x="94096" y="109763"/>
                    <a:pt x="95154" y="110331"/>
                    <a:pt x="95154" y="109763"/>
                  </a:cubicBezTo>
                  <a:cubicBezTo>
                    <a:pt x="94625" y="108625"/>
                    <a:pt x="95154" y="109194"/>
                    <a:pt x="94096" y="109194"/>
                  </a:cubicBezTo>
                  <a:cubicBezTo>
                    <a:pt x="93568" y="108625"/>
                    <a:pt x="94096" y="108625"/>
                    <a:pt x="93568" y="108625"/>
                  </a:cubicBezTo>
                  <a:cubicBezTo>
                    <a:pt x="93568" y="108625"/>
                    <a:pt x="93039" y="109194"/>
                    <a:pt x="92511" y="109194"/>
                  </a:cubicBezTo>
                  <a:cubicBezTo>
                    <a:pt x="92511" y="108625"/>
                    <a:pt x="92511" y="108625"/>
                    <a:pt x="92511" y="108625"/>
                  </a:cubicBezTo>
                  <a:close/>
                  <a:moveTo>
                    <a:pt x="89339" y="112606"/>
                  </a:moveTo>
                  <a:cubicBezTo>
                    <a:pt x="89339" y="112606"/>
                    <a:pt x="89339" y="112606"/>
                    <a:pt x="89339" y="112606"/>
                  </a:cubicBezTo>
                  <a:cubicBezTo>
                    <a:pt x="89339" y="112606"/>
                    <a:pt x="88281" y="112606"/>
                    <a:pt x="87753" y="112606"/>
                  </a:cubicBezTo>
                  <a:cubicBezTo>
                    <a:pt x="87753" y="112606"/>
                    <a:pt x="87224" y="112037"/>
                    <a:pt x="86696" y="112037"/>
                  </a:cubicBezTo>
                  <a:cubicBezTo>
                    <a:pt x="86167" y="112037"/>
                    <a:pt x="85110" y="112037"/>
                    <a:pt x="85110" y="112037"/>
                  </a:cubicBezTo>
                  <a:cubicBezTo>
                    <a:pt x="84581" y="112037"/>
                    <a:pt x="84052" y="111469"/>
                    <a:pt x="84052" y="111469"/>
                  </a:cubicBezTo>
                  <a:cubicBezTo>
                    <a:pt x="84052" y="111469"/>
                    <a:pt x="84052" y="110900"/>
                    <a:pt x="84052" y="110900"/>
                  </a:cubicBezTo>
                  <a:cubicBezTo>
                    <a:pt x="84052" y="110900"/>
                    <a:pt x="85110" y="110331"/>
                    <a:pt x="85110" y="110331"/>
                  </a:cubicBezTo>
                  <a:cubicBezTo>
                    <a:pt x="85110" y="110900"/>
                    <a:pt x="88281" y="111469"/>
                    <a:pt x="88281" y="111469"/>
                  </a:cubicBezTo>
                  <a:cubicBezTo>
                    <a:pt x="90396" y="111469"/>
                    <a:pt x="90396" y="111469"/>
                    <a:pt x="90396" y="111469"/>
                  </a:cubicBezTo>
                  <a:cubicBezTo>
                    <a:pt x="90396" y="111469"/>
                    <a:pt x="90925" y="111469"/>
                    <a:pt x="90925" y="111469"/>
                  </a:cubicBezTo>
                  <a:cubicBezTo>
                    <a:pt x="90925" y="111469"/>
                    <a:pt x="91453" y="111469"/>
                    <a:pt x="91982" y="112037"/>
                  </a:cubicBezTo>
                  <a:cubicBezTo>
                    <a:pt x="92511" y="112037"/>
                    <a:pt x="92511" y="112037"/>
                    <a:pt x="92511" y="112606"/>
                  </a:cubicBezTo>
                  <a:cubicBezTo>
                    <a:pt x="92511" y="112606"/>
                    <a:pt x="93039" y="113175"/>
                    <a:pt x="92511" y="113175"/>
                  </a:cubicBezTo>
                  <a:cubicBezTo>
                    <a:pt x="92511" y="113175"/>
                    <a:pt x="91982" y="113175"/>
                    <a:pt x="91982" y="113175"/>
                  </a:cubicBezTo>
                  <a:cubicBezTo>
                    <a:pt x="91982" y="113175"/>
                    <a:pt x="90925" y="112606"/>
                    <a:pt x="90925" y="112606"/>
                  </a:cubicBezTo>
                  <a:cubicBezTo>
                    <a:pt x="89867" y="112606"/>
                    <a:pt x="89867" y="112606"/>
                    <a:pt x="89867" y="112606"/>
                  </a:cubicBezTo>
                  <a:cubicBezTo>
                    <a:pt x="89339" y="112606"/>
                    <a:pt x="89339" y="112606"/>
                    <a:pt x="89339" y="112606"/>
                  </a:cubicBezTo>
                  <a:close/>
                  <a:moveTo>
                    <a:pt x="72951" y="113175"/>
                  </a:moveTo>
                  <a:cubicBezTo>
                    <a:pt x="72951" y="113175"/>
                    <a:pt x="72951" y="113175"/>
                    <a:pt x="72951" y="113175"/>
                  </a:cubicBezTo>
                  <a:cubicBezTo>
                    <a:pt x="72951" y="113175"/>
                    <a:pt x="75066" y="112606"/>
                    <a:pt x="75066" y="112606"/>
                  </a:cubicBezTo>
                  <a:cubicBezTo>
                    <a:pt x="76123" y="113175"/>
                    <a:pt x="76123" y="113175"/>
                    <a:pt x="76123" y="113175"/>
                  </a:cubicBezTo>
                  <a:cubicBezTo>
                    <a:pt x="76123" y="113175"/>
                    <a:pt x="76123" y="113744"/>
                    <a:pt x="75594" y="113744"/>
                  </a:cubicBezTo>
                  <a:cubicBezTo>
                    <a:pt x="75594" y="113744"/>
                    <a:pt x="74537" y="114881"/>
                    <a:pt x="74537" y="114881"/>
                  </a:cubicBezTo>
                  <a:cubicBezTo>
                    <a:pt x="72951" y="113744"/>
                    <a:pt x="72951" y="113744"/>
                    <a:pt x="72951" y="113744"/>
                  </a:cubicBezTo>
                  <a:cubicBezTo>
                    <a:pt x="72951" y="113175"/>
                    <a:pt x="72951" y="113175"/>
                    <a:pt x="72951" y="113175"/>
                  </a:cubicBezTo>
                  <a:close/>
                  <a:moveTo>
                    <a:pt x="56563" y="110331"/>
                  </a:moveTo>
                  <a:cubicBezTo>
                    <a:pt x="56563" y="110331"/>
                    <a:pt x="56563" y="110331"/>
                    <a:pt x="56563" y="110331"/>
                  </a:cubicBezTo>
                  <a:cubicBezTo>
                    <a:pt x="57092" y="110331"/>
                    <a:pt x="57621" y="109763"/>
                    <a:pt x="57621" y="110331"/>
                  </a:cubicBezTo>
                  <a:cubicBezTo>
                    <a:pt x="57621" y="110900"/>
                    <a:pt x="57092" y="111469"/>
                    <a:pt x="57092" y="111469"/>
                  </a:cubicBezTo>
                  <a:cubicBezTo>
                    <a:pt x="57092" y="111469"/>
                    <a:pt x="56563" y="111469"/>
                    <a:pt x="56563" y="111469"/>
                  </a:cubicBezTo>
                  <a:cubicBezTo>
                    <a:pt x="56563" y="110900"/>
                    <a:pt x="56563" y="110331"/>
                    <a:pt x="56563" y="110331"/>
                  </a:cubicBezTo>
                  <a:close/>
                  <a:moveTo>
                    <a:pt x="59735" y="107488"/>
                  </a:moveTo>
                  <a:cubicBezTo>
                    <a:pt x="59735" y="107488"/>
                    <a:pt x="59735" y="107488"/>
                    <a:pt x="59735" y="107488"/>
                  </a:cubicBezTo>
                  <a:cubicBezTo>
                    <a:pt x="59735" y="107488"/>
                    <a:pt x="60792" y="106919"/>
                    <a:pt x="60792" y="106919"/>
                  </a:cubicBezTo>
                  <a:cubicBezTo>
                    <a:pt x="61321" y="107488"/>
                    <a:pt x="61850" y="107488"/>
                    <a:pt x="61321" y="108056"/>
                  </a:cubicBezTo>
                  <a:cubicBezTo>
                    <a:pt x="61321" y="108056"/>
                    <a:pt x="61321" y="108056"/>
                    <a:pt x="60792" y="108625"/>
                  </a:cubicBezTo>
                  <a:cubicBezTo>
                    <a:pt x="60264" y="109194"/>
                    <a:pt x="59207" y="109763"/>
                    <a:pt x="59207" y="109763"/>
                  </a:cubicBezTo>
                  <a:cubicBezTo>
                    <a:pt x="59207" y="109763"/>
                    <a:pt x="59207" y="109763"/>
                    <a:pt x="58678" y="109763"/>
                  </a:cubicBezTo>
                  <a:cubicBezTo>
                    <a:pt x="57621" y="109194"/>
                    <a:pt x="57092" y="108625"/>
                    <a:pt x="57092" y="108625"/>
                  </a:cubicBezTo>
                  <a:cubicBezTo>
                    <a:pt x="57092" y="108625"/>
                    <a:pt x="56563" y="108056"/>
                    <a:pt x="57621" y="108056"/>
                  </a:cubicBezTo>
                  <a:cubicBezTo>
                    <a:pt x="58149" y="107488"/>
                    <a:pt x="58678" y="107488"/>
                    <a:pt x="58678" y="107488"/>
                  </a:cubicBezTo>
                  <a:cubicBezTo>
                    <a:pt x="59207" y="107488"/>
                    <a:pt x="59735" y="107488"/>
                    <a:pt x="59735" y="107488"/>
                  </a:cubicBezTo>
                  <a:close/>
                  <a:moveTo>
                    <a:pt x="65550" y="101232"/>
                  </a:moveTo>
                  <a:cubicBezTo>
                    <a:pt x="65550" y="101232"/>
                    <a:pt x="65550" y="101232"/>
                    <a:pt x="65550" y="101232"/>
                  </a:cubicBezTo>
                  <a:cubicBezTo>
                    <a:pt x="65550" y="101232"/>
                    <a:pt x="66607" y="100663"/>
                    <a:pt x="66607" y="100663"/>
                  </a:cubicBezTo>
                  <a:cubicBezTo>
                    <a:pt x="66607" y="100663"/>
                    <a:pt x="66607" y="100663"/>
                    <a:pt x="67136" y="100663"/>
                  </a:cubicBezTo>
                  <a:cubicBezTo>
                    <a:pt x="67136" y="100663"/>
                    <a:pt x="67136" y="100663"/>
                    <a:pt x="67665" y="100663"/>
                  </a:cubicBezTo>
                  <a:cubicBezTo>
                    <a:pt x="67665" y="100663"/>
                    <a:pt x="68193" y="100094"/>
                    <a:pt x="68722" y="100663"/>
                  </a:cubicBezTo>
                  <a:cubicBezTo>
                    <a:pt x="69251" y="100663"/>
                    <a:pt x="69251" y="101232"/>
                    <a:pt x="69779" y="101232"/>
                  </a:cubicBezTo>
                  <a:cubicBezTo>
                    <a:pt x="69779" y="101232"/>
                    <a:pt x="70308" y="101232"/>
                    <a:pt x="70308" y="101232"/>
                  </a:cubicBezTo>
                  <a:cubicBezTo>
                    <a:pt x="70837" y="101232"/>
                    <a:pt x="70837" y="101232"/>
                    <a:pt x="71894" y="101232"/>
                  </a:cubicBezTo>
                  <a:cubicBezTo>
                    <a:pt x="72951" y="101232"/>
                    <a:pt x="74537" y="101232"/>
                    <a:pt x="74537" y="101232"/>
                  </a:cubicBezTo>
                  <a:cubicBezTo>
                    <a:pt x="74537" y="101800"/>
                    <a:pt x="75066" y="101232"/>
                    <a:pt x="75594" y="101232"/>
                  </a:cubicBezTo>
                  <a:cubicBezTo>
                    <a:pt x="76651" y="101800"/>
                    <a:pt x="76651" y="101800"/>
                    <a:pt x="76651" y="101800"/>
                  </a:cubicBezTo>
                  <a:cubicBezTo>
                    <a:pt x="77180" y="101800"/>
                    <a:pt x="76651" y="102369"/>
                    <a:pt x="77709" y="101800"/>
                  </a:cubicBezTo>
                  <a:cubicBezTo>
                    <a:pt x="78237" y="101800"/>
                    <a:pt x="78237" y="101800"/>
                    <a:pt x="78237" y="101800"/>
                  </a:cubicBezTo>
                  <a:cubicBezTo>
                    <a:pt x="78237" y="101800"/>
                    <a:pt x="78237" y="101800"/>
                    <a:pt x="78766" y="101232"/>
                  </a:cubicBezTo>
                  <a:cubicBezTo>
                    <a:pt x="79295" y="101232"/>
                    <a:pt x="79823" y="100663"/>
                    <a:pt x="79823" y="100663"/>
                  </a:cubicBezTo>
                  <a:cubicBezTo>
                    <a:pt x="80352" y="100663"/>
                    <a:pt x="80352" y="100663"/>
                    <a:pt x="80352" y="100663"/>
                  </a:cubicBezTo>
                  <a:cubicBezTo>
                    <a:pt x="80352" y="102369"/>
                    <a:pt x="80352" y="102369"/>
                    <a:pt x="80352" y="102369"/>
                  </a:cubicBezTo>
                  <a:cubicBezTo>
                    <a:pt x="80352" y="102369"/>
                    <a:pt x="80352" y="102369"/>
                    <a:pt x="80352" y="102938"/>
                  </a:cubicBezTo>
                  <a:cubicBezTo>
                    <a:pt x="80352" y="102938"/>
                    <a:pt x="79823" y="103507"/>
                    <a:pt x="79295" y="103507"/>
                  </a:cubicBezTo>
                  <a:cubicBezTo>
                    <a:pt x="79295" y="103507"/>
                    <a:pt x="78766" y="102938"/>
                    <a:pt x="78766" y="102938"/>
                  </a:cubicBezTo>
                  <a:cubicBezTo>
                    <a:pt x="78766" y="102369"/>
                    <a:pt x="78237" y="102369"/>
                    <a:pt x="78237" y="102369"/>
                  </a:cubicBezTo>
                  <a:cubicBezTo>
                    <a:pt x="77709" y="102369"/>
                    <a:pt x="77180" y="102938"/>
                    <a:pt x="76651" y="102938"/>
                  </a:cubicBezTo>
                  <a:cubicBezTo>
                    <a:pt x="76651" y="102938"/>
                    <a:pt x="76123" y="102369"/>
                    <a:pt x="76123" y="102369"/>
                  </a:cubicBezTo>
                  <a:cubicBezTo>
                    <a:pt x="76123" y="102369"/>
                    <a:pt x="75066" y="102369"/>
                    <a:pt x="74537" y="102369"/>
                  </a:cubicBezTo>
                  <a:cubicBezTo>
                    <a:pt x="74537" y="102369"/>
                    <a:pt x="74008" y="102369"/>
                    <a:pt x="73480" y="102369"/>
                  </a:cubicBezTo>
                  <a:cubicBezTo>
                    <a:pt x="72951" y="102369"/>
                    <a:pt x="72422" y="102369"/>
                    <a:pt x="71894" y="102369"/>
                  </a:cubicBezTo>
                  <a:cubicBezTo>
                    <a:pt x="71365" y="102938"/>
                    <a:pt x="70308" y="102369"/>
                    <a:pt x="70308" y="102938"/>
                  </a:cubicBezTo>
                  <a:cubicBezTo>
                    <a:pt x="70308" y="102938"/>
                    <a:pt x="70308" y="103507"/>
                    <a:pt x="70308" y="103507"/>
                  </a:cubicBezTo>
                  <a:cubicBezTo>
                    <a:pt x="70308" y="103507"/>
                    <a:pt x="70837" y="104075"/>
                    <a:pt x="70308" y="104075"/>
                  </a:cubicBezTo>
                  <a:cubicBezTo>
                    <a:pt x="69251" y="104075"/>
                    <a:pt x="69251" y="104075"/>
                    <a:pt x="69251" y="103507"/>
                  </a:cubicBezTo>
                  <a:cubicBezTo>
                    <a:pt x="68722" y="102938"/>
                    <a:pt x="69779" y="102369"/>
                    <a:pt x="68193" y="102938"/>
                  </a:cubicBezTo>
                  <a:cubicBezTo>
                    <a:pt x="67136" y="102938"/>
                    <a:pt x="67136" y="102369"/>
                    <a:pt x="66607" y="102369"/>
                  </a:cubicBezTo>
                  <a:cubicBezTo>
                    <a:pt x="66607" y="102938"/>
                    <a:pt x="65550" y="101800"/>
                    <a:pt x="65022" y="102369"/>
                  </a:cubicBezTo>
                  <a:cubicBezTo>
                    <a:pt x="65022" y="102369"/>
                    <a:pt x="64493" y="102938"/>
                    <a:pt x="64493" y="102938"/>
                  </a:cubicBezTo>
                  <a:cubicBezTo>
                    <a:pt x="64493" y="102938"/>
                    <a:pt x="62907" y="102938"/>
                    <a:pt x="62907" y="102938"/>
                  </a:cubicBezTo>
                  <a:cubicBezTo>
                    <a:pt x="62907" y="102938"/>
                    <a:pt x="63436" y="101232"/>
                    <a:pt x="63436" y="101232"/>
                  </a:cubicBezTo>
                  <a:cubicBezTo>
                    <a:pt x="63436" y="101232"/>
                    <a:pt x="63436" y="101232"/>
                    <a:pt x="63964" y="101232"/>
                  </a:cubicBezTo>
                  <a:cubicBezTo>
                    <a:pt x="64493" y="101232"/>
                    <a:pt x="65022" y="101232"/>
                    <a:pt x="65022" y="101232"/>
                  </a:cubicBezTo>
                  <a:cubicBezTo>
                    <a:pt x="65550" y="101232"/>
                    <a:pt x="65550" y="101232"/>
                    <a:pt x="65550" y="101232"/>
                  </a:cubicBezTo>
                  <a:close/>
                  <a:moveTo>
                    <a:pt x="63436" y="97819"/>
                  </a:moveTo>
                  <a:cubicBezTo>
                    <a:pt x="63436" y="97819"/>
                    <a:pt x="63436" y="97819"/>
                    <a:pt x="63436" y="97819"/>
                  </a:cubicBezTo>
                  <a:cubicBezTo>
                    <a:pt x="63436" y="97819"/>
                    <a:pt x="61321" y="96682"/>
                    <a:pt x="61321" y="96682"/>
                  </a:cubicBezTo>
                  <a:cubicBezTo>
                    <a:pt x="60792" y="96682"/>
                    <a:pt x="60264" y="96682"/>
                    <a:pt x="59735" y="96682"/>
                  </a:cubicBezTo>
                  <a:cubicBezTo>
                    <a:pt x="59735" y="96682"/>
                    <a:pt x="58678" y="96113"/>
                    <a:pt x="59207" y="95545"/>
                  </a:cubicBezTo>
                  <a:cubicBezTo>
                    <a:pt x="59207" y="95545"/>
                    <a:pt x="59735" y="94976"/>
                    <a:pt x="60264" y="95545"/>
                  </a:cubicBezTo>
                  <a:cubicBezTo>
                    <a:pt x="60792" y="96113"/>
                    <a:pt x="61321" y="96113"/>
                    <a:pt x="61321" y="96682"/>
                  </a:cubicBezTo>
                  <a:cubicBezTo>
                    <a:pt x="61850" y="96682"/>
                    <a:pt x="62907" y="97251"/>
                    <a:pt x="62907" y="97251"/>
                  </a:cubicBezTo>
                  <a:cubicBezTo>
                    <a:pt x="63436" y="97251"/>
                    <a:pt x="63436" y="97819"/>
                    <a:pt x="63436" y="97251"/>
                  </a:cubicBezTo>
                  <a:cubicBezTo>
                    <a:pt x="63964" y="97251"/>
                    <a:pt x="63964" y="96113"/>
                    <a:pt x="63964" y="96113"/>
                  </a:cubicBezTo>
                  <a:cubicBezTo>
                    <a:pt x="63964" y="95545"/>
                    <a:pt x="63436" y="95545"/>
                    <a:pt x="63436" y="95545"/>
                  </a:cubicBezTo>
                  <a:cubicBezTo>
                    <a:pt x="63964" y="95545"/>
                    <a:pt x="65022" y="94976"/>
                    <a:pt x="65022" y="94976"/>
                  </a:cubicBezTo>
                  <a:cubicBezTo>
                    <a:pt x="65550" y="95545"/>
                    <a:pt x="66079" y="95545"/>
                    <a:pt x="66607" y="95545"/>
                  </a:cubicBezTo>
                  <a:cubicBezTo>
                    <a:pt x="66607" y="95545"/>
                    <a:pt x="66079" y="95545"/>
                    <a:pt x="68193" y="95545"/>
                  </a:cubicBezTo>
                  <a:cubicBezTo>
                    <a:pt x="69779" y="95545"/>
                    <a:pt x="69251" y="95545"/>
                    <a:pt x="70308" y="95545"/>
                  </a:cubicBezTo>
                  <a:cubicBezTo>
                    <a:pt x="70837" y="95545"/>
                    <a:pt x="71894" y="95545"/>
                    <a:pt x="71894" y="95545"/>
                  </a:cubicBezTo>
                  <a:cubicBezTo>
                    <a:pt x="71894" y="96113"/>
                    <a:pt x="72951" y="96682"/>
                    <a:pt x="72951" y="96682"/>
                  </a:cubicBezTo>
                  <a:cubicBezTo>
                    <a:pt x="72951" y="97251"/>
                    <a:pt x="73480" y="97251"/>
                    <a:pt x="72951" y="97819"/>
                  </a:cubicBezTo>
                  <a:cubicBezTo>
                    <a:pt x="71894" y="98388"/>
                    <a:pt x="71894" y="98388"/>
                    <a:pt x="70837" y="98388"/>
                  </a:cubicBezTo>
                  <a:cubicBezTo>
                    <a:pt x="70308" y="98388"/>
                    <a:pt x="70837" y="98388"/>
                    <a:pt x="69779" y="98957"/>
                  </a:cubicBezTo>
                  <a:cubicBezTo>
                    <a:pt x="68193" y="98957"/>
                    <a:pt x="67136" y="98957"/>
                    <a:pt x="67136" y="98957"/>
                  </a:cubicBezTo>
                  <a:cubicBezTo>
                    <a:pt x="67136" y="98957"/>
                    <a:pt x="67665" y="98957"/>
                    <a:pt x="66079" y="98957"/>
                  </a:cubicBezTo>
                  <a:cubicBezTo>
                    <a:pt x="65022" y="98388"/>
                    <a:pt x="64493" y="98957"/>
                    <a:pt x="63964" y="98388"/>
                  </a:cubicBezTo>
                  <a:cubicBezTo>
                    <a:pt x="63964" y="98388"/>
                    <a:pt x="63436" y="97819"/>
                    <a:pt x="63436" y="97819"/>
                  </a:cubicBezTo>
                  <a:close/>
                  <a:moveTo>
                    <a:pt x="26431" y="53459"/>
                  </a:moveTo>
                  <a:cubicBezTo>
                    <a:pt x="26431" y="53459"/>
                    <a:pt x="26431" y="53459"/>
                    <a:pt x="26431" y="53459"/>
                  </a:cubicBezTo>
                  <a:cubicBezTo>
                    <a:pt x="26431" y="53459"/>
                    <a:pt x="26431" y="52890"/>
                    <a:pt x="26431" y="52890"/>
                  </a:cubicBezTo>
                  <a:cubicBezTo>
                    <a:pt x="26431" y="52890"/>
                    <a:pt x="26431" y="52890"/>
                    <a:pt x="26431" y="52890"/>
                  </a:cubicBezTo>
                  <a:cubicBezTo>
                    <a:pt x="26431" y="52890"/>
                    <a:pt x="26960" y="52890"/>
                    <a:pt x="26960" y="52890"/>
                  </a:cubicBezTo>
                  <a:cubicBezTo>
                    <a:pt x="26960" y="53459"/>
                    <a:pt x="26960" y="53459"/>
                    <a:pt x="27488" y="53459"/>
                  </a:cubicBezTo>
                  <a:cubicBezTo>
                    <a:pt x="27488" y="53459"/>
                    <a:pt x="27488" y="53459"/>
                    <a:pt x="28017" y="53459"/>
                  </a:cubicBezTo>
                  <a:cubicBezTo>
                    <a:pt x="28017" y="54028"/>
                    <a:pt x="28017" y="54028"/>
                    <a:pt x="28017" y="54028"/>
                  </a:cubicBezTo>
                  <a:cubicBezTo>
                    <a:pt x="28017" y="54028"/>
                    <a:pt x="28017" y="55165"/>
                    <a:pt x="27488" y="54597"/>
                  </a:cubicBezTo>
                  <a:cubicBezTo>
                    <a:pt x="26960" y="54597"/>
                    <a:pt x="26431" y="54597"/>
                    <a:pt x="26431" y="54028"/>
                  </a:cubicBezTo>
                  <a:cubicBezTo>
                    <a:pt x="26431" y="54028"/>
                    <a:pt x="26431" y="53459"/>
                    <a:pt x="26431" y="53459"/>
                  </a:cubicBezTo>
                  <a:close/>
                  <a:moveTo>
                    <a:pt x="26960" y="58578"/>
                  </a:moveTo>
                  <a:cubicBezTo>
                    <a:pt x="26960" y="58578"/>
                    <a:pt x="26960" y="58578"/>
                    <a:pt x="26960" y="58578"/>
                  </a:cubicBezTo>
                  <a:cubicBezTo>
                    <a:pt x="26960" y="58578"/>
                    <a:pt x="26431" y="58578"/>
                    <a:pt x="26431" y="58578"/>
                  </a:cubicBezTo>
                  <a:cubicBezTo>
                    <a:pt x="26431" y="58578"/>
                    <a:pt x="25374" y="58009"/>
                    <a:pt x="24845" y="58009"/>
                  </a:cubicBezTo>
                  <a:cubicBezTo>
                    <a:pt x="24845" y="57440"/>
                    <a:pt x="24845" y="57440"/>
                    <a:pt x="25374" y="57440"/>
                  </a:cubicBezTo>
                  <a:cubicBezTo>
                    <a:pt x="25374" y="56872"/>
                    <a:pt x="25374" y="56303"/>
                    <a:pt x="25374" y="56303"/>
                  </a:cubicBezTo>
                  <a:cubicBezTo>
                    <a:pt x="25374" y="56303"/>
                    <a:pt x="25903" y="55734"/>
                    <a:pt x="25903" y="55734"/>
                  </a:cubicBezTo>
                  <a:cubicBezTo>
                    <a:pt x="26431" y="55734"/>
                    <a:pt x="26431" y="55734"/>
                    <a:pt x="26431" y="55734"/>
                  </a:cubicBezTo>
                  <a:cubicBezTo>
                    <a:pt x="26431" y="55734"/>
                    <a:pt x="26431" y="55165"/>
                    <a:pt x="26431" y="55165"/>
                  </a:cubicBezTo>
                  <a:cubicBezTo>
                    <a:pt x="26431" y="54597"/>
                    <a:pt x="26960" y="54597"/>
                    <a:pt x="26960" y="54597"/>
                  </a:cubicBezTo>
                  <a:cubicBezTo>
                    <a:pt x="26960" y="54597"/>
                    <a:pt x="28017" y="55734"/>
                    <a:pt x="28017" y="56303"/>
                  </a:cubicBezTo>
                  <a:cubicBezTo>
                    <a:pt x="28017" y="56303"/>
                    <a:pt x="26431" y="56303"/>
                    <a:pt x="26431" y="56303"/>
                  </a:cubicBezTo>
                  <a:cubicBezTo>
                    <a:pt x="26431" y="56303"/>
                    <a:pt x="26431" y="56303"/>
                    <a:pt x="26960" y="57440"/>
                  </a:cubicBezTo>
                  <a:cubicBezTo>
                    <a:pt x="27488" y="58009"/>
                    <a:pt x="27488" y="57440"/>
                    <a:pt x="27488" y="57440"/>
                  </a:cubicBezTo>
                  <a:cubicBezTo>
                    <a:pt x="27488" y="58009"/>
                    <a:pt x="27488" y="58009"/>
                    <a:pt x="28546" y="58009"/>
                  </a:cubicBezTo>
                  <a:cubicBezTo>
                    <a:pt x="29074" y="58578"/>
                    <a:pt x="28546" y="58578"/>
                    <a:pt x="29074" y="59146"/>
                  </a:cubicBezTo>
                  <a:cubicBezTo>
                    <a:pt x="29074" y="59146"/>
                    <a:pt x="28546" y="59715"/>
                    <a:pt x="28546" y="59715"/>
                  </a:cubicBezTo>
                  <a:cubicBezTo>
                    <a:pt x="28017" y="60284"/>
                    <a:pt x="28017" y="59715"/>
                    <a:pt x="28017" y="59715"/>
                  </a:cubicBezTo>
                  <a:cubicBezTo>
                    <a:pt x="28017" y="59715"/>
                    <a:pt x="27488" y="58578"/>
                    <a:pt x="26960" y="58578"/>
                  </a:cubicBezTo>
                  <a:close/>
                  <a:moveTo>
                    <a:pt x="29074" y="66540"/>
                  </a:moveTo>
                  <a:cubicBezTo>
                    <a:pt x="29074" y="66540"/>
                    <a:pt x="29074" y="66540"/>
                    <a:pt x="29074" y="66540"/>
                  </a:cubicBezTo>
                  <a:cubicBezTo>
                    <a:pt x="29074" y="66540"/>
                    <a:pt x="29603" y="65971"/>
                    <a:pt x="29603" y="66540"/>
                  </a:cubicBezTo>
                  <a:cubicBezTo>
                    <a:pt x="30132" y="66540"/>
                    <a:pt x="30132" y="67109"/>
                    <a:pt x="30132" y="67109"/>
                  </a:cubicBezTo>
                  <a:cubicBezTo>
                    <a:pt x="30660" y="67677"/>
                    <a:pt x="31189" y="67677"/>
                    <a:pt x="31718" y="67677"/>
                  </a:cubicBezTo>
                  <a:cubicBezTo>
                    <a:pt x="31718" y="68246"/>
                    <a:pt x="31718" y="68815"/>
                    <a:pt x="31718" y="68815"/>
                  </a:cubicBezTo>
                  <a:cubicBezTo>
                    <a:pt x="31718" y="68815"/>
                    <a:pt x="31189" y="69383"/>
                    <a:pt x="31189" y="68815"/>
                  </a:cubicBezTo>
                  <a:cubicBezTo>
                    <a:pt x="30660" y="68246"/>
                    <a:pt x="30660" y="68246"/>
                    <a:pt x="30660" y="68246"/>
                  </a:cubicBezTo>
                  <a:cubicBezTo>
                    <a:pt x="30660" y="68246"/>
                    <a:pt x="30132" y="67677"/>
                    <a:pt x="30132" y="67677"/>
                  </a:cubicBezTo>
                  <a:cubicBezTo>
                    <a:pt x="30132" y="67677"/>
                    <a:pt x="29074" y="66540"/>
                    <a:pt x="29074" y="66540"/>
                  </a:cubicBezTo>
                  <a:close/>
                  <a:moveTo>
                    <a:pt x="28017" y="68815"/>
                  </a:moveTo>
                  <a:cubicBezTo>
                    <a:pt x="28017" y="68815"/>
                    <a:pt x="28017" y="68815"/>
                    <a:pt x="28017" y="68815"/>
                  </a:cubicBezTo>
                  <a:cubicBezTo>
                    <a:pt x="28017" y="68815"/>
                    <a:pt x="28017" y="68246"/>
                    <a:pt x="28017" y="68246"/>
                  </a:cubicBezTo>
                  <a:cubicBezTo>
                    <a:pt x="28017" y="68246"/>
                    <a:pt x="28546" y="68246"/>
                    <a:pt x="28546" y="68815"/>
                  </a:cubicBezTo>
                  <a:cubicBezTo>
                    <a:pt x="28546" y="68815"/>
                    <a:pt x="29074" y="69383"/>
                    <a:pt x="29074" y="69383"/>
                  </a:cubicBezTo>
                  <a:cubicBezTo>
                    <a:pt x="29074" y="69952"/>
                    <a:pt x="28546" y="69952"/>
                    <a:pt x="28546" y="69952"/>
                  </a:cubicBezTo>
                  <a:cubicBezTo>
                    <a:pt x="28546" y="70521"/>
                    <a:pt x="29074" y="70521"/>
                    <a:pt x="28546" y="70521"/>
                  </a:cubicBezTo>
                  <a:cubicBezTo>
                    <a:pt x="28017" y="70521"/>
                    <a:pt x="28017" y="70521"/>
                    <a:pt x="28017" y="70521"/>
                  </a:cubicBezTo>
                  <a:cubicBezTo>
                    <a:pt x="28017" y="70521"/>
                    <a:pt x="28017" y="69952"/>
                    <a:pt x="28017" y="69952"/>
                  </a:cubicBezTo>
                  <a:cubicBezTo>
                    <a:pt x="28017" y="69383"/>
                    <a:pt x="28017" y="68815"/>
                    <a:pt x="28017" y="68815"/>
                  </a:cubicBezTo>
                  <a:close/>
                  <a:moveTo>
                    <a:pt x="25903" y="68815"/>
                  </a:moveTo>
                  <a:cubicBezTo>
                    <a:pt x="25903" y="68815"/>
                    <a:pt x="25903" y="68815"/>
                    <a:pt x="25903" y="68815"/>
                  </a:cubicBezTo>
                  <a:cubicBezTo>
                    <a:pt x="25903" y="68815"/>
                    <a:pt x="26431" y="68815"/>
                    <a:pt x="26431" y="69383"/>
                  </a:cubicBezTo>
                  <a:cubicBezTo>
                    <a:pt x="26431" y="69383"/>
                    <a:pt x="26960" y="69383"/>
                    <a:pt x="26960" y="69952"/>
                  </a:cubicBezTo>
                  <a:cubicBezTo>
                    <a:pt x="26960" y="69952"/>
                    <a:pt x="26960" y="69952"/>
                    <a:pt x="26960" y="70521"/>
                  </a:cubicBezTo>
                  <a:cubicBezTo>
                    <a:pt x="26960" y="71090"/>
                    <a:pt x="27488" y="71090"/>
                    <a:pt x="26960" y="71090"/>
                  </a:cubicBezTo>
                  <a:cubicBezTo>
                    <a:pt x="26431" y="70521"/>
                    <a:pt x="26431" y="70521"/>
                    <a:pt x="26431" y="70521"/>
                  </a:cubicBezTo>
                  <a:cubicBezTo>
                    <a:pt x="25903" y="69952"/>
                    <a:pt x="25903" y="69952"/>
                    <a:pt x="25903" y="69952"/>
                  </a:cubicBezTo>
                  <a:cubicBezTo>
                    <a:pt x="25903" y="69383"/>
                    <a:pt x="25903" y="69383"/>
                    <a:pt x="25903" y="69383"/>
                  </a:cubicBezTo>
                  <a:cubicBezTo>
                    <a:pt x="25903" y="68815"/>
                    <a:pt x="25903" y="68815"/>
                    <a:pt x="25903" y="68815"/>
                  </a:cubicBezTo>
                  <a:close/>
                  <a:moveTo>
                    <a:pt x="17973" y="65971"/>
                  </a:moveTo>
                  <a:cubicBezTo>
                    <a:pt x="17973" y="65971"/>
                    <a:pt x="17973" y="65971"/>
                    <a:pt x="17973" y="65971"/>
                  </a:cubicBezTo>
                  <a:cubicBezTo>
                    <a:pt x="17973" y="65971"/>
                    <a:pt x="18502" y="65971"/>
                    <a:pt x="18502" y="65971"/>
                  </a:cubicBezTo>
                  <a:cubicBezTo>
                    <a:pt x="19030" y="66540"/>
                    <a:pt x="18502" y="66540"/>
                    <a:pt x="19030" y="67109"/>
                  </a:cubicBezTo>
                  <a:cubicBezTo>
                    <a:pt x="19030" y="67109"/>
                    <a:pt x="18502" y="67677"/>
                    <a:pt x="18502" y="67677"/>
                  </a:cubicBezTo>
                  <a:cubicBezTo>
                    <a:pt x="17973" y="67109"/>
                    <a:pt x="17973" y="67109"/>
                    <a:pt x="17973" y="67109"/>
                  </a:cubicBezTo>
                  <a:cubicBezTo>
                    <a:pt x="17973" y="65971"/>
                    <a:pt x="17973" y="65971"/>
                    <a:pt x="17973" y="65971"/>
                  </a:cubicBezTo>
                  <a:close/>
                  <a:moveTo>
                    <a:pt x="17973" y="63696"/>
                  </a:moveTo>
                  <a:cubicBezTo>
                    <a:pt x="17973" y="63696"/>
                    <a:pt x="17973" y="63696"/>
                    <a:pt x="17973" y="63696"/>
                  </a:cubicBezTo>
                  <a:cubicBezTo>
                    <a:pt x="17973" y="63696"/>
                    <a:pt x="16916" y="63696"/>
                    <a:pt x="16916" y="63696"/>
                  </a:cubicBezTo>
                  <a:cubicBezTo>
                    <a:pt x="16916" y="63696"/>
                    <a:pt x="16387" y="63696"/>
                    <a:pt x="16387" y="63127"/>
                  </a:cubicBezTo>
                  <a:cubicBezTo>
                    <a:pt x="16387" y="63127"/>
                    <a:pt x="16387" y="62559"/>
                    <a:pt x="16916" y="62559"/>
                  </a:cubicBezTo>
                  <a:cubicBezTo>
                    <a:pt x="16916" y="62559"/>
                    <a:pt x="16916" y="61990"/>
                    <a:pt x="16916" y="61421"/>
                  </a:cubicBezTo>
                  <a:cubicBezTo>
                    <a:pt x="16916" y="61421"/>
                    <a:pt x="17444" y="61421"/>
                    <a:pt x="17444" y="61421"/>
                  </a:cubicBezTo>
                  <a:cubicBezTo>
                    <a:pt x="17444" y="61421"/>
                    <a:pt x="17973" y="61990"/>
                    <a:pt x="17973" y="61990"/>
                  </a:cubicBezTo>
                  <a:cubicBezTo>
                    <a:pt x="17973" y="61990"/>
                    <a:pt x="17973" y="63127"/>
                    <a:pt x="17973" y="63696"/>
                  </a:cubicBezTo>
                  <a:close/>
                  <a:moveTo>
                    <a:pt x="17973" y="50616"/>
                  </a:moveTo>
                  <a:cubicBezTo>
                    <a:pt x="17973" y="50616"/>
                    <a:pt x="17973" y="50616"/>
                    <a:pt x="17973" y="50616"/>
                  </a:cubicBezTo>
                  <a:cubicBezTo>
                    <a:pt x="17973" y="50616"/>
                    <a:pt x="19030" y="50616"/>
                    <a:pt x="19030" y="50616"/>
                  </a:cubicBezTo>
                  <a:cubicBezTo>
                    <a:pt x="19030" y="50616"/>
                    <a:pt x="19030" y="51184"/>
                    <a:pt x="19030" y="51753"/>
                  </a:cubicBezTo>
                  <a:cubicBezTo>
                    <a:pt x="19559" y="51753"/>
                    <a:pt x="19559" y="52322"/>
                    <a:pt x="19559" y="52322"/>
                  </a:cubicBezTo>
                  <a:cubicBezTo>
                    <a:pt x="20088" y="52322"/>
                    <a:pt x="20088" y="52322"/>
                    <a:pt x="20088" y="52322"/>
                  </a:cubicBezTo>
                  <a:cubicBezTo>
                    <a:pt x="20088" y="52322"/>
                    <a:pt x="20616" y="51753"/>
                    <a:pt x="20616" y="52322"/>
                  </a:cubicBezTo>
                  <a:cubicBezTo>
                    <a:pt x="21145" y="52322"/>
                    <a:pt x="21674" y="51753"/>
                    <a:pt x="21674" y="51753"/>
                  </a:cubicBezTo>
                  <a:cubicBezTo>
                    <a:pt x="21674" y="51753"/>
                    <a:pt x="22202" y="52322"/>
                    <a:pt x="22202" y="52322"/>
                  </a:cubicBezTo>
                  <a:cubicBezTo>
                    <a:pt x="22202" y="52890"/>
                    <a:pt x="21674" y="53459"/>
                    <a:pt x="21674" y="53459"/>
                  </a:cubicBezTo>
                  <a:cubicBezTo>
                    <a:pt x="21145" y="53459"/>
                    <a:pt x="20616" y="52890"/>
                    <a:pt x="20616" y="52890"/>
                  </a:cubicBezTo>
                  <a:cubicBezTo>
                    <a:pt x="20616" y="52890"/>
                    <a:pt x="20088" y="52322"/>
                    <a:pt x="20088" y="52890"/>
                  </a:cubicBezTo>
                  <a:cubicBezTo>
                    <a:pt x="20088" y="52890"/>
                    <a:pt x="20088" y="53459"/>
                    <a:pt x="20088" y="54028"/>
                  </a:cubicBezTo>
                  <a:cubicBezTo>
                    <a:pt x="20616" y="54028"/>
                    <a:pt x="20616" y="54028"/>
                    <a:pt x="20616" y="54597"/>
                  </a:cubicBezTo>
                  <a:cubicBezTo>
                    <a:pt x="20088" y="54597"/>
                    <a:pt x="20088" y="55165"/>
                    <a:pt x="20088" y="55165"/>
                  </a:cubicBezTo>
                  <a:cubicBezTo>
                    <a:pt x="20088" y="55734"/>
                    <a:pt x="20616" y="56303"/>
                    <a:pt x="20616" y="56303"/>
                  </a:cubicBezTo>
                  <a:cubicBezTo>
                    <a:pt x="20616" y="56303"/>
                    <a:pt x="20616" y="56303"/>
                    <a:pt x="20616" y="56872"/>
                  </a:cubicBezTo>
                  <a:cubicBezTo>
                    <a:pt x="20616" y="56872"/>
                    <a:pt x="21145" y="57440"/>
                    <a:pt x="21145" y="57440"/>
                  </a:cubicBezTo>
                  <a:cubicBezTo>
                    <a:pt x="21145" y="58009"/>
                    <a:pt x="21145" y="58578"/>
                    <a:pt x="21145" y="58578"/>
                  </a:cubicBezTo>
                  <a:cubicBezTo>
                    <a:pt x="21674" y="59146"/>
                    <a:pt x="21674" y="59146"/>
                    <a:pt x="21674" y="59146"/>
                  </a:cubicBezTo>
                  <a:cubicBezTo>
                    <a:pt x="21145" y="60284"/>
                    <a:pt x="21145" y="60284"/>
                    <a:pt x="21145" y="60284"/>
                  </a:cubicBezTo>
                  <a:cubicBezTo>
                    <a:pt x="21145" y="60284"/>
                    <a:pt x="21674" y="60853"/>
                    <a:pt x="21674" y="60853"/>
                  </a:cubicBezTo>
                  <a:cubicBezTo>
                    <a:pt x="21674" y="61421"/>
                    <a:pt x="22731" y="61990"/>
                    <a:pt x="22731" y="62559"/>
                  </a:cubicBezTo>
                  <a:cubicBezTo>
                    <a:pt x="22731" y="62559"/>
                    <a:pt x="22731" y="63696"/>
                    <a:pt x="22202" y="63696"/>
                  </a:cubicBezTo>
                  <a:cubicBezTo>
                    <a:pt x="22202" y="63696"/>
                    <a:pt x="21674" y="64265"/>
                    <a:pt x="21674" y="63696"/>
                  </a:cubicBezTo>
                  <a:cubicBezTo>
                    <a:pt x="21145" y="63127"/>
                    <a:pt x="20616" y="61990"/>
                    <a:pt x="20616" y="61990"/>
                  </a:cubicBezTo>
                  <a:cubicBezTo>
                    <a:pt x="20616" y="61990"/>
                    <a:pt x="20616" y="61990"/>
                    <a:pt x="20616" y="61990"/>
                  </a:cubicBezTo>
                  <a:cubicBezTo>
                    <a:pt x="20616" y="62559"/>
                    <a:pt x="20088" y="63127"/>
                    <a:pt x="20088" y="63127"/>
                  </a:cubicBezTo>
                  <a:cubicBezTo>
                    <a:pt x="20088" y="63696"/>
                    <a:pt x="21145" y="64265"/>
                    <a:pt x="21145" y="64265"/>
                  </a:cubicBezTo>
                  <a:cubicBezTo>
                    <a:pt x="21145" y="64265"/>
                    <a:pt x="20616" y="63127"/>
                    <a:pt x="21145" y="64265"/>
                  </a:cubicBezTo>
                  <a:cubicBezTo>
                    <a:pt x="21674" y="65402"/>
                    <a:pt x="22202" y="65971"/>
                    <a:pt x="22202" y="65971"/>
                  </a:cubicBezTo>
                  <a:cubicBezTo>
                    <a:pt x="22202" y="65971"/>
                    <a:pt x="22731" y="66540"/>
                    <a:pt x="23259" y="66540"/>
                  </a:cubicBezTo>
                  <a:cubicBezTo>
                    <a:pt x="23259" y="67109"/>
                    <a:pt x="23259" y="67109"/>
                    <a:pt x="23788" y="67677"/>
                  </a:cubicBezTo>
                  <a:cubicBezTo>
                    <a:pt x="23788" y="67677"/>
                    <a:pt x="24317" y="68246"/>
                    <a:pt x="23788" y="68246"/>
                  </a:cubicBezTo>
                  <a:cubicBezTo>
                    <a:pt x="23259" y="68815"/>
                    <a:pt x="23788" y="68815"/>
                    <a:pt x="23259" y="68815"/>
                  </a:cubicBezTo>
                  <a:cubicBezTo>
                    <a:pt x="23259" y="68246"/>
                    <a:pt x="22731" y="68246"/>
                    <a:pt x="22731" y="67677"/>
                  </a:cubicBezTo>
                  <a:cubicBezTo>
                    <a:pt x="22731" y="67109"/>
                    <a:pt x="22202" y="66540"/>
                    <a:pt x="22202" y="65971"/>
                  </a:cubicBezTo>
                  <a:cubicBezTo>
                    <a:pt x="21674" y="65971"/>
                    <a:pt x="21145" y="65402"/>
                    <a:pt x="21145" y="65402"/>
                  </a:cubicBezTo>
                  <a:cubicBezTo>
                    <a:pt x="20616" y="65402"/>
                    <a:pt x="20616" y="64834"/>
                    <a:pt x="20616" y="64834"/>
                  </a:cubicBezTo>
                  <a:cubicBezTo>
                    <a:pt x="20616" y="64834"/>
                    <a:pt x="20088" y="64834"/>
                    <a:pt x="20088" y="64834"/>
                  </a:cubicBezTo>
                  <a:cubicBezTo>
                    <a:pt x="20088" y="64834"/>
                    <a:pt x="19030" y="64834"/>
                    <a:pt x="19030" y="64834"/>
                  </a:cubicBezTo>
                  <a:cubicBezTo>
                    <a:pt x="19030" y="64265"/>
                    <a:pt x="19030" y="64265"/>
                    <a:pt x="19559" y="63696"/>
                  </a:cubicBezTo>
                  <a:cubicBezTo>
                    <a:pt x="19559" y="63696"/>
                    <a:pt x="20088" y="63696"/>
                    <a:pt x="20088" y="63696"/>
                  </a:cubicBezTo>
                  <a:cubicBezTo>
                    <a:pt x="20088" y="63696"/>
                    <a:pt x="19559" y="63127"/>
                    <a:pt x="19559" y="63127"/>
                  </a:cubicBezTo>
                  <a:cubicBezTo>
                    <a:pt x="19559" y="63127"/>
                    <a:pt x="19559" y="62559"/>
                    <a:pt x="19559" y="62559"/>
                  </a:cubicBezTo>
                  <a:cubicBezTo>
                    <a:pt x="19030" y="62559"/>
                    <a:pt x="19030" y="63127"/>
                    <a:pt x="19030" y="62559"/>
                  </a:cubicBezTo>
                  <a:cubicBezTo>
                    <a:pt x="19030" y="61990"/>
                    <a:pt x="19030" y="61990"/>
                    <a:pt x="19030" y="61421"/>
                  </a:cubicBezTo>
                  <a:cubicBezTo>
                    <a:pt x="19030" y="61421"/>
                    <a:pt x="19030" y="60284"/>
                    <a:pt x="19030" y="60284"/>
                  </a:cubicBezTo>
                  <a:cubicBezTo>
                    <a:pt x="19559" y="60853"/>
                    <a:pt x="19559" y="60853"/>
                    <a:pt x="19559" y="60853"/>
                  </a:cubicBezTo>
                  <a:cubicBezTo>
                    <a:pt x="20088" y="59715"/>
                    <a:pt x="20088" y="59715"/>
                    <a:pt x="20088" y="59715"/>
                  </a:cubicBezTo>
                  <a:cubicBezTo>
                    <a:pt x="20088" y="59715"/>
                    <a:pt x="20088" y="59715"/>
                    <a:pt x="19559" y="59715"/>
                  </a:cubicBezTo>
                  <a:cubicBezTo>
                    <a:pt x="19030" y="59715"/>
                    <a:pt x="19030" y="58578"/>
                    <a:pt x="19030" y="58578"/>
                  </a:cubicBezTo>
                  <a:cubicBezTo>
                    <a:pt x="19030" y="58578"/>
                    <a:pt x="19030" y="58009"/>
                    <a:pt x="19030" y="58009"/>
                  </a:cubicBezTo>
                  <a:cubicBezTo>
                    <a:pt x="19030" y="58009"/>
                    <a:pt x="18502" y="58009"/>
                    <a:pt x="18502" y="57440"/>
                  </a:cubicBezTo>
                  <a:cubicBezTo>
                    <a:pt x="17973" y="56872"/>
                    <a:pt x="17973" y="56303"/>
                    <a:pt x="17973" y="56303"/>
                  </a:cubicBezTo>
                  <a:cubicBezTo>
                    <a:pt x="17973" y="56303"/>
                    <a:pt x="18502" y="56303"/>
                    <a:pt x="17973" y="55734"/>
                  </a:cubicBezTo>
                  <a:cubicBezTo>
                    <a:pt x="17973" y="55165"/>
                    <a:pt x="17973" y="55165"/>
                    <a:pt x="17444" y="55165"/>
                  </a:cubicBezTo>
                  <a:cubicBezTo>
                    <a:pt x="17444" y="54597"/>
                    <a:pt x="17444" y="54028"/>
                    <a:pt x="17973" y="54028"/>
                  </a:cubicBezTo>
                  <a:cubicBezTo>
                    <a:pt x="17973" y="54028"/>
                    <a:pt x="17973" y="54028"/>
                    <a:pt x="18502" y="54028"/>
                  </a:cubicBezTo>
                  <a:cubicBezTo>
                    <a:pt x="18502" y="54597"/>
                    <a:pt x="19030" y="54597"/>
                    <a:pt x="19030" y="54597"/>
                  </a:cubicBezTo>
                  <a:cubicBezTo>
                    <a:pt x="19030" y="54028"/>
                    <a:pt x="19559" y="53459"/>
                    <a:pt x="19030" y="53459"/>
                  </a:cubicBezTo>
                  <a:cubicBezTo>
                    <a:pt x="19030" y="52890"/>
                    <a:pt x="18502" y="52322"/>
                    <a:pt x="18502" y="52322"/>
                  </a:cubicBezTo>
                  <a:cubicBezTo>
                    <a:pt x="17973" y="51753"/>
                    <a:pt x="17973" y="51753"/>
                    <a:pt x="17973" y="51753"/>
                  </a:cubicBezTo>
                  <a:cubicBezTo>
                    <a:pt x="17973" y="51753"/>
                    <a:pt x="17973" y="51753"/>
                    <a:pt x="17973" y="51184"/>
                  </a:cubicBezTo>
                  <a:cubicBezTo>
                    <a:pt x="17973" y="51184"/>
                    <a:pt x="17973" y="50616"/>
                    <a:pt x="17973" y="50616"/>
                  </a:cubicBezTo>
                  <a:close/>
                  <a:moveTo>
                    <a:pt x="17444" y="50616"/>
                  </a:moveTo>
                  <a:cubicBezTo>
                    <a:pt x="17444" y="50616"/>
                    <a:pt x="17444" y="50616"/>
                    <a:pt x="17444" y="50616"/>
                  </a:cubicBezTo>
                  <a:cubicBezTo>
                    <a:pt x="17444" y="50616"/>
                    <a:pt x="16916" y="50047"/>
                    <a:pt x="16916" y="49478"/>
                  </a:cubicBezTo>
                  <a:cubicBezTo>
                    <a:pt x="16916" y="49478"/>
                    <a:pt x="16916" y="49478"/>
                    <a:pt x="16916" y="48909"/>
                  </a:cubicBezTo>
                  <a:cubicBezTo>
                    <a:pt x="16916" y="48341"/>
                    <a:pt x="16387" y="48341"/>
                    <a:pt x="16387" y="47772"/>
                  </a:cubicBezTo>
                  <a:cubicBezTo>
                    <a:pt x="16916" y="47772"/>
                    <a:pt x="16916" y="47203"/>
                    <a:pt x="16916" y="47203"/>
                  </a:cubicBezTo>
                  <a:cubicBezTo>
                    <a:pt x="17444" y="46635"/>
                    <a:pt x="17973" y="46635"/>
                    <a:pt x="17973" y="47203"/>
                  </a:cubicBezTo>
                  <a:cubicBezTo>
                    <a:pt x="17973" y="47203"/>
                    <a:pt x="17973" y="47772"/>
                    <a:pt x="17973" y="48341"/>
                  </a:cubicBezTo>
                  <a:cubicBezTo>
                    <a:pt x="17973" y="48341"/>
                    <a:pt x="17973" y="48909"/>
                    <a:pt x="17973" y="48909"/>
                  </a:cubicBezTo>
                  <a:cubicBezTo>
                    <a:pt x="17973" y="49478"/>
                    <a:pt x="18502" y="49478"/>
                    <a:pt x="18502" y="49478"/>
                  </a:cubicBezTo>
                  <a:cubicBezTo>
                    <a:pt x="18502" y="50047"/>
                    <a:pt x="18502" y="50616"/>
                    <a:pt x="18502" y="50616"/>
                  </a:cubicBezTo>
                  <a:lnTo>
                    <a:pt x="17444" y="5061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 cmpd="sng">
              <a:solidFill>
                <a:schemeClr val="tx1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defTabSz="457200"/>
              <a:endParaRPr kern="0">
                <a:solidFill>
                  <a:srgbClr val="7F7F7F"/>
                </a:solidFill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30" name="Shape 2023">
              <a:extLst>
                <a:ext uri="{FF2B5EF4-FFF2-40B4-BE49-F238E27FC236}">
                  <a16:creationId xmlns:a16="http://schemas.microsoft.com/office/drawing/2014/main" id="{F1BCA69F-90EC-0BDF-0BD0-39C30827E5D2}"/>
                </a:ext>
              </a:extLst>
            </p:cNvPr>
            <p:cNvSpPr/>
            <p:nvPr/>
          </p:nvSpPr>
          <p:spPr>
            <a:xfrm>
              <a:off x="4864445" y="3417153"/>
              <a:ext cx="390949" cy="403496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7096" y="8484"/>
                  </a:moveTo>
                  <a:cubicBezTo>
                    <a:pt x="7096" y="8484"/>
                    <a:pt x="7096" y="8484"/>
                    <a:pt x="7096" y="8484"/>
                  </a:cubicBezTo>
                  <a:cubicBezTo>
                    <a:pt x="7096" y="8484"/>
                    <a:pt x="7096" y="8484"/>
                    <a:pt x="7096" y="8484"/>
                  </a:cubicBezTo>
                  <a:cubicBezTo>
                    <a:pt x="7741" y="8484"/>
                    <a:pt x="7741" y="8484"/>
                    <a:pt x="8387" y="8484"/>
                  </a:cubicBezTo>
                  <a:cubicBezTo>
                    <a:pt x="9677" y="8484"/>
                    <a:pt x="10322" y="8484"/>
                    <a:pt x="10322" y="8484"/>
                  </a:cubicBezTo>
                  <a:cubicBezTo>
                    <a:pt x="10967" y="6666"/>
                    <a:pt x="10967" y="6666"/>
                    <a:pt x="10967" y="6666"/>
                  </a:cubicBezTo>
                  <a:cubicBezTo>
                    <a:pt x="12258" y="6060"/>
                    <a:pt x="12258" y="6060"/>
                    <a:pt x="12258" y="6060"/>
                  </a:cubicBezTo>
                  <a:cubicBezTo>
                    <a:pt x="12258" y="6060"/>
                    <a:pt x="14193" y="3636"/>
                    <a:pt x="14838" y="3636"/>
                  </a:cubicBezTo>
                  <a:cubicBezTo>
                    <a:pt x="16129" y="3636"/>
                    <a:pt x="14838" y="2424"/>
                    <a:pt x="14838" y="2424"/>
                  </a:cubicBezTo>
                  <a:cubicBezTo>
                    <a:pt x="14838" y="2424"/>
                    <a:pt x="18064" y="1212"/>
                    <a:pt x="19354" y="1212"/>
                  </a:cubicBezTo>
                  <a:cubicBezTo>
                    <a:pt x="19354" y="1212"/>
                    <a:pt x="19354" y="1212"/>
                    <a:pt x="20000" y="1212"/>
                  </a:cubicBezTo>
                  <a:cubicBezTo>
                    <a:pt x="20645" y="1212"/>
                    <a:pt x="20645" y="1818"/>
                    <a:pt x="20645" y="1818"/>
                  </a:cubicBezTo>
                  <a:cubicBezTo>
                    <a:pt x="23225" y="606"/>
                    <a:pt x="23225" y="606"/>
                    <a:pt x="23225" y="606"/>
                  </a:cubicBezTo>
                  <a:cubicBezTo>
                    <a:pt x="23225" y="606"/>
                    <a:pt x="27096" y="0"/>
                    <a:pt x="27741" y="0"/>
                  </a:cubicBezTo>
                  <a:cubicBezTo>
                    <a:pt x="28387" y="0"/>
                    <a:pt x="29677" y="606"/>
                    <a:pt x="29677" y="606"/>
                  </a:cubicBezTo>
                  <a:cubicBezTo>
                    <a:pt x="30967" y="606"/>
                    <a:pt x="30967" y="606"/>
                    <a:pt x="30967" y="606"/>
                  </a:cubicBezTo>
                  <a:cubicBezTo>
                    <a:pt x="30967" y="606"/>
                    <a:pt x="31612" y="1212"/>
                    <a:pt x="32258" y="1212"/>
                  </a:cubicBezTo>
                  <a:cubicBezTo>
                    <a:pt x="33548" y="1818"/>
                    <a:pt x="34193" y="3636"/>
                    <a:pt x="34838" y="3636"/>
                  </a:cubicBezTo>
                  <a:cubicBezTo>
                    <a:pt x="36129" y="4242"/>
                    <a:pt x="37419" y="4242"/>
                    <a:pt x="38064" y="4242"/>
                  </a:cubicBezTo>
                  <a:cubicBezTo>
                    <a:pt x="38709" y="4848"/>
                    <a:pt x="40000" y="5454"/>
                    <a:pt x="40000" y="5454"/>
                  </a:cubicBezTo>
                  <a:cubicBezTo>
                    <a:pt x="40000" y="5454"/>
                    <a:pt x="43225" y="8484"/>
                    <a:pt x="43870" y="8484"/>
                  </a:cubicBezTo>
                  <a:cubicBezTo>
                    <a:pt x="44516" y="8484"/>
                    <a:pt x="44516" y="8484"/>
                    <a:pt x="45161" y="9696"/>
                  </a:cubicBezTo>
                  <a:cubicBezTo>
                    <a:pt x="45806" y="10303"/>
                    <a:pt x="47741" y="9696"/>
                    <a:pt x="47741" y="9696"/>
                  </a:cubicBezTo>
                  <a:cubicBezTo>
                    <a:pt x="47741" y="9696"/>
                    <a:pt x="48387" y="11515"/>
                    <a:pt x="47741" y="12121"/>
                  </a:cubicBezTo>
                  <a:cubicBezTo>
                    <a:pt x="47741" y="12727"/>
                    <a:pt x="47741" y="14545"/>
                    <a:pt x="47741" y="14545"/>
                  </a:cubicBezTo>
                  <a:cubicBezTo>
                    <a:pt x="47741" y="14545"/>
                    <a:pt x="47741" y="15151"/>
                    <a:pt x="47741" y="15757"/>
                  </a:cubicBezTo>
                  <a:cubicBezTo>
                    <a:pt x="48387" y="16969"/>
                    <a:pt x="49032" y="16969"/>
                    <a:pt x="49032" y="18181"/>
                  </a:cubicBezTo>
                  <a:cubicBezTo>
                    <a:pt x="49677" y="18787"/>
                    <a:pt x="49032" y="18787"/>
                    <a:pt x="49677" y="19393"/>
                  </a:cubicBezTo>
                  <a:cubicBezTo>
                    <a:pt x="50322" y="20000"/>
                    <a:pt x="50967" y="21212"/>
                    <a:pt x="51612" y="21212"/>
                  </a:cubicBezTo>
                  <a:cubicBezTo>
                    <a:pt x="52258" y="21212"/>
                    <a:pt x="52903" y="21212"/>
                    <a:pt x="54838" y="21818"/>
                  </a:cubicBezTo>
                  <a:cubicBezTo>
                    <a:pt x="56774" y="23030"/>
                    <a:pt x="57419" y="23030"/>
                    <a:pt x="58064" y="23636"/>
                  </a:cubicBezTo>
                  <a:cubicBezTo>
                    <a:pt x="59354" y="24242"/>
                    <a:pt x="58709" y="23636"/>
                    <a:pt x="60645" y="24242"/>
                  </a:cubicBezTo>
                  <a:cubicBezTo>
                    <a:pt x="63225" y="24848"/>
                    <a:pt x="62580" y="24242"/>
                    <a:pt x="63225" y="24848"/>
                  </a:cubicBezTo>
                  <a:cubicBezTo>
                    <a:pt x="63870" y="24848"/>
                    <a:pt x="63225" y="24242"/>
                    <a:pt x="64516" y="24848"/>
                  </a:cubicBezTo>
                  <a:cubicBezTo>
                    <a:pt x="66451" y="24848"/>
                    <a:pt x="67741" y="25454"/>
                    <a:pt x="67741" y="25454"/>
                  </a:cubicBezTo>
                  <a:cubicBezTo>
                    <a:pt x="67741" y="26666"/>
                    <a:pt x="67741" y="26666"/>
                    <a:pt x="67741" y="26666"/>
                  </a:cubicBezTo>
                  <a:cubicBezTo>
                    <a:pt x="66451" y="29090"/>
                    <a:pt x="66451" y="29090"/>
                    <a:pt x="66451" y="29090"/>
                  </a:cubicBezTo>
                  <a:cubicBezTo>
                    <a:pt x="66451" y="30909"/>
                    <a:pt x="66451" y="30909"/>
                    <a:pt x="66451" y="30909"/>
                  </a:cubicBezTo>
                  <a:cubicBezTo>
                    <a:pt x="66451" y="30909"/>
                    <a:pt x="65161" y="30909"/>
                    <a:pt x="66451" y="31515"/>
                  </a:cubicBezTo>
                  <a:cubicBezTo>
                    <a:pt x="67741" y="32121"/>
                    <a:pt x="70322" y="32727"/>
                    <a:pt x="70322" y="32727"/>
                  </a:cubicBezTo>
                  <a:cubicBezTo>
                    <a:pt x="72258" y="33939"/>
                    <a:pt x="72258" y="33939"/>
                    <a:pt x="72258" y="33939"/>
                  </a:cubicBezTo>
                  <a:cubicBezTo>
                    <a:pt x="72258" y="33939"/>
                    <a:pt x="70967" y="35757"/>
                    <a:pt x="70322" y="36363"/>
                  </a:cubicBezTo>
                  <a:cubicBezTo>
                    <a:pt x="69677" y="36363"/>
                    <a:pt x="67741" y="36363"/>
                    <a:pt x="67741" y="36363"/>
                  </a:cubicBezTo>
                  <a:cubicBezTo>
                    <a:pt x="67741" y="36363"/>
                    <a:pt x="67096" y="38181"/>
                    <a:pt x="68387" y="38181"/>
                  </a:cubicBezTo>
                  <a:cubicBezTo>
                    <a:pt x="69032" y="38787"/>
                    <a:pt x="70322" y="38787"/>
                    <a:pt x="70967" y="38787"/>
                  </a:cubicBezTo>
                  <a:cubicBezTo>
                    <a:pt x="71612" y="38787"/>
                    <a:pt x="72903" y="39393"/>
                    <a:pt x="72903" y="39393"/>
                  </a:cubicBezTo>
                  <a:cubicBezTo>
                    <a:pt x="72903" y="39393"/>
                    <a:pt x="73548" y="39393"/>
                    <a:pt x="74193" y="40000"/>
                  </a:cubicBezTo>
                  <a:cubicBezTo>
                    <a:pt x="74193" y="41212"/>
                    <a:pt x="74838" y="41818"/>
                    <a:pt x="75483" y="41818"/>
                  </a:cubicBezTo>
                  <a:cubicBezTo>
                    <a:pt x="76129" y="41818"/>
                    <a:pt x="77419" y="41818"/>
                    <a:pt x="78064" y="41818"/>
                  </a:cubicBezTo>
                  <a:cubicBezTo>
                    <a:pt x="78709" y="41818"/>
                    <a:pt x="78709" y="41212"/>
                    <a:pt x="79354" y="41212"/>
                  </a:cubicBezTo>
                  <a:cubicBezTo>
                    <a:pt x="80000" y="41818"/>
                    <a:pt x="83870" y="41212"/>
                    <a:pt x="83870" y="41212"/>
                  </a:cubicBezTo>
                  <a:cubicBezTo>
                    <a:pt x="83870" y="41212"/>
                    <a:pt x="83870" y="41212"/>
                    <a:pt x="84516" y="42424"/>
                  </a:cubicBezTo>
                  <a:cubicBezTo>
                    <a:pt x="85806" y="44242"/>
                    <a:pt x="87741" y="44848"/>
                    <a:pt x="87741" y="44848"/>
                  </a:cubicBezTo>
                  <a:cubicBezTo>
                    <a:pt x="87741" y="44848"/>
                    <a:pt x="88387" y="45454"/>
                    <a:pt x="88387" y="44848"/>
                  </a:cubicBezTo>
                  <a:cubicBezTo>
                    <a:pt x="88387" y="44242"/>
                    <a:pt x="89032" y="43636"/>
                    <a:pt x="89032" y="43636"/>
                  </a:cubicBezTo>
                  <a:cubicBezTo>
                    <a:pt x="89032" y="43636"/>
                    <a:pt x="90322" y="41818"/>
                    <a:pt x="90322" y="41212"/>
                  </a:cubicBezTo>
                  <a:cubicBezTo>
                    <a:pt x="90967" y="40606"/>
                    <a:pt x="91612" y="38787"/>
                    <a:pt x="92258" y="38787"/>
                  </a:cubicBezTo>
                  <a:cubicBezTo>
                    <a:pt x="92903" y="38181"/>
                    <a:pt x="94838" y="36969"/>
                    <a:pt x="94838" y="36969"/>
                  </a:cubicBezTo>
                  <a:cubicBezTo>
                    <a:pt x="94838" y="36969"/>
                    <a:pt x="94838" y="36363"/>
                    <a:pt x="96129" y="36969"/>
                  </a:cubicBezTo>
                  <a:cubicBezTo>
                    <a:pt x="96774" y="38181"/>
                    <a:pt x="98709" y="39393"/>
                    <a:pt x="98709" y="39393"/>
                  </a:cubicBezTo>
                  <a:cubicBezTo>
                    <a:pt x="101935" y="39393"/>
                    <a:pt x="101935" y="39393"/>
                    <a:pt x="101935" y="39393"/>
                  </a:cubicBezTo>
                  <a:cubicBezTo>
                    <a:pt x="101935" y="39393"/>
                    <a:pt x="103870" y="40000"/>
                    <a:pt x="103870" y="40606"/>
                  </a:cubicBezTo>
                  <a:cubicBezTo>
                    <a:pt x="103870" y="41212"/>
                    <a:pt x="103225" y="41212"/>
                    <a:pt x="101935" y="41818"/>
                  </a:cubicBezTo>
                  <a:cubicBezTo>
                    <a:pt x="101290" y="41818"/>
                    <a:pt x="99354" y="40000"/>
                    <a:pt x="99354" y="40606"/>
                  </a:cubicBezTo>
                  <a:cubicBezTo>
                    <a:pt x="98709" y="41212"/>
                    <a:pt x="98709" y="42424"/>
                    <a:pt x="98709" y="42424"/>
                  </a:cubicBezTo>
                  <a:cubicBezTo>
                    <a:pt x="96129" y="43636"/>
                    <a:pt x="96129" y="43636"/>
                    <a:pt x="96129" y="43636"/>
                  </a:cubicBezTo>
                  <a:cubicBezTo>
                    <a:pt x="96774" y="44848"/>
                    <a:pt x="96774" y="44848"/>
                    <a:pt x="96774" y="44848"/>
                  </a:cubicBezTo>
                  <a:cubicBezTo>
                    <a:pt x="96774" y="44848"/>
                    <a:pt x="100000" y="46060"/>
                    <a:pt x="100000" y="46666"/>
                  </a:cubicBezTo>
                  <a:cubicBezTo>
                    <a:pt x="100000" y="47272"/>
                    <a:pt x="100000" y="48484"/>
                    <a:pt x="100000" y="48484"/>
                  </a:cubicBezTo>
                  <a:cubicBezTo>
                    <a:pt x="101935" y="49090"/>
                    <a:pt x="101935" y="49090"/>
                    <a:pt x="101935" y="49090"/>
                  </a:cubicBezTo>
                  <a:cubicBezTo>
                    <a:pt x="103225" y="48484"/>
                    <a:pt x="103225" y="48484"/>
                    <a:pt x="103225" y="48484"/>
                  </a:cubicBezTo>
                  <a:cubicBezTo>
                    <a:pt x="103225" y="50909"/>
                    <a:pt x="103225" y="50909"/>
                    <a:pt x="103225" y="50909"/>
                  </a:cubicBezTo>
                  <a:cubicBezTo>
                    <a:pt x="103225" y="53333"/>
                    <a:pt x="103225" y="53333"/>
                    <a:pt x="103225" y="53333"/>
                  </a:cubicBezTo>
                  <a:cubicBezTo>
                    <a:pt x="103225" y="55151"/>
                    <a:pt x="103225" y="55151"/>
                    <a:pt x="103225" y="55151"/>
                  </a:cubicBezTo>
                  <a:cubicBezTo>
                    <a:pt x="103225" y="55151"/>
                    <a:pt x="103870" y="56969"/>
                    <a:pt x="103225" y="56969"/>
                  </a:cubicBezTo>
                  <a:cubicBezTo>
                    <a:pt x="102580" y="56969"/>
                    <a:pt x="100645" y="58181"/>
                    <a:pt x="100645" y="58181"/>
                  </a:cubicBezTo>
                  <a:cubicBezTo>
                    <a:pt x="99354" y="59999"/>
                    <a:pt x="99354" y="59999"/>
                    <a:pt x="99354" y="59999"/>
                  </a:cubicBezTo>
                  <a:cubicBezTo>
                    <a:pt x="99354" y="59999"/>
                    <a:pt x="99354" y="62424"/>
                    <a:pt x="99354" y="63030"/>
                  </a:cubicBezTo>
                  <a:cubicBezTo>
                    <a:pt x="100000" y="64242"/>
                    <a:pt x="99354" y="66060"/>
                    <a:pt x="99354" y="66060"/>
                  </a:cubicBezTo>
                  <a:cubicBezTo>
                    <a:pt x="99354" y="66060"/>
                    <a:pt x="99354" y="67272"/>
                    <a:pt x="100000" y="67878"/>
                  </a:cubicBezTo>
                  <a:cubicBezTo>
                    <a:pt x="100645" y="68484"/>
                    <a:pt x="101290" y="69696"/>
                    <a:pt x="101290" y="69696"/>
                  </a:cubicBezTo>
                  <a:cubicBezTo>
                    <a:pt x="101290" y="69696"/>
                    <a:pt x="101935" y="70303"/>
                    <a:pt x="102580" y="71515"/>
                  </a:cubicBezTo>
                  <a:cubicBezTo>
                    <a:pt x="103225" y="72727"/>
                    <a:pt x="105806" y="75757"/>
                    <a:pt x="105806" y="75757"/>
                  </a:cubicBezTo>
                  <a:cubicBezTo>
                    <a:pt x="105806" y="75757"/>
                    <a:pt x="107741" y="76363"/>
                    <a:pt x="108387" y="76363"/>
                  </a:cubicBezTo>
                  <a:cubicBezTo>
                    <a:pt x="108387" y="76363"/>
                    <a:pt x="110967" y="77575"/>
                    <a:pt x="110967" y="77575"/>
                  </a:cubicBezTo>
                  <a:cubicBezTo>
                    <a:pt x="110967" y="77575"/>
                    <a:pt x="112258" y="77575"/>
                    <a:pt x="112258" y="78181"/>
                  </a:cubicBezTo>
                  <a:cubicBezTo>
                    <a:pt x="112258" y="78181"/>
                    <a:pt x="114838" y="81818"/>
                    <a:pt x="114838" y="81818"/>
                  </a:cubicBezTo>
                  <a:cubicBezTo>
                    <a:pt x="117419" y="82424"/>
                    <a:pt x="117419" y="82424"/>
                    <a:pt x="117419" y="82424"/>
                  </a:cubicBezTo>
                  <a:cubicBezTo>
                    <a:pt x="120000" y="82424"/>
                    <a:pt x="120000" y="82424"/>
                    <a:pt x="120000" y="82424"/>
                  </a:cubicBezTo>
                  <a:cubicBezTo>
                    <a:pt x="120000" y="82424"/>
                    <a:pt x="119354" y="85454"/>
                    <a:pt x="118709" y="86060"/>
                  </a:cubicBezTo>
                  <a:cubicBezTo>
                    <a:pt x="118064" y="86666"/>
                    <a:pt x="116129" y="89090"/>
                    <a:pt x="116129" y="89090"/>
                  </a:cubicBezTo>
                  <a:cubicBezTo>
                    <a:pt x="116129" y="89090"/>
                    <a:pt x="114838" y="90303"/>
                    <a:pt x="114838" y="91515"/>
                  </a:cubicBezTo>
                  <a:cubicBezTo>
                    <a:pt x="115483" y="92121"/>
                    <a:pt x="115483" y="93939"/>
                    <a:pt x="115483" y="93939"/>
                  </a:cubicBezTo>
                  <a:cubicBezTo>
                    <a:pt x="115483" y="93939"/>
                    <a:pt x="114193" y="95151"/>
                    <a:pt x="113548" y="95151"/>
                  </a:cubicBezTo>
                  <a:cubicBezTo>
                    <a:pt x="112903" y="95151"/>
                    <a:pt x="111612" y="95151"/>
                    <a:pt x="110967" y="95757"/>
                  </a:cubicBezTo>
                  <a:cubicBezTo>
                    <a:pt x="110322" y="95757"/>
                    <a:pt x="109677" y="96363"/>
                    <a:pt x="109677" y="96363"/>
                  </a:cubicBezTo>
                  <a:cubicBezTo>
                    <a:pt x="109032" y="96969"/>
                    <a:pt x="107741" y="98181"/>
                    <a:pt x="107741" y="98181"/>
                  </a:cubicBezTo>
                  <a:cubicBezTo>
                    <a:pt x="109032" y="99999"/>
                    <a:pt x="109032" y="99999"/>
                    <a:pt x="109032" y="99999"/>
                  </a:cubicBezTo>
                  <a:cubicBezTo>
                    <a:pt x="109677" y="103030"/>
                    <a:pt x="109677" y="103030"/>
                    <a:pt x="109677" y="103030"/>
                  </a:cubicBezTo>
                  <a:cubicBezTo>
                    <a:pt x="109677" y="106060"/>
                    <a:pt x="109677" y="106060"/>
                    <a:pt x="109677" y="106060"/>
                  </a:cubicBezTo>
                  <a:cubicBezTo>
                    <a:pt x="109677" y="106060"/>
                    <a:pt x="111612" y="106666"/>
                    <a:pt x="111612" y="107272"/>
                  </a:cubicBezTo>
                  <a:cubicBezTo>
                    <a:pt x="112258" y="107272"/>
                    <a:pt x="112903" y="109090"/>
                    <a:pt x="112903" y="109090"/>
                  </a:cubicBezTo>
                  <a:cubicBezTo>
                    <a:pt x="112258" y="110303"/>
                    <a:pt x="112258" y="110303"/>
                    <a:pt x="112258" y="110303"/>
                  </a:cubicBezTo>
                  <a:cubicBezTo>
                    <a:pt x="111612" y="112121"/>
                    <a:pt x="111612" y="112121"/>
                    <a:pt x="111612" y="112121"/>
                  </a:cubicBezTo>
                  <a:cubicBezTo>
                    <a:pt x="111612" y="112121"/>
                    <a:pt x="110967" y="113333"/>
                    <a:pt x="110322" y="113939"/>
                  </a:cubicBezTo>
                  <a:cubicBezTo>
                    <a:pt x="109032" y="113939"/>
                    <a:pt x="107096" y="113939"/>
                    <a:pt x="107096" y="113939"/>
                  </a:cubicBezTo>
                  <a:cubicBezTo>
                    <a:pt x="107096" y="113939"/>
                    <a:pt x="107096" y="113333"/>
                    <a:pt x="105806" y="113939"/>
                  </a:cubicBezTo>
                  <a:cubicBezTo>
                    <a:pt x="104516" y="113939"/>
                    <a:pt x="103225" y="115151"/>
                    <a:pt x="103225" y="115151"/>
                  </a:cubicBezTo>
                  <a:cubicBezTo>
                    <a:pt x="103225" y="115151"/>
                    <a:pt x="103225" y="115151"/>
                    <a:pt x="102580" y="115757"/>
                  </a:cubicBezTo>
                  <a:cubicBezTo>
                    <a:pt x="101290" y="115757"/>
                    <a:pt x="100645" y="115757"/>
                    <a:pt x="100000" y="115757"/>
                  </a:cubicBezTo>
                  <a:cubicBezTo>
                    <a:pt x="99354" y="115757"/>
                    <a:pt x="98064" y="115151"/>
                    <a:pt x="98064" y="115151"/>
                  </a:cubicBezTo>
                  <a:cubicBezTo>
                    <a:pt x="96774" y="116969"/>
                    <a:pt x="96774" y="116969"/>
                    <a:pt x="96774" y="116969"/>
                  </a:cubicBezTo>
                  <a:cubicBezTo>
                    <a:pt x="96774" y="116969"/>
                    <a:pt x="95483" y="117575"/>
                    <a:pt x="94838" y="117575"/>
                  </a:cubicBezTo>
                  <a:cubicBezTo>
                    <a:pt x="94838" y="117575"/>
                    <a:pt x="92903" y="119999"/>
                    <a:pt x="92903" y="119999"/>
                  </a:cubicBezTo>
                  <a:cubicBezTo>
                    <a:pt x="92903" y="119999"/>
                    <a:pt x="92903" y="119999"/>
                    <a:pt x="92258" y="119999"/>
                  </a:cubicBezTo>
                  <a:cubicBezTo>
                    <a:pt x="90967" y="119999"/>
                    <a:pt x="89677" y="119393"/>
                    <a:pt x="89677" y="119393"/>
                  </a:cubicBezTo>
                  <a:cubicBezTo>
                    <a:pt x="87741" y="117575"/>
                    <a:pt x="87741" y="117575"/>
                    <a:pt x="87741" y="117575"/>
                  </a:cubicBezTo>
                  <a:cubicBezTo>
                    <a:pt x="87741" y="117575"/>
                    <a:pt x="88387" y="117575"/>
                    <a:pt x="89677" y="116363"/>
                  </a:cubicBezTo>
                  <a:cubicBezTo>
                    <a:pt x="90322" y="115757"/>
                    <a:pt x="90322" y="115757"/>
                    <a:pt x="90322" y="115151"/>
                  </a:cubicBezTo>
                  <a:cubicBezTo>
                    <a:pt x="89677" y="113939"/>
                    <a:pt x="89032" y="112727"/>
                    <a:pt x="89677" y="112727"/>
                  </a:cubicBezTo>
                  <a:cubicBezTo>
                    <a:pt x="90322" y="112121"/>
                    <a:pt x="90967" y="112727"/>
                    <a:pt x="91612" y="111515"/>
                  </a:cubicBezTo>
                  <a:cubicBezTo>
                    <a:pt x="91612" y="110909"/>
                    <a:pt x="91612" y="110303"/>
                    <a:pt x="91612" y="109090"/>
                  </a:cubicBezTo>
                  <a:cubicBezTo>
                    <a:pt x="91612" y="108484"/>
                    <a:pt x="91612" y="107272"/>
                    <a:pt x="92258" y="107272"/>
                  </a:cubicBezTo>
                  <a:cubicBezTo>
                    <a:pt x="92903" y="106666"/>
                    <a:pt x="92903" y="106060"/>
                    <a:pt x="92903" y="106060"/>
                  </a:cubicBezTo>
                  <a:cubicBezTo>
                    <a:pt x="89677" y="105454"/>
                    <a:pt x="89677" y="105454"/>
                    <a:pt x="89677" y="105454"/>
                  </a:cubicBezTo>
                  <a:cubicBezTo>
                    <a:pt x="87741" y="106060"/>
                    <a:pt x="87741" y="106060"/>
                    <a:pt x="87741" y="106060"/>
                  </a:cubicBezTo>
                  <a:cubicBezTo>
                    <a:pt x="87741" y="106060"/>
                    <a:pt x="87741" y="104848"/>
                    <a:pt x="86451" y="104848"/>
                  </a:cubicBezTo>
                  <a:cubicBezTo>
                    <a:pt x="85161" y="104242"/>
                    <a:pt x="82580" y="104242"/>
                    <a:pt x="82580" y="104242"/>
                  </a:cubicBezTo>
                  <a:cubicBezTo>
                    <a:pt x="81935" y="101818"/>
                    <a:pt x="81935" y="101818"/>
                    <a:pt x="81935" y="101818"/>
                  </a:cubicBezTo>
                  <a:cubicBezTo>
                    <a:pt x="76774" y="100606"/>
                    <a:pt x="76774" y="100606"/>
                    <a:pt x="76774" y="100606"/>
                  </a:cubicBezTo>
                  <a:cubicBezTo>
                    <a:pt x="76774" y="100606"/>
                    <a:pt x="76129" y="98181"/>
                    <a:pt x="75483" y="97575"/>
                  </a:cubicBezTo>
                  <a:cubicBezTo>
                    <a:pt x="74838" y="96969"/>
                    <a:pt x="74838" y="96969"/>
                    <a:pt x="74838" y="96969"/>
                  </a:cubicBezTo>
                  <a:cubicBezTo>
                    <a:pt x="71612" y="94545"/>
                    <a:pt x="71612" y="94545"/>
                    <a:pt x="71612" y="94545"/>
                  </a:cubicBezTo>
                  <a:cubicBezTo>
                    <a:pt x="69677" y="94545"/>
                    <a:pt x="69677" y="94545"/>
                    <a:pt x="69677" y="94545"/>
                  </a:cubicBezTo>
                  <a:cubicBezTo>
                    <a:pt x="69677" y="94545"/>
                    <a:pt x="69032" y="94545"/>
                    <a:pt x="67741" y="93939"/>
                  </a:cubicBezTo>
                  <a:cubicBezTo>
                    <a:pt x="65806" y="93333"/>
                    <a:pt x="65161" y="91515"/>
                    <a:pt x="65161" y="91515"/>
                  </a:cubicBezTo>
                  <a:cubicBezTo>
                    <a:pt x="65161" y="91515"/>
                    <a:pt x="65161" y="90303"/>
                    <a:pt x="63870" y="90909"/>
                  </a:cubicBezTo>
                  <a:cubicBezTo>
                    <a:pt x="62580" y="92121"/>
                    <a:pt x="61290" y="92121"/>
                    <a:pt x="60645" y="92727"/>
                  </a:cubicBezTo>
                  <a:cubicBezTo>
                    <a:pt x="60645" y="92727"/>
                    <a:pt x="60000" y="92727"/>
                    <a:pt x="59354" y="93333"/>
                  </a:cubicBezTo>
                  <a:cubicBezTo>
                    <a:pt x="59354" y="93939"/>
                    <a:pt x="58709" y="93939"/>
                    <a:pt x="60000" y="95151"/>
                  </a:cubicBezTo>
                  <a:cubicBezTo>
                    <a:pt x="60645" y="95757"/>
                    <a:pt x="61290" y="96363"/>
                    <a:pt x="61290" y="96363"/>
                  </a:cubicBezTo>
                  <a:cubicBezTo>
                    <a:pt x="60645" y="99393"/>
                    <a:pt x="60645" y="99393"/>
                    <a:pt x="60645" y="99393"/>
                  </a:cubicBezTo>
                  <a:cubicBezTo>
                    <a:pt x="56774" y="103030"/>
                    <a:pt x="56774" y="103030"/>
                    <a:pt x="56774" y="103030"/>
                  </a:cubicBezTo>
                  <a:cubicBezTo>
                    <a:pt x="57419" y="104848"/>
                    <a:pt x="57419" y="104848"/>
                    <a:pt x="57419" y="104848"/>
                  </a:cubicBezTo>
                  <a:cubicBezTo>
                    <a:pt x="57419" y="104848"/>
                    <a:pt x="58709" y="104848"/>
                    <a:pt x="56774" y="105454"/>
                  </a:cubicBezTo>
                  <a:cubicBezTo>
                    <a:pt x="55483" y="106060"/>
                    <a:pt x="55483" y="106666"/>
                    <a:pt x="54838" y="106666"/>
                  </a:cubicBezTo>
                  <a:cubicBezTo>
                    <a:pt x="54838" y="106060"/>
                    <a:pt x="54193" y="105454"/>
                    <a:pt x="52903" y="104848"/>
                  </a:cubicBezTo>
                  <a:cubicBezTo>
                    <a:pt x="52258" y="104242"/>
                    <a:pt x="52258" y="104242"/>
                    <a:pt x="52258" y="104242"/>
                  </a:cubicBezTo>
                  <a:cubicBezTo>
                    <a:pt x="52258" y="104242"/>
                    <a:pt x="52258" y="104242"/>
                    <a:pt x="51612" y="103636"/>
                  </a:cubicBezTo>
                  <a:cubicBezTo>
                    <a:pt x="51612" y="103636"/>
                    <a:pt x="51612" y="103636"/>
                    <a:pt x="51612" y="103636"/>
                  </a:cubicBezTo>
                  <a:cubicBezTo>
                    <a:pt x="51612" y="103636"/>
                    <a:pt x="51612" y="103030"/>
                    <a:pt x="50322" y="103030"/>
                  </a:cubicBezTo>
                  <a:cubicBezTo>
                    <a:pt x="49677" y="103030"/>
                    <a:pt x="48387" y="101818"/>
                    <a:pt x="48387" y="101818"/>
                  </a:cubicBezTo>
                  <a:cubicBezTo>
                    <a:pt x="46451" y="101818"/>
                    <a:pt x="46451" y="101818"/>
                    <a:pt x="46451" y="101818"/>
                  </a:cubicBezTo>
                  <a:cubicBezTo>
                    <a:pt x="46451" y="101818"/>
                    <a:pt x="44516" y="99999"/>
                    <a:pt x="44516" y="99999"/>
                  </a:cubicBezTo>
                  <a:cubicBezTo>
                    <a:pt x="43870" y="99999"/>
                    <a:pt x="41935" y="99393"/>
                    <a:pt x="41935" y="99393"/>
                  </a:cubicBezTo>
                  <a:cubicBezTo>
                    <a:pt x="41935" y="98181"/>
                    <a:pt x="41935" y="98181"/>
                    <a:pt x="41935" y="98181"/>
                  </a:cubicBezTo>
                  <a:cubicBezTo>
                    <a:pt x="41935" y="98181"/>
                    <a:pt x="41290" y="98181"/>
                    <a:pt x="41290" y="98181"/>
                  </a:cubicBezTo>
                  <a:cubicBezTo>
                    <a:pt x="40645" y="98181"/>
                    <a:pt x="40000" y="98787"/>
                    <a:pt x="40000" y="98787"/>
                  </a:cubicBezTo>
                  <a:cubicBezTo>
                    <a:pt x="38064" y="99393"/>
                    <a:pt x="38064" y="99393"/>
                    <a:pt x="38064" y="99393"/>
                  </a:cubicBezTo>
                  <a:cubicBezTo>
                    <a:pt x="38064" y="99393"/>
                    <a:pt x="36774" y="99393"/>
                    <a:pt x="36774" y="99393"/>
                  </a:cubicBezTo>
                  <a:cubicBezTo>
                    <a:pt x="36129" y="98787"/>
                    <a:pt x="35483" y="97575"/>
                    <a:pt x="35483" y="97575"/>
                  </a:cubicBezTo>
                  <a:cubicBezTo>
                    <a:pt x="35483" y="97575"/>
                    <a:pt x="35483" y="97575"/>
                    <a:pt x="34838" y="97575"/>
                  </a:cubicBezTo>
                  <a:cubicBezTo>
                    <a:pt x="34193" y="98181"/>
                    <a:pt x="35483" y="98787"/>
                    <a:pt x="34193" y="98181"/>
                  </a:cubicBezTo>
                  <a:cubicBezTo>
                    <a:pt x="32258" y="97575"/>
                    <a:pt x="32258" y="97575"/>
                    <a:pt x="32258" y="97575"/>
                  </a:cubicBezTo>
                  <a:cubicBezTo>
                    <a:pt x="30967" y="96363"/>
                    <a:pt x="30967" y="96363"/>
                    <a:pt x="30967" y="96363"/>
                  </a:cubicBezTo>
                  <a:cubicBezTo>
                    <a:pt x="30322" y="96363"/>
                    <a:pt x="30322" y="96363"/>
                    <a:pt x="30322" y="96363"/>
                  </a:cubicBezTo>
                  <a:cubicBezTo>
                    <a:pt x="29677" y="96363"/>
                    <a:pt x="29677" y="96363"/>
                    <a:pt x="29677" y="96363"/>
                  </a:cubicBezTo>
                  <a:cubicBezTo>
                    <a:pt x="29677" y="96363"/>
                    <a:pt x="29032" y="95151"/>
                    <a:pt x="29032" y="95151"/>
                  </a:cubicBezTo>
                  <a:cubicBezTo>
                    <a:pt x="29032" y="95151"/>
                    <a:pt x="29032" y="93939"/>
                    <a:pt x="29032" y="93939"/>
                  </a:cubicBezTo>
                  <a:cubicBezTo>
                    <a:pt x="28387" y="93939"/>
                    <a:pt x="26451" y="93333"/>
                    <a:pt x="26451" y="93333"/>
                  </a:cubicBezTo>
                  <a:cubicBezTo>
                    <a:pt x="25806" y="92121"/>
                    <a:pt x="25806" y="92121"/>
                    <a:pt x="25806" y="92121"/>
                  </a:cubicBezTo>
                  <a:cubicBezTo>
                    <a:pt x="25806" y="92121"/>
                    <a:pt x="25806" y="92121"/>
                    <a:pt x="25806" y="92121"/>
                  </a:cubicBezTo>
                  <a:cubicBezTo>
                    <a:pt x="25161" y="92121"/>
                    <a:pt x="23870" y="91515"/>
                    <a:pt x="23870" y="91515"/>
                  </a:cubicBezTo>
                  <a:cubicBezTo>
                    <a:pt x="23225" y="90909"/>
                    <a:pt x="23225" y="90909"/>
                    <a:pt x="23225" y="90909"/>
                  </a:cubicBezTo>
                  <a:cubicBezTo>
                    <a:pt x="21290" y="90909"/>
                    <a:pt x="21290" y="90909"/>
                    <a:pt x="21290" y="90909"/>
                  </a:cubicBezTo>
                  <a:cubicBezTo>
                    <a:pt x="20645" y="89696"/>
                    <a:pt x="20645" y="89696"/>
                    <a:pt x="20645" y="89696"/>
                  </a:cubicBezTo>
                  <a:cubicBezTo>
                    <a:pt x="20645" y="89696"/>
                    <a:pt x="20000" y="89090"/>
                    <a:pt x="20000" y="89090"/>
                  </a:cubicBezTo>
                  <a:cubicBezTo>
                    <a:pt x="20645" y="89090"/>
                    <a:pt x="20645" y="87878"/>
                    <a:pt x="20645" y="87878"/>
                  </a:cubicBezTo>
                  <a:cubicBezTo>
                    <a:pt x="20000" y="87878"/>
                    <a:pt x="20000" y="87878"/>
                    <a:pt x="20000" y="87878"/>
                  </a:cubicBezTo>
                  <a:cubicBezTo>
                    <a:pt x="20645" y="87272"/>
                    <a:pt x="21935" y="87272"/>
                    <a:pt x="21935" y="87272"/>
                  </a:cubicBezTo>
                  <a:cubicBezTo>
                    <a:pt x="23225" y="85454"/>
                    <a:pt x="23225" y="85454"/>
                    <a:pt x="23225" y="85454"/>
                  </a:cubicBezTo>
                  <a:cubicBezTo>
                    <a:pt x="23225" y="85454"/>
                    <a:pt x="23225" y="85454"/>
                    <a:pt x="23870" y="85454"/>
                  </a:cubicBezTo>
                  <a:cubicBezTo>
                    <a:pt x="25161" y="86060"/>
                    <a:pt x="25806" y="86060"/>
                    <a:pt x="26451" y="86060"/>
                  </a:cubicBezTo>
                  <a:cubicBezTo>
                    <a:pt x="27096" y="86060"/>
                    <a:pt x="27741" y="87272"/>
                    <a:pt x="27741" y="84848"/>
                  </a:cubicBezTo>
                  <a:cubicBezTo>
                    <a:pt x="27741" y="83030"/>
                    <a:pt x="27741" y="82424"/>
                    <a:pt x="27741" y="82424"/>
                  </a:cubicBezTo>
                  <a:cubicBezTo>
                    <a:pt x="24516" y="80000"/>
                    <a:pt x="24516" y="80000"/>
                    <a:pt x="24516" y="80000"/>
                  </a:cubicBezTo>
                  <a:cubicBezTo>
                    <a:pt x="24516" y="80000"/>
                    <a:pt x="24516" y="79393"/>
                    <a:pt x="23870" y="78181"/>
                  </a:cubicBezTo>
                  <a:cubicBezTo>
                    <a:pt x="23225" y="77575"/>
                    <a:pt x="22580" y="76969"/>
                    <a:pt x="22580" y="76969"/>
                  </a:cubicBezTo>
                  <a:cubicBezTo>
                    <a:pt x="21935" y="76969"/>
                    <a:pt x="20645" y="75757"/>
                    <a:pt x="20645" y="75757"/>
                  </a:cubicBezTo>
                  <a:cubicBezTo>
                    <a:pt x="20000" y="75151"/>
                    <a:pt x="19354" y="74545"/>
                    <a:pt x="19354" y="74545"/>
                  </a:cubicBezTo>
                  <a:cubicBezTo>
                    <a:pt x="19354" y="74545"/>
                    <a:pt x="19354" y="73333"/>
                    <a:pt x="19354" y="72727"/>
                  </a:cubicBezTo>
                  <a:cubicBezTo>
                    <a:pt x="20000" y="72727"/>
                    <a:pt x="20000" y="72727"/>
                    <a:pt x="20645" y="72727"/>
                  </a:cubicBezTo>
                  <a:cubicBezTo>
                    <a:pt x="21290" y="73333"/>
                    <a:pt x="21935" y="73333"/>
                    <a:pt x="22580" y="73333"/>
                  </a:cubicBezTo>
                  <a:cubicBezTo>
                    <a:pt x="23225" y="73333"/>
                    <a:pt x="23870" y="73333"/>
                    <a:pt x="24516" y="73333"/>
                  </a:cubicBezTo>
                  <a:cubicBezTo>
                    <a:pt x="24516" y="73333"/>
                    <a:pt x="26451" y="72727"/>
                    <a:pt x="26451" y="72727"/>
                  </a:cubicBezTo>
                  <a:cubicBezTo>
                    <a:pt x="27096" y="72727"/>
                    <a:pt x="27096" y="71515"/>
                    <a:pt x="27741" y="71515"/>
                  </a:cubicBezTo>
                  <a:cubicBezTo>
                    <a:pt x="27741" y="71515"/>
                    <a:pt x="28387" y="70909"/>
                    <a:pt x="27741" y="70303"/>
                  </a:cubicBezTo>
                  <a:cubicBezTo>
                    <a:pt x="27741" y="70303"/>
                    <a:pt x="26451" y="69696"/>
                    <a:pt x="26451" y="69696"/>
                  </a:cubicBezTo>
                  <a:cubicBezTo>
                    <a:pt x="25806" y="69696"/>
                    <a:pt x="25161" y="69090"/>
                    <a:pt x="25161" y="68484"/>
                  </a:cubicBezTo>
                  <a:cubicBezTo>
                    <a:pt x="24516" y="68484"/>
                    <a:pt x="23870" y="67878"/>
                    <a:pt x="23870" y="67272"/>
                  </a:cubicBezTo>
                  <a:cubicBezTo>
                    <a:pt x="23225" y="67272"/>
                    <a:pt x="23225" y="67878"/>
                    <a:pt x="22580" y="67878"/>
                  </a:cubicBezTo>
                  <a:cubicBezTo>
                    <a:pt x="21935" y="67272"/>
                    <a:pt x="21290" y="66666"/>
                    <a:pt x="20645" y="66060"/>
                  </a:cubicBezTo>
                  <a:cubicBezTo>
                    <a:pt x="20645" y="65454"/>
                    <a:pt x="20645" y="65454"/>
                    <a:pt x="20000" y="64848"/>
                  </a:cubicBezTo>
                  <a:cubicBezTo>
                    <a:pt x="19354" y="64848"/>
                    <a:pt x="18709" y="64242"/>
                    <a:pt x="18064" y="64242"/>
                  </a:cubicBezTo>
                  <a:cubicBezTo>
                    <a:pt x="17419" y="64242"/>
                    <a:pt x="17419" y="64848"/>
                    <a:pt x="16129" y="64242"/>
                  </a:cubicBezTo>
                  <a:cubicBezTo>
                    <a:pt x="14838" y="64242"/>
                    <a:pt x="13548" y="63636"/>
                    <a:pt x="13548" y="63030"/>
                  </a:cubicBezTo>
                  <a:cubicBezTo>
                    <a:pt x="14193" y="62424"/>
                    <a:pt x="13548" y="62424"/>
                    <a:pt x="14193" y="61818"/>
                  </a:cubicBezTo>
                  <a:cubicBezTo>
                    <a:pt x="14193" y="61212"/>
                    <a:pt x="14193" y="59999"/>
                    <a:pt x="14193" y="59393"/>
                  </a:cubicBezTo>
                  <a:cubicBezTo>
                    <a:pt x="14193" y="58787"/>
                    <a:pt x="13548" y="59393"/>
                    <a:pt x="13548" y="57575"/>
                  </a:cubicBezTo>
                  <a:cubicBezTo>
                    <a:pt x="12903" y="55757"/>
                    <a:pt x="14193" y="56363"/>
                    <a:pt x="14193" y="56363"/>
                  </a:cubicBezTo>
                  <a:cubicBezTo>
                    <a:pt x="14193" y="56363"/>
                    <a:pt x="14838" y="55151"/>
                    <a:pt x="14838" y="54545"/>
                  </a:cubicBezTo>
                  <a:cubicBezTo>
                    <a:pt x="14838" y="54545"/>
                    <a:pt x="15483" y="52727"/>
                    <a:pt x="15483" y="52727"/>
                  </a:cubicBezTo>
                  <a:cubicBezTo>
                    <a:pt x="17419" y="50303"/>
                    <a:pt x="17419" y="50303"/>
                    <a:pt x="17419" y="50303"/>
                  </a:cubicBezTo>
                  <a:cubicBezTo>
                    <a:pt x="17419" y="48484"/>
                    <a:pt x="17419" y="48484"/>
                    <a:pt x="17419" y="48484"/>
                  </a:cubicBezTo>
                  <a:cubicBezTo>
                    <a:pt x="17419" y="46060"/>
                    <a:pt x="17419" y="46060"/>
                    <a:pt x="17419" y="46060"/>
                  </a:cubicBezTo>
                  <a:cubicBezTo>
                    <a:pt x="17419" y="44242"/>
                    <a:pt x="17419" y="44242"/>
                    <a:pt x="17419" y="44242"/>
                  </a:cubicBezTo>
                  <a:cubicBezTo>
                    <a:pt x="15483" y="43636"/>
                    <a:pt x="15483" y="43636"/>
                    <a:pt x="15483" y="43636"/>
                  </a:cubicBezTo>
                  <a:cubicBezTo>
                    <a:pt x="11612" y="43030"/>
                    <a:pt x="11612" y="43030"/>
                    <a:pt x="11612" y="43030"/>
                  </a:cubicBezTo>
                  <a:cubicBezTo>
                    <a:pt x="11612" y="43030"/>
                    <a:pt x="11612" y="44242"/>
                    <a:pt x="10967" y="44242"/>
                  </a:cubicBezTo>
                  <a:cubicBezTo>
                    <a:pt x="10967" y="44242"/>
                    <a:pt x="10322" y="44848"/>
                    <a:pt x="9677" y="44848"/>
                  </a:cubicBezTo>
                  <a:cubicBezTo>
                    <a:pt x="9032" y="44242"/>
                    <a:pt x="9032" y="44242"/>
                    <a:pt x="9032" y="44242"/>
                  </a:cubicBezTo>
                  <a:cubicBezTo>
                    <a:pt x="10322" y="43030"/>
                    <a:pt x="10322" y="43030"/>
                    <a:pt x="10322" y="43030"/>
                  </a:cubicBezTo>
                  <a:cubicBezTo>
                    <a:pt x="10322" y="40606"/>
                    <a:pt x="10322" y="40606"/>
                    <a:pt x="10322" y="40606"/>
                  </a:cubicBezTo>
                  <a:cubicBezTo>
                    <a:pt x="10322" y="40606"/>
                    <a:pt x="9677" y="39393"/>
                    <a:pt x="9032" y="38181"/>
                  </a:cubicBezTo>
                  <a:cubicBezTo>
                    <a:pt x="8387" y="37575"/>
                    <a:pt x="7741" y="36969"/>
                    <a:pt x="7741" y="36969"/>
                  </a:cubicBezTo>
                  <a:cubicBezTo>
                    <a:pt x="9677" y="35757"/>
                    <a:pt x="9677" y="35757"/>
                    <a:pt x="9677" y="35757"/>
                  </a:cubicBezTo>
                  <a:cubicBezTo>
                    <a:pt x="10322" y="35151"/>
                    <a:pt x="10322" y="35151"/>
                    <a:pt x="10322" y="35151"/>
                  </a:cubicBezTo>
                  <a:cubicBezTo>
                    <a:pt x="10322" y="34545"/>
                    <a:pt x="10322" y="34545"/>
                    <a:pt x="10322" y="34545"/>
                  </a:cubicBezTo>
                  <a:cubicBezTo>
                    <a:pt x="10322" y="34545"/>
                    <a:pt x="11612" y="35757"/>
                    <a:pt x="12903" y="35757"/>
                  </a:cubicBezTo>
                  <a:cubicBezTo>
                    <a:pt x="13548" y="35757"/>
                    <a:pt x="12903" y="35757"/>
                    <a:pt x="14193" y="35151"/>
                  </a:cubicBezTo>
                  <a:cubicBezTo>
                    <a:pt x="15483" y="35151"/>
                    <a:pt x="17419" y="33333"/>
                    <a:pt x="17419" y="33333"/>
                  </a:cubicBezTo>
                  <a:cubicBezTo>
                    <a:pt x="17419" y="33333"/>
                    <a:pt x="16129" y="32121"/>
                    <a:pt x="15483" y="32121"/>
                  </a:cubicBezTo>
                  <a:cubicBezTo>
                    <a:pt x="14838" y="32727"/>
                    <a:pt x="15483" y="32727"/>
                    <a:pt x="13548" y="32727"/>
                  </a:cubicBezTo>
                  <a:cubicBezTo>
                    <a:pt x="11612" y="32121"/>
                    <a:pt x="10967" y="31515"/>
                    <a:pt x="10967" y="31515"/>
                  </a:cubicBezTo>
                  <a:cubicBezTo>
                    <a:pt x="10967" y="31515"/>
                    <a:pt x="10322" y="31515"/>
                    <a:pt x="9677" y="31515"/>
                  </a:cubicBezTo>
                  <a:cubicBezTo>
                    <a:pt x="9032" y="31515"/>
                    <a:pt x="9032" y="31515"/>
                    <a:pt x="8387" y="30909"/>
                  </a:cubicBezTo>
                  <a:cubicBezTo>
                    <a:pt x="7096" y="29696"/>
                    <a:pt x="5806" y="28484"/>
                    <a:pt x="5806" y="28484"/>
                  </a:cubicBezTo>
                  <a:cubicBezTo>
                    <a:pt x="5806" y="28484"/>
                    <a:pt x="4516" y="29090"/>
                    <a:pt x="4516" y="28484"/>
                  </a:cubicBezTo>
                  <a:cubicBezTo>
                    <a:pt x="4516" y="27878"/>
                    <a:pt x="5161" y="27272"/>
                    <a:pt x="5161" y="27272"/>
                  </a:cubicBezTo>
                  <a:cubicBezTo>
                    <a:pt x="4516" y="26060"/>
                    <a:pt x="4516" y="26060"/>
                    <a:pt x="4516" y="26060"/>
                  </a:cubicBezTo>
                  <a:cubicBezTo>
                    <a:pt x="4516" y="26060"/>
                    <a:pt x="5806" y="26060"/>
                    <a:pt x="6451" y="25454"/>
                  </a:cubicBezTo>
                  <a:cubicBezTo>
                    <a:pt x="7096" y="25454"/>
                    <a:pt x="7096" y="23636"/>
                    <a:pt x="6451" y="23636"/>
                  </a:cubicBezTo>
                  <a:cubicBezTo>
                    <a:pt x="5806" y="23636"/>
                    <a:pt x="5161" y="23030"/>
                    <a:pt x="4516" y="23636"/>
                  </a:cubicBezTo>
                  <a:cubicBezTo>
                    <a:pt x="3870" y="23636"/>
                    <a:pt x="3225" y="24242"/>
                    <a:pt x="3225" y="24242"/>
                  </a:cubicBezTo>
                  <a:cubicBezTo>
                    <a:pt x="2580" y="24242"/>
                    <a:pt x="1290" y="23636"/>
                    <a:pt x="1290" y="23030"/>
                  </a:cubicBezTo>
                  <a:cubicBezTo>
                    <a:pt x="1290" y="22424"/>
                    <a:pt x="645" y="22424"/>
                    <a:pt x="1935" y="21818"/>
                  </a:cubicBezTo>
                  <a:cubicBezTo>
                    <a:pt x="2580" y="21818"/>
                    <a:pt x="3225" y="20606"/>
                    <a:pt x="3225" y="20606"/>
                  </a:cubicBezTo>
                  <a:cubicBezTo>
                    <a:pt x="1935" y="18787"/>
                    <a:pt x="1935" y="18787"/>
                    <a:pt x="1935" y="18787"/>
                  </a:cubicBezTo>
                  <a:cubicBezTo>
                    <a:pt x="2580" y="15151"/>
                    <a:pt x="2580" y="15151"/>
                    <a:pt x="2580" y="15151"/>
                  </a:cubicBezTo>
                  <a:cubicBezTo>
                    <a:pt x="0" y="14545"/>
                    <a:pt x="0" y="14545"/>
                    <a:pt x="0" y="14545"/>
                  </a:cubicBezTo>
                  <a:cubicBezTo>
                    <a:pt x="0" y="13333"/>
                    <a:pt x="0" y="13333"/>
                    <a:pt x="0" y="13333"/>
                  </a:cubicBezTo>
                  <a:cubicBezTo>
                    <a:pt x="2580" y="12121"/>
                    <a:pt x="2580" y="12121"/>
                    <a:pt x="2580" y="12121"/>
                  </a:cubicBezTo>
                  <a:cubicBezTo>
                    <a:pt x="5161" y="8484"/>
                    <a:pt x="5161" y="8484"/>
                    <a:pt x="5161" y="8484"/>
                  </a:cubicBezTo>
                  <a:cubicBezTo>
                    <a:pt x="5806" y="9090"/>
                    <a:pt x="5806" y="9090"/>
                    <a:pt x="5806" y="9090"/>
                  </a:cubicBezTo>
                  <a:cubicBezTo>
                    <a:pt x="5806" y="9090"/>
                    <a:pt x="6451" y="9090"/>
                    <a:pt x="7096" y="8484"/>
                  </a:cubicBezTo>
                  <a:close/>
                </a:path>
              </a:pathLst>
            </a:custGeom>
            <a:solidFill>
              <a:srgbClr val="00B050"/>
            </a:solidFill>
            <a:ln w="3175" cap="flat" cmpd="sng">
              <a:solidFill>
                <a:schemeClr val="tx1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defTabSz="457200"/>
              <a:endParaRPr kern="0">
                <a:solidFill>
                  <a:srgbClr val="7F7F7F"/>
                </a:solidFill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31" name="Shape 2024">
              <a:extLst>
                <a:ext uri="{FF2B5EF4-FFF2-40B4-BE49-F238E27FC236}">
                  <a16:creationId xmlns:a16="http://schemas.microsoft.com/office/drawing/2014/main" id="{74BE40EB-FE7C-303E-C655-5E8937138738}"/>
                </a:ext>
              </a:extLst>
            </p:cNvPr>
            <p:cNvSpPr/>
            <p:nvPr/>
          </p:nvSpPr>
          <p:spPr>
            <a:xfrm>
              <a:off x="3839470" y="3294437"/>
              <a:ext cx="363602" cy="221875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21502" y="82568"/>
                  </a:moveTo>
                  <a:cubicBezTo>
                    <a:pt x="22890" y="83669"/>
                    <a:pt x="22890" y="83669"/>
                    <a:pt x="22890" y="83669"/>
                  </a:cubicBezTo>
                  <a:cubicBezTo>
                    <a:pt x="22890" y="85871"/>
                    <a:pt x="22890" y="85871"/>
                    <a:pt x="22890" y="85871"/>
                  </a:cubicBezTo>
                  <a:cubicBezTo>
                    <a:pt x="22890" y="85871"/>
                    <a:pt x="22890" y="84770"/>
                    <a:pt x="22196" y="86972"/>
                  </a:cubicBezTo>
                  <a:cubicBezTo>
                    <a:pt x="21502" y="88073"/>
                    <a:pt x="21502" y="88073"/>
                    <a:pt x="21502" y="88073"/>
                  </a:cubicBezTo>
                  <a:cubicBezTo>
                    <a:pt x="22196" y="88073"/>
                    <a:pt x="22890" y="89174"/>
                    <a:pt x="22890" y="89174"/>
                  </a:cubicBezTo>
                  <a:cubicBezTo>
                    <a:pt x="22890" y="89174"/>
                    <a:pt x="23583" y="89174"/>
                    <a:pt x="22890" y="90275"/>
                  </a:cubicBezTo>
                  <a:cubicBezTo>
                    <a:pt x="22890" y="92477"/>
                    <a:pt x="22890" y="93577"/>
                    <a:pt x="22890" y="93577"/>
                  </a:cubicBezTo>
                  <a:cubicBezTo>
                    <a:pt x="22890" y="93577"/>
                    <a:pt x="22890" y="94678"/>
                    <a:pt x="22890" y="95779"/>
                  </a:cubicBezTo>
                  <a:cubicBezTo>
                    <a:pt x="22196" y="95779"/>
                    <a:pt x="21502" y="99082"/>
                    <a:pt x="21502" y="99082"/>
                  </a:cubicBezTo>
                  <a:cubicBezTo>
                    <a:pt x="21502" y="99082"/>
                    <a:pt x="21502" y="99082"/>
                    <a:pt x="21502" y="100183"/>
                  </a:cubicBezTo>
                  <a:cubicBezTo>
                    <a:pt x="22196" y="100183"/>
                    <a:pt x="24277" y="100183"/>
                    <a:pt x="24277" y="100183"/>
                  </a:cubicBezTo>
                  <a:cubicBezTo>
                    <a:pt x="24277" y="100183"/>
                    <a:pt x="24277" y="102385"/>
                    <a:pt x="24277" y="103486"/>
                  </a:cubicBezTo>
                  <a:cubicBezTo>
                    <a:pt x="23583" y="103486"/>
                    <a:pt x="22890" y="105688"/>
                    <a:pt x="23583" y="105688"/>
                  </a:cubicBezTo>
                  <a:cubicBezTo>
                    <a:pt x="24277" y="105688"/>
                    <a:pt x="24971" y="106788"/>
                    <a:pt x="24971" y="106788"/>
                  </a:cubicBezTo>
                  <a:cubicBezTo>
                    <a:pt x="24971" y="106788"/>
                    <a:pt x="25664" y="107889"/>
                    <a:pt x="25664" y="107889"/>
                  </a:cubicBezTo>
                  <a:cubicBezTo>
                    <a:pt x="26358" y="107889"/>
                    <a:pt x="27052" y="108990"/>
                    <a:pt x="27052" y="108990"/>
                  </a:cubicBezTo>
                  <a:cubicBezTo>
                    <a:pt x="27052" y="108990"/>
                    <a:pt x="28439" y="111192"/>
                    <a:pt x="28439" y="111192"/>
                  </a:cubicBezTo>
                  <a:cubicBezTo>
                    <a:pt x="28439" y="112293"/>
                    <a:pt x="27745" y="113394"/>
                    <a:pt x="27745" y="113394"/>
                  </a:cubicBezTo>
                  <a:cubicBezTo>
                    <a:pt x="27745" y="113394"/>
                    <a:pt x="29132" y="115596"/>
                    <a:pt x="29132" y="115596"/>
                  </a:cubicBezTo>
                  <a:cubicBezTo>
                    <a:pt x="29132" y="115596"/>
                    <a:pt x="29132" y="116697"/>
                    <a:pt x="29826" y="116697"/>
                  </a:cubicBezTo>
                  <a:cubicBezTo>
                    <a:pt x="30520" y="116697"/>
                    <a:pt x="31213" y="115596"/>
                    <a:pt x="31213" y="115596"/>
                  </a:cubicBezTo>
                  <a:cubicBezTo>
                    <a:pt x="31213" y="115596"/>
                    <a:pt x="32601" y="114495"/>
                    <a:pt x="32601" y="114495"/>
                  </a:cubicBezTo>
                  <a:cubicBezTo>
                    <a:pt x="32601" y="114495"/>
                    <a:pt x="33294" y="113394"/>
                    <a:pt x="33988" y="113394"/>
                  </a:cubicBezTo>
                  <a:cubicBezTo>
                    <a:pt x="34682" y="113394"/>
                    <a:pt x="35375" y="114495"/>
                    <a:pt x="36069" y="114495"/>
                  </a:cubicBezTo>
                  <a:cubicBezTo>
                    <a:pt x="36763" y="114495"/>
                    <a:pt x="38843" y="114495"/>
                    <a:pt x="38843" y="114495"/>
                  </a:cubicBezTo>
                  <a:cubicBezTo>
                    <a:pt x="38843" y="112293"/>
                    <a:pt x="38843" y="112293"/>
                    <a:pt x="38843" y="112293"/>
                  </a:cubicBezTo>
                  <a:cubicBezTo>
                    <a:pt x="38843" y="112293"/>
                    <a:pt x="38843" y="111192"/>
                    <a:pt x="39537" y="111192"/>
                  </a:cubicBezTo>
                  <a:cubicBezTo>
                    <a:pt x="40231" y="111192"/>
                    <a:pt x="40924" y="111192"/>
                    <a:pt x="40924" y="111192"/>
                  </a:cubicBezTo>
                  <a:cubicBezTo>
                    <a:pt x="40924" y="111192"/>
                    <a:pt x="40231" y="110091"/>
                    <a:pt x="40924" y="110091"/>
                  </a:cubicBezTo>
                  <a:cubicBezTo>
                    <a:pt x="40924" y="110091"/>
                    <a:pt x="42312" y="110091"/>
                    <a:pt x="43005" y="111192"/>
                  </a:cubicBezTo>
                  <a:cubicBezTo>
                    <a:pt x="43005" y="111192"/>
                    <a:pt x="44393" y="110091"/>
                    <a:pt x="44393" y="111192"/>
                  </a:cubicBezTo>
                  <a:cubicBezTo>
                    <a:pt x="44393" y="111192"/>
                    <a:pt x="45086" y="112293"/>
                    <a:pt x="45086" y="112293"/>
                  </a:cubicBezTo>
                  <a:cubicBezTo>
                    <a:pt x="45086" y="112293"/>
                    <a:pt x="45780" y="114495"/>
                    <a:pt x="45780" y="113394"/>
                  </a:cubicBezTo>
                  <a:cubicBezTo>
                    <a:pt x="46473" y="113394"/>
                    <a:pt x="46473" y="113394"/>
                    <a:pt x="47167" y="113394"/>
                  </a:cubicBezTo>
                  <a:cubicBezTo>
                    <a:pt x="47167" y="114495"/>
                    <a:pt x="48554" y="114495"/>
                    <a:pt x="49248" y="114495"/>
                  </a:cubicBezTo>
                  <a:cubicBezTo>
                    <a:pt x="49248" y="113394"/>
                    <a:pt x="49248" y="113394"/>
                    <a:pt x="49248" y="113394"/>
                  </a:cubicBezTo>
                  <a:cubicBezTo>
                    <a:pt x="49248" y="112293"/>
                    <a:pt x="48554" y="111192"/>
                    <a:pt x="49942" y="111192"/>
                  </a:cubicBezTo>
                  <a:cubicBezTo>
                    <a:pt x="50635" y="111192"/>
                    <a:pt x="50635" y="110091"/>
                    <a:pt x="51329" y="110091"/>
                  </a:cubicBezTo>
                  <a:cubicBezTo>
                    <a:pt x="52023" y="110091"/>
                    <a:pt x="52716" y="110091"/>
                    <a:pt x="52716" y="110091"/>
                  </a:cubicBezTo>
                  <a:cubicBezTo>
                    <a:pt x="52716" y="110091"/>
                    <a:pt x="52716" y="110091"/>
                    <a:pt x="53410" y="108990"/>
                  </a:cubicBezTo>
                  <a:cubicBezTo>
                    <a:pt x="54104" y="107889"/>
                    <a:pt x="54104" y="106788"/>
                    <a:pt x="54104" y="106788"/>
                  </a:cubicBezTo>
                  <a:cubicBezTo>
                    <a:pt x="54104" y="105688"/>
                    <a:pt x="54104" y="104587"/>
                    <a:pt x="54104" y="104587"/>
                  </a:cubicBezTo>
                  <a:cubicBezTo>
                    <a:pt x="54797" y="103486"/>
                    <a:pt x="54797" y="103486"/>
                    <a:pt x="54797" y="103486"/>
                  </a:cubicBezTo>
                  <a:cubicBezTo>
                    <a:pt x="55491" y="102385"/>
                    <a:pt x="55491" y="102385"/>
                    <a:pt x="55491" y="102385"/>
                  </a:cubicBezTo>
                  <a:cubicBezTo>
                    <a:pt x="55491" y="102385"/>
                    <a:pt x="55491" y="102385"/>
                    <a:pt x="56184" y="100183"/>
                  </a:cubicBezTo>
                  <a:cubicBezTo>
                    <a:pt x="56184" y="99082"/>
                    <a:pt x="56184" y="99082"/>
                    <a:pt x="56184" y="99082"/>
                  </a:cubicBezTo>
                  <a:cubicBezTo>
                    <a:pt x="56878" y="96880"/>
                    <a:pt x="56878" y="96880"/>
                    <a:pt x="56878" y="96880"/>
                  </a:cubicBezTo>
                  <a:cubicBezTo>
                    <a:pt x="56184" y="93577"/>
                    <a:pt x="56184" y="93577"/>
                    <a:pt x="56184" y="93577"/>
                  </a:cubicBezTo>
                  <a:cubicBezTo>
                    <a:pt x="55491" y="92477"/>
                    <a:pt x="55491" y="92477"/>
                    <a:pt x="55491" y="92477"/>
                  </a:cubicBezTo>
                  <a:cubicBezTo>
                    <a:pt x="56184" y="91376"/>
                    <a:pt x="56184" y="91376"/>
                    <a:pt x="56184" y="91376"/>
                  </a:cubicBezTo>
                  <a:cubicBezTo>
                    <a:pt x="56184" y="91376"/>
                    <a:pt x="56878" y="90275"/>
                    <a:pt x="57572" y="90275"/>
                  </a:cubicBezTo>
                  <a:cubicBezTo>
                    <a:pt x="58265" y="90275"/>
                    <a:pt x="58265" y="90275"/>
                    <a:pt x="58265" y="89174"/>
                  </a:cubicBezTo>
                  <a:cubicBezTo>
                    <a:pt x="58959" y="89174"/>
                    <a:pt x="60346" y="86972"/>
                    <a:pt x="60346" y="86972"/>
                  </a:cubicBezTo>
                  <a:cubicBezTo>
                    <a:pt x="60346" y="86972"/>
                    <a:pt x="60346" y="86972"/>
                    <a:pt x="61040" y="86972"/>
                  </a:cubicBezTo>
                  <a:cubicBezTo>
                    <a:pt x="61040" y="85871"/>
                    <a:pt x="61040" y="84770"/>
                    <a:pt x="61040" y="84770"/>
                  </a:cubicBezTo>
                  <a:cubicBezTo>
                    <a:pt x="61040" y="84770"/>
                    <a:pt x="61040" y="83669"/>
                    <a:pt x="61734" y="83669"/>
                  </a:cubicBezTo>
                  <a:cubicBezTo>
                    <a:pt x="62427" y="82568"/>
                    <a:pt x="65202" y="81467"/>
                    <a:pt x="65202" y="81467"/>
                  </a:cubicBezTo>
                  <a:cubicBezTo>
                    <a:pt x="65202" y="81467"/>
                    <a:pt x="64508" y="83669"/>
                    <a:pt x="64508" y="84770"/>
                  </a:cubicBezTo>
                  <a:cubicBezTo>
                    <a:pt x="64508" y="85871"/>
                    <a:pt x="65202" y="88073"/>
                    <a:pt x="65202" y="88073"/>
                  </a:cubicBezTo>
                  <a:cubicBezTo>
                    <a:pt x="65202" y="88073"/>
                    <a:pt x="64508" y="90275"/>
                    <a:pt x="64508" y="90275"/>
                  </a:cubicBezTo>
                  <a:cubicBezTo>
                    <a:pt x="64508" y="91376"/>
                    <a:pt x="64508" y="92477"/>
                    <a:pt x="64508" y="92477"/>
                  </a:cubicBezTo>
                  <a:cubicBezTo>
                    <a:pt x="65202" y="93577"/>
                    <a:pt x="65202" y="93577"/>
                    <a:pt x="65202" y="93577"/>
                  </a:cubicBezTo>
                  <a:cubicBezTo>
                    <a:pt x="65202" y="93577"/>
                    <a:pt x="65202" y="94678"/>
                    <a:pt x="65202" y="94678"/>
                  </a:cubicBezTo>
                  <a:cubicBezTo>
                    <a:pt x="65895" y="94678"/>
                    <a:pt x="66589" y="96880"/>
                    <a:pt x="66589" y="96880"/>
                  </a:cubicBezTo>
                  <a:cubicBezTo>
                    <a:pt x="67283" y="96880"/>
                    <a:pt x="67283" y="96880"/>
                    <a:pt x="67283" y="96880"/>
                  </a:cubicBezTo>
                  <a:cubicBezTo>
                    <a:pt x="67283" y="96880"/>
                    <a:pt x="67976" y="97981"/>
                    <a:pt x="67976" y="99082"/>
                  </a:cubicBezTo>
                  <a:cubicBezTo>
                    <a:pt x="67976" y="99082"/>
                    <a:pt x="68670" y="100183"/>
                    <a:pt x="69364" y="101284"/>
                  </a:cubicBezTo>
                  <a:cubicBezTo>
                    <a:pt x="69364" y="101284"/>
                    <a:pt x="70057" y="101284"/>
                    <a:pt x="70057" y="101284"/>
                  </a:cubicBezTo>
                  <a:cubicBezTo>
                    <a:pt x="70751" y="101284"/>
                    <a:pt x="71445" y="101284"/>
                    <a:pt x="71445" y="101284"/>
                  </a:cubicBezTo>
                  <a:cubicBezTo>
                    <a:pt x="71445" y="102385"/>
                    <a:pt x="72832" y="102385"/>
                    <a:pt x="73526" y="102385"/>
                  </a:cubicBezTo>
                  <a:cubicBezTo>
                    <a:pt x="73526" y="103486"/>
                    <a:pt x="74913" y="102385"/>
                    <a:pt x="74913" y="102385"/>
                  </a:cubicBezTo>
                  <a:cubicBezTo>
                    <a:pt x="75606" y="103486"/>
                    <a:pt x="75606" y="103486"/>
                    <a:pt x="75606" y="103486"/>
                  </a:cubicBezTo>
                  <a:cubicBezTo>
                    <a:pt x="76300" y="103486"/>
                    <a:pt x="76300" y="103486"/>
                    <a:pt x="76300" y="103486"/>
                  </a:cubicBezTo>
                  <a:cubicBezTo>
                    <a:pt x="76300" y="103486"/>
                    <a:pt x="76994" y="103486"/>
                    <a:pt x="76994" y="104587"/>
                  </a:cubicBezTo>
                  <a:cubicBezTo>
                    <a:pt x="76300" y="105688"/>
                    <a:pt x="76300" y="105688"/>
                    <a:pt x="76300" y="105688"/>
                  </a:cubicBezTo>
                  <a:cubicBezTo>
                    <a:pt x="76300" y="105688"/>
                    <a:pt x="76300" y="105688"/>
                    <a:pt x="76300" y="105688"/>
                  </a:cubicBezTo>
                  <a:cubicBezTo>
                    <a:pt x="75606" y="106788"/>
                    <a:pt x="74913" y="108990"/>
                    <a:pt x="74913" y="108990"/>
                  </a:cubicBezTo>
                  <a:cubicBezTo>
                    <a:pt x="76994" y="111192"/>
                    <a:pt x="76994" y="111192"/>
                    <a:pt x="76994" y="111192"/>
                  </a:cubicBezTo>
                  <a:cubicBezTo>
                    <a:pt x="76994" y="111192"/>
                    <a:pt x="77687" y="111192"/>
                    <a:pt x="77687" y="112293"/>
                  </a:cubicBezTo>
                  <a:cubicBezTo>
                    <a:pt x="78381" y="113394"/>
                    <a:pt x="78381" y="114495"/>
                    <a:pt x="78381" y="114495"/>
                  </a:cubicBezTo>
                  <a:cubicBezTo>
                    <a:pt x="78381" y="114495"/>
                    <a:pt x="78381" y="114495"/>
                    <a:pt x="78381" y="114495"/>
                  </a:cubicBezTo>
                  <a:cubicBezTo>
                    <a:pt x="78381" y="115596"/>
                    <a:pt x="78381" y="117798"/>
                    <a:pt x="78381" y="117798"/>
                  </a:cubicBezTo>
                  <a:cubicBezTo>
                    <a:pt x="78381" y="117798"/>
                    <a:pt x="76994" y="118899"/>
                    <a:pt x="78381" y="118899"/>
                  </a:cubicBezTo>
                  <a:cubicBezTo>
                    <a:pt x="79768" y="118899"/>
                    <a:pt x="79768" y="118899"/>
                    <a:pt x="79768" y="118899"/>
                  </a:cubicBezTo>
                  <a:cubicBezTo>
                    <a:pt x="80462" y="118899"/>
                    <a:pt x="81156" y="120000"/>
                    <a:pt x="81156" y="120000"/>
                  </a:cubicBezTo>
                  <a:cubicBezTo>
                    <a:pt x="81849" y="118899"/>
                    <a:pt x="81849" y="118899"/>
                    <a:pt x="81849" y="118899"/>
                  </a:cubicBezTo>
                  <a:cubicBezTo>
                    <a:pt x="81849" y="118899"/>
                    <a:pt x="81156" y="116697"/>
                    <a:pt x="82543" y="115596"/>
                  </a:cubicBezTo>
                  <a:cubicBezTo>
                    <a:pt x="83236" y="114495"/>
                    <a:pt x="83236" y="114495"/>
                    <a:pt x="83236" y="114495"/>
                  </a:cubicBezTo>
                  <a:cubicBezTo>
                    <a:pt x="83236" y="114495"/>
                    <a:pt x="81156" y="113394"/>
                    <a:pt x="81156" y="112293"/>
                  </a:cubicBezTo>
                  <a:cubicBezTo>
                    <a:pt x="81156" y="112293"/>
                    <a:pt x="80462" y="112293"/>
                    <a:pt x="81156" y="111192"/>
                  </a:cubicBezTo>
                  <a:cubicBezTo>
                    <a:pt x="81156" y="110091"/>
                    <a:pt x="80462" y="110091"/>
                    <a:pt x="81156" y="108990"/>
                  </a:cubicBezTo>
                  <a:cubicBezTo>
                    <a:pt x="81156" y="108990"/>
                    <a:pt x="81849" y="108990"/>
                    <a:pt x="81849" y="107889"/>
                  </a:cubicBezTo>
                  <a:cubicBezTo>
                    <a:pt x="81849" y="107889"/>
                    <a:pt x="81156" y="105688"/>
                    <a:pt x="81156" y="105688"/>
                  </a:cubicBezTo>
                  <a:cubicBezTo>
                    <a:pt x="82543" y="104587"/>
                    <a:pt x="82543" y="104587"/>
                    <a:pt x="82543" y="104587"/>
                  </a:cubicBezTo>
                  <a:cubicBezTo>
                    <a:pt x="82543" y="104587"/>
                    <a:pt x="82543" y="103486"/>
                    <a:pt x="82543" y="103486"/>
                  </a:cubicBezTo>
                  <a:cubicBezTo>
                    <a:pt x="82543" y="102385"/>
                    <a:pt x="82543" y="100183"/>
                    <a:pt x="82543" y="100183"/>
                  </a:cubicBezTo>
                  <a:cubicBezTo>
                    <a:pt x="83236" y="100183"/>
                    <a:pt x="83930" y="97981"/>
                    <a:pt x="83930" y="97981"/>
                  </a:cubicBezTo>
                  <a:cubicBezTo>
                    <a:pt x="83930" y="97981"/>
                    <a:pt x="85317" y="97981"/>
                    <a:pt x="85317" y="97981"/>
                  </a:cubicBezTo>
                  <a:cubicBezTo>
                    <a:pt x="85317" y="96880"/>
                    <a:pt x="86011" y="95779"/>
                    <a:pt x="86011" y="95779"/>
                  </a:cubicBezTo>
                  <a:cubicBezTo>
                    <a:pt x="86011" y="95779"/>
                    <a:pt x="86011" y="95779"/>
                    <a:pt x="86705" y="94678"/>
                  </a:cubicBezTo>
                  <a:cubicBezTo>
                    <a:pt x="86705" y="93577"/>
                    <a:pt x="86705" y="92477"/>
                    <a:pt x="86705" y="92477"/>
                  </a:cubicBezTo>
                  <a:cubicBezTo>
                    <a:pt x="86705" y="91376"/>
                    <a:pt x="87398" y="90275"/>
                    <a:pt x="87398" y="90275"/>
                  </a:cubicBezTo>
                  <a:cubicBezTo>
                    <a:pt x="87398" y="89174"/>
                    <a:pt x="87398" y="89174"/>
                    <a:pt x="87398" y="89174"/>
                  </a:cubicBezTo>
                  <a:cubicBezTo>
                    <a:pt x="87398" y="89174"/>
                    <a:pt x="87398" y="88073"/>
                    <a:pt x="87398" y="88073"/>
                  </a:cubicBezTo>
                  <a:cubicBezTo>
                    <a:pt x="87398" y="86972"/>
                    <a:pt x="87398" y="85871"/>
                    <a:pt x="87398" y="85871"/>
                  </a:cubicBezTo>
                  <a:cubicBezTo>
                    <a:pt x="87398" y="83669"/>
                    <a:pt x="87398" y="83669"/>
                    <a:pt x="87398" y="83669"/>
                  </a:cubicBezTo>
                  <a:cubicBezTo>
                    <a:pt x="86705" y="81467"/>
                    <a:pt x="86705" y="81467"/>
                    <a:pt x="86705" y="81467"/>
                  </a:cubicBezTo>
                  <a:cubicBezTo>
                    <a:pt x="86705" y="80366"/>
                    <a:pt x="86705" y="80366"/>
                    <a:pt x="86705" y="80366"/>
                  </a:cubicBezTo>
                  <a:cubicBezTo>
                    <a:pt x="88092" y="78165"/>
                    <a:pt x="88092" y="78165"/>
                    <a:pt x="88092" y="78165"/>
                  </a:cubicBezTo>
                  <a:cubicBezTo>
                    <a:pt x="88092" y="78165"/>
                    <a:pt x="88786" y="77064"/>
                    <a:pt x="88786" y="78165"/>
                  </a:cubicBezTo>
                  <a:cubicBezTo>
                    <a:pt x="89479" y="78165"/>
                    <a:pt x="90173" y="79266"/>
                    <a:pt x="90173" y="79266"/>
                  </a:cubicBezTo>
                  <a:cubicBezTo>
                    <a:pt x="90867" y="79266"/>
                    <a:pt x="90867" y="79266"/>
                    <a:pt x="90867" y="79266"/>
                  </a:cubicBezTo>
                  <a:cubicBezTo>
                    <a:pt x="92254" y="78165"/>
                    <a:pt x="92254" y="78165"/>
                    <a:pt x="92254" y="78165"/>
                  </a:cubicBezTo>
                  <a:cubicBezTo>
                    <a:pt x="92254" y="78165"/>
                    <a:pt x="92947" y="78165"/>
                    <a:pt x="92947" y="79266"/>
                  </a:cubicBezTo>
                  <a:cubicBezTo>
                    <a:pt x="92254" y="79266"/>
                    <a:pt x="91560" y="80366"/>
                    <a:pt x="92254" y="81467"/>
                  </a:cubicBezTo>
                  <a:cubicBezTo>
                    <a:pt x="92254" y="81467"/>
                    <a:pt x="92947" y="82568"/>
                    <a:pt x="92947" y="83669"/>
                  </a:cubicBezTo>
                  <a:cubicBezTo>
                    <a:pt x="92947" y="84770"/>
                    <a:pt x="92947" y="84770"/>
                    <a:pt x="92947" y="86972"/>
                  </a:cubicBezTo>
                  <a:cubicBezTo>
                    <a:pt x="92947" y="88073"/>
                    <a:pt x="94335" y="88073"/>
                    <a:pt x="94335" y="89174"/>
                  </a:cubicBezTo>
                  <a:cubicBezTo>
                    <a:pt x="95028" y="89174"/>
                    <a:pt x="93641" y="90275"/>
                    <a:pt x="95722" y="90275"/>
                  </a:cubicBezTo>
                  <a:cubicBezTo>
                    <a:pt x="97109" y="90275"/>
                    <a:pt x="98497" y="91376"/>
                    <a:pt x="98497" y="90275"/>
                  </a:cubicBezTo>
                  <a:cubicBezTo>
                    <a:pt x="99190" y="90275"/>
                    <a:pt x="99190" y="90275"/>
                    <a:pt x="99190" y="89174"/>
                  </a:cubicBezTo>
                  <a:cubicBezTo>
                    <a:pt x="98497" y="88073"/>
                    <a:pt x="99190" y="86972"/>
                    <a:pt x="99190" y="86972"/>
                  </a:cubicBezTo>
                  <a:cubicBezTo>
                    <a:pt x="99190" y="86972"/>
                    <a:pt x="99884" y="86972"/>
                    <a:pt x="99884" y="86972"/>
                  </a:cubicBezTo>
                  <a:cubicBezTo>
                    <a:pt x="100578" y="86972"/>
                    <a:pt x="100578" y="88073"/>
                    <a:pt x="101271" y="86972"/>
                  </a:cubicBezTo>
                  <a:cubicBezTo>
                    <a:pt x="101271" y="86972"/>
                    <a:pt x="101965" y="85871"/>
                    <a:pt x="101965" y="85871"/>
                  </a:cubicBezTo>
                  <a:cubicBezTo>
                    <a:pt x="103352" y="85871"/>
                    <a:pt x="103352" y="85871"/>
                    <a:pt x="103352" y="85871"/>
                  </a:cubicBezTo>
                  <a:cubicBezTo>
                    <a:pt x="103352" y="85871"/>
                    <a:pt x="102658" y="84770"/>
                    <a:pt x="104046" y="84770"/>
                  </a:cubicBezTo>
                  <a:cubicBezTo>
                    <a:pt x="104739" y="84770"/>
                    <a:pt x="106127" y="84770"/>
                    <a:pt x="106127" y="84770"/>
                  </a:cubicBezTo>
                  <a:cubicBezTo>
                    <a:pt x="106127" y="84770"/>
                    <a:pt x="106127" y="85871"/>
                    <a:pt x="106127" y="86972"/>
                  </a:cubicBezTo>
                  <a:cubicBezTo>
                    <a:pt x="106820" y="88073"/>
                    <a:pt x="106820" y="88073"/>
                    <a:pt x="106820" y="88073"/>
                  </a:cubicBezTo>
                  <a:cubicBezTo>
                    <a:pt x="106820" y="88073"/>
                    <a:pt x="106127" y="88073"/>
                    <a:pt x="106820" y="90275"/>
                  </a:cubicBezTo>
                  <a:cubicBezTo>
                    <a:pt x="107514" y="91376"/>
                    <a:pt x="108208" y="91376"/>
                    <a:pt x="108208" y="92477"/>
                  </a:cubicBezTo>
                  <a:cubicBezTo>
                    <a:pt x="108901" y="92477"/>
                    <a:pt x="108208" y="94678"/>
                    <a:pt x="108208" y="94678"/>
                  </a:cubicBezTo>
                  <a:cubicBezTo>
                    <a:pt x="108208" y="94678"/>
                    <a:pt x="109595" y="94678"/>
                    <a:pt x="109595" y="94678"/>
                  </a:cubicBezTo>
                  <a:cubicBezTo>
                    <a:pt x="109595" y="93577"/>
                    <a:pt x="109595" y="93577"/>
                    <a:pt x="110289" y="93577"/>
                  </a:cubicBezTo>
                  <a:cubicBezTo>
                    <a:pt x="110289" y="93577"/>
                    <a:pt x="110289" y="93577"/>
                    <a:pt x="110289" y="93577"/>
                  </a:cubicBezTo>
                  <a:cubicBezTo>
                    <a:pt x="110289" y="93577"/>
                    <a:pt x="110982" y="92477"/>
                    <a:pt x="110982" y="91376"/>
                  </a:cubicBezTo>
                  <a:cubicBezTo>
                    <a:pt x="110982" y="91376"/>
                    <a:pt x="110982" y="88073"/>
                    <a:pt x="110289" y="88073"/>
                  </a:cubicBezTo>
                  <a:cubicBezTo>
                    <a:pt x="110289" y="88073"/>
                    <a:pt x="109595" y="88073"/>
                    <a:pt x="109595" y="86972"/>
                  </a:cubicBezTo>
                  <a:cubicBezTo>
                    <a:pt x="108901" y="85871"/>
                    <a:pt x="108901" y="85871"/>
                    <a:pt x="109595" y="85871"/>
                  </a:cubicBezTo>
                  <a:cubicBezTo>
                    <a:pt x="109595" y="85871"/>
                    <a:pt x="110289" y="84770"/>
                    <a:pt x="110289" y="84770"/>
                  </a:cubicBezTo>
                  <a:cubicBezTo>
                    <a:pt x="110289" y="84770"/>
                    <a:pt x="110982" y="83669"/>
                    <a:pt x="110289" y="83669"/>
                  </a:cubicBezTo>
                  <a:cubicBezTo>
                    <a:pt x="110289" y="82568"/>
                    <a:pt x="109595" y="81467"/>
                    <a:pt x="109595" y="81467"/>
                  </a:cubicBezTo>
                  <a:cubicBezTo>
                    <a:pt x="109595" y="81467"/>
                    <a:pt x="108901" y="82568"/>
                    <a:pt x="108208" y="81467"/>
                  </a:cubicBezTo>
                  <a:cubicBezTo>
                    <a:pt x="108208" y="81467"/>
                    <a:pt x="108208" y="81467"/>
                    <a:pt x="108208" y="80366"/>
                  </a:cubicBezTo>
                  <a:cubicBezTo>
                    <a:pt x="108208" y="80366"/>
                    <a:pt x="108208" y="78165"/>
                    <a:pt x="108208" y="78165"/>
                  </a:cubicBezTo>
                  <a:cubicBezTo>
                    <a:pt x="107514" y="78165"/>
                    <a:pt x="107514" y="78165"/>
                    <a:pt x="107514" y="78165"/>
                  </a:cubicBezTo>
                  <a:cubicBezTo>
                    <a:pt x="108208" y="75963"/>
                    <a:pt x="108208" y="75963"/>
                    <a:pt x="108208" y="75963"/>
                  </a:cubicBezTo>
                  <a:cubicBezTo>
                    <a:pt x="108208" y="74862"/>
                    <a:pt x="108208" y="74862"/>
                    <a:pt x="108208" y="74862"/>
                  </a:cubicBezTo>
                  <a:cubicBezTo>
                    <a:pt x="108208" y="74862"/>
                    <a:pt x="108208" y="73761"/>
                    <a:pt x="108901" y="73761"/>
                  </a:cubicBezTo>
                  <a:cubicBezTo>
                    <a:pt x="108901" y="72660"/>
                    <a:pt x="108901" y="72660"/>
                    <a:pt x="108901" y="71559"/>
                  </a:cubicBezTo>
                  <a:cubicBezTo>
                    <a:pt x="109595" y="71559"/>
                    <a:pt x="109595" y="70458"/>
                    <a:pt x="109595" y="70458"/>
                  </a:cubicBezTo>
                  <a:cubicBezTo>
                    <a:pt x="110289" y="70458"/>
                    <a:pt x="110982" y="70458"/>
                    <a:pt x="111676" y="70458"/>
                  </a:cubicBezTo>
                  <a:cubicBezTo>
                    <a:pt x="111676" y="70458"/>
                    <a:pt x="111676" y="69357"/>
                    <a:pt x="112369" y="69357"/>
                  </a:cubicBezTo>
                  <a:cubicBezTo>
                    <a:pt x="112369" y="69357"/>
                    <a:pt x="113063" y="70458"/>
                    <a:pt x="113063" y="70458"/>
                  </a:cubicBezTo>
                  <a:cubicBezTo>
                    <a:pt x="113063" y="70458"/>
                    <a:pt x="113063" y="70458"/>
                    <a:pt x="113063" y="71559"/>
                  </a:cubicBezTo>
                  <a:cubicBezTo>
                    <a:pt x="113063" y="71559"/>
                    <a:pt x="115144" y="73761"/>
                    <a:pt x="115144" y="73761"/>
                  </a:cubicBezTo>
                  <a:cubicBezTo>
                    <a:pt x="115144" y="73761"/>
                    <a:pt x="115144" y="73761"/>
                    <a:pt x="115838" y="73761"/>
                  </a:cubicBezTo>
                  <a:cubicBezTo>
                    <a:pt x="115838" y="73761"/>
                    <a:pt x="115144" y="73761"/>
                    <a:pt x="115838" y="73761"/>
                  </a:cubicBezTo>
                  <a:cubicBezTo>
                    <a:pt x="115838" y="74862"/>
                    <a:pt x="117919" y="73761"/>
                    <a:pt x="117919" y="73761"/>
                  </a:cubicBezTo>
                  <a:cubicBezTo>
                    <a:pt x="118612" y="73761"/>
                    <a:pt x="118612" y="73761"/>
                    <a:pt x="118612" y="73761"/>
                  </a:cubicBezTo>
                  <a:cubicBezTo>
                    <a:pt x="118612" y="73761"/>
                    <a:pt x="118612" y="73761"/>
                    <a:pt x="118612" y="72660"/>
                  </a:cubicBezTo>
                  <a:cubicBezTo>
                    <a:pt x="119306" y="72660"/>
                    <a:pt x="119306" y="71559"/>
                    <a:pt x="119306" y="70458"/>
                  </a:cubicBezTo>
                  <a:cubicBezTo>
                    <a:pt x="119306" y="70458"/>
                    <a:pt x="120000" y="70458"/>
                    <a:pt x="119306" y="69357"/>
                  </a:cubicBezTo>
                  <a:cubicBezTo>
                    <a:pt x="117919" y="68256"/>
                    <a:pt x="117225" y="68256"/>
                    <a:pt x="117225" y="68256"/>
                  </a:cubicBezTo>
                  <a:cubicBezTo>
                    <a:pt x="117225" y="68256"/>
                    <a:pt x="115838" y="66055"/>
                    <a:pt x="116531" y="66055"/>
                  </a:cubicBezTo>
                  <a:cubicBezTo>
                    <a:pt x="117225" y="64954"/>
                    <a:pt x="117919" y="63853"/>
                    <a:pt x="117919" y="63853"/>
                  </a:cubicBezTo>
                  <a:cubicBezTo>
                    <a:pt x="117225" y="61651"/>
                    <a:pt x="117225" y="61651"/>
                    <a:pt x="117225" y="61651"/>
                  </a:cubicBezTo>
                  <a:cubicBezTo>
                    <a:pt x="117919" y="60550"/>
                    <a:pt x="117919" y="60550"/>
                    <a:pt x="117919" y="60550"/>
                  </a:cubicBezTo>
                  <a:cubicBezTo>
                    <a:pt x="117225" y="58348"/>
                    <a:pt x="117225" y="58348"/>
                    <a:pt x="117225" y="58348"/>
                  </a:cubicBezTo>
                  <a:cubicBezTo>
                    <a:pt x="117225" y="58348"/>
                    <a:pt x="117919" y="57247"/>
                    <a:pt x="117919" y="57247"/>
                  </a:cubicBezTo>
                  <a:cubicBezTo>
                    <a:pt x="117919" y="56146"/>
                    <a:pt x="118612" y="52844"/>
                    <a:pt x="118612" y="52844"/>
                  </a:cubicBezTo>
                  <a:cubicBezTo>
                    <a:pt x="118612" y="52844"/>
                    <a:pt x="118612" y="51743"/>
                    <a:pt x="118612" y="50642"/>
                  </a:cubicBezTo>
                  <a:cubicBezTo>
                    <a:pt x="118612" y="50642"/>
                    <a:pt x="117919" y="49541"/>
                    <a:pt x="117919" y="49541"/>
                  </a:cubicBezTo>
                  <a:cubicBezTo>
                    <a:pt x="117225" y="48440"/>
                    <a:pt x="117225" y="48440"/>
                    <a:pt x="117225" y="48440"/>
                  </a:cubicBezTo>
                  <a:cubicBezTo>
                    <a:pt x="117225" y="48440"/>
                    <a:pt x="116531" y="46238"/>
                    <a:pt x="116531" y="46238"/>
                  </a:cubicBezTo>
                  <a:cubicBezTo>
                    <a:pt x="115838" y="47339"/>
                    <a:pt x="115144" y="47339"/>
                    <a:pt x="115144" y="47339"/>
                  </a:cubicBezTo>
                  <a:cubicBezTo>
                    <a:pt x="115144" y="47339"/>
                    <a:pt x="115144" y="49541"/>
                    <a:pt x="115144" y="49541"/>
                  </a:cubicBezTo>
                  <a:cubicBezTo>
                    <a:pt x="114450" y="50642"/>
                    <a:pt x="113757" y="50642"/>
                    <a:pt x="113757" y="50642"/>
                  </a:cubicBezTo>
                  <a:cubicBezTo>
                    <a:pt x="113757" y="50642"/>
                    <a:pt x="113757" y="50642"/>
                    <a:pt x="113757" y="50642"/>
                  </a:cubicBezTo>
                  <a:cubicBezTo>
                    <a:pt x="113063" y="50642"/>
                    <a:pt x="113063" y="50642"/>
                    <a:pt x="113063" y="50642"/>
                  </a:cubicBezTo>
                  <a:cubicBezTo>
                    <a:pt x="112369" y="52844"/>
                    <a:pt x="112369" y="52844"/>
                    <a:pt x="112369" y="52844"/>
                  </a:cubicBezTo>
                  <a:cubicBezTo>
                    <a:pt x="111676" y="53944"/>
                    <a:pt x="111676" y="53944"/>
                    <a:pt x="111676" y="53944"/>
                  </a:cubicBezTo>
                  <a:cubicBezTo>
                    <a:pt x="111676" y="53944"/>
                    <a:pt x="110289" y="55045"/>
                    <a:pt x="109595" y="55045"/>
                  </a:cubicBezTo>
                  <a:cubicBezTo>
                    <a:pt x="109595" y="55045"/>
                    <a:pt x="108208" y="55045"/>
                    <a:pt x="108208" y="55045"/>
                  </a:cubicBezTo>
                  <a:cubicBezTo>
                    <a:pt x="107514" y="53944"/>
                    <a:pt x="107514" y="53944"/>
                    <a:pt x="107514" y="53944"/>
                  </a:cubicBezTo>
                  <a:cubicBezTo>
                    <a:pt x="105433" y="52844"/>
                    <a:pt x="105433" y="52844"/>
                    <a:pt x="105433" y="52844"/>
                  </a:cubicBezTo>
                  <a:cubicBezTo>
                    <a:pt x="105433" y="52844"/>
                    <a:pt x="105433" y="52844"/>
                    <a:pt x="105433" y="52844"/>
                  </a:cubicBezTo>
                  <a:cubicBezTo>
                    <a:pt x="104046" y="51743"/>
                    <a:pt x="104046" y="51743"/>
                    <a:pt x="104046" y="51743"/>
                  </a:cubicBezTo>
                  <a:cubicBezTo>
                    <a:pt x="103352" y="50642"/>
                    <a:pt x="103352" y="50642"/>
                    <a:pt x="103352" y="50642"/>
                  </a:cubicBezTo>
                  <a:cubicBezTo>
                    <a:pt x="103352" y="48440"/>
                    <a:pt x="103352" y="48440"/>
                    <a:pt x="103352" y="48440"/>
                  </a:cubicBezTo>
                  <a:cubicBezTo>
                    <a:pt x="101965" y="46238"/>
                    <a:pt x="101965" y="46238"/>
                    <a:pt x="101965" y="46238"/>
                  </a:cubicBezTo>
                  <a:cubicBezTo>
                    <a:pt x="99190" y="45137"/>
                    <a:pt x="99190" y="45137"/>
                    <a:pt x="99190" y="45137"/>
                  </a:cubicBezTo>
                  <a:cubicBezTo>
                    <a:pt x="97109" y="44036"/>
                    <a:pt x="97109" y="44036"/>
                    <a:pt x="97109" y="44036"/>
                  </a:cubicBezTo>
                  <a:cubicBezTo>
                    <a:pt x="95722" y="44036"/>
                    <a:pt x="95722" y="44036"/>
                    <a:pt x="95722" y="44036"/>
                  </a:cubicBezTo>
                  <a:cubicBezTo>
                    <a:pt x="95722" y="44036"/>
                    <a:pt x="92947" y="44036"/>
                    <a:pt x="92947" y="44036"/>
                  </a:cubicBezTo>
                  <a:cubicBezTo>
                    <a:pt x="92947" y="44036"/>
                    <a:pt x="92254" y="44036"/>
                    <a:pt x="92254" y="44036"/>
                  </a:cubicBezTo>
                  <a:cubicBezTo>
                    <a:pt x="92254" y="44036"/>
                    <a:pt x="92254" y="44036"/>
                    <a:pt x="92254" y="44036"/>
                  </a:cubicBezTo>
                  <a:cubicBezTo>
                    <a:pt x="92254" y="44036"/>
                    <a:pt x="92254" y="44036"/>
                    <a:pt x="92254" y="44036"/>
                  </a:cubicBezTo>
                  <a:cubicBezTo>
                    <a:pt x="92254" y="44036"/>
                    <a:pt x="92254" y="44036"/>
                    <a:pt x="92254" y="44036"/>
                  </a:cubicBezTo>
                  <a:cubicBezTo>
                    <a:pt x="92254" y="44036"/>
                    <a:pt x="92254" y="44036"/>
                    <a:pt x="92254" y="44036"/>
                  </a:cubicBezTo>
                  <a:cubicBezTo>
                    <a:pt x="92254" y="44036"/>
                    <a:pt x="92254" y="44036"/>
                    <a:pt x="92254" y="44036"/>
                  </a:cubicBezTo>
                  <a:cubicBezTo>
                    <a:pt x="91560" y="44036"/>
                    <a:pt x="91560" y="44036"/>
                    <a:pt x="91560" y="44036"/>
                  </a:cubicBezTo>
                  <a:cubicBezTo>
                    <a:pt x="92254" y="41834"/>
                    <a:pt x="92254" y="41834"/>
                    <a:pt x="92254" y="41834"/>
                  </a:cubicBezTo>
                  <a:cubicBezTo>
                    <a:pt x="92947" y="41834"/>
                    <a:pt x="92947" y="41834"/>
                    <a:pt x="92947" y="41834"/>
                  </a:cubicBezTo>
                  <a:cubicBezTo>
                    <a:pt x="92947" y="40733"/>
                    <a:pt x="92947" y="40733"/>
                    <a:pt x="92947" y="40733"/>
                  </a:cubicBezTo>
                  <a:cubicBezTo>
                    <a:pt x="92947" y="40733"/>
                    <a:pt x="92254" y="39633"/>
                    <a:pt x="92254" y="39633"/>
                  </a:cubicBezTo>
                  <a:cubicBezTo>
                    <a:pt x="92254" y="39633"/>
                    <a:pt x="92254" y="38532"/>
                    <a:pt x="92254" y="38532"/>
                  </a:cubicBezTo>
                  <a:cubicBezTo>
                    <a:pt x="92254" y="38532"/>
                    <a:pt x="92254" y="38532"/>
                    <a:pt x="92254" y="38532"/>
                  </a:cubicBezTo>
                  <a:cubicBezTo>
                    <a:pt x="92254" y="38532"/>
                    <a:pt x="92254" y="37431"/>
                    <a:pt x="92254" y="37431"/>
                  </a:cubicBezTo>
                  <a:cubicBezTo>
                    <a:pt x="92254" y="37431"/>
                    <a:pt x="92254" y="37431"/>
                    <a:pt x="92254" y="37431"/>
                  </a:cubicBezTo>
                  <a:cubicBezTo>
                    <a:pt x="92254" y="36330"/>
                    <a:pt x="92254" y="36330"/>
                    <a:pt x="92254" y="36330"/>
                  </a:cubicBezTo>
                  <a:cubicBezTo>
                    <a:pt x="92947" y="33027"/>
                    <a:pt x="92947" y="33027"/>
                    <a:pt x="92947" y="33027"/>
                  </a:cubicBezTo>
                  <a:cubicBezTo>
                    <a:pt x="94335" y="30825"/>
                    <a:pt x="94335" y="30825"/>
                    <a:pt x="94335" y="30825"/>
                  </a:cubicBezTo>
                  <a:cubicBezTo>
                    <a:pt x="94335" y="30825"/>
                    <a:pt x="94335" y="28623"/>
                    <a:pt x="95028" y="28623"/>
                  </a:cubicBezTo>
                  <a:cubicBezTo>
                    <a:pt x="95028" y="27522"/>
                    <a:pt x="95028" y="26422"/>
                    <a:pt x="95028" y="26422"/>
                  </a:cubicBezTo>
                  <a:cubicBezTo>
                    <a:pt x="96416" y="25321"/>
                    <a:pt x="96416" y="25321"/>
                    <a:pt x="96416" y="25321"/>
                  </a:cubicBezTo>
                  <a:cubicBezTo>
                    <a:pt x="96416" y="25321"/>
                    <a:pt x="97109" y="24220"/>
                    <a:pt x="97109" y="24220"/>
                  </a:cubicBezTo>
                  <a:cubicBezTo>
                    <a:pt x="97109" y="23119"/>
                    <a:pt x="96416" y="22018"/>
                    <a:pt x="96416" y="22018"/>
                  </a:cubicBezTo>
                  <a:cubicBezTo>
                    <a:pt x="96416" y="20917"/>
                    <a:pt x="97109" y="19816"/>
                    <a:pt x="97109" y="19816"/>
                  </a:cubicBezTo>
                  <a:cubicBezTo>
                    <a:pt x="96416" y="19816"/>
                    <a:pt x="96416" y="18715"/>
                    <a:pt x="95722" y="18715"/>
                  </a:cubicBezTo>
                  <a:cubicBezTo>
                    <a:pt x="95722" y="18715"/>
                    <a:pt x="95028" y="18715"/>
                    <a:pt x="95028" y="17614"/>
                  </a:cubicBezTo>
                  <a:cubicBezTo>
                    <a:pt x="95028" y="17614"/>
                    <a:pt x="94335" y="16513"/>
                    <a:pt x="94335" y="16513"/>
                  </a:cubicBezTo>
                  <a:cubicBezTo>
                    <a:pt x="94335" y="16513"/>
                    <a:pt x="94335" y="14311"/>
                    <a:pt x="93641" y="14311"/>
                  </a:cubicBezTo>
                  <a:cubicBezTo>
                    <a:pt x="93641" y="14311"/>
                    <a:pt x="92947" y="14311"/>
                    <a:pt x="92254" y="13211"/>
                  </a:cubicBezTo>
                  <a:cubicBezTo>
                    <a:pt x="91560" y="13211"/>
                    <a:pt x="90867" y="12110"/>
                    <a:pt x="90867" y="12110"/>
                  </a:cubicBezTo>
                  <a:cubicBezTo>
                    <a:pt x="90173" y="12110"/>
                    <a:pt x="88786" y="9908"/>
                    <a:pt x="88786" y="9908"/>
                  </a:cubicBezTo>
                  <a:cubicBezTo>
                    <a:pt x="88786" y="9908"/>
                    <a:pt x="88786" y="9908"/>
                    <a:pt x="88092" y="9908"/>
                  </a:cubicBezTo>
                  <a:cubicBezTo>
                    <a:pt x="88092" y="9908"/>
                    <a:pt x="87398" y="8807"/>
                    <a:pt x="87398" y="8807"/>
                  </a:cubicBezTo>
                  <a:cubicBezTo>
                    <a:pt x="86705" y="8807"/>
                    <a:pt x="86705" y="8807"/>
                    <a:pt x="86705" y="8807"/>
                  </a:cubicBezTo>
                  <a:cubicBezTo>
                    <a:pt x="86705" y="8807"/>
                    <a:pt x="86705" y="8807"/>
                    <a:pt x="86705" y="8807"/>
                  </a:cubicBezTo>
                  <a:cubicBezTo>
                    <a:pt x="86011" y="8807"/>
                    <a:pt x="86011" y="8807"/>
                    <a:pt x="85317" y="7706"/>
                  </a:cubicBezTo>
                  <a:cubicBezTo>
                    <a:pt x="83930" y="7706"/>
                    <a:pt x="84624" y="7706"/>
                    <a:pt x="83236" y="7706"/>
                  </a:cubicBezTo>
                  <a:cubicBezTo>
                    <a:pt x="82543" y="7706"/>
                    <a:pt x="81849" y="7706"/>
                    <a:pt x="81849" y="7706"/>
                  </a:cubicBezTo>
                  <a:cubicBezTo>
                    <a:pt x="81849" y="7706"/>
                    <a:pt x="81156" y="6605"/>
                    <a:pt x="79768" y="6605"/>
                  </a:cubicBezTo>
                  <a:cubicBezTo>
                    <a:pt x="79075" y="7706"/>
                    <a:pt x="77687" y="8807"/>
                    <a:pt x="76994" y="8807"/>
                  </a:cubicBezTo>
                  <a:cubicBezTo>
                    <a:pt x="76994" y="8807"/>
                    <a:pt x="76300" y="7706"/>
                    <a:pt x="76300" y="7706"/>
                  </a:cubicBezTo>
                  <a:cubicBezTo>
                    <a:pt x="76300" y="7706"/>
                    <a:pt x="76300" y="6605"/>
                    <a:pt x="76300" y="6605"/>
                  </a:cubicBezTo>
                  <a:cubicBezTo>
                    <a:pt x="76300" y="6605"/>
                    <a:pt x="75606" y="5504"/>
                    <a:pt x="74913" y="4403"/>
                  </a:cubicBezTo>
                  <a:cubicBezTo>
                    <a:pt x="74913" y="4403"/>
                    <a:pt x="74219" y="4403"/>
                    <a:pt x="74219" y="4403"/>
                  </a:cubicBezTo>
                  <a:cubicBezTo>
                    <a:pt x="74219" y="4403"/>
                    <a:pt x="74219" y="4403"/>
                    <a:pt x="74219" y="5504"/>
                  </a:cubicBezTo>
                  <a:cubicBezTo>
                    <a:pt x="74219" y="6605"/>
                    <a:pt x="75606" y="6605"/>
                    <a:pt x="74219" y="6605"/>
                  </a:cubicBezTo>
                  <a:cubicBezTo>
                    <a:pt x="73526" y="5504"/>
                    <a:pt x="72832" y="5504"/>
                    <a:pt x="72832" y="5504"/>
                  </a:cubicBezTo>
                  <a:cubicBezTo>
                    <a:pt x="70751" y="6605"/>
                    <a:pt x="70751" y="6605"/>
                    <a:pt x="70751" y="6605"/>
                  </a:cubicBezTo>
                  <a:cubicBezTo>
                    <a:pt x="71445" y="5504"/>
                    <a:pt x="71445" y="5504"/>
                    <a:pt x="71445" y="5504"/>
                  </a:cubicBezTo>
                  <a:cubicBezTo>
                    <a:pt x="71445" y="5504"/>
                    <a:pt x="72138" y="5504"/>
                    <a:pt x="72138" y="5504"/>
                  </a:cubicBezTo>
                  <a:cubicBezTo>
                    <a:pt x="72138" y="4403"/>
                    <a:pt x="72138" y="4403"/>
                    <a:pt x="72138" y="4403"/>
                  </a:cubicBezTo>
                  <a:cubicBezTo>
                    <a:pt x="72138" y="4403"/>
                    <a:pt x="72138" y="3302"/>
                    <a:pt x="72138" y="3302"/>
                  </a:cubicBezTo>
                  <a:cubicBezTo>
                    <a:pt x="72832" y="3302"/>
                    <a:pt x="73526" y="2201"/>
                    <a:pt x="72832" y="2201"/>
                  </a:cubicBezTo>
                  <a:cubicBezTo>
                    <a:pt x="72138" y="2201"/>
                    <a:pt x="71445" y="2201"/>
                    <a:pt x="71445" y="2201"/>
                  </a:cubicBezTo>
                  <a:cubicBezTo>
                    <a:pt x="71445" y="1100"/>
                    <a:pt x="71445" y="1100"/>
                    <a:pt x="71445" y="1100"/>
                  </a:cubicBezTo>
                  <a:cubicBezTo>
                    <a:pt x="71445" y="1100"/>
                    <a:pt x="70751" y="0"/>
                    <a:pt x="70751" y="0"/>
                  </a:cubicBezTo>
                  <a:cubicBezTo>
                    <a:pt x="70751" y="1100"/>
                    <a:pt x="70751" y="2201"/>
                    <a:pt x="70751" y="2201"/>
                  </a:cubicBezTo>
                  <a:cubicBezTo>
                    <a:pt x="70057" y="2201"/>
                    <a:pt x="70057" y="2201"/>
                    <a:pt x="70057" y="1100"/>
                  </a:cubicBezTo>
                  <a:cubicBezTo>
                    <a:pt x="70057" y="0"/>
                    <a:pt x="70057" y="0"/>
                    <a:pt x="70057" y="0"/>
                  </a:cubicBezTo>
                  <a:cubicBezTo>
                    <a:pt x="69364" y="0"/>
                    <a:pt x="68670" y="0"/>
                    <a:pt x="68670" y="0"/>
                  </a:cubicBezTo>
                  <a:cubicBezTo>
                    <a:pt x="68670" y="0"/>
                    <a:pt x="69364" y="1100"/>
                    <a:pt x="67976" y="1100"/>
                  </a:cubicBezTo>
                  <a:cubicBezTo>
                    <a:pt x="67283" y="1100"/>
                    <a:pt x="66589" y="2201"/>
                    <a:pt x="65895" y="2201"/>
                  </a:cubicBezTo>
                  <a:cubicBezTo>
                    <a:pt x="65202" y="3302"/>
                    <a:pt x="65202" y="4403"/>
                    <a:pt x="65202" y="4403"/>
                  </a:cubicBezTo>
                  <a:cubicBezTo>
                    <a:pt x="65202" y="5504"/>
                    <a:pt x="63815" y="5504"/>
                    <a:pt x="63815" y="6605"/>
                  </a:cubicBezTo>
                  <a:cubicBezTo>
                    <a:pt x="64508" y="6605"/>
                    <a:pt x="63815" y="6605"/>
                    <a:pt x="65202" y="7706"/>
                  </a:cubicBezTo>
                  <a:cubicBezTo>
                    <a:pt x="65895" y="7706"/>
                    <a:pt x="65895" y="7706"/>
                    <a:pt x="66589" y="7706"/>
                  </a:cubicBezTo>
                  <a:cubicBezTo>
                    <a:pt x="67283" y="8807"/>
                    <a:pt x="67976" y="7706"/>
                    <a:pt x="67976" y="7706"/>
                  </a:cubicBezTo>
                  <a:cubicBezTo>
                    <a:pt x="67976" y="7706"/>
                    <a:pt x="67976" y="7706"/>
                    <a:pt x="68670" y="8807"/>
                  </a:cubicBezTo>
                  <a:cubicBezTo>
                    <a:pt x="68670" y="8807"/>
                    <a:pt x="69364" y="7706"/>
                    <a:pt x="69364" y="8807"/>
                  </a:cubicBezTo>
                  <a:cubicBezTo>
                    <a:pt x="69364" y="9908"/>
                    <a:pt x="70057" y="11009"/>
                    <a:pt x="69364" y="11009"/>
                  </a:cubicBezTo>
                  <a:cubicBezTo>
                    <a:pt x="68670" y="11009"/>
                    <a:pt x="67976" y="12110"/>
                    <a:pt x="67976" y="11009"/>
                  </a:cubicBezTo>
                  <a:cubicBezTo>
                    <a:pt x="67976" y="11009"/>
                    <a:pt x="67976" y="9908"/>
                    <a:pt x="67283" y="9908"/>
                  </a:cubicBezTo>
                  <a:cubicBezTo>
                    <a:pt x="67283" y="9908"/>
                    <a:pt x="66589" y="9908"/>
                    <a:pt x="66589" y="9908"/>
                  </a:cubicBezTo>
                  <a:cubicBezTo>
                    <a:pt x="65895" y="12110"/>
                    <a:pt x="65895" y="12110"/>
                    <a:pt x="65895" y="12110"/>
                  </a:cubicBezTo>
                  <a:cubicBezTo>
                    <a:pt x="65895" y="12110"/>
                    <a:pt x="65895" y="13211"/>
                    <a:pt x="65202" y="13211"/>
                  </a:cubicBezTo>
                  <a:cubicBezTo>
                    <a:pt x="64508" y="13211"/>
                    <a:pt x="65202" y="13211"/>
                    <a:pt x="63815" y="13211"/>
                  </a:cubicBezTo>
                  <a:cubicBezTo>
                    <a:pt x="62427" y="13211"/>
                    <a:pt x="62427" y="12110"/>
                    <a:pt x="61734" y="12110"/>
                  </a:cubicBezTo>
                  <a:cubicBezTo>
                    <a:pt x="61734" y="12110"/>
                    <a:pt x="61734" y="12110"/>
                    <a:pt x="61040" y="12110"/>
                  </a:cubicBezTo>
                  <a:cubicBezTo>
                    <a:pt x="61040" y="12110"/>
                    <a:pt x="59653" y="9908"/>
                    <a:pt x="58959" y="12110"/>
                  </a:cubicBezTo>
                  <a:cubicBezTo>
                    <a:pt x="58265" y="13211"/>
                    <a:pt x="57572" y="14311"/>
                    <a:pt x="57572" y="14311"/>
                  </a:cubicBezTo>
                  <a:cubicBezTo>
                    <a:pt x="55491" y="14311"/>
                    <a:pt x="55491" y="14311"/>
                    <a:pt x="55491" y="14311"/>
                  </a:cubicBezTo>
                  <a:cubicBezTo>
                    <a:pt x="55491" y="14311"/>
                    <a:pt x="54797" y="14311"/>
                    <a:pt x="54104" y="14311"/>
                  </a:cubicBezTo>
                  <a:cubicBezTo>
                    <a:pt x="53410" y="14311"/>
                    <a:pt x="52716" y="14311"/>
                    <a:pt x="52716" y="14311"/>
                  </a:cubicBezTo>
                  <a:cubicBezTo>
                    <a:pt x="52023" y="15412"/>
                    <a:pt x="51329" y="12110"/>
                    <a:pt x="51329" y="12110"/>
                  </a:cubicBezTo>
                  <a:cubicBezTo>
                    <a:pt x="51329" y="12110"/>
                    <a:pt x="52023" y="9908"/>
                    <a:pt x="49942" y="12110"/>
                  </a:cubicBezTo>
                  <a:cubicBezTo>
                    <a:pt x="47861" y="14311"/>
                    <a:pt x="47167" y="14311"/>
                    <a:pt x="47167" y="14311"/>
                  </a:cubicBezTo>
                  <a:cubicBezTo>
                    <a:pt x="46473" y="14311"/>
                    <a:pt x="45780" y="15412"/>
                    <a:pt x="45780" y="15412"/>
                  </a:cubicBezTo>
                  <a:cubicBezTo>
                    <a:pt x="45086" y="14311"/>
                    <a:pt x="45086" y="14311"/>
                    <a:pt x="45086" y="14311"/>
                  </a:cubicBezTo>
                  <a:cubicBezTo>
                    <a:pt x="45086" y="14311"/>
                    <a:pt x="45086" y="14311"/>
                    <a:pt x="45086" y="14311"/>
                  </a:cubicBezTo>
                  <a:cubicBezTo>
                    <a:pt x="45086" y="14311"/>
                    <a:pt x="45086" y="14311"/>
                    <a:pt x="45086" y="14311"/>
                  </a:cubicBezTo>
                  <a:cubicBezTo>
                    <a:pt x="45780" y="14311"/>
                    <a:pt x="45780" y="13211"/>
                    <a:pt x="45780" y="13211"/>
                  </a:cubicBezTo>
                  <a:cubicBezTo>
                    <a:pt x="45086" y="12110"/>
                    <a:pt x="45086" y="12110"/>
                    <a:pt x="45086" y="12110"/>
                  </a:cubicBezTo>
                  <a:cubicBezTo>
                    <a:pt x="43005" y="13211"/>
                    <a:pt x="43005" y="13211"/>
                    <a:pt x="43005" y="13211"/>
                  </a:cubicBezTo>
                  <a:cubicBezTo>
                    <a:pt x="43005" y="13211"/>
                    <a:pt x="43699" y="13211"/>
                    <a:pt x="43005" y="13211"/>
                  </a:cubicBezTo>
                  <a:cubicBezTo>
                    <a:pt x="43005" y="13211"/>
                    <a:pt x="41618" y="13211"/>
                    <a:pt x="41618" y="13211"/>
                  </a:cubicBezTo>
                  <a:cubicBezTo>
                    <a:pt x="41618" y="15412"/>
                    <a:pt x="41618" y="15412"/>
                    <a:pt x="41618" y="15412"/>
                  </a:cubicBezTo>
                  <a:cubicBezTo>
                    <a:pt x="41618" y="15412"/>
                    <a:pt x="40924" y="15412"/>
                    <a:pt x="40924" y="15412"/>
                  </a:cubicBezTo>
                  <a:cubicBezTo>
                    <a:pt x="40924" y="15412"/>
                    <a:pt x="40924" y="16513"/>
                    <a:pt x="40924" y="16513"/>
                  </a:cubicBezTo>
                  <a:cubicBezTo>
                    <a:pt x="40924" y="16513"/>
                    <a:pt x="40924" y="17614"/>
                    <a:pt x="40924" y="17614"/>
                  </a:cubicBezTo>
                  <a:cubicBezTo>
                    <a:pt x="40924" y="17614"/>
                    <a:pt x="40231" y="17614"/>
                    <a:pt x="40231" y="17614"/>
                  </a:cubicBezTo>
                  <a:cubicBezTo>
                    <a:pt x="40231" y="17614"/>
                    <a:pt x="39537" y="17614"/>
                    <a:pt x="39537" y="17614"/>
                  </a:cubicBezTo>
                  <a:cubicBezTo>
                    <a:pt x="39537" y="17614"/>
                    <a:pt x="38843" y="19816"/>
                    <a:pt x="38843" y="19816"/>
                  </a:cubicBezTo>
                  <a:cubicBezTo>
                    <a:pt x="38843" y="19816"/>
                    <a:pt x="38843" y="20917"/>
                    <a:pt x="38843" y="20917"/>
                  </a:cubicBezTo>
                  <a:cubicBezTo>
                    <a:pt x="38843" y="20917"/>
                    <a:pt x="38843" y="20917"/>
                    <a:pt x="38843" y="22018"/>
                  </a:cubicBezTo>
                  <a:cubicBezTo>
                    <a:pt x="38150" y="22018"/>
                    <a:pt x="37456" y="22018"/>
                    <a:pt x="37456" y="22018"/>
                  </a:cubicBezTo>
                  <a:cubicBezTo>
                    <a:pt x="37456" y="22018"/>
                    <a:pt x="36763" y="22018"/>
                    <a:pt x="36069" y="22018"/>
                  </a:cubicBezTo>
                  <a:cubicBezTo>
                    <a:pt x="36069" y="22018"/>
                    <a:pt x="35375" y="22018"/>
                    <a:pt x="35375" y="22018"/>
                  </a:cubicBezTo>
                  <a:cubicBezTo>
                    <a:pt x="34682" y="22018"/>
                    <a:pt x="34682" y="23119"/>
                    <a:pt x="34682" y="23119"/>
                  </a:cubicBezTo>
                  <a:cubicBezTo>
                    <a:pt x="34682" y="23119"/>
                    <a:pt x="33294" y="22018"/>
                    <a:pt x="33294" y="22018"/>
                  </a:cubicBezTo>
                  <a:cubicBezTo>
                    <a:pt x="32601" y="22018"/>
                    <a:pt x="32601" y="20917"/>
                    <a:pt x="32601" y="19816"/>
                  </a:cubicBezTo>
                  <a:cubicBezTo>
                    <a:pt x="32601" y="19816"/>
                    <a:pt x="31907" y="17614"/>
                    <a:pt x="31907" y="17614"/>
                  </a:cubicBezTo>
                  <a:cubicBezTo>
                    <a:pt x="31213" y="18715"/>
                    <a:pt x="31213" y="18715"/>
                    <a:pt x="31213" y="18715"/>
                  </a:cubicBezTo>
                  <a:cubicBezTo>
                    <a:pt x="29132" y="18715"/>
                    <a:pt x="29132" y="18715"/>
                    <a:pt x="29132" y="18715"/>
                  </a:cubicBezTo>
                  <a:cubicBezTo>
                    <a:pt x="27745" y="17614"/>
                    <a:pt x="27745" y="17614"/>
                    <a:pt x="27745" y="17614"/>
                  </a:cubicBezTo>
                  <a:cubicBezTo>
                    <a:pt x="27745" y="19816"/>
                    <a:pt x="27745" y="19816"/>
                    <a:pt x="27745" y="19816"/>
                  </a:cubicBezTo>
                  <a:cubicBezTo>
                    <a:pt x="27745" y="19816"/>
                    <a:pt x="28439" y="20917"/>
                    <a:pt x="28439" y="20917"/>
                  </a:cubicBezTo>
                  <a:cubicBezTo>
                    <a:pt x="28439" y="20917"/>
                    <a:pt x="27745" y="20917"/>
                    <a:pt x="27745" y="20917"/>
                  </a:cubicBezTo>
                  <a:cubicBezTo>
                    <a:pt x="27052" y="22018"/>
                    <a:pt x="27052" y="22018"/>
                    <a:pt x="27052" y="22018"/>
                  </a:cubicBezTo>
                  <a:cubicBezTo>
                    <a:pt x="26358" y="22018"/>
                    <a:pt x="26358" y="22018"/>
                    <a:pt x="26358" y="22018"/>
                  </a:cubicBezTo>
                  <a:cubicBezTo>
                    <a:pt x="26358" y="22018"/>
                    <a:pt x="25664" y="24220"/>
                    <a:pt x="25664" y="24220"/>
                  </a:cubicBezTo>
                  <a:cubicBezTo>
                    <a:pt x="25664" y="25321"/>
                    <a:pt x="24971" y="25321"/>
                    <a:pt x="24971" y="25321"/>
                  </a:cubicBezTo>
                  <a:cubicBezTo>
                    <a:pt x="24971" y="25321"/>
                    <a:pt x="24277" y="25321"/>
                    <a:pt x="24971" y="26422"/>
                  </a:cubicBezTo>
                  <a:cubicBezTo>
                    <a:pt x="25664" y="26422"/>
                    <a:pt x="26358" y="26422"/>
                    <a:pt x="26358" y="26422"/>
                  </a:cubicBezTo>
                  <a:cubicBezTo>
                    <a:pt x="27052" y="26422"/>
                    <a:pt x="27745" y="26422"/>
                    <a:pt x="27745" y="26422"/>
                  </a:cubicBezTo>
                  <a:cubicBezTo>
                    <a:pt x="27745" y="26422"/>
                    <a:pt x="29132" y="25321"/>
                    <a:pt x="29132" y="25321"/>
                  </a:cubicBezTo>
                  <a:cubicBezTo>
                    <a:pt x="29132" y="26422"/>
                    <a:pt x="29132" y="26422"/>
                    <a:pt x="29132" y="26422"/>
                  </a:cubicBezTo>
                  <a:cubicBezTo>
                    <a:pt x="29132" y="28623"/>
                    <a:pt x="29132" y="28623"/>
                    <a:pt x="29132" y="28623"/>
                  </a:cubicBezTo>
                  <a:cubicBezTo>
                    <a:pt x="28439" y="28623"/>
                    <a:pt x="28439" y="28623"/>
                    <a:pt x="28439" y="28623"/>
                  </a:cubicBezTo>
                  <a:cubicBezTo>
                    <a:pt x="28439" y="28623"/>
                    <a:pt x="28439" y="29724"/>
                    <a:pt x="28439" y="29724"/>
                  </a:cubicBezTo>
                  <a:cubicBezTo>
                    <a:pt x="27745" y="30825"/>
                    <a:pt x="27052" y="30825"/>
                    <a:pt x="27052" y="30825"/>
                  </a:cubicBezTo>
                  <a:cubicBezTo>
                    <a:pt x="26358" y="31926"/>
                    <a:pt x="26358" y="31926"/>
                    <a:pt x="26358" y="33027"/>
                  </a:cubicBezTo>
                  <a:cubicBezTo>
                    <a:pt x="26358" y="34128"/>
                    <a:pt x="25664" y="36330"/>
                    <a:pt x="25664" y="36330"/>
                  </a:cubicBezTo>
                  <a:cubicBezTo>
                    <a:pt x="24277" y="37431"/>
                    <a:pt x="24277" y="37431"/>
                    <a:pt x="24277" y="37431"/>
                  </a:cubicBezTo>
                  <a:cubicBezTo>
                    <a:pt x="22890" y="39633"/>
                    <a:pt x="22890" y="39633"/>
                    <a:pt x="22890" y="39633"/>
                  </a:cubicBezTo>
                  <a:cubicBezTo>
                    <a:pt x="22196" y="39633"/>
                    <a:pt x="22196" y="39633"/>
                    <a:pt x="22196" y="39633"/>
                  </a:cubicBezTo>
                  <a:cubicBezTo>
                    <a:pt x="21502" y="40733"/>
                    <a:pt x="21502" y="40733"/>
                    <a:pt x="21502" y="40733"/>
                  </a:cubicBezTo>
                  <a:cubicBezTo>
                    <a:pt x="21502" y="41834"/>
                    <a:pt x="21502" y="41834"/>
                    <a:pt x="21502" y="41834"/>
                  </a:cubicBezTo>
                  <a:cubicBezTo>
                    <a:pt x="20115" y="42935"/>
                    <a:pt x="20115" y="42935"/>
                    <a:pt x="20115" y="42935"/>
                  </a:cubicBezTo>
                  <a:cubicBezTo>
                    <a:pt x="20115" y="45137"/>
                    <a:pt x="20115" y="45137"/>
                    <a:pt x="20115" y="45137"/>
                  </a:cubicBezTo>
                  <a:cubicBezTo>
                    <a:pt x="19421" y="46238"/>
                    <a:pt x="19421" y="46238"/>
                    <a:pt x="19421" y="46238"/>
                  </a:cubicBezTo>
                  <a:cubicBezTo>
                    <a:pt x="18728" y="46238"/>
                    <a:pt x="18728" y="46238"/>
                    <a:pt x="18728" y="46238"/>
                  </a:cubicBezTo>
                  <a:cubicBezTo>
                    <a:pt x="18034" y="48440"/>
                    <a:pt x="18034" y="48440"/>
                    <a:pt x="18034" y="48440"/>
                  </a:cubicBezTo>
                  <a:cubicBezTo>
                    <a:pt x="18034" y="48440"/>
                    <a:pt x="17341" y="49541"/>
                    <a:pt x="17341" y="49541"/>
                  </a:cubicBezTo>
                  <a:cubicBezTo>
                    <a:pt x="16647" y="49541"/>
                    <a:pt x="15953" y="50642"/>
                    <a:pt x="15953" y="50642"/>
                  </a:cubicBezTo>
                  <a:cubicBezTo>
                    <a:pt x="14566" y="50642"/>
                    <a:pt x="14566" y="50642"/>
                    <a:pt x="14566" y="50642"/>
                  </a:cubicBezTo>
                  <a:cubicBezTo>
                    <a:pt x="14566" y="50642"/>
                    <a:pt x="13872" y="50642"/>
                    <a:pt x="13179" y="51743"/>
                  </a:cubicBezTo>
                  <a:cubicBezTo>
                    <a:pt x="13179" y="52844"/>
                    <a:pt x="13179" y="52844"/>
                    <a:pt x="13179" y="52844"/>
                  </a:cubicBezTo>
                  <a:cubicBezTo>
                    <a:pt x="13179" y="53944"/>
                    <a:pt x="13872" y="55045"/>
                    <a:pt x="13872" y="55045"/>
                  </a:cubicBezTo>
                  <a:cubicBezTo>
                    <a:pt x="13872" y="57247"/>
                    <a:pt x="13872" y="57247"/>
                    <a:pt x="13872" y="57247"/>
                  </a:cubicBezTo>
                  <a:cubicBezTo>
                    <a:pt x="13872" y="57247"/>
                    <a:pt x="13179" y="57247"/>
                    <a:pt x="13179" y="58348"/>
                  </a:cubicBezTo>
                  <a:cubicBezTo>
                    <a:pt x="13179" y="58348"/>
                    <a:pt x="13179" y="59449"/>
                    <a:pt x="13179" y="59449"/>
                  </a:cubicBezTo>
                  <a:cubicBezTo>
                    <a:pt x="13179" y="59449"/>
                    <a:pt x="13179" y="60550"/>
                    <a:pt x="13179" y="60550"/>
                  </a:cubicBezTo>
                  <a:cubicBezTo>
                    <a:pt x="13179" y="60550"/>
                    <a:pt x="13179" y="61651"/>
                    <a:pt x="13179" y="61651"/>
                  </a:cubicBezTo>
                  <a:cubicBezTo>
                    <a:pt x="13179" y="61651"/>
                    <a:pt x="13179" y="62752"/>
                    <a:pt x="12485" y="63853"/>
                  </a:cubicBezTo>
                  <a:cubicBezTo>
                    <a:pt x="12485" y="63853"/>
                    <a:pt x="11791" y="64954"/>
                    <a:pt x="11791" y="64954"/>
                  </a:cubicBezTo>
                  <a:cubicBezTo>
                    <a:pt x="11791" y="64954"/>
                    <a:pt x="10404" y="64954"/>
                    <a:pt x="10404" y="64954"/>
                  </a:cubicBezTo>
                  <a:cubicBezTo>
                    <a:pt x="10404" y="66055"/>
                    <a:pt x="9017" y="66055"/>
                    <a:pt x="9017" y="66055"/>
                  </a:cubicBezTo>
                  <a:cubicBezTo>
                    <a:pt x="7630" y="68256"/>
                    <a:pt x="7630" y="68256"/>
                    <a:pt x="7630" y="68256"/>
                  </a:cubicBezTo>
                  <a:cubicBezTo>
                    <a:pt x="4855" y="72660"/>
                    <a:pt x="4855" y="72660"/>
                    <a:pt x="4855" y="72660"/>
                  </a:cubicBezTo>
                  <a:cubicBezTo>
                    <a:pt x="4855" y="72660"/>
                    <a:pt x="4855" y="73761"/>
                    <a:pt x="4855" y="73761"/>
                  </a:cubicBezTo>
                  <a:cubicBezTo>
                    <a:pt x="4855" y="73761"/>
                    <a:pt x="4855" y="75963"/>
                    <a:pt x="4855" y="75963"/>
                  </a:cubicBezTo>
                  <a:cubicBezTo>
                    <a:pt x="4855" y="77064"/>
                    <a:pt x="4161" y="78165"/>
                    <a:pt x="4161" y="78165"/>
                  </a:cubicBezTo>
                  <a:cubicBezTo>
                    <a:pt x="3468" y="79266"/>
                    <a:pt x="3468" y="79266"/>
                    <a:pt x="3468" y="79266"/>
                  </a:cubicBezTo>
                  <a:cubicBezTo>
                    <a:pt x="3468" y="81467"/>
                    <a:pt x="3468" y="81467"/>
                    <a:pt x="3468" y="81467"/>
                  </a:cubicBezTo>
                  <a:cubicBezTo>
                    <a:pt x="3468" y="82568"/>
                    <a:pt x="3468" y="82568"/>
                    <a:pt x="3468" y="82568"/>
                  </a:cubicBezTo>
                  <a:cubicBezTo>
                    <a:pt x="4161" y="83669"/>
                    <a:pt x="4161" y="83669"/>
                    <a:pt x="4161" y="83669"/>
                  </a:cubicBezTo>
                  <a:cubicBezTo>
                    <a:pt x="4855" y="84770"/>
                    <a:pt x="4855" y="84770"/>
                    <a:pt x="4855" y="84770"/>
                  </a:cubicBezTo>
                  <a:cubicBezTo>
                    <a:pt x="4855" y="88073"/>
                    <a:pt x="4855" y="88073"/>
                    <a:pt x="4855" y="88073"/>
                  </a:cubicBezTo>
                  <a:cubicBezTo>
                    <a:pt x="4161" y="90275"/>
                    <a:pt x="4161" y="90275"/>
                    <a:pt x="4161" y="90275"/>
                  </a:cubicBezTo>
                  <a:cubicBezTo>
                    <a:pt x="4161" y="92477"/>
                    <a:pt x="4161" y="92477"/>
                    <a:pt x="4161" y="92477"/>
                  </a:cubicBezTo>
                  <a:cubicBezTo>
                    <a:pt x="2774" y="92477"/>
                    <a:pt x="2774" y="92477"/>
                    <a:pt x="2774" y="92477"/>
                  </a:cubicBezTo>
                  <a:cubicBezTo>
                    <a:pt x="2774" y="92477"/>
                    <a:pt x="2080" y="93577"/>
                    <a:pt x="1387" y="93577"/>
                  </a:cubicBezTo>
                  <a:cubicBezTo>
                    <a:pt x="1387" y="93577"/>
                    <a:pt x="693" y="94678"/>
                    <a:pt x="693" y="94678"/>
                  </a:cubicBezTo>
                  <a:cubicBezTo>
                    <a:pt x="0" y="95779"/>
                    <a:pt x="0" y="95779"/>
                    <a:pt x="0" y="95779"/>
                  </a:cubicBezTo>
                  <a:cubicBezTo>
                    <a:pt x="693" y="96880"/>
                    <a:pt x="693" y="96880"/>
                    <a:pt x="693" y="96880"/>
                  </a:cubicBezTo>
                  <a:cubicBezTo>
                    <a:pt x="693" y="99082"/>
                    <a:pt x="693" y="99082"/>
                    <a:pt x="693" y="99082"/>
                  </a:cubicBezTo>
                  <a:cubicBezTo>
                    <a:pt x="1387" y="99082"/>
                    <a:pt x="1387" y="99082"/>
                    <a:pt x="1387" y="99082"/>
                  </a:cubicBezTo>
                  <a:cubicBezTo>
                    <a:pt x="2774" y="97981"/>
                    <a:pt x="2774" y="97981"/>
                    <a:pt x="2774" y="97981"/>
                  </a:cubicBezTo>
                  <a:cubicBezTo>
                    <a:pt x="4161" y="99082"/>
                    <a:pt x="4161" y="99082"/>
                    <a:pt x="4161" y="99082"/>
                  </a:cubicBezTo>
                  <a:cubicBezTo>
                    <a:pt x="6242" y="97981"/>
                    <a:pt x="6242" y="97981"/>
                    <a:pt x="6242" y="97981"/>
                  </a:cubicBezTo>
                  <a:cubicBezTo>
                    <a:pt x="6242" y="97981"/>
                    <a:pt x="6242" y="96880"/>
                    <a:pt x="6936" y="95779"/>
                  </a:cubicBezTo>
                  <a:cubicBezTo>
                    <a:pt x="7630" y="94678"/>
                    <a:pt x="8323" y="94678"/>
                    <a:pt x="8323" y="94678"/>
                  </a:cubicBezTo>
                  <a:cubicBezTo>
                    <a:pt x="9017" y="92477"/>
                    <a:pt x="9017" y="92477"/>
                    <a:pt x="9017" y="92477"/>
                  </a:cubicBezTo>
                  <a:cubicBezTo>
                    <a:pt x="8323" y="92477"/>
                    <a:pt x="8323" y="92477"/>
                    <a:pt x="8323" y="92477"/>
                  </a:cubicBezTo>
                  <a:cubicBezTo>
                    <a:pt x="8323" y="90275"/>
                    <a:pt x="8323" y="90275"/>
                    <a:pt x="8323" y="90275"/>
                  </a:cubicBezTo>
                  <a:cubicBezTo>
                    <a:pt x="6936" y="89174"/>
                    <a:pt x="6936" y="89174"/>
                    <a:pt x="6936" y="89174"/>
                  </a:cubicBezTo>
                  <a:cubicBezTo>
                    <a:pt x="6936" y="89174"/>
                    <a:pt x="6936" y="88073"/>
                    <a:pt x="6936" y="88073"/>
                  </a:cubicBezTo>
                  <a:cubicBezTo>
                    <a:pt x="7630" y="86972"/>
                    <a:pt x="8323" y="84770"/>
                    <a:pt x="8323" y="84770"/>
                  </a:cubicBezTo>
                  <a:cubicBezTo>
                    <a:pt x="10404" y="83669"/>
                    <a:pt x="10404" y="83669"/>
                    <a:pt x="10404" y="83669"/>
                  </a:cubicBezTo>
                  <a:cubicBezTo>
                    <a:pt x="12485" y="82568"/>
                    <a:pt x="12485" y="82568"/>
                    <a:pt x="12485" y="82568"/>
                  </a:cubicBezTo>
                  <a:cubicBezTo>
                    <a:pt x="13179" y="81467"/>
                    <a:pt x="13179" y="81467"/>
                    <a:pt x="13179" y="81467"/>
                  </a:cubicBezTo>
                  <a:cubicBezTo>
                    <a:pt x="14566" y="80366"/>
                    <a:pt x="14566" y="80366"/>
                    <a:pt x="14566" y="80366"/>
                  </a:cubicBezTo>
                  <a:cubicBezTo>
                    <a:pt x="14566" y="80366"/>
                    <a:pt x="16647" y="80366"/>
                    <a:pt x="16647" y="80366"/>
                  </a:cubicBezTo>
                  <a:cubicBezTo>
                    <a:pt x="16647" y="80366"/>
                    <a:pt x="19421" y="80366"/>
                    <a:pt x="19421" y="80366"/>
                  </a:cubicBezTo>
                  <a:lnTo>
                    <a:pt x="21502" y="82568"/>
                  </a:lnTo>
                  <a:close/>
                </a:path>
              </a:pathLst>
            </a:custGeom>
            <a:solidFill>
              <a:srgbClr val="00B050"/>
            </a:solidFill>
            <a:ln w="3175" cap="flat" cmpd="sng">
              <a:solidFill>
                <a:schemeClr val="tx1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defTabSz="457200"/>
              <a:endParaRPr kern="0">
                <a:solidFill>
                  <a:srgbClr val="7F7F7F"/>
                </a:solidFill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32" name="Shape 2025">
              <a:extLst>
                <a:ext uri="{FF2B5EF4-FFF2-40B4-BE49-F238E27FC236}">
                  <a16:creationId xmlns:a16="http://schemas.microsoft.com/office/drawing/2014/main" id="{32A3D3B4-AD04-A8F6-EAA6-6C3AD1296B59}"/>
                </a:ext>
              </a:extLst>
            </p:cNvPr>
            <p:cNvSpPr/>
            <p:nvPr/>
          </p:nvSpPr>
          <p:spPr>
            <a:xfrm>
              <a:off x="4826971" y="2068237"/>
              <a:ext cx="455770" cy="272924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506" y="40298"/>
                  </a:moveTo>
                  <a:cubicBezTo>
                    <a:pt x="13271" y="35820"/>
                    <a:pt x="13271" y="35820"/>
                    <a:pt x="13271" y="35820"/>
                  </a:cubicBezTo>
                  <a:cubicBezTo>
                    <a:pt x="13271" y="35820"/>
                    <a:pt x="16589" y="31343"/>
                    <a:pt x="17142" y="31343"/>
                  </a:cubicBezTo>
                  <a:cubicBezTo>
                    <a:pt x="18248" y="30447"/>
                    <a:pt x="19907" y="28656"/>
                    <a:pt x="19907" y="29552"/>
                  </a:cubicBezTo>
                  <a:cubicBezTo>
                    <a:pt x="19907" y="30447"/>
                    <a:pt x="20460" y="36716"/>
                    <a:pt x="20460" y="36716"/>
                  </a:cubicBezTo>
                  <a:cubicBezTo>
                    <a:pt x="23225" y="38507"/>
                    <a:pt x="23225" y="38507"/>
                    <a:pt x="23225" y="38507"/>
                  </a:cubicBezTo>
                  <a:cubicBezTo>
                    <a:pt x="25437" y="41194"/>
                    <a:pt x="25437" y="41194"/>
                    <a:pt x="25437" y="41194"/>
                  </a:cubicBezTo>
                  <a:cubicBezTo>
                    <a:pt x="29861" y="44776"/>
                    <a:pt x="29861" y="44776"/>
                    <a:pt x="29861" y="44776"/>
                  </a:cubicBezTo>
                  <a:cubicBezTo>
                    <a:pt x="30414" y="47462"/>
                    <a:pt x="30414" y="47462"/>
                    <a:pt x="30414" y="47462"/>
                  </a:cubicBezTo>
                  <a:cubicBezTo>
                    <a:pt x="30414" y="47462"/>
                    <a:pt x="29861" y="49253"/>
                    <a:pt x="30967" y="51940"/>
                  </a:cubicBezTo>
                  <a:cubicBezTo>
                    <a:pt x="32626" y="54626"/>
                    <a:pt x="33179" y="54626"/>
                    <a:pt x="33732" y="57313"/>
                  </a:cubicBezTo>
                  <a:cubicBezTo>
                    <a:pt x="34285" y="59104"/>
                    <a:pt x="36497" y="60895"/>
                    <a:pt x="36497" y="60895"/>
                  </a:cubicBezTo>
                  <a:cubicBezTo>
                    <a:pt x="39262" y="61791"/>
                    <a:pt x="39262" y="61791"/>
                    <a:pt x="39262" y="61791"/>
                  </a:cubicBezTo>
                  <a:cubicBezTo>
                    <a:pt x="39262" y="61791"/>
                    <a:pt x="42027" y="63582"/>
                    <a:pt x="42580" y="62686"/>
                  </a:cubicBezTo>
                  <a:cubicBezTo>
                    <a:pt x="43133" y="61791"/>
                    <a:pt x="45898" y="58208"/>
                    <a:pt x="45898" y="57313"/>
                  </a:cubicBezTo>
                  <a:cubicBezTo>
                    <a:pt x="46451" y="56417"/>
                    <a:pt x="48110" y="52835"/>
                    <a:pt x="48663" y="51940"/>
                  </a:cubicBezTo>
                  <a:cubicBezTo>
                    <a:pt x="49216" y="51044"/>
                    <a:pt x="50875" y="44776"/>
                    <a:pt x="50875" y="43880"/>
                  </a:cubicBezTo>
                  <a:cubicBezTo>
                    <a:pt x="50875" y="42089"/>
                    <a:pt x="48663" y="34925"/>
                    <a:pt x="48110" y="33134"/>
                  </a:cubicBezTo>
                  <a:cubicBezTo>
                    <a:pt x="48110" y="31343"/>
                    <a:pt x="47557" y="25970"/>
                    <a:pt x="47557" y="25970"/>
                  </a:cubicBezTo>
                  <a:cubicBezTo>
                    <a:pt x="45345" y="18805"/>
                    <a:pt x="45345" y="18805"/>
                    <a:pt x="45345" y="18805"/>
                  </a:cubicBezTo>
                  <a:cubicBezTo>
                    <a:pt x="45345" y="18805"/>
                    <a:pt x="45345" y="14328"/>
                    <a:pt x="45898" y="14328"/>
                  </a:cubicBezTo>
                  <a:cubicBezTo>
                    <a:pt x="46451" y="13432"/>
                    <a:pt x="49216" y="9850"/>
                    <a:pt x="49216" y="9850"/>
                  </a:cubicBezTo>
                  <a:cubicBezTo>
                    <a:pt x="51981" y="5373"/>
                    <a:pt x="51981" y="5373"/>
                    <a:pt x="51981" y="5373"/>
                  </a:cubicBezTo>
                  <a:cubicBezTo>
                    <a:pt x="54746" y="2686"/>
                    <a:pt x="54746" y="2686"/>
                    <a:pt x="54746" y="2686"/>
                  </a:cubicBezTo>
                  <a:cubicBezTo>
                    <a:pt x="56958" y="0"/>
                    <a:pt x="56958" y="0"/>
                    <a:pt x="56958" y="0"/>
                  </a:cubicBezTo>
                  <a:cubicBezTo>
                    <a:pt x="59723" y="1791"/>
                    <a:pt x="59723" y="1791"/>
                    <a:pt x="59723" y="1791"/>
                  </a:cubicBezTo>
                  <a:cubicBezTo>
                    <a:pt x="61935" y="1791"/>
                    <a:pt x="61935" y="1791"/>
                    <a:pt x="61935" y="1791"/>
                  </a:cubicBezTo>
                  <a:cubicBezTo>
                    <a:pt x="64147" y="3582"/>
                    <a:pt x="64147" y="3582"/>
                    <a:pt x="64147" y="3582"/>
                  </a:cubicBezTo>
                  <a:cubicBezTo>
                    <a:pt x="66912" y="3582"/>
                    <a:pt x="66912" y="3582"/>
                    <a:pt x="66912" y="3582"/>
                  </a:cubicBezTo>
                  <a:cubicBezTo>
                    <a:pt x="69124" y="4477"/>
                    <a:pt x="69124" y="4477"/>
                    <a:pt x="69124" y="4477"/>
                  </a:cubicBezTo>
                  <a:cubicBezTo>
                    <a:pt x="71889" y="6268"/>
                    <a:pt x="71889" y="6268"/>
                    <a:pt x="71889" y="6268"/>
                  </a:cubicBezTo>
                  <a:cubicBezTo>
                    <a:pt x="76866" y="11641"/>
                    <a:pt x="76866" y="11641"/>
                    <a:pt x="76866" y="11641"/>
                  </a:cubicBezTo>
                  <a:cubicBezTo>
                    <a:pt x="78525" y="15223"/>
                    <a:pt x="78525" y="15223"/>
                    <a:pt x="78525" y="15223"/>
                  </a:cubicBezTo>
                  <a:cubicBezTo>
                    <a:pt x="80184" y="16119"/>
                    <a:pt x="80184" y="16119"/>
                    <a:pt x="80184" y="16119"/>
                  </a:cubicBezTo>
                  <a:cubicBezTo>
                    <a:pt x="80184" y="16119"/>
                    <a:pt x="81290" y="17910"/>
                    <a:pt x="82396" y="17014"/>
                  </a:cubicBezTo>
                  <a:cubicBezTo>
                    <a:pt x="82949" y="17014"/>
                    <a:pt x="83502" y="16119"/>
                    <a:pt x="84055" y="15223"/>
                  </a:cubicBezTo>
                  <a:cubicBezTo>
                    <a:pt x="85161" y="14328"/>
                    <a:pt x="85714" y="12537"/>
                    <a:pt x="85714" y="12537"/>
                  </a:cubicBezTo>
                  <a:cubicBezTo>
                    <a:pt x="86820" y="12537"/>
                    <a:pt x="86820" y="12537"/>
                    <a:pt x="86820" y="12537"/>
                  </a:cubicBezTo>
                  <a:cubicBezTo>
                    <a:pt x="87926" y="9850"/>
                    <a:pt x="87926" y="9850"/>
                    <a:pt x="87926" y="9850"/>
                  </a:cubicBezTo>
                  <a:cubicBezTo>
                    <a:pt x="92350" y="11641"/>
                    <a:pt x="92350" y="11641"/>
                    <a:pt x="92350" y="11641"/>
                  </a:cubicBezTo>
                  <a:cubicBezTo>
                    <a:pt x="94562" y="11641"/>
                    <a:pt x="94562" y="11641"/>
                    <a:pt x="94562" y="11641"/>
                  </a:cubicBezTo>
                  <a:cubicBezTo>
                    <a:pt x="97880" y="9850"/>
                    <a:pt x="97880" y="9850"/>
                    <a:pt x="97880" y="9850"/>
                  </a:cubicBezTo>
                  <a:cubicBezTo>
                    <a:pt x="99539" y="12537"/>
                    <a:pt x="99539" y="12537"/>
                    <a:pt x="99539" y="12537"/>
                  </a:cubicBezTo>
                  <a:cubicBezTo>
                    <a:pt x="99539" y="15223"/>
                    <a:pt x="99539" y="15223"/>
                    <a:pt x="99539" y="15223"/>
                  </a:cubicBezTo>
                  <a:cubicBezTo>
                    <a:pt x="101751" y="16119"/>
                    <a:pt x="101751" y="16119"/>
                    <a:pt x="101751" y="16119"/>
                  </a:cubicBezTo>
                  <a:cubicBezTo>
                    <a:pt x="101751" y="16119"/>
                    <a:pt x="103410" y="17910"/>
                    <a:pt x="103963" y="17910"/>
                  </a:cubicBezTo>
                  <a:cubicBezTo>
                    <a:pt x="104516" y="17910"/>
                    <a:pt x="105622" y="18805"/>
                    <a:pt x="105622" y="18805"/>
                  </a:cubicBezTo>
                  <a:cubicBezTo>
                    <a:pt x="106175" y="27761"/>
                    <a:pt x="106175" y="27761"/>
                    <a:pt x="106175" y="27761"/>
                  </a:cubicBezTo>
                  <a:cubicBezTo>
                    <a:pt x="105069" y="30447"/>
                    <a:pt x="105069" y="30447"/>
                    <a:pt x="105069" y="30447"/>
                  </a:cubicBezTo>
                  <a:cubicBezTo>
                    <a:pt x="106175" y="37611"/>
                    <a:pt x="106175" y="37611"/>
                    <a:pt x="106175" y="37611"/>
                  </a:cubicBezTo>
                  <a:cubicBezTo>
                    <a:pt x="106175" y="41194"/>
                    <a:pt x="106175" y="41194"/>
                    <a:pt x="106175" y="41194"/>
                  </a:cubicBezTo>
                  <a:cubicBezTo>
                    <a:pt x="108387" y="38507"/>
                    <a:pt x="108387" y="38507"/>
                    <a:pt x="108387" y="38507"/>
                  </a:cubicBezTo>
                  <a:cubicBezTo>
                    <a:pt x="110599" y="41194"/>
                    <a:pt x="110599" y="41194"/>
                    <a:pt x="110599" y="41194"/>
                  </a:cubicBezTo>
                  <a:cubicBezTo>
                    <a:pt x="109493" y="43880"/>
                    <a:pt x="109493" y="43880"/>
                    <a:pt x="109493" y="43880"/>
                  </a:cubicBezTo>
                  <a:cubicBezTo>
                    <a:pt x="112258" y="47462"/>
                    <a:pt x="112258" y="47462"/>
                    <a:pt x="112258" y="47462"/>
                  </a:cubicBezTo>
                  <a:cubicBezTo>
                    <a:pt x="114470" y="49253"/>
                    <a:pt x="114470" y="49253"/>
                    <a:pt x="114470" y="49253"/>
                  </a:cubicBezTo>
                  <a:cubicBezTo>
                    <a:pt x="113917" y="51940"/>
                    <a:pt x="113917" y="51940"/>
                    <a:pt x="113917" y="51940"/>
                  </a:cubicBezTo>
                  <a:cubicBezTo>
                    <a:pt x="113917" y="51940"/>
                    <a:pt x="114470" y="52835"/>
                    <a:pt x="115023" y="52835"/>
                  </a:cubicBezTo>
                  <a:cubicBezTo>
                    <a:pt x="115576" y="53731"/>
                    <a:pt x="116682" y="54626"/>
                    <a:pt x="116682" y="54626"/>
                  </a:cubicBezTo>
                  <a:cubicBezTo>
                    <a:pt x="116682" y="54626"/>
                    <a:pt x="117235" y="57313"/>
                    <a:pt x="117235" y="59104"/>
                  </a:cubicBezTo>
                  <a:cubicBezTo>
                    <a:pt x="117788" y="60000"/>
                    <a:pt x="120000" y="62686"/>
                    <a:pt x="120000" y="62686"/>
                  </a:cubicBezTo>
                  <a:cubicBezTo>
                    <a:pt x="119447" y="67164"/>
                    <a:pt x="119447" y="67164"/>
                    <a:pt x="119447" y="67164"/>
                  </a:cubicBezTo>
                  <a:cubicBezTo>
                    <a:pt x="119447" y="67164"/>
                    <a:pt x="119447" y="68955"/>
                    <a:pt x="119447" y="69850"/>
                  </a:cubicBezTo>
                  <a:cubicBezTo>
                    <a:pt x="119447" y="70746"/>
                    <a:pt x="119447" y="71641"/>
                    <a:pt x="119447" y="72537"/>
                  </a:cubicBezTo>
                  <a:cubicBezTo>
                    <a:pt x="119447" y="71641"/>
                    <a:pt x="119447" y="71641"/>
                    <a:pt x="119447" y="71641"/>
                  </a:cubicBezTo>
                  <a:cubicBezTo>
                    <a:pt x="116682" y="74328"/>
                    <a:pt x="116682" y="74328"/>
                    <a:pt x="116682" y="74328"/>
                  </a:cubicBezTo>
                  <a:cubicBezTo>
                    <a:pt x="116129" y="80597"/>
                    <a:pt x="116129" y="80597"/>
                    <a:pt x="116129" y="80597"/>
                  </a:cubicBezTo>
                  <a:cubicBezTo>
                    <a:pt x="113364" y="85074"/>
                    <a:pt x="113364" y="85074"/>
                    <a:pt x="113364" y="85074"/>
                  </a:cubicBezTo>
                  <a:cubicBezTo>
                    <a:pt x="114470" y="89552"/>
                    <a:pt x="114470" y="89552"/>
                    <a:pt x="114470" y="89552"/>
                  </a:cubicBezTo>
                  <a:cubicBezTo>
                    <a:pt x="113364" y="92238"/>
                    <a:pt x="113364" y="92238"/>
                    <a:pt x="113364" y="92238"/>
                  </a:cubicBezTo>
                  <a:cubicBezTo>
                    <a:pt x="108940" y="92238"/>
                    <a:pt x="108940" y="92238"/>
                    <a:pt x="108940" y="92238"/>
                  </a:cubicBezTo>
                  <a:cubicBezTo>
                    <a:pt x="108940" y="92238"/>
                    <a:pt x="108387" y="92238"/>
                    <a:pt x="106175" y="92238"/>
                  </a:cubicBezTo>
                  <a:cubicBezTo>
                    <a:pt x="103963" y="92238"/>
                    <a:pt x="104516" y="92238"/>
                    <a:pt x="104516" y="92238"/>
                  </a:cubicBezTo>
                  <a:cubicBezTo>
                    <a:pt x="102857" y="94925"/>
                    <a:pt x="102857" y="94925"/>
                    <a:pt x="102857" y="94925"/>
                  </a:cubicBezTo>
                  <a:cubicBezTo>
                    <a:pt x="102304" y="100298"/>
                    <a:pt x="102304" y="100298"/>
                    <a:pt x="102304" y="100298"/>
                  </a:cubicBezTo>
                  <a:cubicBezTo>
                    <a:pt x="102304" y="100298"/>
                    <a:pt x="101198" y="100298"/>
                    <a:pt x="98986" y="101194"/>
                  </a:cubicBezTo>
                  <a:cubicBezTo>
                    <a:pt x="97880" y="102089"/>
                    <a:pt x="97880" y="102985"/>
                    <a:pt x="97880" y="102985"/>
                  </a:cubicBezTo>
                  <a:cubicBezTo>
                    <a:pt x="97880" y="102985"/>
                    <a:pt x="97880" y="102985"/>
                    <a:pt x="97880" y="102985"/>
                  </a:cubicBezTo>
                  <a:cubicBezTo>
                    <a:pt x="96221" y="102985"/>
                    <a:pt x="96221" y="102985"/>
                    <a:pt x="96221" y="102985"/>
                  </a:cubicBezTo>
                  <a:cubicBezTo>
                    <a:pt x="93456" y="102089"/>
                    <a:pt x="93456" y="102089"/>
                    <a:pt x="93456" y="102089"/>
                  </a:cubicBezTo>
                  <a:cubicBezTo>
                    <a:pt x="91244" y="102089"/>
                    <a:pt x="91244" y="102089"/>
                    <a:pt x="91244" y="102089"/>
                  </a:cubicBezTo>
                  <a:cubicBezTo>
                    <a:pt x="90138" y="98507"/>
                    <a:pt x="90138" y="98507"/>
                    <a:pt x="90138" y="98507"/>
                  </a:cubicBezTo>
                  <a:cubicBezTo>
                    <a:pt x="88479" y="97611"/>
                    <a:pt x="88479" y="97611"/>
                    <a:pt x="88479" y="97611"/>
                  </a:cubicBezTo>
                  <a:cubicBezTo>
                    <a:pt x="86820" y="94029"/>
                    <a:pt x="86820" y="94029"/>
                    <a:pt x="86820" y="94029"/>
                  </a:cubicBezTo>
                  <a:cubicBezTo>
                    <a:pt x="84608" y="93134"/>
                    <a:pt x="84608" y="93134"/>
                    <a:pt x="84608" y="93134"/>
                  </a:cubicBezTo>
                  <a:cubicBezTo>
                    <a:pt x="83502" y="90447"/>
                    <a:pt x="83502" y="90447"/>
                    <a:pt x="83502" y="90447"/>
                  </a:cubicBezTo>
                  <a:cubicBezTo>
                    <a:pt x="80737" y="90447"/>
                    <a:pt x="80737" y="90447"/>
                    <a:pt x="80737" y="90447"/>
                  </a:cubicBezTo>
                  <a:cubicBezTo>
                    <a:pt x="79078" y="88656"/>
                    <a:pt x="79078" y="88656"/>
                    <a:pt x="79078" y="88656"/>
                  </a:cubicBezTo>
                  <a:cubicBezTo>
                    <a:pt x="78525" y="86865"/>
                    <a:pt x="78525" y="86865"/>
                    <a:pt x="78525" y="86865"/>
                  </a:cubicBezTo>
                  <a:cubicBezTo>
                    <a:pt x="76866" y="86865"/>
                    <a:pt x="76866" y="86865"/>
                    <a:pt x="76866" y="86865"/>
                  </a:cubicBezTo>
                  <a:cubicBezTo>
                    <a:pt x="74654" y="87761"/>
                    <a:pt x="74654" y="87761"/>
                    <a:pt x="74654" y="87761"/>
                  </a:cubicBezTo>
                  <a:cubicBezTo>
                    <a:pt x="70783" y="89552"/>
                    <a:pt x="70783" y="89552"/>
                    <a:pt x="70783" y="89552"/>
                  </a:cubicBezTo>
                  <a:cubicBezTo>
                    <a:pt x="68571" y="86865"/>
                    <a:pt x="68571" y="86865"/>
                    <a:pt x="68571" y="86865"/>
                  </a:cubicBezTo>
                  <a:cubicBezTo>
                    <a:pt x="68018" y="85970"/>
                    <a:pt x="68018" y="85970"/>
                    <a:pt x="68018" y="85970"/>
                  </a:cubicBezTo>
                  <a:cubicBezTo>
                    <a:pt x="65806" y="83283"/>
                    <a:pt x="65806" y="83283"/>
                    <a:pt x="65806" y="83283"/>
                  </a:cubicBezTo>
                  <a:cubicBezTo>
                    <a:pt x="64700" y="77910"/>
                    <a:pt x="64700" y="77910"/>
                    <a:pt x="64700" y="77910"/>
                  </a:cubicBezTo>
                  <a:cubicBezTo>
                    <a:pt x="64700" y="77910"/>
                    <a:pt x="62488" y="80597"/>
                    <a:pt x="61935" y="80597"/>
                  </a:cubicBezTo>
                  <a:cubicBezTo>
                    <a:pt x="61935" y="80597"/>
                    <a:pt x="60276" y="85074"/>
                    <a:pt x="60276" y="85074"/>
                  </a:cubicBezTo>
                  <a:cubicBezTo>
                    <a:pt x="59723" y="88656"/>
                    <a:pt x="59723" y="88656"/>
                    <a:pt x="59723" y="88656"/>
                  </a:cubicBezTo>
                  <a:cubicBezTo>
                    <a:pt x="56405" y="86865"/>
                    <a:pt x="56405" y="86865"/>
                    <a:pt x="56405" y="86865"/>
                  </a:cubicBezTo>
                  <a:cubicBezTo>
                    <a:pt x="56405" y="86865"/>
                    <a:pt x="54746" y="90447"/>
                    <a:pt x="54746" y="91343"/>
                  </a:cubicBezTo>
                  <a:cubicBezTo>
                    <a:pt x="54193" y="91343"/>
                    <a:pt x="51981" y="89552"/>
                    <a:pt x="51981" y="89552"/>
                  </a:cubicBezTo>
                  <a:cubicBezTo>
                    <a:pt x="48663" y="89552"/>
                    <a:pt x="48663" y="89552"/>
                    <a:pt x="48663" y="89552"/>
                  </a:cubicBezTo>
                  <a:cubicBezTo>
                    <a:pt x="48663" y="89552"/>
                    <a:pt x="45345" y="89552"/>
                    <a:pt x="44792" y="88656"/>
                  </a:cubicBezTo>
                  <a:cubicBezTo>
                    <a:pt x="44239" y="88656"/>
                    <a:pt x="44239" y="89552"/>
                    <a:pt x="44239" y="89552"/>
                  </a:cubicBezTo>
                  <a:cubicBezTo>
                    <a:pt x="41474" y="90447"/>
                    <a:pt x="41474" y="90447"/>
                    <a:pt x="41474" y="90447"/>
                  </a:cubicBezTo>
                  <a:cubicBezTo>
                    <a:pt x="38156" y="91343"/>
                    <a:pt x="38156" y="91343"/>
                    <a:pt x="38156" y="91343"/>
                  </a:cubicBezTo>
                  <a:cubicBezTo>
                    <a:pt x="38156" y="91343"/>
                    <a:pt x="37603" y="94925"/>
                    <a:pt x="37050" y="95820"/>
                  </a:cubicBezTo>
                  <a:cubicBezTo>
                    <a:pt x="36497" y="95820"/>
                    <a:pt x="34838" y="93134"/>
                    <a:pt x="34285" y="92238"/>
                  </a:cubicBezTo>
                  <a:cubicBezTo>
                    <a:pt x="34285" y="91343"/>
                    <a:pt x="32626" y="90447"/>
                    <a:pt x="32626" y="90447"/>
                  </a:cubicBezTo>
                  <a:cubicBezTo>
                    <a:pt x="30414" y="93134"/>
                    <a:pt x="30414" y="93134"/>
                    <a:pt x="30414" y="93134"/>
                  </a:cubicBezTo>
                  <a:cubicBezTo>
                    <a:pt x="30414" y="93134"/>
                    <a:pt x="26543" y="94029"/>
                    <a:pt x="25990" y="94029"/>
                  </a:cubicBezTo>
                  <a:cubicBezTo>
                    <a:pt x="25437" y="94029"/>
                    <a:pt x="22672" y="95820"/>
                    <a:pt x="22672" y="95820"/>
                  </a:cubicBezTo>
                  <a:cubicBezTo>
                    <a:pt x="18801" y="94925"/>
                    <a:pt x="18801" y="94925"/>
                    <a:pt x="18801" y="94925"/>
                  </a:cubicBezTo>
                  <a:cubicBezTo>
                    <a:pt x="17142" y="97611"/>
                    <a:pt x="17142" y="97611"/>
                    <a:pt x="17142" y="97611"/>
                  </a:cubicBezTo>
                  <a:cubicBezTo>
                    <a:pt x="13824" y="101194"/>
                    <a:pt x="13824" y="101194"/>
                    <a:pt x="13824" y="101194"/>
                  </a:cubicBezTo>
                  <a:cubicBezTo>
                    <a:pt x="11612" y="101194"/>
                    <a:pt x="11612" y="101194"/>
                    <a:pt x="11612" y="101194"/>
                  </a:cubicBezTo>
                  <a:cubicBezTo>
                    <a:pt x="10506" y="105671"/>
                    <a:pt x="10506" y="105671"/>
                    <a:pt x="10506" y="105671"/>
                  </a:cubicBezTo>
                  <a:cubicBezTo>
                    <a:pt x="8294" y="107462"/>
                    <a:pt x="8294" y="107462"/>
                    <a:pt x="8294" y="107462"/>
                  </a:cubicBezTo>
                  <a:cubicBezTo>
                    <a:pt x="7741" y="109253"/>
                    <a:pt x="7741" y="109253"/>
                    <a:pt x="7741" y="109253"/>
                  </a:cubicBezTo>
                  <a:cubicBezTo>
                    <a:pt x="7188" y="114626"/>
                    <a:pt x="7188" y="114626"/>
                    <a:pt x="7188" y="114626"/>
                  </a:cubicBezTo>
                  <a:cubicBezTo>
                    <a:pt x="7188" y="114626"/>
                    <a:pt x="5529" y="115522"/>
                    <a:pt x="4423" y="115522"/>
                  </a:cubicBezTo>
                  <a:cubicBezTo>
                    <a:pt x="3870" y="116417"/>
                    <a:pt x="4976" y="117313"/>
                    <a:pt x="4976" y="117313"/>
                  </a:cubicBezTo>
                  <a:cubicBezTo>
                    <a:pt x="4423" y="120000"/>
                    <a:pt x="4423" y="120000"/>
                    <a:pt x="4423" y="120000"/>
                  </a:cubicBezTo>
                  <a:cubicBezTo>
                    <a:pt x="4423" y="120000"/>
                    <a:pt x="3870" y="119104"/>
                    <a:pt x="3870" y="119104"/>
                  </a:cubicBezTo>
                  <a:cubicBezTo>
                    <a:pt x="3870" y="119104"/>
                    <a:pt x="3317" y="116417"/>
                    <a:pt x="2764" y="114626"/>
                  </a:cubicBezTo>
                  <a:cubicBezTo>
                    <a:pt x="1658" y="112835"/>
                    <a:pt x="552" y="104776"/>
                    <a:pt x="552" y="104776"/>
                  </a:cubicBezTo>
                  <a:cubicBezTo>
                    <a:pt x="1658" y="101194"/>
                    <a:pt x="1658" y="101194"/>
                    <a:pt x="1658" y="101194"/>
                  </a:cubicBezTo>
                  <a:cubicBezTo>
                    <a:pt x="1658" y="101194"/>
                    <a:pt x="1658" y="97611"/>
                    <a:pt x="1658" y="96716"/>
                  </a:cubicBezTo>
                  <a:cubicBezTo>
                    <a:pt x="1105" y="94925"/>
                    <a:pt x="552" y="86865"/>
                    <a:pt x="552" y="86865"/>
                  </a:cubicBezTo>
                  <a:cubicBezTo>
                    <a:pt x="552" y="86865"/>
                    <a:pt x="0" y="83283"/>
                    <a:pt x="0" y="82388"/>
                  </a:cubicBezTo>
                  <a:cubicBezTo>
                    <a:pt x="0" y="81492"/>
                    <a:pt x="3870" y="74328"/>
                    <a:pt x="3870" y="74328"/>
                  </a:cubicBezTo>
                  <a:cubicBezTo>
                    <a:pt x="3870" y="73432"/>
                    <a:pt x="4423" y="66268"/>
                    <a:pt x="4423" y="66268"/>
                  </a:cubicBezTo>
                  <a:cubicBezTo>
                    <a:pt x="3317" y="60895"/>
                    <a:pt x="3317" y="60895"/>
                    <a:pt x="3317" y="60895"/>
                  </a:cubicBezTo>
                  <a:cubicBezTo>
                    <a:pt x="4423" y="53731"/>
                    <a:pt x="4423" y="53731"/>
                    <a:pt x="4423" y="53731"/>
                  </a:cubicBezTo>
                  <a:cubicBezTo>
                    <a:pt x="5529" y="45671"/>
                    <a:pt x="5529" y="45671"/>
                    <a:pt x="5529" y="45671"/>
                  </a:cubicBezTo>
                  <a:cubicBezTo>
                    <a:pt x="5529" y="45671"/>
                    <a:pt x="6082" y="42089"/>
                    <a:pt x="6635" y="42089"/>
                  </a:cubicBezTo>
                  <a:cubicBezTo>
                    <a:pt x="7188" y="41194"/>
                    <a:pt x="10506" y="40298"/>
                    <a:pt x="10506" y="40298"/>
                  </a:cubicBezTo>
                  <a:close/>
                </a:path>
              </a:pathLst>
            </a:custGeom>
            <a:pattFill prst="ltHorz">
              <a:fgClr>
                <a:srgbClr val="FF0000"/>
              </a:fgClr>
              <a:bgClr>
                <a:srgbClr val="FFC000"/>
              </a:bgClr>
            </a:pattFill>
            <a:ln w="3175" cap="flat" cmpd="sng">
              <a:solidFill>
                <a:schemeClr val="tx1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endParaRPr kern="0">
                <a:solidFill>
                  <a:srgbClr val="7F7F7F"/>
                </a:solidFill>
                <a:latin typeface="Calibri" panose="020F0502020204030204" pitchFamily="34" charset="0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33" name="Shape 2026">
              <a:extLst>
                <a:ext uri="{FF2B5EF4-FFF2-40B4-BE49-F238E27FC236}">
                  <a16:creationId xmlns:a16="http://schemas.microsoft.com/office/drawing/2014/main" id="{C736AB77-A40B-141E-3180-2FCE31EF9DC4}"/>
                </a:ext>
              </a:extLst>
            </p:cNvPr>
            <p:cNvSpPr/>
            <p:nvPr/>
          </p:nvSpPr>
          <p:spPr>
            <a:xfrm>
              <a:off x="4625418" y="3542818"/>
              <a:ext cx="331192" cy="283723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0126" y="71654"/>
                  </a:moveTo>
                  <a:cubicBezTo>
                    <a:pt x="110886" y="71654"/>
                    <a:pt x="110886" y="71654"/>
                    <a:pt x="110886" y="71654"/>
                  </a:cubicBezTo>
                  <a:cubicBezTo>
                    <a:pt x="110886" y="71654"/>
                    <a:pt x="110886" y="71654"/>
                    <a:pt x="110886" y="71654"/>
                  </a:cubicBezTo>
                  <a:cubicBezTo>
                    <a:pt x="110126" y="71654"/>
                    <a:pt x="110126" y="71654"/>
                    <a:pt x="110126" y="71654"/>
                  </a:cubicBezTo>
                  <a:close/>
                  <a:moveTo>
                    <a:pt x="100253" y="7769"/>
                  </a:moveTo>
                  <a:cubicBezTo>
                    <a:pt x="100253" y="7769"/>
                    <a:pt x="100253" y="7769"/>
                    <a:pt x="100253" y="7769"/>
                  </a:cubicBezTo>
                  <a:cubicBezTo>
                    <a:pt x="104810" y="8633"/>
                    <a:pt x="104810" y="8633"/>
                    <a:pt x="104810" y="8633"/>
                  </a:cubicBezTo>
                  <a:cubicBezTo>
                    <a:pt x="107088" y="9496"/>
                    <a:pt x="107088" y="9496"/>
                    <a:pt x="107088" y="9496"/>
                  </a:cubicBezTo>
                  <a:cubicBezTo>
                    <a:pt x="107088" y="12086"/>
                    <a:pt x="107088" y="12086"/>
                    <a:pt x="107088" y="12086"/>
                  </a:cubicBezTo>
                  <a:cubicBezTo>
                    <a:pt x="107088" y="15539"/>
                    <a:pt x="107088" y="15539"/>
                    <a:pt x="107088" y="15539"/>
                  </a:cubicBezTo>
                  <a:cubicBezTo>
                    <a:pt x="107088" y="18129"/>
                    <a:pt x="107088" y="18129"/>
                    <a:pt x="107088" y="18129"/>
                  </a:cubicBezTo>
                  <a:cubicBezTo>
                    <a:pt x="104810" y="21582"/>
                    <a:pt x="104810" y="21582"/>
                    <a:pt x="104810" y="21582"/>
                  </a:cubicBezTo>
                  <a:cubicBezTo>
                    <a:pt x="104810" y="21582"/>
                    <a:pt x="104050" y="24172"/>
                    <a:pt x="104050" y="24172"/>
                  </a:cubicBezTo>
                  <a:cubicBezTo>
                    <a:pt x="104050" y="25035"/>
                    <a:pt x="103291" y="26762"/>
                    <a:pt x="103291" y="26762"/>
                  </a:cubicBezTo>
                  <a:cubicBezTo>
                    <a:pt x="103291" y="26762"/>
                    <a:pt x="101772" y="25899"/>
                    <a:pt x="102531" y="28489"/>
                  </a:cubicBezTo>
                  <a:cubicBezTo>
                    <a:pt x="102531" y="31079"/>
                    <a:pt x="103291" y="30215"/>
                    <a:pt x="103291" y="31079"/>
                  </a:cubicBezTo>
                  <a:cubicBezTo>
                    <a:pt x="103291" y="31942"/>
                    <a:pt x="103291" y="33669"/>
                    <a:pt x="103291" y="34532"/>
                  </a:cubicBezTo>
                  <a:cubicBezTo>
                    <a:pt x="102531" y="35395"/>
                    <a:pt x="103291" y="35395"/>
                    <a:pt x="102531" y="36258"/>
                  </a:cubicBezTo>
                  <a:cubicBezTo>
                    <a:pt x="102531" y="37122"/>
                    <a:pt x="104050" y="37985"/>
                    <a:pt x="105569" y="37985"/>
                  </a:cubicBezTo>
                  <a:cubicBezTo>
                    <a:pt x="107088" y="38848"/>
                    <a:pt x="107088" y="37985"/>
                    <a:pt x="107848" y="37985"/>
                  </a:cubicBezTo>
                  <a:cubicBezTo>
                    <a:pt x="108607" y="37985"/>
                    <a:pt x="109367" y="38848"/>
                    <a:pt x="110126" y="38848"/>
                  </a:cubicBezTo>
                  <a:cubicBezTo>
                    <a:pt x="110886" y="39712"/>
                    <a:pt x="110886" y="39712"/>
                    <a:pt x="110886" y="40575"/>
                  </a:cubicBezTo>
                  <a:cubicBezTo>
                    <a:pt x="111645" y="41438"/>
                    <a:pt x="112405" y="42302"/>
                    <a:pt x="113164" y="43165"/>
                  </a:cubicBezTo>
                  <a:cubicBezTo>
                    <a:pt x="113924" y="43165"/>
                    <a:pt x="113924" y="42302"/>
                    <a:pt x="114683" y="42302"/>
                  </a:cubicBezTo>
                  <a:cubicBezTo>
                    <a:pt x="114683" y="43165"/>
                    <a:pt x="115443" y="44028"/>
                    <a:pt x="116202" y="44028"/>
                  </a:cubicBezTo>
                  <a:cubicBezTo>
                    <a:pt x="116202" y="44892"/>
                    <a:pt x="116962" y="45755"/>
                    <a:pt x="117721" y="45755"/>
                  </a:cubicBezTo>
                  <a:cubicBezTo>
                    <a:pt x="117721" y="45755"/>
                    <a:pt x="119240" y="46618"/>
                    <a:pt x="119240" y="46618"/>
                  </a:cubicBezTo>
                  <a:cubicBezTo>
                    <a:pt x="120000" y="47482"/>
                    <a:pt x="119240" y="48345"/>
                    <a:pt x="119240" y="48345"/>
                  </a:cubicBezTo>
                  <a:cubicBezTo>
                    <a:pt x="118481" y="48345"/>
                    <a:pt x="118481" y="50071"/>
                    <a:pt x="117721" y="50071"/>
                  </a:cubicBezTo>
                  <a:cubicBezTo>
                    <a:pt x="117721" y="50071"/>
                    <a:pt x="115443" y="50935"/>
                    <a:pt x="115443" y="50935"/>
                  </a:cubicBezTo>
                  <a:cubicBezTo>
                    <a:pt x="114683" y="50935"/>
                    <a:pt x="113924" y="50935"/>
                    <a:pt x="113164" y="50935"/>
                  </a:cubicBezTo>
                  <a:cubicBezTo>
                    <a:pt x="112405" y="50935"/>
                    <a:pt x="111645" y="50935"/>
                    <a:pt x="110886" y="50071"/>
                  </a:cubicBezTo>
                  <a:cubicBezTo>
                    <a:pt x="110126" y="50071"/>
                    <a:pt x="110126" y="50071"/>
                    <a:pt x="109367" y="50071"/>
                  </a:cubicBezTo>
                  <a:cubicBezTo>
                    <a:pt x="109367" y="50935"/>
                    <a:pt x="109367" y="52661"/>
                    <a:pt x="109367" y="52661"/>
                  </a:cubicBezTo>
                  <a:cubicBezTo>
                    <a:pt x="109367" y="52661"/>
                    <a:pt x="110126" y="53525"/>
                    <a:pt x="110886" y="54388"/>
                  </a:cubicBezTo>
                  <a:cubicBezTo>
                    <a:pt x="110886" y="54388"/>
                    <a:pt x="112405" y="56115"/>
                    <a:pt x="113164" y="56115"/>
                  </a:cubicBezTo>
                  <a:cubicBezTo>
                    <a:pt x="113164" y="56115"/>
                    <a:pt x="113924" y="56978"/>
                    <a:pt x="114683" y="57841"/>
                  </a:cubicBezTo>
                  <a:cubicBezTo>
                    <a:pt x="115443" y="59568"/>
                    <a:pt x="115443" y="60431"/>
                    <a:pt x="115443" y="60431"/>
                  </a:cubicBezTo>
                  <a:cubicBezTo>
                    <a:pt x="119240" y="63884"/>
                    <a:pt x="119240" y="63884"/>
                    <a:pt x="119240" y="63884"/>
                  </a:cubicBezTo>
                  <a:cubicBezTo>
                    <a:pt x="119240" y="63884"/>
                    <a:pt x="119240" y="64748"/>
                    <a:pt x="119240" y="67338"/>
                  </a:cubicBezTo>
                  <a:cubicBezTo>
                    <a:pt x="119240" y="70791"/>
                    <a:pt x="118481" y="69064"/>
                    <a:pt x="117721" y="69064"/>
                  </a:cubicBezTo>
                  <a:cubicBezTo>
                    <a:pt x="116962" y="69064"/>
                    <a:pt x="116202" y="69064"/>
                    <a:pt x="114683" y="68201"/>
                  </a:cubicBezTo>
                  <a:cubicBezTo>
                    <a:pt x="113924" y="68201"/>
                    <a:pt x="113924" y="68201"/>
                    <a:pt x="113924" y="68201"/>
                  </a:cubicBezTo>
                  <a:cubicBezTo>
                    <a:pt x="112405" y="70791"/>
                    <a:pt x="112405" y="70791"/>
                    <a:pt x="112405" y="70791"/>
                  </a:cubicBezTo>
                  <a:cubicBezTo>
                    <a:pt x="112405" y="70791"/>
                    <a:pt x="110886" y="70791"/>
                    <a:pt x="110126" y="71654"/>
                  </a:cubicBezTo>
                  <a:cubicBezTo>
                    <a:pt x="109367" y="71654"/>
                    <a:pt x="109367" y="71654"/>
                    <a:pt x="109367" y="71654"/>
                  </a:cubicBezTo>
                  <a:cubicBezTo>
                    <a:pt x="109367" y="71654"/>
                    <a:pt x="107848" y="72517"/>
                    <a:pt x="107848" y="72517"/>
                  </a:cubicBezTo>
                  <a:cubicBezTo>
                    <a:pt x="107848" y="72517"/>
                    <a:pt x="107088" y="73381"/>
                    <a:pt x="107088" y="73381"/>
                  </a:cubicBezTo>
                  <a:cubicBezTo>
                    <a:pt x="106329" y="73381"/>
                    <a:pt x="106329" y="73381"/>
                    <a:pt x="106329" y="73381"/>
                  </a:cubicBezTo>
                  <a:cubicBezTo>
                    <a:pt x="105569" y="72517"/>
                    <a:pt x="105569" y="72517"/>
                    <a:pt x="105569" y="72517"/>
                  </a:cubicBezTo>
                  <a:cubicBezTo>
                    <a:pt x="104810" y="71654"/>
                    <a:pt x="104810" y="71654"/>
                    <a:pt x="104810" y="71654"/>
                  </a:cubicBezTo>
                  <a:cubicBezTo>
                    <a:pt x="103291" y="73381"/>
                    <a:pt x="103291" y="73381"/>
                    <a:pt x="103291" y="73381"/>
                  </a:cubicBezTo>
                  <a:cubicBezTo>
                    <a:pt x="102531" y="74244"/>
                    <a:pt x="102531" y="74244"/>
                    <a:pt x="102531" y="74244"/>
                  </a:cubicBezTo>
                  <a:cubicBezTo>
                    <a:pt x="102531" y="74244"/>
                    <a:pt x="102531" y="75107"/>
                    <a:pt x="102531" y="75107"/>
                  </a:cubicBezTo>
                  <a:cubicBezTo>
                    <a:pt x="102531" y="75107"/>
                    <a:pt x="104050" y="75107"/>
                    <a:pt x="104050" y="75107"/>
                  </a:cubicBezTo>
                  <a:cubicBezTo>
                    <a:pt x="104050" y="76834"/>
                    <a:pt x="104050" y="76834"/>
                    <a:pt x="104050" y="76834"/>
                  </a:cubicBezTo>
                  <a:cubicBezTo>
                    <a:pt x="104050" y="76834"/>
                    <a:pt x="104050" y="76834"/>
                    <a:pt x="104810" y="76834"/>
                  </a:cubicBezTo>
                  <a:cubicBezTo>
                    <a:pt x="104810" y="76834"/>
                    <a:pt x="105569" y="77697"/>
                    <a:pt x="105569" y="77697"/>
                  </a:cubicBezTo>
                  <a:cubicBezTo>
                    <a:pt x="106329" y="78561"/>
                    <a:pt x="106329" y="78561"/>
                    <a:pt x="106329" y="78561"/>
                  </a:cubicBezTo>
                  <a:cubicBezTo>
                    <a:pt x="106329" y="80287"/>
                    <a:pt x="106329" y="80287"/>
                    <a:pt x="106329" y="80287"/>
                  </a:cubicBezTo>
                  <a:cubicBezTo>
                    <a:pt x="107848" y="81151"/>
                    <a:pt x="107848" y="81151"/>
                    <a:pt x="107848" y="81151"/>
                  </a:cubicBezTo>
                  <a:cubicBezTo>
                    <a:pt x="107848" y="82877"/>
                    <a:pt x="107848" y="82877"/>
                    <a:pt x="107848" y="82877"/>
                  </a:cubicBezTo>
                  <a:cubicBezTo>
                    <a:pt x="107088" y="83741"/>
                    <a:pt x="107088" y="83741"/>
                    <a:pt x="107088" y="83741"/>
                  </a:cubicBezTo>
                  <a:cubicBezTo>
                    <a:pt x="106329" y="84604"/>
                    <a:pt x="106329" y="84604"/>
                    <a:pt x="106329" y="84604"/>
                  </a:cubicBezTo>
                  <a:cubicBezTo>
                    <a:pt x="104810" y="84604"/>
                    <a:pt x="104810" y="84604"/>
                    <a:pt x="104810" y="84604"/>
                  </a:cubicBezTo>
                  <a:cubicBezTo>
                    <a:pt x="104810" y="83741"/>
                    <a:pt x="104810" y="83741"/>
                    <a:pt x="104810" y="83741"/>
                  </a:cubicBezTo>
                  <a:cubicBezTo>
                    <a:pt x="104050" y="82014"/>
                    <a:pt x="104050" y="82014"/>
                    <a:pt x="104050" y="82014"/>
                  </a:cubicBezTo>
                  <a:cubicBezTo>
                    <a:pt x="103291" y="81151"/>
                    <a:pt x="103291" y="81151"/>
                    <a:pt x="103291" y="81151"/>
                  </a:cubicBezTo>
                  <a:cubicBezTo>
                    <a:pt x="101012" y="82014"/>
                    <a:pt x="101012" y="82014"/>
                    <a:pt x="101012" y="82014"/>
                  </a:cubicBezTo>
                  <a:cubicBezTo>
                    <a:pt x="101012" y="83741"/>
                    <a:pt x="101012" y="83741"/>
                    <a:pt x="101012" y="83741"/>
                  </a:cubicBezTo>
                  <a:cubicBezTo>
                    <a:pt x="97215" y="87194"/>
                    <a:pt x="97215" y="87194"/>
                    <a:pt x="97215" y="87194"/>
                  </a:cubicBezTo>
                  <a:cubicBezTo>
                    <a:pt x="97974" y="88920"/>
                    <a:pt x="97974" y="88920"/>
                    <a:pt x="97974" y="88920"/>
                  </a:cubicBezTo>
                  <a:cubicBezTo>
                    <a:pt x="96455" y="90647"/>
                    <a:pt x="96455" y="90647"/>
                    <a:pt x="96455" y="90647"/>
                  </a:cubicBezTo>
                  <a:cubicBezTo>
                    <a:pt x="96455" y="93237"/>
                    <a:pt x="96455" y="93237"/>
                    <a:pt x="96455" y="93237"/>
                  </a:cubicBezTo>
                  <a:cubicBezTo>
                    <a:pt x="97215" y="95827"/>
                    <a:pt x="97215" y="95827"/>
                    <a:pt x="97215" y="95827"/>
                  </a:cubicBezTo>
                  <a:cubicBezTo>
                    <a:pt x="97215" y="97553"/>
                    <a:pt x="97215" y="97553"/>
                    <a:pt x="97215" y="97553"/>
                  </a:cubicBezTo>
                  <a:cubicBezTo>
                    <a:pt x="94177" y="98417"/>
                    <a:pt x="94177" y="98417"/>
                    <a:pt x="94177" y="98417"/>
                  </a:cubicBezTo>
                  <a:cubicBezTo>
                    <a:pt x="91898" y="99280"/>
                    <a:pt x="91898" y="99280"/>
                    <a:pt x="91898" y="99280"/>
                  </a:cubicBezTo>
                  <a:cubicBezTo>
                    <a:pt x="91898" y="101870"/>
                    <a:pt x="91898" y="101870"/>
                    <a:pt x="91898" y="101870"/>
                  </a:cubicBezTo>
                  <a:cubicBezTo>
                    <a:pt x="91898" y="102733"/>
                    <a:pt x="91898" y="102733"/>
                    <a:pt x="91898" y="102733"/>
                  </a:cubicBezTo>
                  <a:cubicBezTo>
                    <a:pt x="94177" y="106187"/>
                    <a:pt x="94177" y="106187"/>
                    <a:pt x="94177" y="106187"/>
                  </a:cubicBezTo>
                  <a:cubicBezTo>
                    <a:pt x="93417" y="107050"/>
                    <a:pt x="93417" y="107050"/>
                    <a:pt x="93417" y="107050"/>
                  </a:cubicBezTo>
                  <a:cubicBezTo>
                    <a:pt x="92658" y="107913"/>
                    <a:pt x="92658" y="107913"/>
                    <a:pt x="92658" y="107913"/>
                  </a:cubicBezTo>
                  <a:cubicBezTo>
                    <a:pt x="94936" y="111366"/>
                    <a:pt x="94936" y="111366"/>
                    <a:pt x="94936" y="111366"/>
                  </a:cubicBezTo>
                  <a:cubicBezTo>
                    <a:pt x="95696" y="112230"/>
                    <a:pt x="95696" y="112230"/>
                    <a:pt x="95696" y="112230"/>
                  </a:cubicBezTo>
                  <a:cubicBezTo>
                    <a:pt x="97215" y="112230"/>
                    <a:pt x="97215" y="112230"/>
                    <a:pt x="97215" y="112230"/>
                  </a:cubicBezTo>
                  <a:cubicBezTo>
                    <a:pt x="97215" y="113956"/>
                    <a:pt x="97215" y="113956"/>
                    <a:pt x="97215" y="113956"/>
                  </a:cubicBezTo>
                  <a:cubicBezTo>
                    <a:pt x="97215" y="114820"/>
                    <a:pt x="97215" y="114820"/>
                    <a:pt x="97215" y="114820"/>
                  </a:cubicBezTo>
                  <a:cubicBezTo>
                    <a:pt x="97215" y="116546"/>
                    <a:pt x="97215" y="116546"/>
                    <a:pt x="97215" y="116546"/>
                  </a:cubicBezTo>
                  <a:cubicBezTo>
                    <a:pt x="95696" y="118273"/>
                    <a:pt x="95696" y="118273"/>
                    <a:pt x="95696" y="118273"/>
                  </a:cubicBezTo>
                  <a:cubicBezTo>
                    <a:pt x="96455" y="120000"/>
                    <a:pt x="96455" y="120000"/>
                    <a:pt x="96455" y="120000"/>
                  </a:cubicBezTo>
                  <a:cubicBezTo>
                    <a:pt x="94936" y="119136"/>
                    <a:pt x="94936" y="119136"/>
                    <a:pt x="94936" y="119136"/>
                  </a:cubicBezTo>
                  <a:cubicBezTo>
                    <a:pt x="94177" y="120000"/>
                    <a:pt x="94177" y="120000"/>
                    <a:pt x="94177" y="120000"/>
                  </a:cubicBezTo>
                  <a:cubicBezTo>
                    <a:pt x="94177" y="120000"/>
                    <a:pt x="94177" y="120000"/>
                    <a:pt x="94177" y="120000"/>
                  </a:cubicBezTo>
                  <a:cubicBezTo>
                    <a:pt x="91898" y="119136"/>
                    <a:pt x="91898" y="119136"/>
                    <a:pt x="91898" y="119136"/>
                  </a:cubicBezTo>
                  <a:cubicBezTo>
                    <a:pt x="91898" y="119136"/>
                    <a:pt x="90379" y="120000"/>
                    <a:pt x="89620" y="120000"/>
                  </a:cubicBezTo>
                  <a:cubicBezTo>
                    <a:pt x="89620" y="120000"/>
                    <a:pt x="88860" y="120000"/>
                    <a:pt x="88860" y="120000"/>
                  </a:cubicBezTo>
                  <a:cubicBezTo>
                    <a:pt x="88860" y="120000"/>
                    <a:pt x="87341" y="119136"/>
                    <a:pt x="86582" y="119136"/>
                  </a:cubicBezTo>
                  <a:cubicBezTo>
                    <a:pt x="86582" y="119136"/>
                    <a:pt x="86582" y="119136"/>
                    <a:pt x="86582" y="119136"/>
                  </a:cubicBezTo>
                  <a:cubicBezTo>
                    <a:pt x="86582" y="119136"/>
                    <a:pt x="86582" y="119136"/>
                    <a:pt x="86582" y="119136"/>
                  </a:cubicBezTo>
                  <a:cubicBezTo>
                    <a:pt x="86582" y="119136"/>
                    <a:pt x="86582" y="119136"/>
                    <a:pt x="86582" y="119136"/>
                  </a:cubicBezTo>
                  <a:cubicBezTo>
                    <a:pt x="86582" y="119136"/>
                    <a:pt x="86582" y="119136"/>
                    <a:pt x="86582" y="119136"/>
                  </a:cubicBezTo>
                  <a:cubicBezTo>
                    <a:pt x="86582" y="119136"/>
                    <a:pt x="86582" y="119136"/>
                    <a:pt x="86582" y="119136"/>
                  </a:cubicBezTo>
                  <a:cubicBezTo>
                    <a:pt x="86582" y="118273"/>
                    <a:pt x="86582" y="118273"/>
                    <a:pt x="86582" y="118273"/>
                  </a:cubicBezTo>
                  <a:cubicBezTo>
                    <a:pt x="86582" y="118273"/>
                    <a:pt x="86582" y="118273"/>
                    <a:pt x="86582" y="118273"/>
                  </a:cubicBezTo>
                  <a:cubicBezTo>
                    <a:pt x="86582" y="118273"/>
                    <a:pt x="86582" y="118273"/>
                    <a:pt x="86582" y="118273"/>
                  </a:cubicBezTo>
                  <a:cubicBezTo>
                    <a:pt x="86582" y="118273"/>
                    <a:pt x="86582" y="118273"/>
                    <a:pt x="86582" y="118273"/>
                  </a:cubicBezTo>
                  <a:cubicBezTo>
                    <a:pt x="85822" y="118273"/>
                    <a:pt x="85822" y="118273"/>
                    <a:pt x="85822" y="118273"/>
                  </a:cubicBezTo>
                  <a:cubicBezTo>
                    <a:pt x="85822" y="118273"/>
                    <a:pt x="85822" y="118273"/>
                    <a:pt x="85822" y="118273"/>
                  </a:cubicBezTo>
                  <a:cubicBezTo>
                    <a:pt x="85822" y="118273"/>
                    <a:pt x="85822" y="118273"/>
                    <a:pt x="85822" y="118273"/>
                  </a:cubicBezTo>
                  <a:cubicBezTo>
                    <a:pt x="85822" y="118273"/>
                    <a:pt x="85822" y="118273"/>
                    <a:pt x="85822" y="118273"/>
                  </a:cubicBezTo>
                  <a:cubicBezTo>
                    <a:pt x="85822" y="118273"/>
                    <a:pt x="85822" y="118273"/>
                    <a:pt x="85822" y="118273"/>
                  </a:cubicBezTo>
                  <a:cubicBezTo>
                    <a:pt x="85822" y="118273"/>
                    <a:pt x="85822" y="118273"/>
                    <a:pt x="85822" y="118273"/>
                  </a:cubicBezTo>
                  <a:cubicBezTo>
                    <a:pt x="85822" y="118273"/>
                    <a:pt x="85822" y="118273"/>
                    <a:pt x="85822" y="118273"/>
                  </a:cubicBezTo>
                  <a:cubicBezTo>
                    <a:pt x="85822" y="118273"/>
                    <a:pt x="85822" y="118273"/>
                    <a:pt x="85822" y="118273"/>
                  </a:cubicBezTo>
                  <a:cubicBezTo>
                    <a:pt x="85822" y="118273"/>
                    <a:pt x="85822" y="118273"/>
                    <a:pt x="85822" y="118273"/>
                  </a:cubicBezTo>
                  <a:cubicBezTo>
                    <a:pt x="85822" y="118273"/>
                    <a:pt x="85822" y="118273"/>
                    <a:pt x="85822" y="118273"/>
                  </a:cubicBezTo>
                  <a:cubicBezTo>
                    <a:pt x="85822" y="118273"/>
                    <a:pt x="85822" y="118273"/>
                    <a:pt x="85822" y="118273"/>
                  </a:cubicBezTo>
                  <a:cubicBezTo>
                    <a:pt x="85822" y="118273"/>
                    <a:pt x="85822" y="118273"/>
                    <a:pt x="85822" y="118273"/>
                  </a:cubicBezTo>
                  <a:cubicBezTo>
                    <a:pt x="85822" y="118273"/>
                    <a:pt x="85822" y="118273"/>
                    <a:pt x="85822" y="118273"/>
                  </a:cubicBezTo>
                  <a:cubicBezTo>
                    <a:pt x="85063" y="118273"/>
                    <a:pt x="85063" y="118273"/>
                    <a:pt x="85063" y="118273"/>
                  </a:cubicBezTo>
                  <a:cubicBezTo>
                    <a:pt x="85063" y="118273"/>
                    <a:pt x="85063" y="118273"/>
                    <a:pt x="85063" y="118273"/>
                  </a:cubicBezTo>
                  <a:cubicBezTo>
                    <a:pt x="85063" y="118273"/>
                    <a:pt x="85063" y="118273"/>
                    <a:pt x="85063" y="118273"/>
                  </a:cubicBezTo>
                  <a:cubicBezTo>
                    <a:pt x="85063" y="118273"/>
                    <a:pt x="85063" y="118273"/>
                    <a:pt x="85063" y="118273"/>
                  </a:cubicBezTo>
                  <a:cubicBezTo>
                    <a:pt x="85063" y="118273"/>
                    <a:pt x="85063" y="118273"/>
                    <a:pt x="85063" y="118273"/>
                  </a:cubicBezTo>
                  <a:cubicBezTo>
                    <a:pt x="85063" y="118273"/>
                    <a:pt x="85063" y="118273"/>
                    <a:pt x="85063" y="118273"/>
                  </a:cubicBezTo>
                  <a:cubicBezTo>
                    <a:pt x="85063" y="118273"/>
                    <a:pt x="85063" y="118273"/>
                    <a:pt x="85063" y="118273"/>
                  </a:cubicBezTo>
                  <a:cubicBezTo>
                    <a:pt x="85063" y="118273"/>
                    <a:pt x="85063" y="118273"/>
                    <a:pt x="85063" y="118273"/>
                  </a:cubicBezTo>
                  <a:cubicBezTo>
                    <a:pt x="85063" y="118273"/>
                    <a:pt x="85063" y="118273"/>
                    <a:pt x="85063" y="118273"/>
                  </a:cubicBezTo>
                  <a:cubicBezTo>
                    <a:pt x="80506" y="115683"/>
                    <a:pt x="80506" y="115683"/>
                    <a:pt x="80506" y="115683"/>
                  </a:cubicBezTo>
                  <a:cubicBezTo>
                    <a:pt x="76708" y="113093"/>
                    <a:pt x="76708" y="113093"/>
                    <a:pt x="76708" y="113093"/>
                  </a:cubicBezTo>
                  <a:cubicBezTo>
                    <a:pt x="75189" y="111366"/>
                    <a:pt x="75189" y="111366"/>
                    <a:pt x="75189" y="111366"/>
                  </a:cubicBezTo>
                  <a:cubicBezTo>
                    <a:pt x="74430" y="107913"/>
                    <a:pt x="74430" y="107913"/>
                    <a:pt x="74430" y="107913"/>
                  </a:cubicBezTo>
                  <a:cubicBezTo>
                    <a:pt x="70632" y="107050"/>
                    <a:pt x="70632" y="107050"/>
                    <a:pt x="70632" y="107050"/>
                  </a:cubicBezTo>
                  <a:cubicBezTo>
                    <a:pt x="70632" y="104460"/>
                    <a:pt x="66075" y="108776"/>
                    <a:pt x="67594" y="103597"/>
                  </a:cubicBezTo>
                  <a:cubicBezTo>
                    <a:pt x="67594" y="103597"/>
                    <a:pt x="67594" y="102733"/>
                    <a:pt x="67594" y="102733"/>
                  </a:cubicBezTo>
                  <a:cubicBezTo>
                    <a:pt x="67594" y="102733"/>
                    <a:pt x="67594" y="102733"/>
                    <a:pt x="67594" y="102733"/>
                  </a:cubicBezTo>
                  <a:cubicBezTo>
                    <a:pt x="67594" y="101870"/>
                    <a:pt x="66075" y="100143"/>
                    <a:pt x="66075" y="100143"/>
                  </a:cubicBezTo>
                  <a:cubicBezTo>
                    <a:pt x="61518" y="97553"/>
                    <a:pt x="60759" y="94964"/>
                    <a:pt x="58481" y="94100"/>
                  </a:cubicBezTo>
                  <a:cubicBezTo>
                    <a:pt x="57721" y="94100"/>
                    <a:pt x="57721" y="94100"/>
                    <a:pt x="57721" y="94100"/>
                  </a:cubicBezTo>
                  <a:cubicBezTo>
                    <a:pt x="54683" y="90647"/>
                    <a:pt x="54683" y="90647"/>
                    <a:pt x="54683" y="90647"/>
                  </a:cubicBezTo>
                  <a:cubicBezTo>
                    <a:pt x="53164" y="89784"/>
                    <a:pt x="53164" y="89784"/>
                    <a:pt x="53164" y="89784"/>
                  </a:cubicBezTo>
                  <a:cubicBezTo>
                    <a:pt x="51645" y="88057"/>
                    <a:pt x="51645" y="88057"/>
                    <a:pt x="51645" y="88057"/>
                  </a:cubicBezTo>
                  <a:cubicBezTo>
                    <a:pt x="51645" y="86330"/>
                    <a:pt x="51645" y="86330"/>
                    <a:pt x="51645" y="86330"/>
                  </a:cubicBezTo>
                  <a:cubicBezTo>
                    <a:pt x="50886" y="82877"/>
                    <a:pt x="50886" y="82877"/>
                    <a:pt x="50886" y="82877"/>
                  </a:cubicBezTo>
                  <a:cubicBezTo>
                    <a:pt x="50886" y="82877"/>
                    <a:pt x="50886" y="82877"/>
                    <a:pt x="50886" y="82877"/>
                  </a:cubicBezTo>
                  <a:cubicBezTo>
                    <a:pt x="50886" y="82877"/>
                    <a:pt x="47848" y="82014"/>
                    <a:pt x="46329" y="81151"/>
                  </a:cubicBezTo>
                  <a:cubicBezTo>
                    <a:pt x="44810" y="80287"/>
                    <a:pt x="44810" y="80287"/>
                    <a:pt x="44810" y="80287"/>
                  </a:cubicBezTo>
                  <a:cubicBezTo>
                    <a:pt x="43291" y="77697"/>
                    <a:pt x="43291" y="77697"/>
                    <a:pt x="43291" y="77697"/>
                  </a:cubicBezTo>
                  <a:cubicBezTo>
                    <a:pt x="42531" y="76834"/>
                    <a:pt x="42531" y="76834"/>
                    <a:pt x="42531" y="76834"/>
                  </a:cubicBezTo>
                  <a:cubicBezTo>
                    <a:pt x="40253" y="74244"/>
                    <a:pt x="40253" y="74244"/>
                    <a:pt x="40253" y="74244"/>
                  </a:cubicBezTo>
                  <a:cubicBezTo>
                    <a:pt x="39493" y="74244"/>
                    <a:pt x="39493" y="74244"/>
                    <a:pt x="39493" y="74244"/>
                  </a:cubicBezTo>
                  <a:cubicBezTo>
                    <a:pt x="35696" y="72517"/>
                    <a:pt x="35696" y="72517"/>
                    <a:pt x="35696" y="72517"/>
                  </a:cubicBezTo>
                  <a:cubicBezTo>
                    <a:pt x="34936" y="70791"/>
                    <a:pt x="34936" y="70791"/>
                    <a:pt x="34936" y="70791"/>
                  </a:cubicBezTo>
                  <a:cubicBezTo>
                    <a:pt x="33417" y="69928"/>
                    <a:pt x="33417" y="69928"/>
                    <a:pt x="33417" y="69928"/>
                  </a:cubicBezTo>
                  <a:cubicBezTo>
                    <a:pt x="32658" y="68201"/>
                    <a:pt x="32658" y="68201"/>
                    <a:pt x="32658" y="68201"/>
                  </a:cubicBezTo>
                  <a:cubicBezTo>
                    <a:pt x="30379" y="67338"/>
                    <a:pt x="30379" y="67338"/>
                    <a:pt x="30379" y="67338"/>
                  </a:cubicBezTo>
                  <a:cubicBezTo>
                    <a:pt x="29620" y="65611"/>
                    <a:pt x="29620" y="65611"/>
                    <a:pt x="29620" y="65611"/>
                  </a:cubicBezTo>
                  <a:cubicBezTo>
                    <a:pt x="28860" y="64748"/>
                    <a:pt x="28860" y="64748"/>
                    <a:pt x="28860" y="64748"/>
                  </a:cubicBezTo>
                  <a:cubicBezTo>
                    <a:pt x="26582" y="61294"/>
                    <a:pt x="26582" y="61294"/>
                    <a:pt x="26582" y="61294"/>
                  </a:cubicBezTo>
                  <a:cubicBezTo>
                    <a:pt x="24303" y="59568"/>
                    <a:pt x="24303" y="59568"/>
                    <a:pt x="24303" y="59568"/>
                  </a:cubicBezTo>
                  <a:cubicBezTo>
                    <a:pt x="23544" y="58705"/>
                    <a:pt x="23544" y="58705"/>
                    <a:pt x="23544" y="58705"/>
                  </a:cubicBezTo>
                  <a:cubicBezTo>
                    <a:pt x="22784" y="57841"/>
                    <a:pt x="22784" y="57841"/>
                    <a:pt x="22784" y="57841"/>
                  </a:cubicBezTo>
                  <a:cubicBezTo>
                    <a:pt x="21265" y="55251"/>
                    <a:pt x="21265" y="55251"/>
                    <a:pt x="21265" y="55251"/>
                  </a:cubicBezTo>
                  <a:cubicBezTo>
                    <a:pt x="18987" y="52661"/>
                    <a:pt x="18987" y="52661"/>
                    <a:pt x="18987" y="52661"/>
                  </a:cubicBezTo>
                  <a:cubicBezTo>
                    <a:pt x="17468" y="50935"/>
                    <a:pt x="17468" y="50935"/>
                    <a:pt x="17468" y="50935"/>
                  </a:cubicBezTo>
                  <a:cubicBezTo>
                    <a:pt x="15949" y="48345"/>
                    <a:pt x="15949" y="48345"/>
                    <a:pt x="15949" y="48345"/>
                  </a:cubicBezTo>
                  <a:cubicBezTo>
                    <a:pt x="17468" y="46618"/>
                    <a:pt x="17468" y="46618"/>
                    <a:pt x="17468" y="46618"/>
                  </a:cubicBezTo>
                  <a:cubicBezTo>
                    <a:pt x="16708" y="45755"/>
                    <a:pt x="15949" y="45755"/>
                    <a:pt x="15949" y="44892"/>
                  </a:cubicBezTo>
                  <a:cubicBezTo>
                    <a:pt x="15189" y="44892"/>
                    <a:pt x="13670" y="44028"/>
                    <a:pt x="14430" y="43165"/>
                  </a:cubicBezTo>
                  <a:cubicBezTo>
                    <a:pt x="14430" y="42302"/>
                    <a:pt x="13670" y="41438"/>
                    <a:pt x="13670" y="39712"/>
                  </a:cubicBezTo>
                  <a:cubicBezTo>
                    <a:pt x="13670" y="38848"/>
                    <a:pt x="13670" y="37985"/>
                    <a:pt x="12911" y="37985"/>
                  </a:cubicBezTo>
                  <a:cubicBezTo>
                    <a:pt x="12151" y="37122"/>
                    <a:pt x="12151" y="37122"/>
                    <a:pt x="12151" y="37122"/>
                  </a:cubicBezTo>
                  <a:cubicBezTo>
                    <a:pt x="11392" y="37122"/>
                    <a:pt x="10632" y="37122"/>
                    <a:pt x="10632" y="37122"/>
                  </a:cubicBezTo>
                  <a:cubicBezTo>
                    <a:pt x="9873" y="37122"/>
                    <a:pt x="9873" y="37122"/>
                    <a:pt x="9873" y="37122"/>
                  </a:cubicBezTo>
                  <a:cubicBezTo>
                    <a:pt x="9873" y="37122"/>
                    <a:pt x="10632" y="35395"/>
                    <a:pt x="10632" y="33669"/>
                  </a:cubicBezTo>
                  <a:cubicBezTo>
                    <a:pt x="7594" y="32805"/>
                    <a:pt x="7594" y="32805"/>
                    <a:pt x="7594" y="32805"/>
                  </a:cubicBezTo>
                  <a:cubicBezTo>
                    <a:pt x="7594" y="32805"/>
                    <a:pt x="7594" y="30215"/>
                    <a:pt x="6075" y="29352"/>
                  </a:cubicBezTo>
                  <a:cubicBezTo>
                    <a:pt x="4556" y="29352"/>
                    <a:pt x="4556" y="29352"/>
                    <a:pt x="4556" y="29352"/>
                  </a:cubicBezTo>
                  <a:cubicBezTo>
                    <a:pt x="3797" y="30215"/>
                    <a:pt x="3797" y="31079"/>
                    <a:pt x="3797" y="31079"/>
                  </a:cubicBezTo>
                  <a:cubicBezTo>
                    <a:pt x="759" y="27625"/>
                    <a:pt x="759" y="27625"/>
                    <a:pt x="759" y="27625"/>
                  </a:cubicBezTo>
                  <a:cubicBezTo>
                    <a:pt x="759" y="27625"/>
                    <a:pt x="759" y="26762"/>
                    <a:pt x="1518" y="25035"/>
                  </a:cubicBezTo>
                  <a:cubicBezTo>
                    <a:pt x="3037" y="23309"/>
                    <a:pt x="1518" y="22446"/>
                    <a:pt x="1518" y="22446"/>
                  </a:cubicBezTo>
                  <a:cubicBezTo>
                    <a:pt x="759" y="19856"/>
                    <a:pt x="759" y="19856"/>
                    <a:pt x="759" y="19856"/>
                  </a:cubicBezTo>
                  <a:cubicBezTo>
                    <a:pt x="1518" y="18129"/>
                    <a:pt x="1518" y="18129"/>
                    <a:pt x="1518" y="18129"/>
                  </a:cubicBezTo>
                  <a:cubicBezTo>
                    <a:pt x="759" y="17266"/>
                    <a:pt x="759" y="17266"/>
                    <a:pt x="759" y="17266"/>
                  </a:cubicBezTo>
                  <a:cubicBezTo>
                    <a:pt x="0" y="16402"/>
                    <a:pt x="0" y="16402"/>
                    <a:pt x="0" y="16402"/>
                  </a:cubicBezTo>
                  <a:cubicBezTo>
                    <a:pt x="0" y="16402"/>
                    <a:pt x="0" y="16402"/>
                    <a:pt x="0" y="16402"/>
                  </a:cubicBezTo>
                  <a:cubicBezTo>
                    <a:pt x="0" y="16402"/>
                    <a:pt x="0" y="16402"/>
                    <a:pt x="0" y="16402"/>
                  </a:cubicBezTo>
                  <a:cubicBezTo>
                    <a:pt x="1518" y="12949"/>
                    <a:pt x="1518" y="12949"/>
                    <a:pt x="1518" y="12949"/>
                  </a:cubicBezTo>
                  <a:cubicBezTo>
                    <a:pt x="1518" y="12949"/>
                    <a:pt x="759" y="11223"/>
                    <a:pt x="759" y="9496"/>
                  </a:cubicBezTo>
                  <a:cubicBezTo>
                    <a:pt x="759" y="9496"/>
                    <a:pt x="1518" y="8633"/>
                    <a:pt x="1518" y="8633"/>
                  </a:cubicBezTo>
                  <a:cubicBezTo>
                    <a:pt x="1518" y="8633"/>
                    <a:pt x="1518" y="8633"/>
                    <a:pt x="1518" y="8633"/>
                  </a:cubicBezTo>
                  <a:cubicBezTo>
                    <a:pt x="1518" y="7769"/>
                    <a:pt x="1518" y="7769"/>
                    <a:pt x="1518" y="7769"/>
                  </a:cubicBezTo>
                  <a:cubicBezTo>
                    <a:pt x="1518" y="7769"/>
                    <a:pt x="1518" y="7769"/>
                    <a:pt x="1518" y="7769"/>
                  </a:cubicBezTo>
                  <a:cubicBezTo>
                    <a:pt x="2278" y="7769"/>
                    <a:pt x="2278" y="7769"/>
                    <a:pt x="2278" y="7769"/>
                  </a:cubicBezTo>
                  <a:cubicBezTo>
                    <a:pt x="2278" y="7769"/>
                    <a:pt x="2278" y="7769"/>
                    <a:pt x="2278" y="7769"/>
                  </a:cubicBezTo>
                  <a:cubicBezTo>
                    <a:pt x="2278" y="6906"/>
                    <a:pt x="6075" y="6043"/>
                    <a:pt x="6075" y="6043"/>
                  </a:cubicBezTo>
                  <a:cubicBezTo>
                    <a:pt x="7594" y="5179"/>
                    <a:pt x="7594" y="5179"/>
                    <a:pt x="7594" y="5179"/>
                  </a:cubicBezTo>
                  <a:cubicBezTo>
                    <a:pt x="10632" y="9496"/>
                    <a:pt x="10632" y="9496"/>
                    <a:pt x="10632" y="9496"/>
                  </a:cubicBezTo>
                  <a:cubicBezTo>
                    <a:pt x="13670" y="12949"/>
                    <a:pt x="13670" y="12949"/>
                    <a:pt x="13670" y="12949"/>
                  </a:cubicBezTo>
                  <a:cubicBezTo>
                    <a:pt x="15949" y="14676"/>
                    <a:pt x="15949" y="14676"/>
                    <a:pt x="15949" y="14676"/>
                  </a:cubicBezTo>
                  <a:cubicBezTo>
                    <a:pt x="15949" y="14676"/>
                    <a:pt x="16708" y="13812"/>
                    <a:pt x="17468" y="13812"/>
                  </a:cubicBezTo>
                  <a:cubicBezTo>
                    <a:pt x="17468" y="12949"/>
                    <a:pt x="17468" y="11223"/>
                    <a:pt x="17468" y="11223"/>
                  </a:cubicBezTo>
                  <a:cubicBezTo>
                    <a:pt x="18987" y="9496"/>
                    <a:pt x="18987" y="9496"/>
                    <a:pt x="18987" y="9496"/>
                  </a:cubicBezTo>
                  <a:cubicBezTo>
                    <a:pt x="19746" y="7769"/>
                    <a:pt x="19746" y="7769"/>
                    <a:pt x="19746" y="7769"/>
                  </a:cubicBezTo>
                  <a:cubicBezTo>
                    <a:pt x="19746" y="6043"/>
                    <a:pt x="19746" y="6043"/>
                    <a:pt x="19746" y="6043"/>
                  </a:cubicBezTo>
                  <a:cubicBezTo>
                    <a:pt x="21265" y="5179"/>
                    <a:pt x="21265" y="5179"/>
                    <a:pt x="21265" y="5179"/>
                  </a:cubicBezTo>
                  <a:cubicBezTo>
                    <a:pt x="23544" y="4316"/>
                    <a:pt x="23544" y="4316"/>
                    <a:pt x="23544" y="4316"/>
                  </a:cubicBezTo>
                  <a:cubicBezTo>
                    <a:pt x="26582" y="3453"/>
                    <a:pt x="26582" y="3453"/>
                    <a:pt x="26582" y="3453"/>
                  </a:cubicBezTo>
                  <a:cubicBezTo>
                    <a:pt x="26582" y="3453"/>
                    <a:pt x="28860" y="4316"/>
                    <a:pt x="29620" y="4316"/>
                  </a:cubicBezTo>
                  <a:cubicBezTo>
                    <a:pt x="29620" y="4316"/>
                    <a:pt x="30379" y="4316"/>
                    <a:pt x="30379" y="4316"/>
                  </a:cubicBezTo>
                  <a:cubicBezTo>
                    <a:pt x="31898" y="1726"/>
                    <a:pt x="31898" y="1726"/>
                    <a:pt x="31898" y="1726"/>
                  </a:cubicBezTo>
                  <a:cubicBezTo>
                    <a:pt x="31898" y="1726"/>
                    <a:pt x="31898" y="1726"/>
                    <a:pt x="31898" y="1726"/>
                  </a:cubicBezTo>
                  <a:cubicBezTo>
                    <a:pt x="32658" y="0"/>
                    <a:pt x="32658" y="0"/>
                    <a:pt x="32658" y="0"/>
                  </a:cubicBezTo>
                  <a:cubicBezTo>
                    <a:pt x="36455" y="1726"/>
                    <a:pt x="36455" y="1726"/>
                    <a:pt x="36455" y="1726"/>
                  </a:cubicBezTo>
                  <a:cubicBezTo>
                    <a:pt x="37974" y="3453"/>
                    <a:pt x="37974" y="3453"/>
                    <a:pt x="37974" y="3453"/>
                  </a:cubicBezTo>
                  <a:cubicBezTo>
                    <a:pt x="41772" y="4316"/>
                    <a:pt x="41772" y="4316"/>
                    <a:pt x="41772" y="4316"/>
                  </a:cubicBezTo>
                  <a:cubicBezTo>
                    <a:pt x="41772" y="4316"/>
                    <a:pt x="41772" y="4316"/>
                    <a:pt x="41772" y="4316"/>
                  </a:cubicBezTo>
                  <a:cubicBezTo>
                    <a:pt x="43291" y="4316"/>
                    <a:pt x="43291" y="4316"/>
                    <a:pt x="43291" y="4316"/>
                  </a:cubicBezTo>
                  <a:cubicBezTo>
                    <a:pt x="43291" y="3453"/>
                    <a:pt x="43291" y="3453"/>
                    <a:pt x="43291" y="3453"/>
                  </a:cubicBezTo>
                  <a:cubicBezTo>
                    <a:pt x="46329" y="3453"/>
                    <a:pt x="46329" y="3453"/>
                    <a:pt x="46329" y="3453"/>
                  </a:cubicBezTo>
                  <a:cubicBezTo>
                    <a:pt x="50126" y="4316"/>
                    <a:pt x="50126" y="4316"/>
                    <a:pt x="50126" y="4316"/>
                  </a:cubicBezTo>
                  <a:cubicBezTo>
                    <a:pt x="52405" y="4316"/>
                    <a:pt x="52405" y="4316"/>
                    <a:pt x="52405" y="4316"/>
                  </a:cubicBezTo>
                  <a:cubicBezTo>
                    <a:pt x="56202" y="4316"/>
                    <a:pt x="56202" y="4316"/>
                    <a:pt x="56202" y="4316"/>
                  </a:cubicBezTo>
                  <a:cubicBezTo>
                    <a:pt x="58481" y="5179"/>
                    <a:pt x="58481" y="5179"/>
                    <a:pt x="58481" y="5179"/>
                  </a:cubicBezTo>
                  <a:cubicBezTo>
                    <a:pt x="60000" y="6043"/>
                    <a:pt x="60000" y="6043"/>
                    <a:pt x="60000" y="6043"/>
                  </a:cubicBezTo>
                  <a:cubicBezTo>
                    <a:pt x="60000" y="6043"/>
                    <a:pt x="60000" y="6043"/>
                    <a:pt x="60759" y="5179"/>
                  </a:cubicBezTo>
                  <a:cubicBezTo>
                    <a:pt x="60759" y="5179"/>
                    <a:pt x="63037" y="5179"/>
                    <a:pt x="63037" y="5179"/>
                  </a:cubicBezTo>
                  <a:cubicBezTo>
                    <a:pt x="63797" y="2589"/>
                    <a:pt x="63797" y="2589"/>
                    <a:pt x="63797" y="2589"/>
                  </a:cubicBezTo>
                  <a:cubicBezTo>
                    <a:pt x="64556" y="4316"/>
                    <a:pt x="64556" y="4316"/>
                    <a:pt x="64556" y="4316"/>
                  </a:cubicBezTo>
                  <a:cubicBezTo>
                    <a:pt x="65316" y="4316"/>
                    <a:pt x="66835" y="4316"/>
                    <a:pt x="66835" y="4316"/>
                  </a:cubicBezTo>
                  <a:cubicBezTo>
                    <a:pt x="67594" y="1726"/>
                    <a:pt x="67594" y="1726"/>
                    <a:pt x="67594" y="1726"/>
                  </a:cubicBezTo>
                  <a:cubicBezTo>
                    <a:pt x="68354" y="2589"/>
                    <a:pt x="68354" y="2589"/>
                    <a:pt x="68354" y="2589"/>
                  </a:cubicBezTo>
                  <a:cubicBezTo>
                    <a:pt x="69113" y="2589"/>
                    <a:pt x="69113" y="2589"/>
                    <a:pt x="69873" y="2589"/>
                  </a:cubicBezTo>
                  <a:cubicBezTo>
                    <a:pt x="70632" y="2589"/>
                    <a:pt x="71392" y="1726"/>
                    <a:pt x="71392" y="1726"/>
                  </a:cubicBezTo>
                  <a:cubicBezTo>
                    <a:pt x="71392" y="1726"/>
                    <a:pt x="72151" y="2589"/>
                    <a:pt x="72151" y="2589"/>
                  </a:cubicBezTo>
                  <a:cubicBezTo>
                    <a:pt x="72151" y="2589"/>
                    <a:pt x="72911" y="1726"/>
                    <a:pt x="73670" y="1726"/>
                  </a:cubicBezTo>
                  <a:cubicBezTo>
                    <a:pt x="73670" y="1726"/>
                    <a:pt x="73670" y="1726"/>
                    <a:pt x="73670" y="1726"/>
                  </a:cubicBezTo>
                  <a:cubicBezTo>
                    <a:pt x="73670" y="1726"/>
                    <a:pt x="73670" y="1726"/>
                    <a:pt x="73670" y="1726"/>
                  </a:cubicBezTo>
                  <a:cubicBezTo>
                    <a:pt x="74430" y="1726"/>
                    <a:pt x="74430" y="1726"/>
                    <a:pt x="74430" y="1726"/>
                  </a:cubicBezTo>
                  <a:cubicBezTo>
                    <a:pt x="74430" y="1726"/>
                    <a:pt x="74430" y="1726"/>
                    <a:pt x="74430" y="1726"/>
                  </a:cubicBezTo>
                  <a:cubicBezTo>
                    <a:pt x="74430" y="1726"/>
                    <a:pt x="74430" y="1726"/>
                    <a:pt x="74430" y="1726"/>
                  </a:cubicBezTo>
                  <a:cubicBezTo>
                    <a:pt x="74430" y="1726"/>
                    <a:pt x="74430" y="1726"/>
                    <a:pt x="74430" y="1726"/>
                  </a:cubicBezTo>
                  <a:cubicBezTo>
                    <a:pt x="74430" y="1726"/>
                    <a:pt x="74430" y="1726"/>
                    <a:pt x="74430" y="1726"/>
                  </a:cubicBezTo>
                  <a:cubicBezTo>
                    <a:pt x="74430" y="1726"/>
                    <a:pt x="74430" y="1726"/>
                    <a:pt x="74430" y="1726"/>
                  </a:cubicBezTo>
                  <a:cubicBezTo>
                    <a:pt x="74430" y="1726"/>
                    <a:pt x="74430" y="1726"/>
                    <a:pt x="74430" y="1726"/>
                  </a:cubicBezTo>
                  <a:cubicBezTo>
                    <a:pt x="74430" y="1726"/>
                    <a:pt x="74430" y="1726"/>
                    <a:pt x="74430" y="1726"/>
                  </a:cubicBezTo>
                  <a:cubicBezTo>
                    <a:pt x="74430" y="1726"/>
                    <a:pt x="74430" y="1726"/>
                    <a:pt x="74430" y="1726"/>
                  </a:cubicBezTo>
                  <a:cubicBezTo>
                    <a:pt x="74430" y="1726"/>
                    <a:pt x="74430" y="1726"/>
                    <a:pt x="74430" y="1726"/>
                  </a:cubicBezTo>
                  <a:cubicBezTo>
                    <a:pt x="74430" y="1726"/>
                    <a:pt x="74430" y="1726"/>
                    <a:pt x="74430" y="1726"/>
                  </a:cubicBezTo>
                  <a:cubicBezTo>
                    <a:pt x="74430" y="1726"/>
                    <a:pt x="74430" y="1726"/>
                    <a:pt x="74430" y="1726"/>
                  </a:cubicBezTo>
                  <a:cubicBezTo>
                    <a:pt x="74430" y="1726"/>
                    <a:pt x="74430" y="1726"/>
                    <a:pt x="74430" y="1726"/>
                  </a:cubicBezTo>
                  <a:cubicBezTo>
                    <a:pt x="74430" y="1726"/>
                    <a:pt x="74430" y="1726"/>
                    <a:pt x="74430" y="1726"/>
                  </a:cubicBezTo>
                  <a:cubicBezTo>
                    <a:pt x="75189" y="1726"/>
                    <a:pt x="75189" y="1726"/>
                    <a:pt x="75189" y="1726"/>
                  </a:cubicBezTo>
                  <a:cubicBezTo>
                    <a:pt x="75189" y="1726"/>
                    <a:pt x="75189" y="1726"/>
                    <a:pt x="75189" y="1726"/>
                  </a:cubicBezTo>
                  <a:cubicBezTo>
                    <a:pt x="75189" y="1726"/>
                    <a:pt x="75189" y="1726"/>
                    <a:pt x="75189" y="1726"/>
                  </a:cubicBezTo>
                  <a:cubicBezTo>
                    <a:pt x="75189" y="1726"/>
                    <a:pt x="75189" y="1726"/>
                    <a:pt x="75189" y="1726"/>
                  </a:cubicBezTo>
                  <a:cubicBezTo>
                    <a:pt x="75189" y="1726"/>
                    <a:pt x="75189" y="1726"/>
                    <a:pt x="75189" y="1726"/>
                  </a:cubicBezTo>
                  <a:cubicBezTo>
                    <a:pt x="75189" y="1726"/>
                    <a:pt x="75189" y="1726"/>
                    <a:pt x="75189" y="1726"/>
                  </a:cubicBezTo>
                  <a:cubicBezTo>
                    <a:pt x="75189" y="1726"/>
                    <a:pt x="75189" y="1726"/>
                    <a:pt x="75189" y="1726"/>
                  </a:cubicBezTo>
                  <a:cubicBezTo>
                    <a:pt x="75189" y="1726"/>
                    <a:pt x="75189" y="1726"/>
                    <a:pt x="75189" y="1726"/>
                  </a:cubicBezTo>
                  <a:cubicBezTo>
                    <a:pt x="75189" y="1726"/>
                    <a:pt x="75189" y="1726"/>
                    <a:pt x="75189" y="1726"/>
                  </a:cubicBezTo>
                  <a:cubicBezTo>
                    <a:pt x="75189" y="1726"/>
                    <a:pt x="75189" y="1726"/>
                    <a:pt x="75189" y="1726"/>
                  </a:cubicBezTo>
                  <a:cubicBezTo>
                    <a:pt x="75189" y="1726"/>
                    <a:pt x="75189" y="1726"/>
                    <a:pt x="75189" y="1726"/>
                  </a:cubicBezTo>
                  <a:cubicBezTo>
                    <a:pt x="75189" y="1726"/>
                    <a:pt x="75189" y="1726"/>
                    <a:pt x="75189" y="1726"/>
                  </a:cubicBezTo>
                  <a:cubicBezTo>
                    <a:pt x="75189" y="1726"/>
                    <a:pt x="75189" y="1726"/>
                    <a:pt x="75189" y="1726"/>
                  </a:cubicBezTo>
                  <a:cubicBezTo>
                    <a:pt x="75189" y="1726"/>
                    <a:pt x="75189" y="1726"/>
                    <a:pt x="75189" y="1726"/>
                  </a:cubicBezTo>
                  <a:cubicBezTo>
                    <a:pt x="75189" y="1726"/>
                    <a:pt x="75189" y="1726"/>
                    <a:pt x="75189" y="1726"/>
                  </a:cubicBezTo>
                  <a:cubicBezTo>
                    <a:pt x="75189" y="1726"/>
                    <a:pt x="75189" y="1726"/>
                    <a:pt x="75189" y="1726"/>
                  </a:cubicBezTo>
                  <a:cubicBezTo>
                    <a:pt x="75189" y="863"/>
                    <a:pt x="75189" y="863"/>
                    <a:pt x="75189" y="863"/>
                  </a:cubicBezTo>
                  <a:cubicBezTo>
                    <a:pt x="75189" y="863"/>
                    <a:pt x="75189" y="863"/>
                    <a:pt x="75189" y="863"/>
                  </a:cubicBezTo>
                  <a:cubicBezTo>
                    <a:pt x="75189" y="863"/>
                    <a:pt x="75189" y="863"/>
                    <a:pt x="75189" y="863"/>
                  </a:cubicBezTo>
                  <a:cubicBezTo>
                    <a:pt x="75189" y="863"/>
                    <a:pt x="75189" y="863"/>
                    <a:pt x="75189" y="863"/>
                  </a:cubicBezTo>
                  <a:cubicBezTo>
                    <a:pt x="75189" y="863"/>
                    <a:pt x="75189" y="863"/>
                    <a:pt x="75189" y="863"/>
                  </a:cubicBezTo>
                  <a:cubicBezTo>
                    <a:pt x="75949" y="863"/>
                    <a:pt x="75949" y="863"/>
                    <a:pt x="75949" y="863"/>
                  </a:cubicBezTo>
                  <a:cubicBezTo>
                    <a:pt x="75949" y="863"/>
                    <a:pt x="75949" y="863"/>
                    <a:pt x="75949" y="863"/>
                  </a:cubicBezTo>
                  <a:cubicBezTo>
                    <a:pt x="75949" y="863"/>
                    <a:pt x="75949" y="863"/>
                    <a:pt x="75949" y="863"/>
                  </a:cubicBezTo>
                  <a:cubicBezTo>
                    <a:pt x="75949" y="863"/>
                    <a:pt x="75949" y="863"/>
                    <a:pt x="75949" y="863"/>
                  </a:cubicBezTo>
                  <a:cubicBezTo>
                    <a:pt x="75949" y="863"/>
                    <a:pt x="75949" y="863"/>
                    <a:pt x="75949" y="863"/>
                  </a:cubicBezTo>
                  <a:cubicBezTo>
                    <a:pt x="75949" y="863"/>
                    <a:pt x="75949" y="863"/>
                    <a:pt x="75949" y="863"/>
                  </a:cubicBezTo>
                  <a:cubicBezTo>
                    <a:pt x="75949" y="863"/>
                    <a:pt x="75949" y="863"/>
                    <a:pt x="75949" y="863"/>
                  </a:cubicBezTo>
                  <a:cubicBezTo>
                    <a:pt x="75949" y="863"/>
                    <a:pt x="75949" y="863"/>
                    <a:pt x="75949" y="863"/>
                  </a:cubicBezTo>
                  <a:cubicBezTo>
                    <a:pt x="75949" y="863"/>
                    <a:pt x="75949" y="863"/>
                    <a:pt x="75949" y="863"/>
                  </a:cubicBezTo>
                  <a:cubicBezTo>
                    <a:pt x="75949" y="863"/>
                    <a:pt x="75949" y="863"/>
                    <a:pt x="75949" y="863"/>
                  </a:cubicBezTo>
                  <a:cubicBezTo>
                    <a:pt x="75949" y="863"/>
                    <a:pt x="75949" y="863"/>
                    <a:pt x="75949" y="863"/>
                  </a:cubicBezTo>
                  <a:cubicBezTo>
                    <a:pt x="75949" y="863"/>
                    <a:pt x="75949" y="863"/>
                    <a:pt x="75949" y="863"/>
                  </a:cubicBezTo>
                  <a:cubicBezTo>
                    <a:pt x="75949" y="863"/>
                    <a:pt x="75949" y="863"/>
                    <a:pt x="75949" y="863"/>
                  </a:cubicBezTo>
                  <a:cubicBezTo>
                    <a:pt x="75949" y="863"/>
                    <a:pt x="75949" y="863"/>
                    <a:pt x="75949" y="863"/>
                  </a:cubicBezTo>
                  <a:cubicBezTo>
                    <a:pt x="75949" y="863"/>
                    <a:pt x="75949" y="863"/>
                    <a:pt x="75949" y="863"/>
                  </a:cubicBezTo>
                  <a:cubicBezTo>
                    <a:pt x="75949" y="863"/>
                    <a:pt x="75949" y="863"/>
                    <a:pt x="75949" y="863"/>
                  </a:cubicBezTo>
                  <a:cubicBezTo>
                    <a:pt x="75949" y="863"/>
                    <a:pt x="75949" y="863"/>
                    <a:pt x="75949" y="863"/>
                  </a:cubicBezTo>
                  <a:cubicBezTo>
                    <a:pt x="75949" y="863"/>
                    <a:pt x="75949" y="863"/>
                    <a:pt x="75949" y="863"/>
                  </a:cubicBezTo>
                  <a:cubicBezTo>
                    <a:pt x="75949" y="863"/>
                    <a:pt x="75949" y="863"/>
                    <a:pt x="75949" y="863"/>
                  </a:cubicBezTo>
                  <a:cubicBezTo>
                    <a:pt x="75949" y="863"/>
                    <a:pt x="75949" y="863"/>
                    <a:pt x="75949" y="863"/>
                  </a:cubicBezTo>
                  <a:cubicBezTo>
                    <a:pt x="75949" y="863"/>
                    <a:pt x="75949" y="863"/>
                    <a:pt x="75949" y="863"/>
                  </a:cubicBezTo>
                  <a:cubicBezTo>
                    <a:pt x="75949" y="863"/>
                    <a:pt x="75949" y="863"/>
                    <a:pt x="75949" y="863"/>
                  </a:cubicBezTo>
                  <a:cubicBezTo>
                    <a:pt x="75949" y="863"/>
                    <a:pt x="75949" y="863"/>
                    <a:pt x="75949" y="863"/>
                  </a:cubicBezTo>
                  <a:cubicBezTo>
                    <a:pt x="75949" y="863"/>
                    <a:pt x="75949" y="863"/>
                    <a:pt x="75949" y="863"/>
                  </a:cubicBezTo>
                  <a:cubicBezTo>
                    <a:pt x="75949" y="863"/>
                    <a:pt x="75949" y="863"/>
                    <a:pt x="75949" y="863"/>
                  </a:cubicBezTo>
                  <a:cubicBezTo>
                    <a:pt x="75949" y="863"/>
                    <a:pt x="75949" y="863"/>
                    <a:pt x="75949" y="863"/>
                  </a:cubicBezTo>
                  <a:cubicBezTo>
                    <a:pt x="75949" y="863"/>
                    <a:pt x="75949" y="863"/>
                    <a:pt x="75949" y="863"/>
                  </a:cubicBezTo>
                  <a:cubicBezTo>
                    <a:pt x="75949" y="863"/>
                    <a:pt x="75949" y="863"/>
                    <a:pt x="75949" y="863"/>
                  </a:cubicBezTo>
                  <a:cubicBezTo>
                    <a:pt x="75949" y="863"/>
                    <a:pt x="75949" y="863"/>
                    <a:pt x="75949" y="863"/>
                  </a:cubicBezTo>
                  <a:cubicBezTo>
                    <a:pt x="75949" y="863"/>
                    <a:pt x="76708" y="2589"/>
                    <a:pt x="78227" y="3453"/>
                  </a:cubicBezTo>
                  <a:cubicBezTo>
                    <a:pt x="78227" y="3453"/>
                    <a:pt x="78227" y="3453"/>
                    <a:pt x="78227" y="3453"/>
                  </a:cubicBezTo>
                  <a:cubicBezTo>
                    <a:pt x="79746" y="3453"/>
                    <a:pt x="79746" y="3453"/>
                    <a:pt x="79746" y="3453"/>
                  </a:cubicBezTo>
                  <a:cubicBezTo>
                    <a:pt x="79746" y="3453"/>
                    <a:pt x="79746" y="3453"/>
                    <a:pt x="79746" y="3453"/>
                  </a:cubicBezTo>
                  <a:cubicBezTo>
                    <a:pt x="79746" y="3453"/>
                    <a:pt x="80506" y="2589"/>
                    <a:pt x="81265" y="2589"/>
                  </a:cubicBezTo>
                  <a:cubicBezTo>
                    <a:pt x="82784" y="2589"/>
                    <a:pt x="83544" y="2589"/>
                    <a:pt x="84303" y="2589"/>
                  </a:cubicBezTo>
                  <a:cubicBezTo>
                    <a:pt x="85822" y="2589"/>
                    <a:pt x="86582" y="4316"/>
                    <a:pt x="86582" y="4316"/>
                  </a:cubicBezTo>
                  <a:cubicBezTo>
                    <a:pt x="88860" y="6906"/>
                    <a:pt x="88860" y="6906"/>
                    <a:pt x="88860" y="6906"/>
                  </a:cubicBezTo>
                  <a:cubicBezTo>
                    <a:pt x="88860" y="6906"/>
                    <a:pt x="89620" y="8633"/>
                    <a:pt x="89620" y="9496"/>
                  </a:cubicBezTo>
                  <a:cubicBezTo>
                    <a:pt x="90379" y="10359"/>
                    <a:pt x="90379" y="11223"/>
                    <a:pt x="90379" y="11223"/>
                  </a:cubicBezTo>
                  <a:cubicBezTo>
                    <a:pt x="90379" y="11223"/>
                    <a:pt x="90379" y="11223"/>
                    <a:pt x="90379" y="11223"/>
                  </a:cubicBezTo>
                  <a:cubicBezTo>
                    <a:pt x="91139" y="11223"/>
                    <a:pt x="96455" y="13812"/>
                    <a:pt x="97215" y="13812"/>
                  </a:cubicBezTo>
                  <a:cubicBezTo>
                    <a:pt x="97215" y="13812"/>
                    <a:pt x="97974" y="13812"/>
                    <a:pt x="97974" y="13812"/>
                  </a:cubicBezTo>
                  <a:cubicBezTo>
                    <a:pt x="97974" y="12086"/>
                    <a:pt x="97215" y="11223"/>
                    <a:pt x="98734" y="10359"/>
                  </a:cubicBezTo>
                  <a:cubicBezTo>
                    <a:pt x="99493" y="10359"/>
                    <a:pt x="100253" y="12086"/>
                    <a:pt x="100253" y="10359"/>
                  </a:cubicBezTo>
                  <a:cubicBezTo>
                    <a:pt x="100253" y="8633"/>
                    <a:pt x="101012" y="9496"/>
                    <a:pt x="100253" y="776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 cmpd="sng">
              <a:solidFill>
                <a:schemeClr val="tx1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defTabSz="457200"/>
              <a:endParaRPr kern="0">
                <a:solidFill>
                  <a:srgbClr val="7F7F7F"/>
                </a:solidFill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34" name="Shape 2027">
              <a:extLst>
                <a:ext uri="{FF2B5EF4-FFF2-40B4-BE49-F238E27FC236}">
                  <a16:creationId xmlns:a16="http://schemas.microsoft.com/office/drawing/2014/main" id="{AAAD67DE-E0E8-BF5A-81BB-A8BBFC541A53}"/>
                </a:ext>
              </a:extLst>
            </p:cNvPr>
            <p:cNvSpPr/>
            <p:nvPr/>
          </p:nvSpPr>
          <p:spPr>
            <a:xfrm>
              <a:off x="4019752" y="2204700"/>
              <a:ext cx="296756" cy="340664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32340" y="23712"/>
                  </a:moveTo>
                  <a:cubicBezTo>
                    <a:pt x="37446" y="21556"/>
                    <a:pt x="37446" y="21556"/>
                    <a:pt x="37446" y="21556"/>
                  </a:cubicBezTo>
                  <a:cubicBezTo>
                    <a:pt x="40000" y="17245"/>
                    <a:pt x="40000" y="17245"/>
                    <a:pt x="40000" y="17245"/>
                  </a:cubicBezTo>
                  <a:cubicBezTo>
                    <a:pt x="43404" y="12215"/>
                    <a:pt x="43404" y="12215"/>
                    <a:pt x="43404" y="12215"/>
                  </a:cubicBezTo>
                  <a:cubicBezTo>
                    <a:pt x="45106" y="10059"/>
                    <a:pt x="45106" y="10059"/>
                    <a:pt x="45106" y="10059"/>
                  </a:cubicBezTo>
                  <a:cubicBezTo>
                    <a:pt x="46808" y="6467"/>
                    <a:pt x="46808" y="6467"/>
                    <a:pt x="46808" y="6467"/>
                  </a:cubicBezTo>
                  <a:cubicBezTo>
                    <a:pt x="51914" y="5029"/>
                    <a:pt x="51914" y="5029"/>
                    <a:pt x="51914" y="5029"/>
                  </a:cubicBezTo>
                  <a:cubicBezTo>
                    <a:pt x="51914" y="5029"/>
                    <a:pt x="55319" y="4311"/>
                    <a:pt x="56170" y="4311"/>
                  </a:cubicBezTo>
                  <a:cubicBezTo>
                    <a:pt x="57021" y="3592"/>
                    <a:pt x="62127" y="0"/>
                    <a:pt x="62127" y="0"/>
                  </a:cubicBezTo>
                  <a:cubicBezTo>
                    <a:pt x="62978" y="0"/>
                    <a:pt x="62978" y="0"/>
                    <a:pt x="62978" y="0"/>
                  </a:cubicBezTo>
                  <a:cubicBezTo>
                    <a:pt x="60425" y="3592"/>
                    <a:pt x="60425" y="3592"/>
                    <a:pt x="60425" y="3592"/>
                  </a:cubicBezTo>
                  <a:cubicBezTo>
                    <a:pt x="60425" y="5748"/>
                    <a:pt x="60425" y="5748"/>
                    <a:pt x="60425" y="5748"/>
                  </a:cubicBezTo>
                  <a:cubicBezTo>
                    <a:pt x="60425" y="7185"/>
                    <a:pt x="60425" y="7185"/>
                    <a:pt x="60425" y="7185"/>
                  </a:cubicBezTo>
                  <a:cubicBezTo>
                    <a:pt x="61276" y="10059"/>
                    <a:pt x="61276" y="10059"/>
                    <a:pt x="61276" y="10059"/>
                  </a:cubicBezTo>
                  <a:cubicBezTo>
                    <a:pt x="62127" y="10778"/>
                    <a:pt x="62127" y="10778"/>
                    <a:pt x="62127" y="10778"/>
                  </a:cubicBezTo>
                  <a:cubicBezTo>
                    <a:pt x="62127" y="13652"/>
                    <a:pt x="62127" y="13652"/>
                    <a:pt x="62127" y="13652"/>
                  </a:cubicBezTo>
                  <a:cubicBezTo>
                    <a:pt x="62127" y="16526"/>
                    <a:pt x="62127" y="16526"/>
                    <a:pt x="62127" y="16526"/>
                  </a:cubicBezTo>
                  <a:cubicBezTo>
                    <a:pt x="62127" y="16526"/>
                    <a:pt x="64680" y="17964"/>
                    <a:pt x="63829" y="18682"/>
                  </a:cubicBezTo>
                  <a:cubicBezTo>
                    <a:pt x="62127" y="19401"/>
                    <a:pt x="60425" y="21556"/>
                    <a:pt x="60425" y="21556"/>
                  </a:cubicBezTo>
                  <a:cubicBezTo>
                    <a:pt x="59574" y="25868"/>
                    <a:pt x="59574" y="25868"/>
                    <a:pt x="59574" y="25868"/>
                  </a:cubicBezTo>
                  <a:cubicBezTo>
                    <a:pt x="56170" y="29461"/>
                    <a:pt x="56170" y="29461"/>
                    <a:pt x="56170" y="29461"/>
                  </a:cubicBezTo>
                  <a:cubicBezTo>
                    <a:pt x="57021" y="33772"/>
                    <a:pt x="57021" y="33772"/>
                    <a:pt x="57021" y="33772"/>
                  </a:cubicBezTo>
                  <a:cubicBezTo>
                    <a:pt x="57872" y="37365"/>
                    <a:pt x="57872" y="37365"/>
                    <a:pt x="57872" y="37365"/>
                  </a:cubicBezTo>
                  <a:cubicBezTo>
                    <a:pt x="57021" y="40239"/>
                    <a:pt x="57021" y="40239"/>
                    <a:pt x="57021" y="40239"/>
                  </a:cubicBezTo>
                  <a:cubicBezTo>
                    <a:pt x="59574" y="42395"/>
                    <a:pt x="59574" y="42395"/>
                    <a:pt x="59574" y="42395"/>
                  </a:cubicBezTo>
                  <a:cubicBezTo>
                    <a:pt x="58723" y="43832"/>
                    <a:pt x="58723" y="43832"/>
                    <a:pt x="58723" y="43832"/>
                  </a:cubicBezTo>
                  <a:cubicBezTo>
                    <a:pt x="59574" y="45988"/>
                    <a:pt x="59574" y="45988"/>
                    <a:pt x="59574" y="45988"/>
                  </a:cubicBezTo>
                  <a:cubicBezTo>
                    <a:pt x="62127" y="47425"/>
                    <a:pt x="62127" y="47425"/>
                    <a:pt x="62127" y="47425"/>
                  </a:cubicBezTo>
                  <a:cubicBezTo>
                    <a:pt x="62127" y="47425"/>
                    <a:pt x="63829" y="47425"/>
                    <a:pt x="64680" y="47425"/>
                  </a:cubicBezTo>
                  <a:cubicBezTo>
                    <a:pt x="65531" y="47425"/>
                    <a:pt x="68085" y="46706"/>
                    <a:pt x="68936" y="46706"/>
                  </a:cubicBezTo>
                  <a:cubicBezTo>
                    <a:pt x="69787" y="46706"/>
                    <a:pt x="71489" y="47425"/>
                    <a:pt x="71489" y="47425"/>
                  </a:cubicBezTo>
                  <a:cubicBezTo>
                    <a:pt x="74042" y="50299"/>
                    <a:pt x="74042" y="50299"/>
                    <a:pt x="74042" y="50299"/>
                  </a:cubicBezTo>
                  <a:cubicBezTo>
                    <a:pt x="74042" y="52455"/>
                    <a:pt x="74042" y="52455"/>
                    <a:pt x="74042" y="52455"/>
                  </a:cubicBezTo>
                  <a:cubicBezTo>
                    <a:pt x="74042" y="52455"/>
                    <a:pt x="73191" y="53892"/>
                    <a:pt x="73191" y="54610"/>
                  </a:cubicBezTo>
                  <a:cubicBezTo>
                    <a:pt x="72340" y="55329"/>
                    <a:pt x="71489" y="56766"/>
                    <a:pt x="71489" y="56766"/>
                  </a:cubicBezTo>
                  <a:cubicBezTo>
                    <a:pt x="69787" y="58203"/>
                    <a:pt x="69787" y="58203"/>
                    <a:pt x="69787" y="58203"/>
                  </a:cubicBezTo>
                  <a:cubicBezTo>
                    <a:pt x="68936" y="60359"/>
                    <a:pt x="68936" y="60359"/>
                    <a:pt x="68936" y="60359"/>
                  </a:cubicBezTo>
                  <a:cubicBezTo>
                    <a:pt x="68085" y="61796"/>
                    <a:pt x="68085" y="61796"/>
                    <a:pt x="68085" y="61796"/>
                  </a:cubicBezTo>
                  <a:cubicBezTo>
                    <a:pt x="68085" y="61796"/>
                    <a:pt x="68085" y="61796"/>
                    <a:pt x="68085" y="61796"/>
                  </a:cubicBezTo>
                  <a:cubicBezTo>
                    <a:pt x="66382" y="60359"/>
                    <a:pt x="66382" y="60359"/>
                    <a:pt x="66382" y="60359"/>
                  </a:cubicBezTo>
                  <a:cubicBezTo>
                    <a:pt x="66382" y="60359"/>
                    <a:pt x="66382" y="58203"/>
                    <a:pt x="65531" y="58922"/>
                  </a:cubicBezTo>
                  <a:cubicBezTo>
                    <a:pt x="64680" y="58922"/>
                    <a:pt x="63829" y="60359"/>
                    <a:pt x="63829" y="60359"/>
                  </a:cubicBezTo>
                  <a:cubicBezTo>
                    <a:pt x="64680" y="61796"/>
                    <a:pt x="64680" y="61796"/>
                    <a:pt x="64680" y="61796"/>
                  </a:cubicBezTo>
                  <a:cubicBezTo>
                    <a:pt x="64680" y="61796"/>
                    <a:pt x="65531" y="63952"/>
                    <a:pt x="64680" y="63952"/>
                  </a:cubicBezTo>
                  <a:cubicBezTo>
                    <a:pt x="63829" y="63952"/>
                    <a:pt x="62978" y="63952"/>
                    <a:pt x="62978" y="63952"/>
                  </a:cubicBezTo>
                  <a:cubicBezTo>
                    <a:pt x="62127" y="61077"/>
                    <a:pt x="62127" y="61077"/>
                    <a:pt x="62127" y="61077"/>
                  </a:cubicBezTo>
                  <a:cubicBezTo>
                    <a:pt x="59574" y="60359"/>
                    <a:pt x="59574" y="60359"/>
                    <a:pt x="59574" y="60359"/>
                  </a:cubicBezTo>
                  <a:cubicBezTo>
                    <a:pt x="61276" y="57485"/>
                    <a:pt x="61276" y="57485"/>
                    <a:pt x="61276" y="57485"/>
                  </a:cubicBezTo>
                  <a:cubicBezTo>
                    <a:pt x="59574" y="56766"/>
                    <a:pt x="59574" y="56766"/>
                    <a:pt x="59574" y="56766"/>
                  </a:cubicBezTo>
                  <a:cubicBezTo>
                    <a:pt x="59574" y="56766"/>
                    <a:pt x="58723" y="56766"/>
                    <a:pt x="57872" y="57485"/>
                  </a:cubicBezTo>
                  <a:cubicBezTo>
                    <a:pt x="57872" y="58203"/>
                    <a:pt x="57021" y="61077"/>
                    <a:pt x="57021" y="61077"/>
                  </a:cubicBezTo>
                  <a:cubicBezTo>
                    <a:pt x="56170" y="63952"/>
                    <a:pt x="56170" y="63952"/>
                    <a:pt x="56170" y="63952"/>
                  </a:cubicBezTo>
                  <a:cubicBezTo>
                    <a:pt x="56170" y="63952"/>
                    <a:pt x="57021" y="64670"/>
                    <a:pt x="57021" y="65389"/>
                  </a:cubicBezTo>
                  <a:cubicBezTo>
                    <a:pt x="57021" y="66107"/>
                    <a:pt x="56170" y="66826"/>
                    <a:pt x="56170" y="66826"/>
                  </a:cubicBezTo>
                  <a:cubicBezTo>
                    <a:pt x="56170" y="66826"/>
                    <a:pt x="56170" y="67544"/>
                    <a:pt x="56170" y="68263"/>
                  </a:cubicBezTo>
                  <a:cubicBezTo>
                    <a:pt x="56170" y="68263"/>
                    <a:pt x="57021" y="69700"/>
                    <a:pt x="57021" y="70419"/>
                  </a:cubicBezTo>
                  <a:cubicBezTo>
                    <a:pt x="57021" y="70419"/>
                    <a:pt x="57021" y="71137"/>
                    <a:pt x="56170" y="71137"/>
                  </a:cubicBezTo>
                  <a:cubicBezTo>
                    <a:pt x="56170" y="71856"/>
                    <a:pt x="56170" y="71856"/>
                    <a:pt x="56170" y="72574"/>
                  </a:cubicBezTo>
                  <a:cubicBezTo>
                    <a:pt x="55319" y="72574"/>
                    <a:pt x="54468" y="73293"/>
                    <a:pt x="54468" y="73293"/>
                  </a:cubicBezTo>
                  <a:cubicBezTo>
                    <a:pt x="54468" y="73293"/>
                    <a:pt x="52765" y="74011"/>
                    <a:pt x="52765" y="74011"/>
                  </a:cubicBezTo>
                  <a:cubicBezTo>
                    <a:pt x="52765" y="74011"/>
                    <a:pt x="51914" y="73293"/>
                    <a:pt x="51063" y="73293"/>
                  </a:cubicBezTo>
                  <a:cubicBezTo>
                    <a:pt x="50212" y="73293"/>
                    <a:pt x="50212" y="72574"/>
                    <a:pt x="49361" y="73293"/>
                  </a:cubicBezTo>
                  <a:cubicBezTo>
                    <a:pt x="48510" y="74011"/>
                    <a:pt x="48510" y="74011"/>
                    <a:pt x="48510" y="74011"/>
                  </a:cubicBezTo>
                  <a:cubicBezTo>
                    <a:pt x="49361" y="74730"/>
                    <a:pt x="49361" y="74730"/>
                    <a:pt x="49361" y="74730"/>
                  </a:cubicBezTo>
                  <a:cubicBezTo>
                    <a:pt x="51063" y="74730"/>
                    <a:pt x="51063" y="74730"/>
                    <a:pt x="51063" y="74730"/>
                  </a:cubicBezTo>
                  <a:cubicBezTo>
                    <a:pt x="51063" y="76167"/>
                    <a:pt x="51063" y="76167"/>
                    <a:pt x="51063" y="76167"/>
                  </a:cubicBezTo>
                  <a:cubicBezTo>
                    <a:pt x="51063" y="76167"/>
                    <a:pt x="51914" y="76167"/>
                    <a:pt x="51914" y="76886"/>
                  </a:cubicBezTo>
                  <a:cubicBezTo>
                    <a:pt x="51063" y="77604"/>
                    <a:pt x="50212" y="78323"/>
                    <a:pt x="50212" y="78323"/>
                  </a:cubicBezTo>
                  <a:cubicBezTo>
                    <a:pt x="48510" y="79760"/>
                    <a:pt x="48510" y="79760"/>
                    <a:pt x="48510" y="79760"/>
                  </a:cubicBezTo>
                  <a:cubicBezTo>
                    <a:pt x="46808" y="80479"/>
                    <a:pt x="46808" y="80479"/>
                    <a:pt x="46808" y="80479"/>
                  </a:cubicBezTo>
                  <a:cubicBezTo>
                    <a:pt x="46808" y="80479"/>
                    <a:pt x="45106" y="79760"/>
                    <a:pt x="45106" y="80479"/>
                  </a:cubicBezTo>
                  <a:cubicBezTo>
                    <a:pt x="44255" y="80479"/>
                    <a:pt x="43404" y="80479"/>
                    <a:pt x="43404" y="80479"/>
                  </a:cubicBezTo>
                  <a:cubicBezTo>
                    <a:pt x="43404" y="81197"/>
                    <a:pt x="45106" y="82634"/>
                    <a:pt x="45106" y="82634"/>
                  </a:cubicBezTo>
                  <a:cubicBezTo>
                    <a:pt x="41702" y="79760"/>
                    <a:pt x="41702" y="79760"/>
                    <a:pt x="41702" y="79760"/>
                  </a:cubicBezTo>
                  <a:cubicBezTo>
                    <a:pt x="40000" y="79760"/>
                    <a:pt x="40000" y="79760"/>
                    <a:pt x="40000" y="79760"/>
                  </a:cubicBezTo>
                  <a:cubicBezTo>
                    <a:pt x="42553" y="81197"/>
                    <a:pt x="42553" y="81197"/>
                    <a:pt x="42553" y="81197"/>
                  </a:cubicBezTo>
                  <a:cubicBezTo>
                    <a:pt x="43404" y="82634"/>
                    <a:pt x="43404" y="82634"/>
                    <a:pt x="43404" y="82634"/>
                  </a:cubicBezTo>
                  <a:cubicBezTo>
                    <a:pt x="45106" y="83353"/>
                    <a:pt x="45106" y="83353"/>
                    <a:pt x="45106" y="83353"/>
                  </a:cubicBezTo>
                  <a:cubicBezTo>
                    <a:pt x="44255" y="84071"/>
                    <a:pt x="44255" y="84071"/>
                    <a:pt x="44255" y="84071"/>
                  </a:cubicBezTo>
                  <a:cubicBezTo>
                    <a:pt x="43404" y="84790"/>
                    <a:pt x="43404" y="84790"/>
                    <a:pt x="43404" y="84790"/>
                  </a:cubicBezTo>
                  <a:cubicBezTo>
                    <a:pt x="41702" y="86227"/>
                    <a:pt x="41702" y="86227"/>
                    <a:pt x="41702" y="86227"/>
                  </a:cubicBezTo>
                  <a:cubicBezTo>
                    <a:pt x="41702" y="86227"/>
                    <a:pt x="40851" y="86946"/>
                    <a:pt x="40000" y="86946"/>
                  </a:cubicBezTo>
                  <a:cubicBezTo>
                    <a:pt x="40000" y="86946"/>
                    <a:pt x="37446" y="86946"/>
                    <a:pt x="37446" y="86946"/>
                  </a:cubicBezTo>
                  <a:cubicBezTo>
                    <a:pt x="38297" y="87664"/>
                    <a:pt x="38297" y="87664"/>
                    <a:pt x="38297" y="87664"/>
                  </a:cubicBezTo>
                  <a:cubicBezTo>
                    <a:pt x="40000" y="88383"/>
                    <a:pt x="40000" y="88383"/>
                    <a:pt x="40000" y="88383"/>
                  </a:cubicBezTo>
                  <a:cubicBezTo>
                    <a:pt x="40000" y="88383"/>
                    <a:pt x="40851" y="87664"/>
                    <a:pt x="40851" y="88383"/>
                  </a:cubicBezTo>
                  <a:cubicBezTo>
                    <a:pt x="40000" y="88383"/>
                    <a:pt x="40000" y="88383"/>
                    <a:pt x="40000" y="89101"/>
                  </a:cubicBezTo>
                  <a:cubicBezTo>
                    <a:pt x="40000" y="90538"/>
                    <a:pt x="40000" y="92694"/>
                    <a:pt x="40000" y="92694"/>
                  </a:cubicBezTo>
                  <a:cubicBezTo>
                    <a:pt x="41702" y="94850"/>
                    <a:pt x="41702" y="94850"/>
                    <a:pt x="41702" y="94850"/>
                  </a:cubicBezTo>
                  <a:cubicBezTo>
                    <a:pt x="42553" y="95568"/>
                    <a:pt x="42553" y="95568"/>
                    <a:pt x="42553" y="95568"/>
                  </a:cubicBezTo>
                  <a:cubicBezTo>
                    <a:pt x="42553" y="95568"/>
                    <a:pt x="42553" y="95568"/>
                    <a:pt x="42553" y="96287"/>
                  </a:cubicBezTo>
                  <a:cubicBezTo>
                    <a:pt x="42553" y="96287"/>
                    <a:pt x="42553" y="97005"/>
                    <a:pt x="42553" y="97005"/>
                  </a:cubicBezTo>
                  <a:cubicBezTo>
                    <a:pt x="42553" y="98443"/>
                    <a:pt x="42553" y="98443"/>
                    <a:pt x="42553" y="98443"/>
                  </a:cubicBezTo>
                  <a:cubicBezTo>
                    <a:pt x="42553" y="98443"/>
                    <a:pt x="41702" y="99161"/>
                    <a:pt x="40851" y="99161"/>
                  </a:cubicBezTo>
                  <a:cubicBezTo>
                    <a:pt x="40851" y="99161"/>
                    <a:pt x="37446" y="99880"/>
                    <a:pt x="37446" y="99880"/>
                  </a:cubicBezTo>
                  <a:cubicBezTo>
                    <a:pt x="36595" y="101317"/>
                    <a:pt x="36595" y="101317"/>
                    <a:pt x="36595" y="101317"/>
                  </a:cubicBezTo>
                  <a:cubicBezTo>
                    <a:pt x="38297" y="102035"/>
                    <a:pt x="38297" y="102035"/>
                    <a:pt x="38297" y="102035"/>
                  </a:cubicBezTo>
                  <a:cubicBezTo>
                    <a:pt x="38297" y="102035"/>
                    <a:pt x="38297" y="103473"/>
                    <a:pt x="38297" y="103473"/>
                  </a:cubicBezTo>
                  <a:cubicBezTo>
                    <a:pt x="38297" y="104191"/>
                    <a:pt x="37446" y="104910"/>
                    <a:pt x="37446" y="104910"/>
                  </a:cubicBezTo>
                  <a:cubicBezTo>
                    <a:pt x="39148" y="104910"/>
                    <a:pt x="39148" y="104910"/>
                    <a:pt x="39148" y="104910"/>
                  </a:cubicBezTo>
                  <a:cubicBezTo>
                    <a:pt x="41702" y="105628"/>
                    <a:pt x="41702" y="105628"/>
                    <a:pt x="41702" y="105628"/>
                  </a:cubicBezTo>
                  <a:cubicBezTo>
                    <a:pt x="45106" y="109221"/>
                    <a:pt x="45106" y="109221"/>
                    <a:pt x="45106" y="109221"/>
                  </a:cubicBezTo>
                  <a:cubicBezTo>
                    <a:pt x="44255" y="112095"/>
                    <a:pt x="44255" y="112095"/>
                    <a:pt x="44255" y="112095"/>
                  </a:cubicBezTo>
                  <a:cubicBezTo>
                    <a:pt x="42553" y="113532"/>
                    <a:pt x="42553" y="113532"/>
                    <a:pt x="42553" y="113532"/>
                  </a:cubicBezTo>
                  <a:cubicBezTo>
                    <a:pt x="40851" y="110658"/>
                    <a:pt x="40851" y="110658"/>
                    <a:pt x="40851" y="110658"/>
                  </a:cubicBezTo>
                  <a:cubicBezTo>
                    <a:pt x="40851" y="110658"/>
                    <a:pt x="40000" y="110658"/>
                    <a:pt x="40000" y="111377"/>
                  </a:cubicBezTo>
                  <a:cubicBezTo>
                    <a:pt x="39148" y="111377"/>
                    <a:pt x="36595" y="112814"/>
                    <a:pt x="36595" y="112814"/>
                  </a:cubicBezTo>
                  <a:cubicBezTo>
                    <a:pt x="36595" y="112814"/>
                    <a:pt x="34893" y="113532"/>
                    <a:pt x="34042" y="113532"/>
                  </a:cubicBezTo>
                  <a:cubicBezTo>
                    <a:pt x="34042" y="113532"/>
                    <a:pt x="33191" y="113532"/>
                    <a:pt x="33191" y="113532"/>
                  </a:cubicBezTo>
                  <a:cubicBezTo>
                    <a:pt x="30638" y="112814"/>
                    <a:pt x="30638" y="112814"/>
                    <a:pt x="30638" y="112814"/>
                  </a:cubicBezTo>
                  <a:cubicBezTo>
                    <a:pt x="27234" y="111377"/>
                    <a:pt x="27234" y="111377"/>
                    <a:pt x="27234" y="111377"/>
                  </a:cubicBezTo>
                  <a:cubicBezTo>
                    <a:pt x="27234" y="111377"/>
                    <a:pt x="25531" y="110658"/>
                    <a:pt x="24680" y="110658"/>
                  </a:cubicBezTo>
                  <a:cubicBezTo>
                    <a:pt x="23829" y="110658"/>
                    <a:pt x="19574" y="109221"/>
                    <a:pt x="19574" y="109221"/>
                  </a:cubicBezTo>
                  <a:cubicBezTo>
                    <a:pt x="17872" y="109940"/>
                    <a:pt x="17872" y="109940"/>
                    <a:pt x="17872" y="109940"/>
                  </a:cubicBezTo>
                  <a:cubicBezTo>
                    <a:pt x="15319" y="109940"/>
                    <a:pt x="15319" y="109940"/>
                    <a:pt x="15319" y="109940"/>
                  </a:cubicBezTo>
                  <a:cubicBezTo>
                    <a:pt x="13617" y="109221"/>
                    <a:pt x="13617" y="109221"/>
                    <a:pt x="13617" y="109221"/>
                  </a:cubicBezTo>
                  <a:cubicBezTo>
                    <a:pt x="11914" y="107065"/>
                    <a:pt x="11914" y="107065"/>
                    <a:pt x="11914" y="107065"/>
                  </a:cubicBezTo>
                  <a:cubicBezTo>
                    <a:pt x="11914" y="107065"/>
                    <a:pt x="11063" y="105628"/>
                    <a:pt x="11063" y="105628"/>
                  </a:cubicBezTo>
                  <a:cubicBezTo>
                    <a:pt x="11063" y="105628"/>
                    <a:pt x="13617" y="104191"/>
                    <a:pt x="13617" y="104191"/>
                  </a:cubicBezTo>
                  <a:cubicBezTo>
                    <a:pt x="14468" y="104191"/>
                    <a:pt x="14468" y="103473"/>
                    <a:pt x="14468" y="103473"/>
                  </a:cubicBezTo>
                  <a:cubicBezTo>
                    <a:pt x="14468" y="100598"/>
                    <a:pt x="14468" y="100598"/>
                    <a:pt x="14468" y="100598"/>
                  </a:cubicBezTo>
                  <a:cubicBezTo>
                    <a:pt x="14468" y="100598"/>
                    <a:pt x="14468" y="99161"/>
                    <a:pt x="14468" y="99161"/>
                  </a:cubicBezTo>
                  <a:cubicBezTo>
                    <a:pt x="14468" y="98443"/>
                    <a:pt x="15319" y="97724"/>
                    <a:pt x="15319" y="97724"/>
                  </a:cubicBezTo>
                  <a:cubicBezTo>
                    <a:pt x="15319" y="97724"/>
                    <a:pt x="15319" y="95568"/>
                    <a:pt x="14468" y="94850"/>
                  </a:cubicBezTo>
                  <a:cubicBezTo>
                    <a:pt x="14468" y="93413"/>
                    <a:pt x="14468" y="91976"/>
                    <a:pt x="14468" y="91976"/>
                  </a:cubicBezTo>
                  <a:cubicBezTo>
                    <a:pt x="12765" y="89820"/>
                    <a:pt x="12765" y="89820"/>
                    <a:pt x="12765" y="89820"/>
                  </a:cubicBezTo>
                  <a:cubicBezTo>
                    <a:pt x="12765" y="89820"/>
                    <a:pt x="11914" y="89820"/>
                    <a:pt x="10212" y="89101"/>
                  </a:cubicBezTo>
                  <a:cubicBezTo>
                    <a:pt x="8510" y="88383"/>
                    <a:pt x="5957" y="87664"/>
                    <a:pt x="5957" y="87664"/>
                  </a:cubicBezTo>
                  <a:cubicBezTo>
                    <a:pt x="5957" y="85508"/>
                    <a:pt x="5957" y="85508"/>
                    <a:pt x="5957" y="85508"/>
                  </a:cubicBezTo>
                  <a:cubicBezTo>
                    <a:pt x="5106" y="84790"/>
                    <a:pt x="5106" y="84790"/>
                    <a:pt x="5106" y="84790"/>
                  </a:cubicBezTo>
                  <a:cubicBezTo>
                    <a:pt x="5106" y="84790"/>
                    <a:pt x="3404" y="84790"/>
                    <a:pt x="3404" y="85508"/>
                  </a:cubicBezTo>
                  <a:cubicBezTo>
                    <a:pt x="3404" y="85508"/>
                    <a:pt x="3404" y="86227"/>
                    <a:pt x="3404" y="86227"/>
                  </a:cubicBezTo>
                  <a:cubicBezTo>
                    <a:pt x="1702" y="85508"/>
                    <a:pt x="1702" y="85508"/>
                    <a:pt x="1702" y="85508"/>
                  </a:cubicBezTo>
                  <a:cubicBezTo>
                    <a:pt x="1702" y="85508"/>
                    <a:pt x="0" y="83353"/>
                    <a:pt x="0" y="82634"/>
                  </a:cubicBezTo>
                  <a:cubicBezTo>
                    <a:pt x="851" y="82634"/>
                    <a:pt x="1702" y="81916"/>
                    <a:pt x="1702" y="81197"/>
                  </a:cubicBezTo>
                  <a:cubicBezTo>
                    <a:pt x="2553" y="80479"/>
                    <a:pt x="3404" y="79041"/>
                    <a:pt x="3404" y="78323"/>
                  </a:cubicBezTo>
                  <a:cubicBezTo>
                    <a:pt x="3404" y="78323"/>
                    <a:pt x="3404" y="75449"/>
                    <a:pt x="3404" y="75449"/>
                  </a:cubicBezTo>
                  <a:cubicBezTo>
                    <a:pt x="3404" y="75449"/>
                    <a:pt x="2553" y="74730"/>
                    <a:pt x="3404" y="74730"/>
                  </a:cubicBezTo>
                  <a:cubicBezTo>
                    <a:pt x="4255" y="74730"/>
                    <a:pt x="3404" y="74730"/>
                    <a:pt x="4255" y="74730"/>
                  </a:cubicBezTo>
                  <a:cubicBezTo>
                    <a:pt x="5106" y="74011"/>
                    <a:pt x="7659" y="72574"/>
                    <a:pt x="7659" y="72574"/>
                  </a:cubicBezTo>
                  <a:cubicBezTo>
                    <a:pt x="7659" y="71137"/>
                    <a:pt x="7659" y="71137"/>
                    <a:pt x="7659" y="71137"/>
                  </a:cubicBezTo>
                  <a:cubicBezTo>
                    <a:pt x="7659" y="71137"/>
                    <a:pt x="6808" y="69700"/>
                    <a:pt x="6808" y="68982"/>
                  </a:cubicBezTo>
                  <a:cubicBezTo>
                    <a:pt x="6808" y="68982"/>
                    <a:pt x="6808" y="68982"/>
                    <a:pt x="6808" y="68263"/>
                  </a:cubicBezTo>
                  <a:cubicBezTo>
                    <a:pt x="6808" y="66826"/>
                    <a:pt x="3404" y="63952"/>
                    <a:pt x="3404" y="63952"/>
                  </a:cubicBezTo>
                  <a:cubicBezTo>
                    <a:pt x="1702" y="63952"/>
                    <a:pt x="1702" y="63952"/>
                    <a:pt x="1702" y="63952"/>
                  </a:cubicBezTo>
                  <a:cubicBezTo>
                    <a:pt x="1702" y="63952"/>
                    <a:pt x="1702" y="63233"/>
                    <a:pt x="1702" y="62514"/>
                  </a:cubicBezTo>
                  <a:cubicBezTo>
                    <a:pt x="1702" y="62514"/>
                    <a:pt x="1702" y="60359"/>
                    <a:pt x="1702" y="60359"/>
                  </a:cubicBezTo>
                  <a:cubicBezTo>
                    <a:pt x="2553" y="57485"/>
                    <a:pt x="2553" y="57485"/>
                    <a:pt x="2553" y="57485"/>
                  </a:cubicBezTo>
                  <a:cubicBezTo>
                    <a:pt x="1702" y="52455"/>
                    <a:pt x="1702" y="52455"/>
                    <a:pt x="1702" y="52455"/>
                  </a:cubicBezTo>
                  <a:cubicBezTo>
                    <a:pt x="1702" y="48862"/>
                    <a:pt x="1702" y="48862"/>
                    <a:pt x="1702" y="48862"/>
                  </a:cubicBezTo>
                  <a:cubicBezTo>
                    <a:pt x="1702" y="48862"/>
                    <a:pt x="1702" y="45988"/>
                    <a:pt x="1702" y="45269"/>
                  </a:cubicBezTo>
                  <a:cubicBezTo>
                    <a:pt x="1702" y="45269"/>
                    <a:pt x="3404" y="42395"/>
                    <a:pt x="3404" y="42395"/>
                  </a:cubicBezTo>
                  <a:cubicBezTo>
                    <a:pt x="4255" y="40958"/>
                    <a:pt x="4255" y="40958"/>
                    <a:pt x="4255" y="40958"/>
                  </a:cubicBezTo>
                  <a:cubicBezTo>
                    <a:pt x="5106" y="43113"/>
                    <a:pt x="5106" y="43113"/>
                    <a:pt x="5106" y="43113"/>
                  </a:cubicBezTo>
                  <a:cubicBezTo>
                    <a:pt x="5106" y="43113"/>
                    <a:pt x="4255" y="43832"/>
                    <a:pt x="5106" y="44550"/>
                  </a:cubicBezTo>
                  <a:cubicBezTo>
                    <a:pt x="5957" y="44550"/>
                    <a:pt x="6808" y="44550"/>
                    <a:pt x="7659" y="44550"/>
                  </a:cubicBezTo>
                  <a:cubicBezTo>
                    <a:pt x="7659" y="44550"/>
                    <a:pt x="8510" y="45269"/>
                    <a:pt x="8510" y="45269"/>
                  </a:cubicBezTo>
                  <a:cubicBezTo>
                    <a:pt x="11063" y="46706"/>
                    <a:pt x="11063" y="46706"/>
                    <a:pt x="11063" y="46706"/>
                  </a:cubicBezTo>
                  <a:cubicBezTo>
                    <a:pt x="12765" y="48143"/>
                    <a:pt x="12765" y="48143"/>
                    <a:pt x="12765" y="48143"/>
                  </a:cubicBezTo>
                  <a:cubicBezTo>
                    <a:pt x="14468" y="48862"/>
                    <a:pt x="14468" y="48862"/>
                    <a:pt x="14468" y="48862"/>
                  </a:cubicBezTo>
                  <a:cubicBezTo>
                    <a:pt x="16170" y="48862"/>
                    <a:pt x="16170" y="48862"/>
                    <a:pt x="16170" y="48862"/>
                  </a:cubicBezTo>
                  <a:cubicBezTo>
                    <a:pt x="17021" y="48143"/>
                    <a:pt x="17021" y="48143"/>
                    <a:pt x="17021" y="48143"/>
                  </a:cubicBezTo>
                  <a:cubicBezTo>
                    <a:pt x="17021" y="48143"/>
                    <a:pt x="17021" y="47425"/>
                    <a:pt x="17021" y="47425"/>
                  </a:cubicBezTo>
                  <a:cubicBezTo>
                    <a:pt x="17021" y="47425"/>
                    <a:pt x="16170" y="45988"/>
                    <a:pt x="16170" y="45988"/>
                  </a:cubicBezTo>
                  <a:cubicBezTo>
                    <a:pt x="16170" y="45269"/>
                    <a:pt x="15319" y="44550"/>
                    <a:pt x="15319" y="44550"/>
                  </a:cubicBezTo>
                  <a:cubicBezTo>
                    <a:pt x="17872" y="43113"/>
                    <a:pt x="17872" y="43113"/>
                    <a:pt x="17872" y="43113"/>
                  </a:cubicBezTo>
                  <a:cubicBezTo>
                    <a:pt x="18723" y="41676"/>
                    <a:pt x="18723" y="41676"/>
                    <a:pt x="18723" y="41676"/>
                  </a:cubicBezTo>
                  <a:cubicBezTo>
                    <a:pt x="18723" y="41676"/>
                    <a:pt x="18723" y="40958"/>
                    <a:pt x="17872" y="40958"/>
                  </a:cubicBezTo>
                  <a:cubicBezTo>
                    <a:pt x="17021" y="40958"/>
                    <a:pt x="15319" y="40958"/>
                    <a:pt x="15319" y="40958"/>
                  </a:cubicBezTo>
                  <a:cubicBezTo>
                    <a:pt x="15319" y="40958"/>
                    <a:pt x="14468" y="40239"/>
                    <a:pt x="14468" y="40239"/>
                  </a:cubicBezTo>
                  <a:cubicBezTo>
                    <a:pt x="14468" y="40239"/>
                    <a:pt x="13617" y="38802"/>
                    <a:pt x="13617" y="38802"/>
                  </a:cubicBezTo>
                  <a:cubicBezTo>
                    <a:pt x="13617" y="38802"/>
                    <a:pt x="13617" y="37365"/>
                    <a:pt x="14468" y="37365"/>
                  </a:cubicBezTo>
                  <a:cubicBezTo>
                    <a:pt x="14468" y="36646"/>
                    <a:pt x="15319" y="34491"/>
                    <a:pt x="15319" y="34491"/>
                  </a:cubicBezTo>
                  <a:cubicBezTo>
                    <a:pt x="15319" y="34491"/>
                    <a:pt x="14468" y="33053"/>
                    <a:pt x="16170" y="33053"/>
                  </a:cubicBezTo>
                  <a:cubicBezTo>
                    <a:pt x="17872" y="33053"/>
                    <a:pt x="18723" y="33053"/>
                    <a:pt x="18723" y="33053"/>
                  </a:cubicBezTo>
                  <a:cubicBezTo>
                    <a:pt x="18723" y="33053"/>
                    <a:pt x="19574" y="31616"/>
                    <a:pt x="20425" y="31616"/>
                  </a:cubicBezTo>
                  <a:cubicBezTo>
                    <a:pt x="20425" y="31616"/>
                    <a:pt x="21276" y="30898"/>
                    <a:pt x="21276" y="31616"/>
                  </a:cubicBezTo>
                  <a:cubicBezTo>
                    <a:pt x="22127" y="31616"/>
                    <a:pt x="21276" y="33772"/>
                    <a:pt x="21276" y="33772"/>
                  </a:cubicBezTo>
                  <a:cubicBezTo>
                    <a:pt x="19574" y="35209"/>
                    <a:pt x="19574" y="35209"/>
                    <a:pt x="19574" y="35209"/>
                  </a:cubicBezTo>
                  <a:cubicBezTo>
                    <a:pt x="19574" y="35209"/>
                    <a:pt x="20425" y="35928"/>
                    <a:pt x="20425" y="36646"/>
                  </a:cubicBezTo>
                  <a:cubicBezTo>
                    <a:pt x="20425" y="37365"/>
                    <a:pt x="20425" y="38083"/>
                    <a:pt x="20425" y="38083"/>
                  </a:cubicBezTo>
                  <a:cubicBezTo>
                    <a:pt x="18723" y="40239"/>
                    <a:pt x="18723" y="40239"/>
                    <a:pt x="18723" y="40239"/>
                  </a:cubicBezTo>
                  <a:cubicBezTo>
                    <a:pt x="18723" y="40239"/>
                    <a:pt x="19574" y="40239"/>
                    <a:pt x="19574" y="40239"/>
                  </a:cubicBezTo>
                  <a:cubicBezTo>
                    <a:pt x="19574" y="40958"/>
                    <a:pt x="19574" y="41676"/>
                    <a:pt x="19574" y="41676"/>
                  </a:cubicBezTo>
                  <a:cubicBezTo>
                    <a:pt x="22127" y="40958"/>
                    <a:pt x="22127" y="40958"/>
                    <a:pt x="22127" y="40958"/>
                  </a:cubicBezTo>
                  <a:cubicBezTo>
                    <a:pt x="22127" y="40958"/>
                    <a:pt x="21276" y="40239"/>
                    <a:pt x="21276" y="40239"/>
                  </a:cubicBezTo>
                  <a:cubicBezTo>
                    <a:pt x="21276" y="40239"/>
                    <a:pt x="20425" y="39520"/>
                    <a:pt x="21276" y="38802"/>
                  </a:cubicBezTo>
                  <a:cubicBezTo>
                    <a:pt x="22127" y="38083"/>
                    <a:pt x="22127" y="37365"/>
                    <a:pt x="22978" y="37365"/>
                  </a:cubicBezTo>
                  <a:cubicBezTo>
                    <a:pt x="22978" y="36646"/>
                    <a:pt x="22978" y="36646"/>
                    <a:pt x="24680" y="36646"/>
                  </a:cubicBezTo>
                  <a:cubicBezTo>
                    <a:pt x="25531" y="36646"/>
                    <a:pt x="27234" y="38083"/>
                    <a:pt x="27234" y="38083"/>
                  </a:cubicBezTo>
                  <a:cubicBezTo>
                    <a:pt x="27234" y="38083"/>
                    <a:pt x="28085" y="38802"/>
                    <a:pt x="27234" y="38802"/>
                  </a:cubicBezTo>
                  <a:cubicBezTo>
                    <a:pt x="27234" y="39520"/>
                    <a:pt x="26382" y="40239"/>
                    <a:pt x="26382" y="40239"/>
                  </a:cubicBezTo>
                  <a:cubicBezTo>
                    <a:pt x="28085" y="42395"/>
                    <a:pt x="28085" y="42395"/>
                    <a:pt x="28085" y="42395"/>
                  </a:cubicBezTo>
                  <a:cubicBezTo>
                    <a:pt x="28085" y="42395"/>
                    <a:pt x="27234" y="42395"/>
                    <a:pt x="26382" y="43113"/>
                  </a:cubicBezTo>
                  <a:cubicBezTo>
                    <a:pt x="26382" y="43113"/>
                    <a:pt x="26382" y="43832"/>
                    <a:pt x="26382" y="43832"/>
                  </a:cubicBezTo>
                  <a:cubicBezTo>
                    <a:pt x="26382" y="44550"/>
                    <a:pt x="23829" y="45269"/>
                    <a:pt x="26382" y="45269"/>
                  </a:cubicBezTo>
                  <a:cubicBezTo>
                    <a:pt x="28085" y="45269"/>
                    <a:pt x="28085" y="45269"/>
                    <a:pt x="28085" y="44550"/>
                  </a:cubicBezTo>
                  <a:cubicBezTo>
                    <a:pt x="28085" y="44550"/>
                    <a:pt x="28085" y="43113"/>
                    <a:pt x="28085" y="43113"/>
                  </a:cubicBezTo>
                  <a:cubicBezTo>
                    <a:pt x="28085" y="43113"/>
                    <a:pt x="28936" y="43113"/>
                    <a:pt x="28936" y="43113"/>
                  </a:cubicBezTo>
                  <a:cubicBezTo>
                    <a:pt x="29787" y="43113"/>
                    <a:pt x="30638" y="43113"/>
                    <a:pt x="30638" y="43113"/>
                  </a:cubicBezTo>
                  <a:cubicBezTo>
                    <a:pt x="31489" y="43832"/>
                    <a:pt x="31489" y="43832"/>
                    <a:pt x="31489" y="43832"/>
                  </a:cubicBezTo>
                  <a:cubicBezTo>
                    <a:pt x="31489" y="43832"/>
                    <a:pt x="31489" y="44550"/>
                    <a:pt x="31489" y="45269"/>
                  </a:cubicBezTo>
                  <a:cubicBezTo>
                    <a:pt x="31489" y="45269"/>
                    <a:pt x="31489" y="45988"/>
                    <a:pt x="31489" y="45988"/>
                  </a:cubicBezTo>
                  <a:cubicBezTo>
                    <a:pt x="31489" y="45988"/>
                    <a:pt x="33191" y="47425"/>
                    <a:pt x="33191" y="46706"/>
                  </a:cubicBezTo>
                  <a:cubicBezTo>
                    <a:pt x="33191" y="45988"/>
                    <a:pt x="34042" y="46706"/>
                    <a:pt x="33191" y="45269"/>
                  </a:cubicBezTo>
                  <a:cubicBezTo>
                    <a:pt x="32340" y="44550"/>
                    <a:pt x="32340" y="43113"/>
                    <a:pt x="32340" y="43113"/>
                  </a:cubicBezTo>
                  <a:cubicBezTo>
                    <a:pt x="32340" y="43113"/>
                    <a:pt x="32340" y="43113"/>
                    <a:pt x="32340" y="42395"/>
                  </a:cubicBezTo>
                  <a:cubicBezTo>
                    <a:pt x="32340" y="42395"/>
                    <a:pt x="32340" y="41676"/>
                    <a:pt x="32340" y="41676"/>
                  </a:cubicBezTo>
                  <a:cubicBezTo>
                    <a:pt x="31489" y="40958"/>
                    <a:pt x="30638" y="40958"/>
                    <a:pt x="30638" y="40239"/>
                  </a:cubicBezTo>
                  <a:cubicBezTo>
                    <a:pt x="30638" y="40239"/>
                    <a:pt x="28085" y="38083"/>
                    <a:pt x="28085" y="38083"/>
                  </a:cubicBezTo>
                  <a:cubicBezTo>
                    <a:pt x="28085" y="38083"/>
                    <a:pt x="28085" y="37365"/>
                    <a:pt x="28085" y="36646"/>
                  </a:cubicBezTo>
                  <a:cubicBezTo>
                    <a:pt x="28085" y="35209"/>
                    <a:pt x="28085" y="34491"/>
                    <a:pt x="28085" y="33772"/>
                  </a:cubicBezTo>
                  <a:cubicBezTo>
                    <a:pt x="28085" y="33772"/>
                    <a:pt x="28936" y="32335"/>
                    <a:pt x="28936" y="32335"/>
                  </a:cubicBezTo>
                  <a:cubicBezTo>
                    <a:pt x="28936" y="32335"/>
                    <a:pt x="28936" y="30898"/>
                    <a:pt x="29787" y="30179"/>
                  </a:cubicBezTo>
                  <a:cubicBezTo>
                    <a:pt x="30638" y="30179"/>
                    <a:pt x="29787" y="29461"/>
                    <a:pt x="30638" y="29461"/>
                  </a:cubicBezTo>
                  <a:cubicBezTo>
                    <a:pt x="32340" y="28742"/>
                    <a:pt x="31489" y="28742"/>
                    <a:pt x="33191" y="28742"/>
                  </a:cubicBezTo>
                  <a:cubicBezTo>
                    <a:pt x="34042" y="28742"/>
                    <a:pt x="35744" y="29461"/>
                    <a:pt x="36595" y="29461"/>
                  </a:cubicBezTo>
                  <a:cubicBezTo>
                    <a:pt x="36595" y="29461"/>
                    <a:pt x="39148" y="30179"/>
                    <a:pt x="39148" y="30179"/>
                  </a:cubicBezTo>
                  <a:cubicBezTo>
                    <a:pt x="39148" y="30179"/>
                    <a:pt x="39148" y="29461"/>
                    <a:pt x="39148" y="29461"/>
                  </a:cubicBezTo>
                  <a:cubicBezTo>
                    <a:pt x="40000" y="29461"/>
                    <a:pt x="40000" y="28023"/>
                    <a:pt x="40000" y="28742"/>
                  </a:cubicBezTo>
                  <a:cubicBezTo>
                    <a:pt x="40851" y="28742"/>
                    <a:pt x="40851" y="29461"/>
                    <a:pt x="41702" y="28742"/>
                  </a:cubicBezTo>
                  <a:cubicBezTo>
                    <a:pt x="42553" y="28023"/>
                    <a:pt x="42553" y="27305"/>
                    <a:pt x="42553" y="27305"/>
                  </a:cubicBezTo>
                  <a:cubicBezTo>
                    <a:pt x="42553" y="27305"/>
                    <a:pt x="43404" y="27305"/>
                    <a:pt x="44255" y="26586"/>
                  </a:cubicBezTo>
                  <a:cubicBezTo>
                    <a:pt x="44255" y="26586"/>
                    <a:pt x="43404" y="25868"/>
                    <a:pt x="42553" y="25868"/>
                  </a:cubicBezTo>
                  <a:cubicBezTo>
                    <a:pt x="42553" y="25868"/>
                    <a:pt x="40851" y="25868"/>
                    <a:pt x="40000" y="26586"/>
                  </a:cubicBezTo>
                  <a:cubicBezTo>
                    <a:pt x="39148" y="26586"/>
                    <a:pt x="40000" y="26586"/>
                    <a:pt x="38297" y="26586"/>
                  </a:cubicBezTo>
                  <a:cubicBezTo>
                    <a:pt x="37446" y="27305"/>
                    <a:pt x="37446" y="27305"/>
                    <a:pt x="35744" y="27305"/>
                  </a:cubicBezTo>
                  <a:cubicBezTo>
                    <a:pt x="34042" y="27305"/>
                    <a:pt x="34042" y="27305"/>
                    <a:pt x="33191" y="28023"/>
                  </a:cubicBezTo>
                  <a:cubicBezTo>
                    <a:pt x="32340" y="28742"/>
                    <a:pt x="31489" y="28742"/>
                    <a:pt x="31489" y="28742"/>
                  </a:cubicBezTo>
                  <a:cubicBezTo>
                    <a:pt x="30638" y="28742"/>
                    <a:pt x="30638" y="28742"/>
                    <a:pt x="30638" y="28742"/>
                  </a:cubicBezTo>
                  <a:cubicBezTo>
                    <a:pt x="30638" y="28742"/>
                    <a:pt x="29787" y="28742"/>
                    <a:pt x="28936" y="28742"/>
                  </a:cubicBezTo>
                  <a:cubicBezTo>
                    <a:pt x="28936" y="28742"/>
                    <a:pt x="28085" y="28023"/>
                    <a:pt x="28085" y="28023"/>
                  </a:cubicBezTo>
                  <a:cubicBezTo>
                    <a:pt x="28085" y="28023"/>
                    <a:pt x="28085" y="28023"/>
                    <a:pt x="27234" y="28023"/>
                  </a:cubicBezTo>
                  <a:cubicBezTo>
                    <a:pt x="26382" y="28023"/>
                    <a:pt x="25531" y="28742"/>
                    <a:pt x="25531" y="28742"/>
                  </a:cubicBezTo>
                  <a:cubicBezTo>
                    <a:pt x="23829" y="28742"/>
                    <a:pt x="23829" y="28742"/>
                    <a:pt x="23829" y="28742"/>
                  </a:cubicBezTo>
                  <a:cubicBezTo>
                    <a:pt x="23829" y="28742"/>
                    <a:pt x="22978" y="28742"/>
                    <a:pt x="22127" y="28742"/>
                  </a:cubicBezTo>
                  <a:cubicBezTo>
                    <a:pt x="22127" y="29461"/>
                    <a:pt x="20425" y="29461"/>
                    <a:pt x="20425" y="29461"/>
                  </a:cubicBezTo>
                  <a:cubicBezTo>
                    <a:pt x="20425" y="29461"/>
                    <a:pt x="20425" y="29461"/>
                    <a:pt x="19574" y="29461"/>
                  </a:cubicBezTo>
                  <a:cubicBezTo>
                    <a:pt x="19574" y="30179"/>
                    <a:pt x="20425" y="30179"/>
                    <a:pt x="19574" y="30898"/>
                  </a:cubicBezTo>
                  <a:cubicBezTo>
                    <a:pt x="18723" y="30898"/>
                    <a:pt x="17021" y="30898"/>
                    <a:pt x="17021" y="30898"/>
                  </a:cubicBezTo>
                  <a:cubicBezTo>
                    <a:pt x="16170" y="31616"/>
                    <a:pt x="16170" y="31616"/>
                    <a:pt x="16170" y="31616"/>
                  </a:cubicBezTo>
                  <a:cubicBezTo>
                    <a:pt x="15319" y="33053"/>
                    <a:pt x="15319" y="33053"/>
                    <a:pt x="15319" y="33053"/>
                  </a:cubicBezTo>
                  <a:cubicBezTo>
                    <a:pt x="14468" y="33053"/>
                    <a:pt x="14468" y="33053"/>
                    <a:pt x="14468" y="33053"/>
                  </a:cubicBezTo>
                  <a:cubicBezTo>
                    <a:pt x="13617" y="35209"/>
                    <a:pt x="13617" y="35209"/>
                    <a:pt x="13617" y="35209"/>
                  </a:cubicBezTo>
                  <a:cubicBezTo>
                    <a:pt x="13617" y="35928"/>
                    <a:pt x="13617" y="35928"/>
                    <a:pt x="13617" y="35928"/>
                  </a:cubicBezTo>
                  <a:cubicBezTo>
                    <a:pt x="11914" y="37365"/>
                    <a:pt x="11914" y="37365"/>
                    <a:pt x="11914" y="37365"/>
                  </a:cubicBezTo>
                  <a:cubicBezTo>
                    <a:pt x="11063" y="38083"/>
                    <a:pt x="11063" y="38083"/>
                    <a:pt x="11063" y="38083"/>
                  </a:cubicBezTo>
                  <a:cubicBezTo>
                    <a:pt x="11063" y="38083"/>
                    <a:pt x="11063" y="38083"/>
                    <a:pt x="11914" y="38802"/>
                  </a:cubicBezTo>
                  <a:cubicBezTo>
                    <a:pt x="11914" y="38802"/>
                    <a:pt x="11914" y="39520"/>
                    <a:pt x="11914" y="39520"/>
                  </a:cubicBezTo>
                  <a:cubicBezTo>
                    <a:pt x="11063" y="40239"/>
                    <a:pt x="11063" y="40239"/>
                    <a:pt x="11063" y="40239"/>
                  </a:cubicBezTo>
                  <a:cubicBezTo>
                    <a:pt x="11914" y="41676"/>
                    <a:pt x="11914" y="41676"/>
                    <a:pt x="11914" y="41676"/>
                  </a:cubicBezTo>
                  <a:cubicBezTo>
                    <a:pt x="13617" y="40958"/>
                    <a:pt x="13617" y="40958"/>
                    <a:pt x="13617" y="40958"/>
                  </a:cubicBezTo>
                  <a:cubicBezTo>
                    <a:pt x="14468" y="42395"/>
                    <a:pt x="14468" y="42395"/>
                    <a:pt x="14468" y="42395"/>
                  </a:cubicBezTo>
                  <a:cubicBezTo>
                    <a:pt x="13617" y="43832"/>
                    <a:pt x="13617" y="43832"/>
                    <a:pt x="13617" y="43832"/>
                  </a:cubicBezTo>
                  <a:cubicBezTo>
                    <a:pt x="13617" y="43832"/>
                    <a:pt x="12765" y="44550"/>
                    <a:pt x="11914" y="44550"/>
                  </a:cubicBezTo>
                  <a:cubicBezTo>
                    <a:pt x="11914" y="44550"/>
                    <a:pt x="11063" y="43832"/>
                    <a:pt x="11063" y="43832"/>
                  </a:cubicBezTo>
                  <a:cubicBezTo>
                    <a:pt x="10212" y="42395"/>
                    <a:pt x="10212" y="42395"/>
                    <a:pt x="10212" y="42395"/>
                  </a:cubicBezTo>
                  <a:cubicBezTo>
                    <a:pt x="10212" y="41676"/>
                    <a:pt x="10212" y="41676"/>
                    <a:pt x="10212" y="41676"/>
                  </a:cubicBezTo>
                  <a:cubicBezTo>
                    <a:pt x="10212" y="40958"/>
                    <a:pt x="10212" y="40958"/>
                    <a:pt x="10212" y="40958"/>
                  </a:cubicBezTo>
                  <a:cubicBezTo>
                    <a:pt x="7659" y="41676"/>
                    <a:pt x="7659" y="41676"/>
                    <a:pt x="7659" y="41676"/>
                  </a:cubicBezTo>
                  <a:cubicBezTo>
                    <a:pt x="7659" y="40958"/>
                    <a:pt x="7659" y="40958"/>
                    <a:pt x="7659" y="40958"/>
                  </a:cubicBezTo>
                  <a:cubicBezTo>
                    <a:pt x="7659" y="40958"/>
                    <a:pt x="6808" y="40239"/>
                    <a:pt x="6808" y="40239"/>
                  </a:cubicBezTo>
                  <a:cubicBezTo>
                    <a:pt x="6808" y="39520"/>
                    <a:pt x="5957" y="38802"/>
                    <a:pt x="5957" y="38802"/>
                  </a:cubicBezTo>
                  <a:cubicBezTo>
                    <a:pt x="4255" y="36646"/>
                    <a:pt x="4255" y="36646"/>
                    <a:pt x="4255" y="36646"/>
                  </a:cubicBezTo>
                  <a:cubicBezTo>
                    <a:pt x="4255" y="36646"/>
                    <a:pt x="4255" y="36646"/>
                    <a:pt x="5106" y="36646"/>
                  </a:cubicBezTo>
                  <a:cubicBezTo>
                    <a:pt x="5106" y="35928"/>
                    <a:pt x="5106" y="35928"/>
                    <a:pt x="5957" y="35209"/>
                  </a:cubicBezTo>
                  <a:cubicBezTo>
                    <a:pt x="5957" y="34491"/>
                    <a:pt x="7659" y="33053"/>
                    <a:pt x="7659" y="33053"/>
                  </a:cubicBezTo>
                  <a:cubicBezTo>
                    <a:pt x="8510" y="30898"/>
                    <a:pt x="8510" y="30898"/>
                    <a:pt x="8510" y="30898"/>
                  </a:cubicBezTo>
                  <a:cubicBezTo>
                    <a:pt x="10212" y="29461"/>
                    <a:pt x="10212" y="29461"/>
                    <a:pt x="10212" y="29461"/>
                  </a:cubicBezTo>
                  <a:cubicBezTo>
                    <a:pt x="11063" y="28023"/>
                    <a:pt x="11063" y="28023"/>
                    <a:pt x="11063" y="28023"/>
                  </a:cubicBezTo>
                  <a:cubicBezTo>
                    <a:pt x="12765" y="25868"/>
                    <a:pt x="12765" y="25868"/>
                    <a:pt x="12765" y="25868"/>
                  </a:cubicBezTo>
                  <a:cubicBezTo>
                    <a:pt x="14468" y="24431"/>
                    <a:pt x="14468" y="24431"/>
                    <a:pt x="14468" y="24431"/>
                  </a:cubicBezTo>
                  <a:cubicBezTo>
                    <a:pt x="17021" y="24431"/>
                    <a:pt x="17021" y="24431"/>
                    <a:pt x="17021" y="24431"/>
                  </a:cubicBezTo>
                  <a:cubicBezTo>
                    <a:pt x="17021" y="24431"/>
                    <a:pt x="18723" y="25149"/>
                    <a:pt x="18723" y="25149"/>
                  </a:cubicBezTo>
                  <a:cubicBezTo>
                    <a:pt x="19574" y="24431"/>
                    <a:pt x="20425" y="23712"/>
                    <a:pt x="20425" y="23712"/>
                  </a:cubicBezTo>
                  <a:cubicBezTo>
                    <a:pt x="23829" y="22994"/>
                    <a:pt x="23829" y="22994"/>
                    <a:pt x="23829" y="22994"/>
                  </a:cubicBezTo>
                  <a:cubicBezTo>
                    <a:pt x="24680" y="22994"/>
                    <a:pt x="24680" y="22994"/>
                    <a:pt x="24680" y="22994"/>
                  </a:cubicBezTo>
                  <a:cubicBezTo>
                    <a:pt x="27234" y="23712"/>
                    <a:pt x="27234" y="23712"/>
                    <a:pt x="27234" y="23712"/>
                  </a:cubicBezTo>
                  <a:cubicBezTo>
                    <a:pt x="28936" y="23712"/>
                    <a:pt x="28936" y="23712"/>
                    <a:pt x="28936" y="23712"/>
                  </a:cubicBezTo>
                  <a:cubicBezTo>
                    <a:pt x="32340" y="23712"/>
                    <a:pt x="32340" y="23712"/>
                    <a:pt x="32340" y="23712"/>
                  </a:cubicBezTo>
                  <a:close/>
                  <a:moveTo>
                    <a:pt x="13617" y="99880"/>
                  </a:moveTo>
                  <a:cubicBezTo>
                    <a:pt x="13617" y="99880"/>
                    <a:pt x="13617" y="99880"/>
                    <a:pt x="13617" y="99880"/>
                  </a:cubicBezTo>
                  <a:cubicBezTo>
                    <a:pt x="13617" y="99880"/>
                    <a:pt x="11914" y="99161"/>
                    <a:pt x="11914" y="99161"/>
                  </a:cubicBezTo>
                  <a:cubicBezTo>
                    <a:pt x="11914" y="99880"/>
                    <a:pt x="11063" y="100598"/>
                    <a:pt x="11063" y="100598"/>
                  </a:cubicBezTo>
                  <a:cubicBezTo>
                    <a:pt x="10212" y="102754"/>
                    <a:pt x="10212" y="102754"/>
                    <a:pt x="10212" y="102754"/>
                  </a:cubicBezTo>
                  <a:cubicBezTo>
                    <a:pt x="9361" y="103473"/>
                    <a:pt x="9361" y="103473"/>
                    <a:pt x="9361" y="103473"/>
                  </a:cubicBezTo>
                  <a:cubicBezTo>
                    <a:pt x="9361" y="104910"/>
                    <a:pt x="9361" y="104910"/>
                    <a:pt x="9361" y="104910"/>
                  </a:cubicBezTo>
                  <a:cubicBezTo>
                    <a:pt x="6808" y="105628"/>
                    <a:pt x="6808" y="105628"/>
                    <a:pt x="6808" y="105628"/>
                  </a:cubicBezTo>
                  <a:cubicBezTo>
                    <a:pt x="6808" y="105628"/>
                    <a:pt x="6808" y="106347"/>
                    <a:pt x="7659" y="106347"/>
                  </a:cubicBezTo>
                  <a:cubicBezTo>
                    <a:pt x="8510" y="106347"/>
                    <a:pt x="9361" y="106347"/>
                    <a:pt x="9361" y="106347"/>
                  </a:cubicBezTo>
                  <a:cubicBezTo>
                    <a:pt x="9361" y="105628"/>
                    <a:pt x="10212" y="104910"/>
                    <a:pt x="10212" y="104910"/>
                  </a:cubicBezTo>
                  <a:cubicBezTo>
                    <a:pt x="10212" y="104910"/>
                    <a:pt x="11063" y="104191"/>
                    <a:pt x="11063" y="104191"/>
                  </a:cubicBezTo>
                  <a:cubicBezTo>
                    <a:pt x="11914" y="104191"/>
                    <a:pt x="13617" y="104191"/>
                    <a:pt x="13617" y="103473"/>
                  </a:cubicBezTo>
                  <a:cubicBezTo>
                    <a:pt x="13617" y="102754"/>
                    <a:pt x="13617" y="102035"/>
                    <a:pt x="13617" y="102035"/>
                  </a:cubicBezTo>
                  <a:cubicBezTo>
                    <a:pt x="13617" y="101317"/>
                    <a:pt x="13617" y="101317"/>
                    <a:pt x="13617" y="101317"/>
                  </a:cubicBezTo>
                  <a:cubicBezTo>
                    <a:pt x="13617" y="99880"/>
                    <a:pt x="13617" y="99880"/>
                    <a:pt x="13617" y="99880"/>
                  </a:cubicBezTo>
                  <a:close/>
                  <a:moveTo>
                    <a:pt x="57872" y="80479"/>
                  </a:moveTo>
                  <a:cubicBezTo>
                    <a:pt x="57872" y="80479"/>
                    <a:pt x="57872" y="80479"/>
                    <a:pt x="57872" y="80479"/>
                  </a:cubicBezTo>
                  <a:cubicBezTo>
                    <a:pt x="57872" y="80479"/>
                    <a:pt x="57872" y="80479"/>
                    <a:pt x="57872" y="80479"/>
                  </a:cubicBezTo>
                  <a:cubicBezTo>
                    <a:pt x="57872" y="80479"/>
                    <a:pt x="58723" y="79760"/>
                    <a:pt x="58723" y="79760"/>
                  </a:cubicBezTo>
                  <a:cubicBezTo>
                    <a:pt x="58723" y="79041"/>
                    <a:pt x="57872" y="78323"/>
                    <a:pt x="57872" y="78323"/>
                  </a:cubicBezTo>
                  <a:cubicBezTo>
                    <a:pt x="57872" y="77604"/>
                    <a:pt x="58723" y="77604"/>
                    <a:pt x="58723" y="77604"/>
                  </a:cubicBezTo>
                  <a:cubicBezTo>
                    <a:pt x="58723" y="77604"/>
                    <a:pt x="58723" y="76886"/>
                    <a:pt x="58723" y="76886"/>
                  </a:cubicBezTo>
                  <a:cubicBezTo>
                    <a:pt x="58723" y="76886"/>
                    <a:pt x="57872" y="76886"/>
                    <a:pt x="57872" y="76886"/>
                  </a:cubicBezTo>
                  <a:cubicBezTo>
                    <a:pt x="57021" y="76886"/>
                    <a:pt x="57021" y="77604"/>
                    <a:pt x="57021" y="77604"/>
                  </a:cubicBezTo>
                  <a:cubicBezTo>
                    <a:pt x="57021" y="77604"/>
                    <a:pt x="57021" y="78323"/>
                    <a:pt x="57021" y="78323"/>
                  </a:cubicBezTo>
                  <a:cubicBezTo>
                    <a:pt x="57021" y="78323"/>
                    <a:pt x="57021" y="79041"/>
                    <a:pt x="57021" y="79041"/>
                  </a:cubicBezTo>
                  <a:cubicBezTo>
                    <a:pt x="57021" y="79041"/>
                    <a:pt x="57872" y="80479"/>
                    <a:pt x="57872" y="80479"/>
                  </a:cubicBezTo>
                  <a:close/>
                  <a:moveTo>
                    <a:pt x="80851" y="99880"/>
                  </a:moveTo>
                  <a:cubicBezTo>
                    <a:pt x="80851" y="99880"/>
                    <a:pt x="80851" y="99880"/>
                    <a:pt x="80851" y="99880"/>
                  </a:cubicBezTo>
                  <a:cubicBezTo>
                    <a:pt x="81702" y="99161"/>
                    <a:pt x="81702" y="99161"/>
                    <a:pt x="81702" y="99161"/>
                  </a:cubicBezTo>
                  <a:cubicBezTo>
                    <a:pt x="82553" y="99880"/>
                    <a:pt x="82553" y="99880"/>
                    <a:pt x="82553" y="99880"/>
                  </a:cubicBezTo>
                  <a:cubicBezTo>
                    <a:pt x="82553" y="99880"/>
                    <a:pt x="81702" y="100598"/>
                    <a:pt x="81702" y="100598"/>
                  </a:cubicBezTo>
                  <a:cubicBezTo>
                    <a:pt x="81702" y="100598"/>
                    <a:pt x="80851" y="99880"/>
                    <a:pt x="80851" y="99880"/>
                  </a:cubicBezTo>
                  <a:cubicBezTo>
                    <a:pt x="80851" y="99880"/>
                    <a:pt x="80851" y="99880"/>
                    <a:pt x="80851" y="99880"/>
                  </a:cubicBezTo>
                  <a:close/>
                  <a:moveTo>
                    <a:pt x="90212" y="109221"/>
                  </a:moveTo>
                  <a:cubicBezTo>
                    <a:pt x="90212" y="109221"/>
                    <a:pt x="90212" y="109221"/>
                    <a:pt x="90212" y="109221"/>
                  </a:cubicBezTo>
                  <a:cubicBezTo>
                    <a:pt x="91063" y="109221"/>
                    <a:pt x="91063" y="109221"/>
                    <a:pt x="91063" y="109221"/>
                  </a:cubicBezTo>
                  <a:cubicBezTo>
                    <a:pt x="91063" y="109940"/>
                    <a:pt x="91063" y="109940"/>
                    <a:pt x="91063" y="109940"/>
                  </a:cubicBezTo>
                  <a:cubicBezTo>
                    <a:pt x="90212" y="110658"/>
                    <a:pt x="90212" y="110658"/>
                    <a:pt x="90212" y="110658"/>
                  </a:cubicBezTo>
                  <a:cubicBezTo>
                    <a:pt x="90212" y="109940"/>
                    <a:pt x="90212" y="109940"/>
                    <a:pt x="90212" y="109940"/>
                  </a:cubicBezTo>
                  <a:cubicBezTo>
                    <a:pt x="90212" y="109221"/>
                    <a:pt x="90212" y="109221"/>
                    <a:pt x="90212" y="109221"/>
                  </a:cubicBezTo>
                  <a:close/>
                  <a:moveTo>
                    <a:pt x="87659" y="107784"/>
                  </a:moveTo>
                  <a:cubicBezTo>
                    <a:pt x="87659" y="107784"/>
                    <a:pt x="87659" y="107784"/>
                    <a:pt x="87659" y="107784"/>
                  </a:cubicBezTo>
                  <a:cubicBezTo>
                    <a:pt x="86808" y="107065"/>
                    <a:pt x="86808" y="107065"/>
                    <a:pt x="86808" y="107065"/>
                  </a:cubicBezTo>
                  <a:cubicBezTo>
                    <a:pt x="88510" y="107065"/>
                    <a:pt x="88510" y="107065"/>
                    <a:pt x="88510" y="107065"/>
                  </a:cubicBezTo>
                  <a:cubicBezTo>
                    <a:pt x="88510" y="107065"/>
                    <a:pt x="88510" y="107065"/>
                    <a:pt x="89361" y="107065"/>
                  </a:cubicBezTo>
                  <a:cubicBezTo>
                    <a:pt x="89361" y="107065"/>
                    <a:pt x="90212" y="107784"/>
                    <a:pt x="90212" y="107784"/>
                  </a:cubicBezTo>
                  <a:cubicBezTo>
                    <a:pt x="90212" y="107784"/>
                    <a:pt x="90212" y="107784"/>
                    <a:pt x="90212" y="107784"/>
                  </a:cubicBezTo>
                  <a:cubicBezTo>
                    <a:pt x="89361" y="107784"/>
                    <a:pt x="89361" y="108502"/>
                    <a:pt x="89361" y="108502"/>
                  </a:cubicBezTo>
                  <a:cubicBezTo>
                    <a:pt x="88510" y="108502"/>
                    <a:pt x="87659" y="107784"/>
                    <a:pt x="87659" y="107784"/>
                  </a:cubicBezTo>
                  <a:close/>
                  <a:moveTo>
                    <a:pt x="91914" y="107784"/>
                  </a:moveTo>
                  <a:cubicBezTo>
                    <a:pt x="91914" y="107784"/>
                    <a:pt x="91914" y="107784"/>
                    <a:pt x="91914" y="107784"/>
                  </a:cubicBezTo>
                  <a:cubicBezTo>
                    <a:pt x="91063" y="106347"/>
                    <a:pt x="91063" y="106347"/>
                    <a:pt x="91063" y="106347"/>
                  </a:cubicBezTo>
                  <a:cubicBezTo>
                    <a:pt x="91914" y="105628"/>
                    <a:pt x="91914" y="105628"/>
                    <a:pt x="91914" y="105628"/>
                  </a:cubicBezTo>
                  <a:cubicBezTo>
                    <a:pt x="91914" y="105628"/>
                    <a:pt x="92765" y="106347"/>
                    <a:pt x="92765" y="106347"/>
                  </a:cubicBezTo>
                  <a:cubicBezTo>
                    <a:pt x="92765" y="106347"/>
                    <a:pt x="91914" y="107065"/>
                    <a:pt x="91914" y="107065"/>
                  </a:cubicBezTo>
                  <a:cubicBezTo>
                    <a:pt x="91914" y="107784"/>
                    <a:pt x="91914" y="107784"/>
                    <a:pt x="91914" y="107784"/>
                  </a:cubicBezTo>
                  <a:close/>
                  <a:moveTo>
                    <a:pt x="109787" y="103473"/>
                  </a:moveTo>
                  <a:cubicBezTo>
                    <a:pt x="109787" y="103473"/>
                    <a:pt x="109787" y="103473"/>
                    <a:pt x="109787" y="103473"/>
                  </a:cubicBezTo>
                  <a:cubicBezTo>
                    <a:pt x="108936" y="102754"/>
                    <a:pt x="108936" y="102754"/>
                    <a:pt x="108936" y="102754"/>
                  </a:cubicBezTo>
                  <a:cubicBezTo>
                    <a:pt x="108936" y="102754"/>
                    <a:pt x="109787" y="102035"/>
                    <a:pt x="109787" y="102035"/>
                  </a:cubicBezTo>
                  <a:cubicBezTo>
                    <a:pt x="110638" y="102035"/>
                    <a:pt x="111489" y="102035"/>
                    <a:pt x="111489" y="102035"/>
                  </a:cubicBezTo>
                  <a:cubicBezTo>
                    <a:pt x="109787" y="103473"/>
                    <a:pt x="109787" y="103473"/>
                    <a:pt x="109787" y="103473"/>
                  </a:cubicBezTo>
                  <a:close/>
                  <a:moveTo>
                    <a:pt x="108085" y="104191"/>
                  </a:moveTo>
                  <a:cubicBezTo>
                    <a:pt x="108085" y="104191"/>
                    <a:pt x="108085" y="104191"/>
                    <a:pt x="108085" y="104191"/>
                  </a:cubicBezTo>
                  <a:cubicBezTo>
                    <a:pt x="108085" y="102035"/>
                    <a:pt x="108085" y="102035"/>
                    <a:pt x="108085" y="102035"/>
                  </a:cubicBezTo>
                  <a:cubicBezTo>
                    <a:pt x="108936" y="101317"/>
                    <a:pt x="108936" y="101317"/>
                    <a:pt x="108936" y="101317"/>
                  </a:cubicBezTo>
                  <a:cubicBezTo>
                    <a:pt x="108085" y="100598"/>
                    <a:pt x="108085" y="100598"/>
                    <a:pt x="108085" y="100598"/>
                  </a:cubicBezTo>
                  <a:cubicBezTo>
                    <a:pt x="107234" y="100598"/>
                    <a:pt x="107234" y="100598"/>
                    <a:pt x="107234" y="100598"/>
                  </a:cubicBezTo>
                  <a:cubicBezTo>
                    <a:pt x="107234" y="100598"/>
                    <a:pt x="106382" y="99161"/>
                    <a:pt x="106382" y="99161"/>
                  </a:cubicBezTo>
                  <a:cubicBezTo>
                    <a:pt x="106382" y="99161"/>
                    <a:pt x="105531" y="99161"/>
                    <a:pt x="105531" y="99161"/>
                  </a:cubicBezTo>
                  <a:cubicBezTo>
                    <a:pt x="105531" y="99161"/>
                    <a:pt x="104680" y="99161"/>
                    <a:pt x="104680" y="99161"/>
                  </a:cubicBezTo>
                  <a:cubicBezTo>
                    <a:pt x="104680" y="99161"/>
                    <a:pt x="105531" y="98443"/>
                    <a:pt x="105531" y="98443"/>
                  </a:cubicBezTo>
                  <a:cubicBezTo>
                    <a:pt x="105531" y="98443"/>
                    <a:pt x="105531" y="98443"/>
                    <a:pt x="106382" y="98443"/>
                  </a:cubicBezTo>
                  <a:cubicBezTo>
                    <a:pt x="107234" y="97724"/>
                    <a:pt x="107234" y="97724"/>
                    <a:pt x="107234" y="97724"/>
                  </a:cubicBezTo>
                  <a:cubicBezTo>
                    <a:pt x="107234" y="97724"/>
                    <a:pt x="108936" y="95568"/>
                    <a:pt x="110638" y="95568"/>
                  </a:cubicBezTo>
                  <a:cubicBezTo>
                    <a:pt x="111489" y="95568"/>
                    <a:pt x="113191" y="95568"/>
                    <a:pt x="113191" y="95568"/>
                  </a:cubicBezTo>
                  <a:cubicBezTo>
                    <a:pt x="114893" y="94131"/>
                    <a:pt x="114893" y="94131"/>
                    <a:pt x="114893" y="94131"/>
                  </a:cubicBezTo>
                  <a:cubicBezTo>
                    <a:pt x="114893" y="94131"/>
                    <a:pt x="114893" y="93413"/>
                    <a:pt x="114893" y="93413"/>
                  </a:cubicBezTo>
                  <a:cubicBezTo>
                    <a:pt x="115744" y="93413"/>
                    <a:pt x="114893" y="91976"/>
                    <a:pt x="114893" y="91976"/>
                  </a:cubicBezTo>
                  <a:cubicBezTo>
                    <a:pt x="114893" y="90538"/>
                    <a:pt x="114893" y="90538"/>
                    <a:pt x="114893" y="90538"/>
                  </a:cubicBezTo>
                  <a:cubicBezTo>
                    <a:pt x="114893" y="90538"/>
                    <a:pt x="112340" y="89101"/>
                    <a:pt x="112340" y="89101"/>
                  </a:cubicBezTo>
                  <a:cubicBezTo>
                    <a:pt x="112340" y="89101"/>
                    <a:pt x="108936" y="87664"/>
                    <a:pt x="108936" y="87664"/>
                  </a:cubicBezTo>
                  <a:cubicBezTo>
                    <a:pt x="108936" y="87664"/>
                    <a:pt x="108936" y="86227"/>
                    <a:pt x="108085" y="86227"/>
                  </a:cubicBezTo>
                  <a:cubicBezTo>
                    <a:pt x="108085" y="86227"/>
                    <a:pt x="108936" y="84790"/>
                    <a:pt x="108936" y="84790"/>
                  </a:cubicBezTo>
                  <a:cubicBezTo>
                    <a:pt x="108936" y="84790"/>
                    <a:pt x="110638" y="82634"/>
                    <a:pt x="112340" y="81916"/>
                  </a:cubicBezTo>
                  <a:cubicBezTo>
                    <a:pt x="113191" y="81197"/>
                    <a:pt x="114042" y="81197"/>
                    <a:pt x="114042" y="81197"/>
                  </a:cubicBezTo>
                  <a:cubicBezTo>
                    <a:pt x="114893" y="81197"/>
                    <a:pt x="115744" y="81916"/>
                    <a:pt x="116595" y="82634"/>
                  </a:cubicBezTo>
                  <a:cubicBezTo>
                    <a:pt x="116595" y="82634"/>
                    <a:pt x="117446" y="82634"/>
                    <a:pt x="118297" y="82634"/>
                  </a:cubicBezTo>
                  <a:cubicBezTo>
                    <a:pt x="119148" y="82634"/>
                    <a:pt x="120000" y="82634"/>
                    <a:pt x="120000" y="82634"/>
                  </a:cubicBezTo>
                  <a:cubicBezTo>
                    <a:pt x="120000" y="82634"/>
                    <a:pt x="120000" y="81197"/>
                    <a:pt x="120000" y="80479"/>
                  </a:cubicBezTo>
                  <a:cubicBezTo>
                    <a:pt x="120000" y="79760"/>
                    <a:pt x="120000" y="80479"/>
                    <a:pt x="119148" y="79760"/>
                  </a:cubicBezTo>
                  <a:cubicBezTo>
                    <a:pt x="119148" y="79760"/>
                    <a:pt x="118297" y="79041"/>
                    <a:pt x="118297" y="79041"/>
                  </a:cubicBezTo>
                  <a:cubicBezTo>
                    <a:pt x="118297" y="79041"/>
                    <a:pt x="118297" y="78323"/>
                    <a:pt x="118297" y="78323"/>
                  </a:cubicBezTo>
                  <a:cubicBezTo>
                    <a:pt x="118297" y="78323"/>
                    <a:pt x="118297" y="77604"/>
                    <a:pt x="118297" y="76886"/>
                  </a:cubicBezTo>
                  <a:cubicBezTo>
                    <a:pt x="118297" y="76886"/>
                    <a:pt x="118297" y="74730"/>
                    <a:pt x="118297" y="74730"/>
                  </a:cubicBezTo>
                  <a:cubicBezTo>
                    <a:pt x="118297" y="74011"/>
                    <a:pt x="117446" y="72574"/>
                    <a:pt x="117446" y="72574"/>
                  </a:cubicBezTo>
                  <a:cubicBezTo>
                    <a:pt x="117446" y="71856"/>
                    <a:pt x="116595" y="71137"/>
                    <a:pt x="116595" y="71137"/>
                  </a:cubicBezTo>
                  <a:cubicBezTo>
                    <a:pt x="115744" y="69700"/>
                    <a:pt x="115744" y="69700"/>
                    <a:pt x="115744" y="69700"/>
                  </a:cubicBezTo>
                  <a:cubicBezTo>
                    <a:pt x="115744" y="69700"/>
                    <a:pt x="115744" y="69700"/>
                    <a:pt x="115744" y="68982"/>
                  </a:cubicBezTo>
                  <a:cubicBezTo>
                    <a:pt x="115744" y="67544"/>
                    <a:pt x="116595" y="66107"/>
                    <a:pt x="116595" y="66107"/>
                  </a:cubicBezTo>
                  <a:cubicBezTo>
                    <a:pt x="117446" y="65389"/>
                    <a:pt x="117446" y="63952"/>
                    <a:pt x="117446" y="63952"/>
                  </a:cubicBezTo>
                  <a:cubicBezTo>
                    <a:pt x="116595" y="63233"/>
                    <a:pt x="116595" y="63233"/>
                    <a:pt x="116595" y="63233"/>
                  </a:cubicBezTo>
                  <a:cubicBezTo>
                    <a:pt x="116595" y="63233"/>
                    <a:pt x="113191" y="62514"/>
                    <a:pt x="113191" y="62514"/>
                  </a:cubicBezTo>
                  <a:cubicBezTo>
                    <a:pt x="113191" y="62514"/>
                    <a:pt x="112340" y="61796"/>
                    <a:pt x="112340" y="61796"/>
                  </a:cubicBezTo>
                  <a:cubicBezTo>
                    <a:pt x="112340" y="61077"/>
                    <a:pt x="111489" y="61077"/>
                    <a:pt x="111489" y="61077"/>
                  </a:cubicBezTo>
                  <a:cubicBezTo>
                    <a:pt x="111489" y="61077"/>
                    <a:pt x="108085" y="61796"/>
                    <a:pt x="108085" y="61796"/>
                  </a:cubicBezTo>
                  <a:cubicBezTo>
                    <a:pt x="108085" y="61796"/>
                    <a:pt x="106382" y="62514"/>
                    <a:pt x="105531" y="63233"/>
                  </a:cubicBezTo>
                  <a:cubicBezTo>
                    <a:pt x="103829" y="63233"/>
                    <a:pt x="103829" y="63233"/>
                    <a:pt x="102978" y="63952"/>
                  </a:cubicBezTo>
                  <a:cubicBezTo>
                    <a:pt x="101276" y="64670"/>
                    <a:pt x="101276" y="65389"/>
                    <a:pt x="100425" y="66107"/>
                  </a:cubicBezTo>
                  <a:cubicBezTo>
                    <a:pt x="99574" y="66107"/>
                    <a:pt x="98723" y="67544"/>
                    <a:pt x="98723" y="67544"/>
                  </a:cubicBezTo>
                  <a:cubicBezTo>
                    <a:pt x="97872" y="68263"/>
                    <a:pt x="97872" y="68263"/>
                    <a:pt x="98723" y="68982"/>
                  </a:cubicBezTo>
                  <a:cubicBezTo>
                    <a:pt x="98723" y="69700"/>
                    <a:pt x="99574" y="68982"/>
                    <a:pt x="99574" y="68982"/>
                  </a:cubicBezTo>
                  <a:cubicBezTo>
                    <a:pt x="99574" y="68982"/>
                    <a:pt x="100425" y="68982"/>
                    <a:pt x="101276" y="68982"/>
                  </a:cubicBezTo>
                  <a:cubicBezTo>
                    <a:pt x="102127" y="68982"/>
                    <a:pt x="102127" y="69700"/>
                    <a:pt x="101276" y="69700"/>
                  </a:cubicBezTo>
                  <a:cubicBezTo>
                    <a:pt x="101276" y="69700"/>
                    <a:pt x="101276" y="70419"/>
                    <a:pt x="101276" y="70419"/>
                  </a:cubicBezTo>
                  <a:cubicBezTo>
                    <a:pt x="101276" y="70419"/>
                    <a:pt x="101276" y="70419"/>
                    <a:pt x="100425" y="71137"/>
                  </a:cubicBezTo>
                  <a:cubicBezTo>
                    <a:pt x="100425" y="71137"/>
                    <a:pt x="100425" y="71856"/>
                    <a:pt x="100425" y="72574"/>
                  </a:cubicBezTo>
                  <a:cubicBezTo>
                    <a:pt x="100425" y="73293"/>
                    <a:pt x="99574" y="73293"/>
                    <a:pt x="99574" y="73293"/>
                  </a:cubicBezTo>
                  <a:cubicBezTo>
                    <a:pt x="98723" y="74011"/>
                    <a:pt x="98723" y="74011"/>
                    <a:pt x="97872" y="74730"/>
                  </a:cubicBezTo>
                  <a:cubicBezTo>
                    <a:pt x="97021" y="74730"/>
                    <a:pt x="97021" y="75449"/>
                    <a:pt x="97021" y="75449"/>
                  </a:cubicBezTo>
                  <a:cubicBezTo>
                    <a:pt x="97021" y="76167"/>
                    <a:pt x="97021" y="76167"/>
                    <a:pt x="97872" y="76886"/>
                  </a:cubicBezTo>
                  <a:cubicBezTo>
                    <a:pt x="97872" y="77604"/>
                    <a:pt x="97872" y="77604"/>
                    <a:pt x="97872" y="77604"/>
                  </a:cubicBezTo>
                  <a:cubicBezTo>
                    <a:pt x="97872" y="78323"/>
                    <a:pt x="97021" y="79041"/>
                    <a:pt x="97021" y="78323"/>
                  </a:cubicBezTo>
                  <a:cubicBezTo>
                    <a:pt x="97021" y="78323"/>
                    <a:pt x="97021" y="77604"/>
                    <a:pt x="97021" y="77604"/>
                  </a:cubicBezTo>
                  <a:cubicBezTo>
                    <a:pt x="94468" y="77604"/>
                    <a:pt x="94468" y="77604"/>
                    <a:pt x="94468" y="77604"/>
                  </a:cubicBezTo>
                  <a:cubicBezTo>
                    <a:pt x="94468" y="77604"/>
                    <a:pt x="94468" y="77604"/>
                    <a:pt x="93617" y="77604"/>
                  </a:cubicBezTo>
                  <a:cubicBezTo>
                    <a:pt x="93617" y="77604"/>
                    <a:pt x="95319" y="76167"/>
                    <a:pt x="95319" y="76167"/>
                  </a:cubicBezTo>
                  <a:cubicBezTo>
                    <a:pt x="96170" y="75449"/>
                    <a:pt x="96170" y="75449"/>
                    <a:pt x="96170" y="75449"/>
                  </a:cubicBezTo>
                  <a:cubicBezTo>
                    <a:pt x="96170" y="74730"/>
                    <a:pt x="96170" y="74730"/>
                    <a:pt x="96170" y="74730"/>
                  </a:cubicBezTo>
                  <a:cubicBezTo>
                    <a:pt x="93617" y="74730"/>
                    <a:pt x="93617" y="74730"/>
                    <a:pt x="93617" y="74730"/>
                  </a:cubicBezTo>
                  <a:cubicBezTo>
                    <a:pt x="92765" y="74730"/>
                    <a:pt x="92765" y="74730"/>
                    <a:pt x="92765" y="74730"/>
                  </a:cubicBezTo>
                  <a:cubicBezTo>
                    <a:pt x="93617" y="74011"/>
                    <a:pt x="93617" y="74011"/>
                    <a:pt x="93617" y="74011"/>
                  </a:cubicBezTo>
                  <a:cubicBezTo>
                    <a:pt x="93617" y="72574"/>
                    <a:pt x="93617" y="72574"/>
                    <a:pt x="93617" y="72574"/>
                  </a:cubicBezTo>
                  <a:cubicBezTo>
                    <a:pt x="94468" y="71137"/>
                    <a:pt x="94468" y="71137"/>
                    <a:pt x="94468" y="71137"/>
                  </a:cubicBezTo>
                  <a:cubicBezTo>
                    <a:pt x="94468" y="71137"/>
                    <a:pt x="94468" y="69700"/>
                    <a:pt x="95319" y="69700"/>
                  </a:cubicBezTo>
                  <a:cubicBezTo>
                    <a:pt x="95319" y="69700"/>
                    <a:pt x="96170" y="68982"/>
                    <a:pt x="96170" y="68263"/>
                  </a:cubicBezTo>
                  <a:cubicBezTo>
                    <a:pt x="97021" y="68263"/>
                    <a:pt x="96170" y="67544"/>
                    <a:pt x="96170" y="67544"/>
                  </a:cubicBezTo>
                  <a:cubicBezTo>
                    <a:pt x="94468" y="67544"/>
                    <a:pt x="94468" y="67544"/>
                    <a:pt x="94468" y="67544"/>
                  </a:cubicBezTo>
                  <a:cubicBezTo>
                    <a:pt x="92765" y="68263"/>
                    <a:pt x="92765" y="68263"/>
                    <a:pt x="92765" y="68263"/>
                  </a:cubicBezTo>
                  <a:cubicBezTo>
                    <a:pt x="92765" y="68263"/>
                    <a:pt x="90212" y="68982"/>
                    <a:pt x="89361" y="68982"/>
                  </a:cubicBezTo>
                  <a:cubicBezTo>
                    <a:pt x="88510" y="68982"/>
                    <a:pt x="89361" y="68982"/>
                    <a:pt x="88510" y="68982"/>
                  </a:cubicBezTo>
                  <a:cubicBezTo>
                    <a:pt x="88510" y="68263"/>
                    <a:pt x="87659" y="68263"/>
                    <a:pt x="87659" y="68263"/>
                  </a:cubicBezTo>
                  <a:cubicBezTo>
                    <a:pt x="87659" y="68263"/>
                    <a:pt x="85957" y="68263"/>
                    <a:pt x="85957" y="68263"/>
                  </a:cubicBezTo>
                  <a:cubicBezTo>
                    <a:pt x="85106" y="68263"/>
                    <a:pt x="85106" y="68982"/>
                    <a:pt x="85106" y="68982"/>
                  </a:cubicBezTo>
                  <a:cubicBezTo>
                    <a:pt x="85106" y="68982"/>
                    <a:pt x="87659" y="69700"/>
                    <a:pt x="88510" y="70419"/>
                  </a:cubicBezTo>
                  <a:cubicBezTo>
                    <a:pt x="88510" y="70419"/>
                    <a:pt x="89361" y="70419"/>
                    <a:pt x="89361" y="70419"/>
                  </a:cubicBezTo>
                  <a:cubicBezTo>
                    <a:pt x="89361" y="71137"/>
                    <a:pt x="89361" y="71137"/>
                    <a:pt x="89361" y="71137"/>
                  </a:cubicBezTo>
                  <a:cubicBezTo>
                    <a:pt x="89361" y="71137"/>
                    <a:pt x="88510" y="72574"/>
                    <a:pt x="87659" y="72574"/>
                  </a:cubicBezTo>
                  <a:cubicBezTo>
                    <a:pt x="87659" y="73293"/>
                    <a:pt x="86808" y="73293"/>
                    <a:pt x="86808" y="73293"/>
                  </a:cubicBezTo>
                  <a:cubicBezTo>
                    <a:pt x="85106" y="74011"/>
                    <a:pt x="85106" y="74011"/>
                    <a:pt x="85106" y="74011"/>
                  </a:cubicBezTo>
                  <a:cubicBezTo>
                    <a:pt x="85106" y="74011"/>
                    <a:pt x="85957" y="75449"/>
                    <a:pt x="85957" y="75449"/>
                  </a:cubicBezTo>
                  <a:cubicBezTo>
                    <a:pt x="85957" y="75449"/>
                    <a:pt x="85957" y="76886"/>
                    <a:pt x="85957" y="76886"/>
                  </a:cubicBezTo>
                  <a:cubicBezTo>
                    <a:pt x="84255" y="76167"/>
                    <a:pt x="84255" y="76167"/>
                    <a:pt x="84255" y="76167"/>
                  </a:cubicBezTo>
                  <a:cubicBezTo>
                    <a:pt x="81702" y="77604"/>
                    <a:pt x="81702" y="77604"/>
                    <a:pt x="81702" y="77604"/>
                  </a:cubicBezTo>
                  <a:cubicBezTo>
                    <a:pt x="81702" y="77604"/>
                    <a:pt x="80851" y="77604"/>
                    <a:pt x="80851" y="77604"/>
                  </a:cubicBezTo>
                  <a:cubicBezTo>
                    <a:pt x="80000" y="77604"/>
                    <a:pt x="80000" y="76886"/>
                    <a:pt x="80000" y="76886"/>
                  </a:cubicBezTo>
                  <a:cubicBezTo>
                    <a:pt x="79148" y="78323"/>
                    <a:pt x="79148" y="78323"/>
                    <a:pt x="79148" y="78323"/>
                  </a:cubicBezTo>
                  <a:cubicBezTo>
                    <a:pt x="79148" y="78323"/>
                    <a:pt x="75744" y="77604"/>
                    <a:pt x="74893" y="77604"/>
                  </a:cubicBezTo>
                  <a:cubicBezTo>
                    <a:pt x="74893" y="77604"/>
                    <a:pt x="74893" y="79041"/>
                    <a:pt x="74893" y="79041"/>
                  </a:cubicBezTo>
                  <a:cubicBezTo>
                    <a:pt x="76595" y="79760"/>
                    <a:pt x="76595" y="79760"/>
                    <a:pt x="76595" y="79760"/>
                  </a:cubicBezTo>
                  <a:cubicBezTo>
                    <a:pt x="74893" y="80479"/>
                    <a:pt x="74893" y="80479"/>
                    <a:pt x="74893" y="80479"/>
                  </a:cubicBezTo>
                  <a:cubicBezTo>
                    <a:pt x="78297" y="81916"/>
                    <a:pt x="78297" y="81916"/>
                    <a:pt x="78297" y="81916"/>
                  </a:cubicBezTo>
                  <a:cubicBezTo>
                    <a:pt x="79148" y="82634"/>
                    <a:pt x="79148" y="82634"/>
                    <a:pt x="79148" y="82634"/>
                  </a:cubicBezTo>
                  <a:cubicBezTo>
                    <a:pt x="80000" y="84790"/>
                    <a:pt x="80000" y="84790"/>
                    <a:pt x="80000" y="84790"/>
                  </a:cubicBezTo>
                  <a:cubicBezTo>
                    <a:pt x="79148" y="85508"/>
                    <a:pt x="79148" y="85508"/>
                    <a:pt x="79148" y="85508"/>
                  </a:cubicBezTo>
                  <a:cubicBezTo>
                    <a:pt x="80851" y="86946"/>
                    <a:pt x="80851" y="86946"/>
                    <a:pt x="80851" y="86946"/>
                  </a:cubicBezTo>
                  <a:cubicBezTo>
                    <a:pt x="80851" y="86946"/>
                    <a:pt x="80851" y="87664"/>
                    <a:pt x="81702" y="88383"/>
                  </a:cubicBezTo>
                  <a:cubicBezTo>
                    <a:pt x="81702" y="88383"/>
                    <a:pt x="81702" y="89820"/>
                    <a:pt x="81702" y="89820"/>
                  </a:cubicBezTo>
                  <a:cubicBezTo>
                    <a:pt x="81702" y="91257"/>
                    <a:pt x="81702" y="91257"/>
                    <a:pt x="81702" y="91257"/>
                  </a:cubicBezTo>
                  <a:cubicBezTo>
                    <a:pt x="81702" y="91976"/>
                    <a:pt x="81702" y="91976"/>
                    <a:pt x="81702" y="91976"/>
                  </a:cubicBezTo>
                  <a:cubicBezTo>
                    <a:pt x="81702" y="91976"/>
                    <a:pt x="80000" y="92694"/>
                    <a:pt x="80000" y="93413"/>
                  </a:cubicBezTo>
                  <a:cubicBezTo>
                    <a:pt x="80000" y="93413"/>
                    <a:pt x="80851" y="93413"/>
                    <a:pt x="80851" y="93413"/>
                  </a:cubicBezTo>
                  <a:cubicBezTo>
                    <a:pt x="82553" y="94850"/>
                    <a:pt x="82553" y="94850"/>
                    <a:pt x="82553" y="94850"/>
                  </a:cubicBezTo>
                  <a:cubicBezTo>
                    <a:pt x="83404" y="96287"/>
                    <a:pt x="83404" y="96287"/>
                    <a:pt x="83404" y="96287"/>
                  </a:cubicBezTo>
                  <a:cubicBezTo>
                    <a:pt x="83404" y="96287"/>
                    <a:pt x="82553" y="97005"/>
                    <a:pt x="82553" y="97724"/>
                  </a:cubicBezTo>
                  <a:cubicBezTo>
                    <a:pt x="82553" y="97724"/>
                    <a:pt x="84255" y="98443"/>
                    <a:pt x="84255" y="98443"/>
                  </a:cubicBezTo>
                  <a:cubicBezTo>
                    <a:pt x="87659" y="98443"/>
                    <a:pt x="87659" y="98443"/>
                    <a:pt x="87659" y="98443"/>
                  </a:cubicBezTo>
                  <a:cubicBezTo>
                    <a:pt x="89361" y="98443"/>
                    <a:pt x="89361" y="98443"/>
                    <a:pt x="89361" y="98443"/>
                  </a:cubicBezTo>
                  <a:cubicBezTo>
                    <a:pt x="89361" y="98443"/>
                    <a:pt x="91914" y="98443"/>
                    <a:pt x="92765" y="98443"/>
                  </a:cubicBezTo>
                  <a:cubicBezTo>
                    <a:pt x="92765" y="98443"/>
                    <a:pt x="95319" y="97724"/>
                    <a:pt x="95319" y="97724"/>
                  </a:cubicBezTo>
                  <a:cubicBezTo>
                    <a:pt x="95319" y="97724"/>
                    <a:pt x="97021" y="99161"/>
                    <a:pt x="97872" y="99161"/>
                  </a:cubicBezTo>
                  <a:cubicBezTo>
                    <a:pt x="98723" y="99880"/>
                    <a:pt x="97872" y="100598"/>
                    <a:pt x="97872" y="100598"/>
                  </a:cubicBezTo>
                  <a:cubicBezTo>
                    <a:pt x="97872" y="101317"/>
                    <a:pt x="97021" y="101317"/>
                    <a:pt x="97021" y="101317"/>
                  </a:cubicBezTo>
                  <a:cubicBezTo>
                    <a:pt x="97021" y="101317"/>
                    <a:pt x="97872" y="103473"/>
                    <a:pt x="97872" y="103473"/>
                  </a:cubicBezTo>
                  <a:cubicBezTo>
                    <a:pt x="98723" y="104191"/>
                    <a:pt x="98723" y="103473"/>
                    <a:pt x="98723" y="103473"/>
                  </a:cubicBezTo>
                  <a:cubicBezTo>
                    <a:pt x="98723" y="103473"/>
                    <a:pt x="99574" y="104191"/>
                    <a:pt x="100425" y="104910"/>
                  </a:cubicBezTo>
                  <a:cubicBezTo>
                    <a:pt x="100425" y="105628"/>
                    <a:pt x="101276" y="105628"/>
                    <a:pt x="101276" y="105628"/>
                  </a:cubicBezTo>
                  <a:cubicBezTo>
                    <a:pt x="102127" y="105628"/>
                    <a:pt x="102127" y="105628"/>
                    <a:pt x="102127" y="105628"/>
                  </a:cubicBezTo>
                  <a:cubicBezTo>
                    <a:pt x="102127" y="105628"/>
                    <a:pt x="102978" y="105628"/>
                    <a:pt x="102978" y="106347"/>
                  </a:cubicBezTo>
                  <a:cubicBezTo>
                    <a:pt x="103829" y="106347"/>
                    <a:pt x="104680" y="106347"/>
                    <a:pt x="105531" y="106347"/>
                  </a:cubicBezTo>
                  <a:cubicBezTo>
                    <a:pt x="105531" y="106347"/>
                    <a:pt x="106382" y="106347"/>
                    <a:pt x="106382" y="105628"/>
                  </a:cubicBezTo>
                  <a:cubicBezTo>
                    <a:pt x="106382" y="105628"/>
                    <a:pt x="107234" y="105628"/>
                    <a:pt x="108085" y="105628"/>
                  </a:cubicBezTo>
                  <a:cubicBezTo>
                    <a:pt x="108085" y="104910"/>
                    <a:pt x="108085" y="104191"/>
                    <a:pt x="108085" y="104191"/>
                  </a:cubicBezTo>
                  <a:cubicBezTo>
                    <a:pt x="108085" y="104191"/>
                    <a:pt x="108085" y="104191"/>
                    <a:pt x="108085" y="104191"/>
                  </a:cubicBezTo>
                  <a:close/>
                  <a:moveTo>
                    <a:pt x="108085" y="107784"/>
                  </a:moveTo>
                  <a:cubicBezTo>
                    <a:pt x="108085" y="107784"/>
                    <a:pt x="108085" y="107784"/>
                    <a:pt x="108085" y="107784"/>
                  </a:cubicBezTo>
                  <a:cubicBezTo>
                    <a:pt x="107234" y="108502"/>
                    <a:pt x="107234" y="108502"/>
                    <a:pt x="107234" y="108502"/>
                  </a:cubicBezTo>
                  <a:cubicBezTo>
                    <a:pt x="108085" y="108502"/>
                    <a:pt x="108085" y="108502"/>
                    <a:pt x="108085" y="108502"/>
                  </a:cubicBezTo>
                  <a:cubicBezTo>
                    <a:pt x="108085" y="108502"/>
                    <a:pt x="109787" y="109221"/>
                    <a:pt x="109787" y="109221"/>
                  </a:cubicBezTo>
                  <a:cubicBezTo>
                    <a:pt x="110638" y="109221"/>
                    <a:pt x="110638" y="109221"/>
                    <a:pt x="110638" y="109221"/>
                  </a:cubicBezTo>
                  <a:cubicBezTo>
                    <a:pt x="111489" y="108502"/>
                    <a:pt x="111489" y="108502"/>
                    <a:pt x="111489" y="108502"/>
                  </a:cubicBezTo>
                  <a:cubicBezTo>
                    <a:pt x="112340" y="107065"/>
                    <a:pt x="112340" y="107065"/>
                    <a:pt x="112340" y="107065"/>
                  </a:cubicBezTo>
                  <a:cubicBezTo>
                    <a:pt x="114893" y="106347"/>
                    <a:pt x="114893" y="106347"/>
                    <a:pt x="114893" y="106347"/>
                  </a:cubicBezTo>
                  <a:cubicBezTo>
                    <a:pt x="114893" y="106347"/>
                    <a:pt x="117446" y="106347"/>
                    <a:pt x="117446" y="106347"/>
                  </a:cubicBezTo>
                  <a:cubicBezTo>
                    <a:pt x="117446" y="106347"/>
                    <a:pt x="118297" y="105628"/>
                    <a:pt x="118297" y="105628"/>
                  </a:cubicBezTo>
                  <a:cubicBezTo>
                    <a:pt x="118297" y="104910"/>
                    <a:pt x="118297" y="104910"/>
                    <a:pt x="118297" y="104910"/>
                  </a:cubicBezTo>
                  <a:cubicBezTo>
                    <a:pt x="116595" y="103473"/>
                    <a:pt x="116595" y="103473"/>
                    <a:pt x="116595" y="103473"/>
                  </a:cubicBezTo>
                  <a:cubicBezTo>
                    <a:pt x="114893" y="103473"/>
                    <a:pt x="114893" y="103473"/>
                    <a:pt x="114893" y="103473"/>
                  </a:cubicBezTo>
                  <a:cubicBezTo>
                    <a:pt x="114893" y="103473"/>
                    <a:pt x="113191" y="103473"/>
                    <a:pt x="112340" y="103473"/>
                  </a:cubicBezTo>
                  <a:cubicBezTo>
                    <a:pt x="112340" y="103473"/>
                    <a:pt x="111489" y="103473"/>
                    <a:pt x="111489" y="103473"/>
                  </a:cubicBezTo>
                  <a:cubicBezTo>
                    <a:pt x="111489" y="103473"/>
                    <a:pt x="111489" y="104191"/>
                    <a:pt x="111489" y="104910"/>
                  </a:cubicBezTo>
                  <a:cubicBezTo>
                    <a:pt x="110638" y="105628"/>
                    <a:pt x="110638" y="105628"/>
                    <a:pt x="109787" y="105628"/>
                  </a:cubicBezTo>
                  <a:cubicBezTo>
                    <a:pt x="109787" y="105628"/>
                    <a:pt x="108936" y="105628"/>
                    <a:pt x="108936" y="105628"/>
                  </a:cubicBezTo>
                  <a:cubicBezTo>
                    <a:pt x="108085" y="107784"/>
                    <a:pt x="108085" y="107784"/>
                    <a:pt x="108085" y="107784"/>
                  </a:cubicBezTo>
                  <a:close/>
                  <a:moveTo>
                    <a:pt x="98723" y="116407"/>
                  </a:moveTo>
                  <a:cubicBezTo>
                    <a:pt x="98723" y="116407"/>
                    <a:pt x="98723" y="116407"/>
                    <a:pt x="98723" y="116407"/>
                  </a:cubicBezTo>
                  <a:cubicBezTo>
                    <a:pt x="99574" y="116407"/>
                    <a:pt x="99574" y="116407"/>
                    <a:pt x="99574" y="116407"/>
                  </a:cubicBezTo>
                  <a:cubicBezTo>
                    <a:pt x="100425" y="115688"/>
                    <a:pt x="100425" y="115688"/>
                    <a:pt x="100425" y="115688"/>
                  </a:cubicBezTo>
                  <a:cubicBezTo>
                    <a:pt x="99574" y="114251"/>
                    <a:pt x="99574" y="114251"/>
                    <a:pt x="99574" y="114251"/>
                  </a:cubicBezTo>
                  <a:cubicBezTo>
                    <a:pt x="98723" y="113532"/>
                    <a:pt x="98723" y="113532"/>
                    <a:pt x="98723" y="113532"/>
                  </a:cubicBezTo>
                  <a:cubicBezTo>
                    <a:pt x="97872" y="111377"/>
                    <a:pt x="97872" y="111377"/>
                    <a:pt x="97872" y="111377"/>
                  </a:cubicBezTo>
                  <a:cubicBezTo>
                    <a:pt x="96170" y="109940"/>
                    <a:pt x="96170" y="109940"/>
                    <a:pt x="96170" y="109940"/>
                  </a:cubicBezTo>
                  <a:cubicBezTo>
                    <a:pt x="95319" y="109221"/>
                    <a:pt x="95319" y="109221"/>
                    <a:pt x="95319" y="109221"/>
                  </a:cubicBezTo>
                  <a:cubicBezTo>
                    <a:pt x="94468" y="110658"/>
                    <a:pt x="94468" y="110658"/>
                    <a:pt x="94468" y="110658"/>
                  </a:cubicBezTo>
                  <a:cubicBezTo>
                    <a:pt x="93617" y="111377"/>
                    <a:pt x="93617" y="111377"/>
                    <a:pt x="93617" y="111377"/>
                  </a:cubicBezTo>
                  <a:cubicBezTo>
                    <a:pt x="92765" y="112095"/>
                    <a:pt x="92765" y="112095"/>
                    <a:pt x="92765" y="112095"/>
                  </a:cubicBezTo>
                  <a:cubicBezTo>
                    <a:pt x="92765" y="112095"/>
                    <a:pt x="90212" y="111377"/>
                    <a:pt x="89361" y="110658"/>
                  </a:cubicBezTo>
                  <a:cubicBezTo>
                    <a:pt x="87659" y="109940"/>
                    <a:pt x="87659" y="109940"/>
                    <a:pt x="87659" y="109940"/>
                  </a:cubicBezTo>
                  <a:cubicBezTo>
                    <a:pt x="87659" y="109940"/>
                    <a:pt x="86808" y="109940"/>
                    <a:pt x="85957" y="109221"/>
                  </a:cubicBezTo>
                  <a:cubicBezTo>
                    <a:pt x="85957" y="109221"/>
                    <a:pt x="85106" y="108502"/>
                    <a:pt x="85106" y="108502"/>
                  </a:cubicBezTo>
                  <a:cubicBezTo>
                    <a:pt x="85106" y="108502"/>
                    <a:pt x="85106" y="107784"/>
                    <a:pt x="84255" y="107784"/>
                  </a:cubicBezTo>
                  <a:cubicBezTo>
                    <a:pt x="84255" y="107065"/>
                    <a:pt x="83404" y="107784"/>
                    <a:pt x="82553" y="107784"/>
                  </a:cubicBezTo>
                  <a:cubicBezTo>
                    <a:pt x="80851" y="107784"/>
                    <a:pt x="80851" y="107784"/>
                    <a:pt x="80000" y="107784"/>
                  </a:cubicBezTo>
                  <a:cubicBezTo>
                    <a:pt x="80000" y="108502"/>
                    <a:pt x="79148" y="108502"/>
                    <a:pt x="79148" y="108502"/>
                  </a:cubicBezTo>
                  <a:cubicBezTo>
                    <a:pt x="78297" y="109221"/>
                    <a:pt x="79148" y="110658"/>
                    <a:pt x="79148" y="110658"/>
                  </a:cubicBezTo>
                  <a:cubicBezTo>
                    <a:pt x="79148" y="111377"/>
                    <a:pt x="79148" y="111377"/>
                    <a:pt x="79148" y="111377"/>
                  </a:cubicBezTo>
                  <a:cubicBezTo>
                    <a:pt x="80000" y="112814"/>
                    <a:pt x="80000" y="112814"/>
                    <a:pt x="80000" y="112814"/>
                  </a:cubicBezTo>
                  <a:cubicBezTo>
                    <a:pt x="78297" y="112814"/>
                    <a:pt x="78297" y="112814"/>
                    <a:pt x="78297" y="112814"/>
                  </a:cubicBezTo>
                  <a:cubicBezTo>
                    <a:pt x="77446" y="112814"/>
                    <a:pt x="77446" y="112814"/>
                    <a:pt x="77446" y="112814"/>
                  </a:cubicBezTo>
                  <a:cubicBezTo>
                    <a:pt x="78297" y="114251"/>
                    <a:pt x="78297" y="114251"/>
                    <a:pt x="78297" y="114251"/>
                  </a:cubicBezTo>
                  <a:cubicBezTo>
                    <a:pt x="78297" y="114251"/>
                    <a:pt x="78297" y="114970"/>
                    <a:pt x="79148" y="115688"/>
                  </a:cubicBezTo>
                  <a:cubicBezTo>
                    <a:pt x="79148" y="115688"/>
                    <a:pt x="80000" y="116407"/>
                    <a:pt x="80000" y="116407"/>
                  </a:cubicBezTo>
                  <a:cubicBezTo>
                    <a:pt x="80000" y="116407"/>
                    <a:pt x="84255" y="117125"/>
                    <a:pt x="84255" y="117125"/>
                  </a:cubicBezTo>
                  <a:cubicBezTo>
                    <a:pt x="85106" y="117125"/>
                    <a:pt x="85106" y="117125"/>
                    <a:pt x="85106" y="117125"/>
                  </a:cubicBezTo>
                  <a:cubicBezTo>
                    <a:pt x="85106" y="117125"/>
                    <a:pt x="86808" y="117844"/>
                    <a:pt x="88510" y="118562"/>
                  </a:cubicBezTo>
                  <a:cubicBezTo>
                    <a:pt x="89361" y="119281"/>
                    <a:pt x="90212" y="120000"/>
                    <a:pt x="90212" y="120000"/>
                  </a:cubicBezTo>
                  <a:cubicBezTo>
                    <a:pt x="90212" y="120000"/>
                    <a:pt x="91914" y="120000"/>
                    <a:pt x="91914" y="120000"/>
                  </a:cubicBezTo>
                  <a:cubicBezTo>
                    <a:pt x="92765" y="119281"/>
                    <a:pt x="92765" y="119281"/>
                    <a:pt x="92765" y="119281"/>
                  </a:cubicBezTo>
                  <a:cubicBezTo>
                    <a:pt x="95319" y="118562"/>
                    <a:pt x="95319" y="118562"/>
                    <a:pt x="95319" y="118562"/>
                  </a:cubicBezTo>
                  <a:cubicBezTo>
                    <a:pt x="97021" y="118562"/>
                    <a:pt x="97021" y="118562"/>
                    <a:pt x="97021" y="118562"/>
                  </a:cubicBezTo>
                  <a:cubicBezTo>
                    <a:pt x="99574" y="119281"/>
                    <a:pt x="99574" y="119281"/>
                    <a:pt x="99574" y="119281"/>
                  </a:cubicBezTo>
                  <a:cubicBezTo>
                    <a:pt x="100425" y="119281"/>
                    <a:pt x="100425" y="119281"/>
                    <a:pt x="100425" y="119281"/>
                  </a:cubicBezTo>
                  <a:cubicBezTo>
                    <a:pt x="100425" y="117844"/>
                    <a:pt x="100425" y="117844"/>
                    <a:pt x="100425" y="117844"/>
                  </a:cubicBezTo>
                  <a:cubicBezTo>
                    <a:pt x="100425" y="117125"/>
                    <a:pt x="100425" y="117125"/>
                    <a:pt x="100425" y="117125"/>
                  </a:cubicBezTo>
                  <a:cubicBezTo>
                    <a:pt x="98723" y="116407"/>
                    <a:pt x="98723" y="116407"/>
                    <a:pt x="98723" y="116407"/>
                  </a:cubicBezTo>
                  <a:close/>
                  <a:moveTo>
                    <a:pt x="65531" y="86946"/>
                  </a:moveTo>
                  <a:cubicBezTo>
                    <a:pt x="65531" y="86946"/>
                    <a:pt x="65531" y="86946"/>
                    <a:pt x="65531" y="86946"/>
                  </a:cubicBezTo>
                  <a:cubicBezTo>
                    <a:pt x="63829" y="86227"/>
                    <a:pt x="63829" y="86227"/>
                    <a:pt x="63829" y="86227"/>
                  </a:cubicBezTo>
                  <a:cubicBezTo>
                    <a:pt x="62127" y="84071"/>
                    <a:pt x="62127" y="84071"/>
                    <a:pt x="62127" y="84071"/>
                  </a:cubicBezTo>
                  <a:cubicBezTo>
                    <a:pt x="59574" y="83353"/>
                    <a:pt x="59574" y="83353"/>
                    <a:pt x="59574" y="83353"/>
                  </a:cubicBezTo>
                  <a:cubicBezTo>
                    <a:pt x="59574" y="83353"/>
                    <a:pt x="58723" y="81197"/>
                    <a:pt x="58723" y="81197"/>
                  </a:cubicBezTo>
                  <a:cubicBezTo>
                    <a:pt x="57872" y="80479"/>
                    <a:pt x="57872" y="81197"/>
                    <a:pt x="57872" y="81197"/>
                  </a:cubicBezTo>
                  <a:cubicBezTo>
                    <a:pt x="57872" y="81197"/>
                    <a:pt x="57872" y="82634"/>
                    <a:pt x="57021" y="83353"/>
                  </a:cubicBezTo>
                  <a:cubicBezTo>
                    <a:pt x="56170" y="83353"/>
                    <a:pt x="55319" y="83353"/>
                    <a:pt x="55319" y="83353"/>
                  </a:cubicBezTo>
                  <a:cubicBezTo>
                    <a:pt x="53617" y="84790"/>
                    <a:pt x="53617" y="84790"/>
                    <a:pt x="53617" y="84790"/>
                  </a:cubicBezTo>
                  <a:cubicBezTo>
                    <a:pt x="53617" y="84790"/>
                    <a:pt x="51063" y="85508"/>
                    <a:pt x="50212" y="85508"/>
                  </a:cubicBezTo>
                  <a:cubicBezTo>
                    <a:pt x="50212" y="85508"/>
                    <a:pt x="49361" y="86227"/>
                    <a:pt x="49361" y="86227"/>
                  </a:cubicBezTo>
                  <a:cubicBezTo>
                    <a:pt x="44255" y="85508"/>
                    <a:pt x="44255" y="85508"/>
                    <a:pt x="44255" y="85508"/>
                  </a:cubicBezTo>
                  <a:cubicBezTo>
                    <a:pt x="42553" y="86946"/>
                    <a:pt x="42553" y="86946"/>
                    <a:pt x="42553" y="86946"/>
                  </a:cubicBezTo>
                  <a:cubicBezTo>
                    <a:pt x="42553" y="87664"/>
                    <a:pt x="42553" y="87664"/>
                    <a:pt x="42553" y="87664"/>
                  </a:cubicBezTo>
                  <a:cubicBezTo>
                    <a:pt x="43404" y="89101"/>
                    <a:pt x="43404" y="89101"/>
                    <a:pt x="43404" y="89101"/>
                  </a:cubicBezTo>
                  <a:cubicBezTo>
                    <a:pt x="44255" y="89820"/>
                    <a:pt x="44255" y="89820"/>
                    <a:pt x="44255" y="89820"/>
                  </a:cubicBezTo>
                  <a:cubicBezTo>
                    <a:pt x="45106" y="89820"/>
                    <a:pt x="45106" y="89820"/>
                    <a:pt x="45106" y="89820"/>
                  </a:cubicBezTo>
                  <a:cubicBezTo>
                    <a:pt x="45106" y="91257"/>
                    <a:pt x="45106" y="91257"/>
                    <a:pt x="45106" y="91257"/>
                  </a:cubicBezTo>
                  <a:cubicBezTo>
                    <a:pt x="45957" y="92694"/>
                    <a:pt x="45957" y="92694"/>
                    <a:pt x="45957" y="92694"/>
                  </a:cubicBezTo>
                  <a:cubicBezTo>
                    <a:pt x="45957" y="92694"/>
                    <a:pt x="46808" y="93413"/>
                    <a:pt x="47659" y="94850"/>
                  </a:cubicBezTo>
                  <a:cubicBezTo>
                    <a:pt x="48510" y="96287"/>
                    <a:pt x="47659" y="97005"/>
                    <a:pt x="47659" y="97005"/>
                  </a:cubicBezTo>
                  <a:cubicBezTo>
                    <a:pt x="50212" y="99161"/>
                    <a:pt x="50212" y="99161"/>
                    <a:pt x="50212" y="99161"/>
                  </a:cubicBezTo>
                  <a:cubicBezTo>
                    <a:pt x="51914" y="99880"/>
                    <a:pt x="51914" y="99880"/>
                    <a:pt x="51914" y="99880"/>
                  </a:cubicBezTo>
                  <a:cubicBezTo>
                    <a:pt x="51914" y="99880"/>
                    <a:pt x="52765" y="100598"/>
                    <a:pt x="53617" y="100598"/>
                  </a:cubicBezTo>
                  <a:cubicBezTo>
                    <a:pt x="53617" y="100598"/>
                    <a:pt x="53617" y="101317"/>
                    <a:pt x="53617" y="101317"/>
                  </a:cubicBezTo>
                  <a:cubicBezTo>
                    <a:pt x="53617" y="102754"/>
                    <a:pt x="53617" y="102754"/>
                    <a:pt x="53617" y="102754"/>
                  </a:cubicBezTo>
                  <a:cubicBezTo>
                    <a:pt x="54468" y="104191"/>
                    <a:pt x="54468" y="104191"/>
                    <a:pt x="54468" y="104191"/>
                  </a:cubicBezTo>
                  <a:cubicBezTo>
                    <a:pt x="55319" y="103473"/>
                    <a:pt x="55319" y="103473"/>
                    <a:pt x="55319" y="103473"/>
                  </a:cubicBezTo>
                  <a:cubicBezTo>
                    <a:pt x="56170" y="102754"/>
                    <a:pt x="56170" y="102754"/>
                    <a:pt x="56170" y="102754"/>
                  </a:cubicBezTo>
                  <a:cubicBezTo>
                    <a:pt x="60425" y="104191"/>
                    <a:pt x="60425" y="104191"/>
                    <a:pt x="60425" y="104191"/>
                  </a:cubicBezTo>
                  <a:cubicBezTo>
                    <a:pt x="60425" y="104191"/>
                    <a:pt x="63829" y="105628"/>
                    <a:pt x="64680" y="105628"/>
                  </a:cubicBezTo>
                  <a:cubicBezTo>
                    <a:pt x="64680" y="105628"/>
                    <a:pt x="66382" y="104191"/>
                    <a:pt x="66382" y="104191"/>
                  </a:cubicBezTo>
                  <a:cubicBezTo>
                    <a:pt x="67234" y="103473"/>
                    <a:pt x="69787" y="103473"/>
                    <a:pt x="69787" y="103473"/>
                  </a:cubicBezTo>
                  <a:cubicBezTo>
                    <a:pt x="70638" y="103473"/>
                    <a:pt x="70638" y="102754"/>
                    <a:pt x="70638" y="102754"/>
                  </a:cubicBezTo>
                  <a:cubicBezTo>
                    <a:pt x="70638" y="102035"/>
                    <a:pt x="71489" y="101317"/>
                    <a:pt x="71489" y="100598"/>
                  </a:cubicBezTo>
                  <a:cubicBezTo>
                    <a:pt x="71489" y="99880"/>
                    <a:pt x="72340" y="99161"/>
                    <a:pt x="72340" y="99161"/>
                  </a:cubicBezTo>
                  <a:cubicBezTo>
                    <a:pt x="72340" y="97724"/>
                    <a:pt x="72340" y="97724"/>
                    <a:pt x="72340" y="97724"/>
                  </a:cubicBezTo>
                  <a:cubicBezTo>
                    <a:pt x="71489" y="95568"/>
                    <a:pt x="71489" y="95568"/>
                    <a:pt x="71489" y="95568"/>
                  </a:cubicBezTo>
                  <a:cubicBezTo>
                    <a:pt x="72340" y="92694"/>
                    <a:pt x="72340" y="92694"/>
                    <a:pt x="72340" y="92694"/>
                  </a:cubicBezTo>
                  <a:cubicBezTo>
                    <a:pt x="70638" y="91257"/>
                    <a:pt x="70638" y="91257"/>
                    <a:pt x="70638" y="91257"/>
                  </a:cubicBezTo>
                  <a:cubicBezTo>
                    <a:pt x="69787" y="90538"/>
                    <a:pt x="69787" y="90538"/>
                    <a:pt x="69787" y="90538"/>
                  </a:cubicBezTo>
                  <a:cubicBezTo>
                    <a:pt x="69787" y="89820"/>
                    <a:pt x="69787" y="89820"/>
                    <a:pt x="69787" y="89820"/>
                  </a:cubicBezTo>
                  <a:cubicBezTo>
                    <a:pt x="69787" y="89101"/>
                    <a:pt x="69787" y="89101"/>
                    <a:pt x="69787" y="89101"/>
                  </a:cubicBezTo>
                  <a:cubicBezTo>
                    <a:pt x="71489" y="88383"/>
                    <a:pt x="71489" y="88383"/>
                    <a:pt x="71489" y="88383"/>
                  </a:cubicBezTo>
                  <a:cubicBezTo>
                    <a:pt x="71489" y="86227"/>
                    <a:pt x="71489" y="86227"/>
                    <a:pt x="71489" y="86227"/>
                  </a:cubicBezTo>
                  <a:cubicBezTo>
                    <a:pt x="74042" y="84790"/>
                    <a:pt x="74042" y="84790"/>
                    <a:pt x="74042" y="84790"/>
                  </a:cubicBezTo>
                  <a:cubicBezTo>
                    <a:pt x="74893" y="82634"/>
                    <a:pt x="74893" y="82634"/>
                    <a:pt x="74893" y="82634"/>
                  </a:cubicBezTo>
                  <a:cubicBezTo>
                    <a:pt x="74893" y="82634"/>
                    <a:pt x="71489" y="81916"/>
                    <a:pt x="70638" y="81916"/>
                  </a:cubicBezTo>
                  <a:cubicBezTo>
                    <a:pt x="68936" y="81916"/>
                    <a:pt x="69787" y="81916"/>
                    <a:pt x="69787" y="81197"/>
                  </a:cubicBezTo>
                  <a:cubicBezTo>
                    <a:pt x="69787" y="81197"/>
                    <a:pt x="68936" y="80479"/>
                    <a:pt x="68936" y="80479"/>
                  </a:cubicBezTo>
                  <a:cubicBezTo>
                    <a:pt x="68936" y="80479"/>
                    <a:pt x="67234" y="81197"/>
                    <a:pt x="67234" y="81197"/>
                  </a:cubicBezTo>
                  <a:cubicBezTo>
                    <a:pt x="66382" y="81197"/>
                    <a:pt x="66382" y="79760"/>
                    <a:pt x="66382" y="79760"/>
                  </a:cubicBezTo>
                  <a:cubicBezTo>
                    <a:pt x="66382" y="79760"/>
                    <a:pt x="64680" y="80479"/>
                    <a:pt x="64680" y="80479"/>
                  </a:cubicBezTo>
                  <a:cubicBezTo>
                    <a:pt x="63829" y="80479"/>
                    <a:pt x="62127" y="80479"/>
                    <a:pt x="62127" y="80479"/>
                  </a:cubicBezTo>
                  <a:cubicBezTo>
                    <a:pt x="62127" y="80479"/>
                    <a:pt x="62127" y="81197"/>
                    <a:pt x="62127" y="81197"/>
                  </a:cubicBezTo>
                  <a:cubicBezTo>
                    <a:pt x="61276" y="81916"/>
                    <a:pt x="62127" y="82634"/>
                    <a:pt x="62978" y="82634"/>
                  </a:cubicBezTo>
                  <a:cubicBezTo>
                    <a:pt x="62978" y="83353"/>
                    <a:pt x="63829" y="84790"/>
                    <a:pt x="63829" y="84790"/>
                  </a:cubicBezTo>
                  <a:cubicBezTo>
                    <a:pt x="64680" y="86227"/>
                    <a:pt x="64680" y="86227"/>
                    <a:pt x="64680" y="86227"/>
                  </a:cubicBezTo>
                  <a:cubicBezTo>
                    <a:pt x="65531" y="86946"/>
                    <a:pt x="65531" y="86946"/>
                    <a:pt x="65531" y="86946"/>
                  </a:cubicBezTo>
                  <a:close/>
                  <a:moveTo>
                    <a:pt x="63829" y="76886"/>
                  </a:moveTo>
                  <a:cubicBezTo>
                    <a:pt x="63829" y="76886"/>
                    <a:pt x="63829" y="76886"/>
                    <a:pt x="63829" y="76886"/>
                  </a:cubicBezTo>
                  <a:cubicBezTo>
                    <a:pt x="65531" y="76886"/>
                    <a:pt x="65531" y="76886"/>
                    <a:pt x="65531" y="76886"/>
                  </a:cubicBezTo>
                  <a:cubicBezTo>
                    <a:pt x="66382" y="75449"/>
                    <a:pt x="66382" y="75449"/>
                    <a:pt x="66382" y="75449"/>
                  </a:cubicBezTo>
                  <a:cubicBezTo>
                    <a:pt x="66382" y="75449"/>
                    <a:pt x="67234" y="74730"/>
                    <a:pt x="67234" y="74011"/>
                  </a:cubicBezTo>
                  <a:cubicBezTo>
                    <a:pt x="67234" y="74011"/>
                    <a:pt x="67234" y="73293"/>
                    <a:pt x="67234" y="73293"/>
                  </a:cubicBezTo>
                  <a:cubicBezTo>
                    <a:pt x="67234" y="71856"/>
                    <a:pt x="67234" y="71856"/>
                    <a:pt x="67234" y="71856"/>
                  </a:cubicBezTo>
                  <a:cubicBezTo>
                    <a:pt x="66382" y="71137"/>
                    <a:pt x="66382" y="71137"/>
                    <a:pt x="66382" y="71137"/>
                  </a:cubicBezTo>
                  <a:cubicBezTo>
                    <a:pt x="65531" y="69700"/>
                    <a:pt x="65531" y="69700"/>
                    <a:pt x="65531" y="69700"/>
                  </a:cubicBezTo>
                  <a:cubicBezTo>
                    <a:pt x="64680" y="67544"/>
                    <a:pt x="64680" y="67544"/>
                    <a:pt x="64680" y="67544"/>
                  </a:cubicBezTo>
                  <a:cubicBezTo>
                    <a:pt x="62978" y="67544"/>
                    <a:pt x="62978" y="67544"/>
                    <a:pt x="62978" y="67544"/>
                  </a:cubicBezTo>
                  <a:cubicBezTo>
                    <a:pt x="62978" y="67544"/>
                    <a:pt x="62978" y="68982"/>
                    <a:pt x="62978" y="68982"/>
                  </a:cubicBezTo>
                  <a:cubicBezTo>
                    <a:pt x="62978" y="69700"/>
                    <a:pt x="63829" y="70419"/>
                    <a:pt x="63829" y="70419"/>
                  </a:cubicBezTo>
                  <a:cubicBezTo>
                    <a:pt x="64680" y="71137"/>
                    <a:pt x="64680" y="71137"/>
                    <a:pt x="64680" y="71137"/>
                  </a:cubicBezTo>
                  <a:cubicBezTo>
                    <a:pt x="64680" y="71856"/>
                    <a:pt x="64680" y="71856"/>
                    <a:pt x="64680" y="71856"/>
                  </a:cubicBezTo>
                  <a:cubicBezTo>
                    <a:pt x="63829" y="72574"/>
                    <a:pt x="63829" y="72574"/>
                    <a:pt x="63829" y="72574"/>
                  </a:cubicBezTo>
                  <a:cubicBezTo>
                    <a:pt x="62978" y="74011"/>
                    <a:pt x="62978" y="74011"/>
                    <a:pt x="62978" y="74011"/>
                  </a:cubicBezTo>
                  <a:cubicBezTo>
                    <a:pt x="63829" y="75449"/>
                    <a:pt x="63829" y="75449"/>
                    <a:pt x="63829" y="75449"/>
                  </a:cubicBezTo>
                  <a:cubicBezTo>
                    <a:pt x="63829" y="76886"/>
                    <a:pt x="63829" y="76886"/>
                    <a:pt x="63829" y="76886"/>
                  </a:cubicBezTo>
                  <a:close/>
                  <a:moveTo>
                    <a:pt x="68085" y="112814"/>
                  </a:moveTo>
                  <a:cubicBezTo>
                    <a:pt x="68085" y="112814"/>
                    <a:pt x="68085" y="112814"/>
                    <a:pt x="68085" y="112814"/>
                  </a:cubicBezTo>
                  <a:cubicBezTo>
                    <a:pt x="68936" y="114970"/>
                    <a:pt x="68936" y="114970"/>
                    <a:pt x="68936" y="114970"/>
                  </a:cubicBezTo>
                  <a:cubicBezTo>
                    <a:pt x="69787" y="116407"/>
                    <a:pt x="69787" y="116407"/>
                    <a:pt x="69787" y="116407"/>
                  </a:cubicBezTo>
                  <a:cubicBezTo>
                    <a:pt x="69787" y="116407"/>
                    <a:pt x="71489" y="117125"/>
                    <a:pt x="71489" y="116407"/>
                  </a:cubicBezTo>
                  <a:cubicBezTo>
                    <a:pt x="71489" y="115688"/>
                    <a:pt x="70638" y="114970"/>
                    <a:pt x="71489" y="114251"/>
                  </a:cubicBezTo>
                  <a:cubicBezTo>
                    <a:pt x="71489" y="113532"/>
                    <a:pt x="72340" y="112095"/>
                    <a:pt x="72340" y="111377"/>
                  </a:cubicBezTo>
                  <a:cubicBezTo>
                    <a:pt x="72340" y="110658"/>
                    <a:pt x="73191" y="109940"/>
                    <a:pt x="73191" y="109221"/>
                  </a:cubicBezTo>
                  <a:cubicBezTo>
                    <a:pt x="74042" y="108502"/>
                    <a:pt x="74893" y="107065"/>
                    <a:pt x="74893" y="106347"/>
                  </a:cubicBezTo>
                  <a:cubicBezTo>
                    <a:pt x="74893" y="106347"/>
                    <a:pt x="75744" y="104910"/>
                    <a:pt x="75744" y="104191"/>
                  </a:cubicBezTo>
                  <a:cubicBezTo>
                    <a:pt x="75744" y="104191"/>
                    <a:pt x="75744" y="102035"/>
                    <a:pt x="75744" y="102035"/>
                  </a:cubicBezTo>
                  <a:cubicBezTo>
                    <a:pt x="75744" y="102035"/>
                    <a:pt x="74893" y="99880"/>
                    <a:pt x="74893" y="99880"/>
                  </a:cubicBezTo>
                  <a:cubicBezTo>
                    <a:pt x="74042" y="101317"/>
                    <a:pt x="74042" y="101317"/>
                    <a:pt x="74042" y="101317"/>
                  </a:cubicBezTo>
                  <a:cubicBezTo>
                    <a:pt x="74042" y="102754"/>
                    <a:pt x="74042" y="102754"/>
                    <a:pt x="74042" y="102754"/>
                  </a:cubicBezTo>
                  <a:cubicBezTo>
                    <a:pt x="72340" y="105628"/>
                    <a:pt x="72340" y="105628"/>
                    <a:pt x="72340" y="105628"/>
                  </a:cubicBezTo>
                  <a:cubicBezTo>
                    <a:pt x="71489" y="107065"/>
                    <a:pt x="71489" y="107065"/>
                    <a:pt x="71489" y="107065"/>
                  </a:cubicBezTo>
                  <a:cubicBezTo>
                    <a:pt x="69787" y="108502"/>
                    <a:pt x="69787" y="108502"/>
                    <a:pt x="69787" y="108502"/>
                  </a:cubicBezTo>
                  <a:cubicBezTo>
                    <a:pt x="69787" y="109221"/>
                    <a:pt x="69787" y="109221"/>
                    <a:pt x="69787" y="109221"/>
                  </a:cubicBezTo>
                  <a:cubicBezTo>
                    <a:pt x="69787" y="110658"/>
                    <a:pt x="69787" y="110658"/>
                    <a:pt x="69787" y="110658"/>
                  </a:cubicBezTo>
                  <a:cubicBezTo>
                    <a:pt x="68936" y="111377"/>
                    <a:pt x="68936" y="111377"/>
                    <a:pt x="68936" y="111377"/>
                  </a:cubicBezTo>
                  <a:cubicBezTo>
                    <a:pt x="68936" y="112095"/>
                    <a:pt x="68936" y="112095"/>
                    <a:pt x="68936" y="112095"/>
                  </a:cubicBezTo>
                  <a:cubicBezTo>
                    <a:pt x="68085" y="112814"/>
                    <a:pt x="68085" y="112814"/>
                    <a:pt x="68085" y="112814"/>
                  </a:cubicBezTo>
                  <a:close/>
                  <a:moveTo>
                    <a:pt x="63829" y="106347"/>
                  </a:moveTo>
                  <a:cubicBezTo>
                    <a:pt x="63829" y="106347"/>
                    <a:pt x="63829" y="106347"/>
                    <a:pt x="63829" y="106347"/>
                  </a:cubicBezTo>
                  <a:cubicBezTo>
                    <a:pt x="64680" y="107065"/>
                    <a:pt x="64680" y="107065"/>
                    <a:pt x="64680" y="107065"/>
                  </a:cubicBezTo>
                  <a:cubicBezTo>
                    <a:pt x="64680" y="107065"/>
                    <a:pt x="65531" y="109221"/>
                    <a:pt x="66382" y="109221"/>
                  </a:cubicBezTo>
                  <a:cubicBezTo>
                    <a:pt x="66382" y="109221"/>
                    <a:pt x="68936" y="107065"/>
                    <a:pt x="68936" y="107065"/>
                  </a:cubicBezTo>
                  <a:cubicBezTo>
                    <a:pt x="68936" y="105628"/>
                    <a:pt x="68936" y="105628"/>
                    <a:pt x="68936" y="105628"/>
                  </a:cubicBezTo>
                  <a:cubicBezTo>
                    <a:pt x="69787" y="104191"/>
                    <a:pt x="69787" y="104191"/>
                    <a:pt x="69787" y="104191"/>
                  </a:cubicBezTo>
                  <a:cubicBezTo>
                    <a:pt x="67234" y="104910"/>
                    <a:pt x="67234" y="104910"/>
                    <a:pt x="67234" y="104910"/>
                  </a:cubicBezTo>
                  <a:cubicBezTo>
                    <a:pt x="65531" y="106347"/>
                    <a:pt x="65531" y="106347"/>
                    <a:pt x="65531" y="106347"/>
                  </a:cubicBezTo>
                  <a:cubicBezTo>
                    <a:pt x="63829" y="106347"/>
                    <a:pt x="63829" y="106347"/>
                    <a:pt x="63829" y="106347"/>
                  </a:cubicBezTo>
                  <a:close/>
                  <a:moveTo>
                    <a:pt x="56170" y="107784"/>
                  </a:moveTo>
                  <a:cubicBezTo>
                    <a:pt x="56170" y="107784"/>
                    <a:pt x="56170" y="107784"/>
                    <a:pt x="56170" y="107784"/>
                  </a:cubicBezTo>
                  <a:cubicBezTo>
                    <a:pt x="56170" y="107784"/>
                    <a:pt x="57021" y="109940"/>
                    <a:pt x="57021" y="109940"/>
                  </a:cubicBezTo>
                  <a:cubicBezTo>
                    <a:pt x="57872" y="109940"/>
                    <a:pt x="58723" y="110658"/>
                    <a:pt x="58723" y="110658"/>
                  </a:cubicBezTo>
                  <a:cubicBezTo>
                    <a:pt x="60425" y="112095"/>
                    <a:pt x="60425" y="112095"/>
                    <a:pt x="60425" y="112095"/>
                  </a:cubicBezTo>
                  <a:cubicBezTo>
                    <a:pt x="60425" y="112095"/>
                    <a:pt x="60425" y="112814"/>
                    <a:pt x="61276" y="112814"/>
                  </a:cubicBezTo>
                  <a:cubicBezTo>
                    <a:pt x="61276" y="112814"/>
                    <a:pt x="62978" y="112095"/>
                    <a:pt x="62978" y="112095"/>
                  </a:cubicBezTo>
                  <a:cubicBezTo>
                    <a:pt x="63829" y="110658"/>
                    <a:pt x="63829" y="110658"/>
                    <a:pt x="63829" y="110658"/>
                  </a:cubicBezTo>
                  <a:cubicBezTo>
                    <a:pt x="63829" y="110658"/>
                    <a:pt x="62127" y="110658"/>
                    <a:pt x="62127" y="110658"/>
                  </a:cubicBezTo>
                  <a:cubicBezTo>
                    <a:pt x="61276" y="110658"/>
                    <a:pt x="60425" y="109221"/>
                    <a:pt x="60425" y="109221"/>
                  </a:cubicBezTo>
                  <a:cubicBezTo>
                    <a:pt x="60425" y="109221"/>
                    <a:pt x="59574" y="109221"/>
                    <a:pt x="59574" y="109221"/>
                  </a:cubicBezTo>
                  <a:cubicBezTo>
                    <a:pt x="58723" y="109221"/>
                    <a:pt x="57021" y="107784"/>
                    <a:pt x="57021" y="107784"/>
                  </a:cubicBezTo>
                  <a:cubicBezTo>
                    <a:pt x="56170" y="107784"/>
                    <a:pt x="56170" y="107784"/>
                    <a:pt x="56170" y="107784"/>
                  </a:cubicBezTo>
                  <a:close/>
                  <a:moveTo>
                    <a:pt x="42553" y="105628"/>
                  </a:moveTo>
                  <a:cubicBezTo>
                    <a:pt x="42553" y="105628"/>
                    <a:pt x="42553" y="105628"/>
                    <a:pt x="42553" y="105628"/>
                  </a:cubicBezTo>
                  <a:cubicBezTo>
                    <a:pt x="44255" y="106347"/>
                    <a:pt x="44255" y="106347"/>
                    <a:pt x="44255" y="106347"/>
                  </a:cubicBezTo>
                  <a:cubicBezTo>
                    <a:pt x="45106" y="107065"/>
                    <a:pt x="45106" y="107065"/>
                    <a:pt x="45106" y="107065"/>
                  </a:cubicBezTo>
                  <a:cubicBezTo>
                    <a:pt x="46808" y="107784"/>
                    <a:pt x="46808" y="107784"/>
                    <a:pt x="46808" y="107784"/>
                  </a:cubicBezTo>
                  <a:cubicBezTo>
                    <a:pt x="45106" y="109221"/>
                    <a:pt x="45106" y="109221"/>
                    <a:pt x="45106" y="109221"/>
                  </a:cubicBezTo>
                  <a:cubicBezTo>
                    <a:pt x="45106" y="109221"/>
                    <a:pt x="45957" y="110658"/>
                    <a:pt x="46808" y="109940"/>
                  </a:cubicBezTo>
                  <a:cubicBezTo>
                    <a:pt x="47659" y="109940"/>
                    <a:pt x="47659" y="109940"/>
                    <a:pt x="47659" y="109940"/>
                  </a:cubicBezTo>
                  <a:cubicBezTo>
                    <a:pt x="47659" y="109940"/>
                    <a:pt x="49361" y="110658"/>
                    <a:pt x="49361" y="110658"/>
                  </a:cubicBezTo>
                  <a:cubicBezTo>
                    <a:pt x="50212" y="111377"/>
                    <a:pt x="51063" y="111377"/>
                    <a:pt x="51914" y="111377"/>
                  </a:cubicBezTo>
                  <a:cubicBezTo>
                    <a:pt x="52765" y="111377"/>
                    <a:pt x="52765" y="110658"/>
                    <a:pt x="52765" y="110658"/>
                  </a:cubicBezTo>
                  <a:cubicBezTo>
                    <a:pt x="52765" y="109940"/>
                    <a:pt x="52765" y="109221"/>
                    <a:pt x="52765" y="109221"/>
                  </a:cubicBezTo>
                  <a:cubicBezTo>
                    <a:pt x="51914" y="107784"/>
                    <a:pt x="51914" y="107784"/>
                    <a:pt x="51914" y="107784"/>
                  </a:cubicBezTo>
                  <a:cubicBezTo>
                    <a:pt x="51063" y="106347"/>
                    <a:pt x="51063" y="106347"/>
                    <a:pt x="51063" y="106347"/>
                  </a:cubicBezTo>
                  <a:cubicBezTo>
                    <a:pt x="47659" y="105628"/>
                    <a:pt x="47659" y="105628"/>
                    <a:pt x="47659" y="105628"/>
                  </a:cubicBezTo>
                  <a:cubicBezTo>
                    <a:pt x="45957" y="104191"/>
                    <a:pt x="45957" y="104191"/>
                    <a:pt x="45957" y="104191"/>
                  </a:cubicBezTo>
                  <a:cubicBezTo>
                    <a:pt x="43404" y="103473"/>
                    <a:pt x="43404" y="103473"/>
                    <a:pt x="43404" y="103473"/>
                  </a:cubicBezTo>
                  <a:cubicBezTo>
                    <a:pt x="42553" y="103473"/>
                    <a:pt x="42553" y="103473"/>
                    <a:pt x="42553" y="103473"/>
                  </a:cubicBezTo>
                  <a:cubicBezTo>
                    <a:pt x="42553" y="105628"/>
                    <a:pt x="42553" y="105628"/>
                    <a:pt x="42553" y="105628"/>
                  </a:cubicBezTo>
                  <a:close/>
                  <a:moveTo>
                    <a:pt x="70638" y="17964"/>
                  </a:moveTo>
                  <a:cubicBezTo>
                    <a:pt x="70638" y="17964"/>
                    <a:pt x="70638" y="17964"/>
                    <a:pt x="70638" y="17964"/>
                  </a:cubicBezTo>
                  <a:cubicBezTo>
                    <a:pt x="70638" y="18682"/>
                    <a:pt x="70638" y="18682"/>
                    <a:pt x="70638" y="18682"/>
                  </a:cubicBezTo>
                  <a:cubicBezTo>
                    <a:pt x="70638" y="18682"/>
                    <a:pt x="71489" y="18682"/>
                    <a:pt x="71489" y="18682"/>
                  </a:cubicBezTo>
                  <a:cubicBezTo>
                    <a:pt x="71489" y="18682"/>
                    <a:pt x="72340" y="18682"/>
                    <a:pt x="72340" y="18682"/>
                  </a:cubicBezTo>
                  <a:cubicBezTo>
                    <a:pt x="72340" y="18682"/>
                    <a:pt x="74042" y="19401"/>
                    <a:pt x="74042" y="19401"/>
                  </a:cubicBezTo>
                  <a:cubicBezTo>
                    <a:pt x="74042" y="20119"/>
                    <a:pt x="74893" y="19401"/>
                    <a:pt x="74893" y="19401"/>
                  </a:cubicBezTo>
                  <a:cubicBezTo>
                    <a:pt x="75744" y="19401"/>
                    <a:pt x="75744" y="18682"/>
                    <a:pt x="75744" y="17964"/>
                  </a:cubicBezTo>
                  <a:cubicBezTo>
                    <a:pt x="75744" y="17964"/>
                    <a:pt x="76595" y="17245"/>
                    <a:pt x="76595" y="17245"/>
                  </a:cubicBezTo>
                  <a:cubicBezTo>
                    <a:pt x="76595" y="17245"/>
                    <a:pt x="79148" y="15808"/>
                    <a:pt x="79148" y="15808"/>
                  </a:cubicBezTo>
                  <a:cubicBezTo>
                    <a:pt x="79148" y="15089"/>
                    <a:pt x="77446" y="15089"/>
                    <a:pt x="77446" y="15089"/>
                  </a:cubicBezTo>
                  <a:cubicBezTo>
                    <a:pt x="77446" y="15089"/>
                    <a:pt x="74893" y="15808"/>
                    <a:pt x="74893" y="15808"/>
                  </a:cubicBezTo>
                  <a:cubicBezTo>
                    <a:pt x="74893" y="15808"/>
                    <a:pt x="72340" y="16526"/>
                    <a:pt x="72340" y="16526"/>
                  </a:cubicBezTo>
                  <a:lnTo>
                    <a:pt x="70638" y="17964"/>
                  </a:lnTo>
                  <a:close/>
                </a:path>
              </a:pathLst>
            </a:custGeom>
            <a:pattFill prst="dashHorz">
              <a:fgClr>
                <a:schemeClr val="tx2"/>
              </a:fgClr>
              <a:bgClr>
                <a:srgbClr val="00B050"/>
              </a:bgClr>
            </a:pattFill>
            <a:ln w="3175" cap="flat" cmpd="sng">
              <a:solidFill>
                <a:schemeClr val="tx1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endParaRPr kern="0">
                <a:solidFill>
                  <a:srgbClr val="7F7F7F"/>
                </a:solidFill>
                <a:latin typeface="Calibri" panose="020F0502020204030204" pitchFamily="34" charset="0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35" name="Shape 2028">
              <a:extLst>
                <a:ext uri="{FF2B5EF4-FFF2-40B4-BE49-F238E27FC236}">
                  <a16:creationId xmlns:a16="http://schemas.microsoft.com/office/drawing/2014/main" id="{411D9A52-B57D-355E-B724-E4B59D1E4688}"/>
                </a:ext>
              </a:extLst>
            </p:cNvPr>
            <p:cNvSpPr/>
            <p:nvPr/>
          </p:nvSpPr>
          <p:spPr>
            <a:xfrm>
              <a:off x="3688559" y="2642557"/>
              <a:ext cx="285614" cy="323976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63529" y="26415"/>
                  </a:moveTo>
                  <a:cubicBezTo>
                    <a:pt x="62647" y="24905"/>
                    <a:pt x="62647" y="24905"/>
                    <a:pt x="62647" y="24905"/>
                  </a:cubicBezTo>
                  <a:cubicBezTo>
                    <a:pt x="60882" y="24905"/>
                    <a:pt x="60882" y="24905"/>
                    <a:pt x="60882" y="24905"/>
                  </a:cubicBezTo>
                  <a:cubicBezTo>
                    <a:pt x="58235" y="26415"/>
                    <a:pt x="58235" y="26415"/>
                    <a:pt x="58235" y="26415"/>
                  </a:cubicBezTo>
                  <a:cubicBezTo>
                    <a:pt x="58235" y="24905"/>
                    <a:pt x="58235" y="24905"/>
                    <a:pt x="58235" y="24905"/>
                  </a:cubicBezTo>
                  <a:cubicBezTo>
                    <a:pt x="61764" y="23396"/>
                    <a:pt x="61764" y="23396"/>
                    <a:pt x="61764" y="23396"/>
                  </a:cubicBezTo>
                  <a:cubicBezTo>
                    <a:pt x="63529" y="22641"/>
                    <a:pt x="63529" y="22641"/>
                    <a:pt x="63529" y="22641"/>
                  </a:cubicBezTo>
                  <a:cubicBezTo>
                    <a:pt x="64411" y="21132"/>
                    <a:pt x="64411" y="21132"/>
                    <a:pt x="64411" y="21132"/>
                  </a:cubicBezTo>
                  <a:cubicBezTo>
                    <a:pt x="66176" y="18867"/>
                    <a:pt x="66176" y="18867"/>
                    <a:pt x="66176" y="18867"/>
                  </a:cubicBezTo>
                  <a:cubicBezTo>
                    <a:pt x="66176" y="18867"/>
                    <a:pt x="67941" y="17358"/>
                    <a:pt x="68823" y="16603"/>
                  </a:cubicBezTo>
                  <a:cubicBezTo>
                    <a:pt x="69705" y="16603"/>
                    <a:pt x="73235" y="15094"/>
                    <a:pt x="73235" y="15094"/>
                  </a:cubicBezTo>
                  <a:cubicBezTo>
                    <a:pt x="73235" y="15094"/>
                    <a:pt x="76764" y="13584"/>
                    <a:pt x="77647" y="13584"/>
                  </a:cubicBezTo>
                  <a:cubicBezTo>
                    <a:pt x="78529" y="13584"/>
                    <a:pt x="84705" y="12830"/>
                    <a:pt x="84705" y="12830"/>
                  </a:cubicBezTo>
                  <a:cubicBezTo>
                    <a:pt x="90882" y="14339"/>
                    <a:pt x="90882" y="14339"/>
                    <a:pt x="90882" y="14339"/>
                  </a:cubicBezTo>
                  <a:cubicBezTo>
                    <a:pt x="90882" y="14339"/>
                    <a:pt x="92647" y="12830"/>
                    <a:pt x="94411" y="12830"/>
                  </a:cubicBezTo>
                  <a:cubicBezTo>
                    <a:pt x="94411" y="12830"/>
                    <a:pt x="96176" y="13584"/>
                    <a:pt x="97058" y="13584"/>
                  </a:cubicBezTo>
                  <a:cubicBezTo>
                    <a:pt x="97941" y="13584"/>
                    <a:pt x="99705" y="12830"/>
                    <a:pt x="99705" y="12830"/>
                  </a:cubicBezTo>
                  <a:cubicBezTo>
                    <a:pt x="103235" y="12830"/>
                    <a:pt x="103235" y="12830"/>
                    <a:pt x="103235" y="12830"/>
                  </a:cubicBezTo>
                  <a:cubicBezTo>
                    <a:pt x="105882" y="15849"/>
                    <a:pt x="105882" y="15849"/>
                    <a:pt x="105882" y="15849"/>
                  </a:cubicBezTo>
                  <a:cubicBezTo>
                    <a:pt x="106764" y="18867"/>
                    <a:pt x="106764" y="18867"/>
                    <a:pt x="106764" y="18867"/>
                  </a:cubicBezTo>
                  <a:cubicBezTo>
                    <a:pt x="111176" y="19622"/>
                    <a:pt x="111176" y="19622"/>
                    <a:pt x="111176" y="19622"/>
                  </a:cubicBezTo>
                  <a:cubicBezTo>
                    <a:pt x="111176" y="19622"/>
                    <a:pt x="110294" y="21132"/>
                    <a:pt x="110294" y="21886"/>
                  </a:cubicBezTo>
                  <a:cubicBezTo>
                    <a:pt x="111176" y="21886"/>
                    <a:pt x="113823" y="22641"/>
                    <a:pt x="113823" y="22641"/>
                  </a:cubicBezTo>
                  <a:cubicBezTo>
                    <a:pt x="113823" y="23396"/>
                    <a:pt x="113823" y="23396"/>
                    <a:pt x="113823" y="23396"/>
                  </a:cubicBezTo>
                  <a:cubicBezTo>
                    <a:pt x="113823" y="23396"/>
                    <a:pt x="113823" y="26415"/>
                    <a:pt x="113823" y="27169"/>
                  </a:cubicBezTo>
                  <a:cubicBezTo>
                    <a:pt x="113823" y="27924"/>
                    <a:pt x="113823" y="32452"/>
                    <a:pt x="113823" y="32452"/>
                  </a:cubicBezTo>
                  <a:cubicBezTo>
                    <a:pt x="113823" y="32452"/>
                    <a:pt x="111176" y="36981"/>
                    <a:pt x="110294" y="36981"/>
                  </a:cubicBezTo>
                  <a:cubicBezTo>
                    <a:pt x="109411" y="37735"/>
                    <a:pt x="110294" y="40754"/>
                    <a:pt x="110294" y="40754"/>
                  </a:cubicBezTo>
                  <a:cubicBezTo>
                    <a:pt x="109411" y="44528"/>
                    <a:pt x="109411" y="44528"/>
                    <a:pt x="109411" y="44528"/>
                  </a:cubicBezTo>
                  <a:cubicBezTo>
                    <a:pt x="109411" y="44528"/>
                    <a:pt x="109411" y="47547"/>
                    <a:pt x="108529" y="46792"/>
                  </a:cubicBezTo>
                  <a:cubicBezTo>
                    <a:pt x="107647" y="46792"/>
                    <a:pt x="103235" y="45283"/>
                    <a:pt x="103235" y="45283"/>
                  </a:cubicBezTo>
                  <a:cubicBezTo>
                    <a:pt x="99705" y="46037"/>
                    <a:pt x="99705" y="46037"/>
                    <a:pt x="99705" y="46037"/>
                  </a:cubicBezTo>
                  <a:cubicBezTo>
                    <a:pt x="99705" y="48301"/>
                    <a:pt x="99705" y="48301"/>
                    <a:pt x="99705" y="48301"/>
                  </a:cubicBezTo>
                  <a:cubicBezTo>
                    <a:pt x="101470" y="49056"/>
                    <a:pt x="101470" y="49056"/>
                    <a:pt x="101470" y="49056"/>
                  </a:cubicBezTo>
                  <a:cubicBezTo>
                    <a:pt x="98823" y="49056"/>
                    <a:pt x="98823" y="49056"/>
                    <a:pt x="98823" y="49056"/>
                  </a:cubicBezTo>
                  <a:cubicBezTo>
                    <a:pt x="98823" y="50566"/>
                    <a:pt x="98823" y="50566"/>
                    <a:pt x="98823" y="50566"/>
                  </a:cubicBezTo>
                  <a:cubicBezTo>
                    <a:pt x="98823" y="50566"/>
                    <a:pt x="99705" y="52075"/>
                    <a:pt x="100588" y="52830"/>
                  </a:cubicBezTo>
                  <a:cubicBezTo>
                    <a:pt x="100588" y="53584"/>
                    <a:pt x="103235" y="53584"/>
                    <a:pt x="103235" y="53584"/>
                  </a:cubicBezTo>
                  <a:cubicBezTo>
                    <a:pt x="105000" y="55094"/>
                    <a:pt x="105000" y="55094"/>
                    <a:pt x="105000" y="55094"/>
                  </a:cubicBezTo>
                  <a:cubicBezTo>
                    <a:pt x="107647" y="54339"/>
                    <a:pt x="107647" y="54339"/>
                    <a:pt x="107647" y="54339"/>
                  </a:cubicBezTo>
                  <a:cubicBezTo>
                    <a:pt x="109411" y="57358"/>
                    <a:pt x="109411" y="57358"/>
                    <a:pt x="109411" y="57358"/>
                  </a:cubicBezTo>
                  <a:cubicBezTo>
                    <a:pt x="108529" y="58867"/>
                    <a:pt x="108529" y="58867"/>
                    <a:pt x="108529" y="58867"/>
                  </a:cubicBezTo>
                  <a:cubicBezTo>
                    <a:pt x="108529" y="58867"/>
                    <a:pt x="108529" y="60377"/>
                    <a:pt x="108529" y="61132"/>
                  </a:cubicBezTo>
                  <a:cubicBezTo>
                    <a:pt x="108529" y="61886"/>
                    <a:pt x="109411" y="62641"/>
                    <a:pt x="108529" y="62641"/>
                  </a:cubicBezTo>
                  <a:cubicBezTo>
                    <a:pt x="108529" y="62641"/>
                    <a:pt x="106764" y="63396"/>
                    <a:pt x="106764" y="63396"/>
                  </a:cubicBezTo>
                  <a:cubicBezTo>
                    <a:pt x="105882" y="64905"/>
                    <a:pt x="105882" y="64905"/>
                    <a:pt x="105882" y="64905"/>
                  </a:cubicBezTo>
                  <a:cubicBezTo>
                    <a:pt x="105882" y="64905"/>
                    <a:pt x="104117" y="65660"/>
                    <a:pt x="103235" y="65660"/>
                  </a:cubicBezTo>
                  <a:cubicBezTo>
                    <a:pt x="102352" y="66415"/>
                    <a:pt x="102352" y="66415"/>
                    <a:pt x="102352" y="67169"/>
                  </a:cubicBezTo>
                  <a:cubicBezTo>
                    <a:pt x="102352" y="67169"/>
                    <a:pt x="98823" y="66415"/>
                    <a:pt x="98823" y="66415"/>
                  </a:cubicBezTo>
                  <a:cubicBezTo>
                    <a:pt x="98823" y="68679"/>
                    <a:pt x="98823" y="68679"/>
                    <a:pt x="98823" y="68679"/>
                  </a:cubicBezTo>
                  <a:cubicBezTo>
                    <a:pt x="97058" y="68679"/>
                    <a:pt x="97058" y="68679"/>
                    <a:pt x="97058" y="68679"/>
                  </a:cubicBezTo>
                  <a:cubicBezTo>
                    <a:pt x="98823" y="70943"/>
                    <a:pt x="98823" y="70943"/>
                    <a:pt x="98823" y="70943"/>
                  </a:cubicBezTo>
                  <a:cubicBezTo>
                    <a:pt x="101470" y="72452"/>
                    <a:pt x="101470" y="72452"/>
                    <a:pt x="101470" y="72452"/>
                  </a:cubicBezTo>
                  <a:cubicBezTo>
                    <a:pt x="100588" y="73207"/>
                    <a:pt x="100588" y="73207"/>
                    <a:pt x="100588" y="73207"/>
                  </a:cubicBezTo>
                  <a:cubicBezTo>
                    <a:pt x="98823" y="73962"/>
                    <a:pt x="98823" y="73962"/>
                    <a:pt x="98823" y="73962"/>
                  </a:cubicBezTo>
                  <a:cubicBezTo>
                    <a:pt x="97941" y="75471"/>
                    <a:pt x="97941" y="75471"/>
                    <a:pt x="97941" y="75471"/>
                  </a:cubicBezTo>
                  <a:cubicBezTo>
                    <a:pt x="95294" y="75471"/>
                    <a:pt x="95294" y="75471"/>
                    <a:pt x="95294" y="75471"/>
                  </a:cubicBezTo>
                  <a:cubicBezTo>
                    <a:pt x="92647" y="76226"/>
                    <a:pt x="92647" y="76226"/>
                    <a:pt x="92647" y="76226"/>
                  </a:cubicBezTo>
                  <a:cubicBezTo>
                    <a:pt x="91764" y="76226"/>
                    <a:pt x="91764" y="76226"/>
                    <a:pt x="91764" y="76226"/>
                  </a:cubicBezTo>
                  <a:cubicBezTo>
                    <a:pt x="89117" y="76226"/>
                    <a:pt x="89117" y="76226"/>
                    <a:pt x="89117" y="76226"/>
                  </a:cubicBezTo>
                  <a:cubicBezTo>
                    <a:pt x="88235" y="77735"/>
                    <a:pt x="88235" y="77735"/>
                    <a:pt x="88235" y="77735"/>
                  </a:cubicBezTo>
                  <a:cubicBezTo>
                    <a:pt x="87352" y="76226"/>
                    <a:pt x="87352" y="76226"/>
                    <a:pt x="87352" y="76226"/>
                  </a:cubicBezTo>
                  <a:cubicBezTo>
                    <a:pt x="84705" y="75471"/>
                    <a:pt x="84705" y="75471"/>
                    <a:pt x="84705" y="75471"/>
                  </a:cubicBezTo>
                  <a:cubicBezTo>
                    <a:pt x="82941" y="73962"/>
                    <a:pt x="82941" y="73962"/>
                    <a:pt x="82941" y="73962"/>
                  </a:cubicBezTo>
                  <a:cubicBezTo>
                    <a:pt x="80294" y="74716"/>
                    <a:pt x="80294" y="74716"/>
                    <a:pt x="80294" y="74716"/>
                  </a:cubicBezTo>
                  <a:cubicBezTo>
                    <a:pt x="82941" y="76226"/>
                    <a:pt x="82941" y="76226"/>
                    <a:pt x="82941" y="76226"/>
                  </a:cubicBezTo>
                  <a:cubicBezTo>
                    <a:pt x="81176" y="76226"/>
                    <a:pt x="81176" y="76226"/>
                    <a:pt x="81176" y="76226"/>
                  </a:cubicBezTo>
                  <a:cubicBezTo>
                    <a:pt x="76764" y="75471"/>
                    <a:pt x="76764" y="75471"/>
                    <a:pt x="76764" y="75471"/>
                  </a:cubicBezTo>
                  <a:cubicBezTo>
                    <a:pt x="76764" y="77735"/>
                    <a:pt x="76764" y="77735"/>
                    <a:pt x="76764" y="77735"/>
                  </a:cubicBezTo>
                  <a:cubicBezTo>
                    <a:pt x="76764" y="79245"/>
                    <a:pt x="76764" y="79245"/>
                    <a:pt x="76764" y="79245"/>
                  </a:cubicBezTo>
                  <a:cubicBezTo>
                    <a:pt x="76764" y="79245"/>
                    <a:pt x="75882" y="80000"/>
                    <a:pt x="76764" y="80000"/>
                  </a:cubicBezTo>
                  <a:cubicBezTo>
                    <a:pt x="77647" y="80000"/>
                    <a:pt x="79411" y="81509"/>
                    <a:pt x="79411" y="81509"/>
                  </a:cubicBezTo>
                  <a:cubicBezTo>
                    <a:pt x="79411" y="83018"/>
                    <a:pt x="79411" y="83018"/>
                    <a:pt x="79411" y="83018"/>
                  </a:cubicBezTo>
                  <a:cubicBezTo>
                    <a:pt x="80294" y="84528"/>
                    <a:pt x="80294" y="84528"/>
                    <a:pt x="80294" y="84528"/>
                  </a:cubicBezTo>
                  <a:cubicBezTo>
                    <a:pt x="80294" y="85283"/>
                    <a:pt x="80294" y="85283"/>
                    <a:pt x="80294" y="85283"/>
                  </a:cubicBezTo>
                  <a:cubicBezTo>
                    <a:pt x="82058" y="87547"/>
                    <a:pt x="82058" y="87547"/>
                    <a:pt x="82058" y="87547"/>
                  </a:cubicBezTo>
                  <a:cubicBezTo>
                    <a:pt x="82058" y="89811"/>
                    <a:pt x="82058" y="89811"/>
                    <a:pt x="82058" y="89811"/>
                  </a:cubicBezTo>
                  <a:cubicBezTo>
                    <a:pt x="83823" y="92075"/>
                    <a:pt x="83823" y="92075"/>
                    <a:pt x="83823" y="92075"/>
                  </a:cubicBezTo>
                  <a:cubicBezTo>
                    <a:pt x="82941" y="94339"/>
                    <a:pt x="82941" y="94339"/>
                    <a:pt x="82941" y="94339"/>
                  </a:cubicBezTo>
                  <a:cubicBezTo>
                    <a:pt x="82941" y="94339"/>
                    <a:pt x="83823" y="95849"/>
                    <a:pt x="82941" y="96603"/>
                  </a:cubicBezTo>
                  <a:cubicBezTo>
                    <a:pt x="82941" y="96603"/>
                    <a:pt x="81176" y="98113"/>
                    <a:pt x="81176" y="98113"/>
                  </a:cubicBezTo>
                  <a:cubicBezTo>
                    <a:pt x="80294" y="99622"/>
                    <a:pt x="80294" y="99622"/>
                    <a:pt x="80294" y="99622"/>
                  </a:cubicBezTo>
                  <a:cubicBezTo>
                    <a:pt x="78529" y="100377"/>
                    <a:pt x="78529" y="100377"/>
                    <a:pt x="78529" y="100377"/>
                  </a:cubicBezTo>
                  <a:cubicBezTo>
                    <a:pt x="78529" y="101886"/>
                    <a:pt x="78529" y="101886"/>
                    <a:pt x="78529" y="101886"/>
                  </a:cubicBezTo>
                  <a:cubicBezTo>
                    <a:pt x="78529" y="101886"/>
                    <a:pt x="78529" y="104150"/>
                    <a:pt x="79411" y="104150"/>
                  </a:cubicBezTo>
                  <a:cubicBezTo>
                    <a:pt x="79411" y="104150"/>
                    <a:pt x="81176" y="102641"/>
                    <a:pt x="81176" y="102641"/>
                  </a:cubicBezTo>
                  <a:cubicBezTo>
                    <a:pt x="81176" y="102641"/>
                    <a:pt x="82941" y="104150"/>
                    <a:pt x="82058" y="104905"/>
                  </a:cubicBezTo>
                  <a:cubicBezTo>
                    <a:pt x="82058" y="104905"/>
                    <a:pt x="78529" y="104905"/>
                    <a:pt x="78529" y="104905"/>
                  </a:cubicBezTo>
                  <a:cubicBezTo>
                    <a:pt x="76764" y="104905"/>
                    <a:pt x="76764" y="104905"/>
                    <a:pt x="76764" y="104905"/>
                  </a:cubicBezTo>
                  <a:cubicBezTo>
                    <a:pt x="76764" y="104905"/>
                    <a:pt x="75882" y="106415"/>
                    <a:pt x="75000" y="106415"/>
                  </a:cubicBezTo>
                  <a:cubicBezTo>
                    <a:pt x="75000" y="107169"/>
                    <a:pt x="75000" y="107924"/>
                    <a:pt x="75000" y="107924"/>
                  </a:cubicBezTo>
                  <a:cubicBezTo>
                    <a:pt x="73235" y="106415"/>
                    <a:pt x="73235" y="106415"/>
                    <a:pt x="73235" y="106415"/>
                  </a:cubicBezTo>
                  <a:cubicBezTo>
                    <a:pt x="72352" y="107169"/>
                    <a:pt x="72352" y="107169"/>
                    <a:pt x="72352" y="107169"/>
                  </a:cubicBezTo>
                  <a:cubicBezTo>
                    <a:pt x="73235" y="108679"/>
                    <a:pt x="73235" y="108679"/>
                    <a:pt x="73235" y="108679"/>
                  </a:cubicBezTo>
                  <a:cubicBezTo>
                    <a:pt x="73235" y="110188"/>
                    <a:pt x="73235" y="110188"/>
                    <a:pt x="73235" y="110188"/>
                  </a:cubicBezTo>
                  <a:cubicBezTo>
                    <a:pt x="73235" y="110188"/>
                    <a:pt x="75000" y="110188"/>
                    <a:pt x="75000" y="110188"/>
                  </a:cubicBezTo>
                  <a:cubicBezTo>
                    <a:pt x="75000" y="110188"/>
                    <a:pt x="76764" y="110943"/>
                    <a:pt x="76764" y="110943"/>
                  </a:cubicBezTo>
                  <a:cubicBezTo>
                    <a:pt x="76764" y="110943"/>
                    <a:pt x="75882" y="111698"/>
                    <a:pt x="76764" y="111698"/>
                  </a:cubicBezTo>
                  <a:cubicBezTo>
                    <a:pt x="76764" y="112452"/>
                    <a:pt x="76764" y="112452"/>
                    <a:pt x="77647" y="112452"/>
                  </a:cubicBezTo>
                  <a:cubicBezTo>
                    <a:pt x="78529" y="113207"/>
                    <a:pt x="78529" y="113207"/>
                    <a:pt x="78529" y="113207"/>
                  </a:cubicBezTo>
                  <a:cubicBezTo>
                    <a:pt x="78529" y="113207"/>
                    <a:pt x="78529" y="114716"/>
                    <a:pt x="78529" y="115471"/>
                  </a:cubicBezTo>
                  <a:cubicBezTo>
                    <a:pt x="77647" y="115471"/>
                    <a:pt x="77647" y="116226"/>
                    <a:pt x="77647" y="116226"/>
                  </a:cubicBezTo>
                  <a:cubicBezTo>
                    <a:pt x="76764" y="116226"/>
                    <a:pt x="76764" y="116226"/>
                    <a:pt x="76764" y="116226"/>
                  </a:cubicBezTo>
                  <a:cubicBezTo>
                    <a:pt x="75882" y="116981"/>
                    <a:pt x="75882" y="117735"/>
                    <a:pt x="75882" y="117735"/>
                  </a:cubicBezTo>
                  <a:cubicBezTo>
                    <a:pt x="75882" y="117735"/>
                    <a:pt x="75000" y="117735"/>
                    <a:pt x="75000" y="117735"/>
                  </a:cubicBezTo>
                  <a:cubicBezTo>
                    <a:pt x="75000" y="118490"/>
                    <a:pt x="75882" y="119245"/>
                    <a:pt x="75882" y="120000"/>
                  </a:cubicBezTo>
                  <a:cubicBezTo>
                    <a:pt x="75882" y="120000"/>
                    <a:pt x="75882" y="120000"/>
                    <a:pt x="75000" y="120000"/>
                  </a:cubicBezTo>
                  <a:cubicBezTo>
                    <a:pt x="75000" y="120000"/>
                    <a:pt x="75000" y="120000"/>
                    <a:pt x="75000" y="120000"/>
                  </a:cubicBezTo>
                  <a:cubicBezTo>
                    <a:pt x="75000" y="120000"/>
                    <a:pt x="73235" y="118490"/>
                    <a:pt x="73235" y="118490"/>
                  </a:cubicBezTo>
                  <a:cubicBezTo>
                    <a:pt x="72352" y="118490"/>
                    <a:pt x="71470" y="119245"/>
                    <a:pt x="69705" y="119245"/>
                  </a:cubicBezTo>
                  <a:cubicBezTo>
                    <a:pt x="68823" y="118490"/>
                    <a:pt x="68823" y="118490"/>
                    <a:pt x="68823" y="118490"/>
                  </a:cubicBezTo>
                  <a:cubicBezTo>
                    <a:pt x="65294" y="119245"/>
                    <a:pt x="65294" y="119245"/>
                    <a:pt x="65294" y="119245"/>
                  </a:cubicBezTo>
                  <a:cubicBezTo>
                    <a:pt x="65294" y="117735"/>
                    <a:pt x="65294" y="117735"/>
                    <a:pt x="65294" y="117735"/>
                  </a:cubicBezTo>
                  <a:cubicBezTo>
                    <a:pt x="64411" y="116226"/>
                    <a:pt x="64411" y="116226"/>
                    <a:pt x="64411" y="116226"/>
                  </a:cubicBezTo>
                  <a:cubicBezTo>
                    <a:pt x="64411" y="116226"/>
                    <a:pt x="64411" y="114716"/>
                    <a:pt x="64411" y="113962"/>
                  </a:cubicBezTo>
                  <a:cubicBezTo>
                    <a:pt x="64411" y="113962"/>
                    <a:pt x="65294" y="113207"/>
                    <a:pt x="65294" y="113207"/>
                  </a:cubicBezTo>
                  <a:cubicBezTo>
                    <a:pt x="66176" y="113207"/>
                    <a:pt x="67058" y="111698"/>
                    <a:pt x="67058" y="111698"/>
                  </a:cubicBezTo>
                  <a:cubicBezTo>
                    <a:pt x="67058" y="111698"/>
                    <a:pt x="67941" y="110188"/>
                    <a:pt x="68823" y="109433"/>
                  </a:cubicBezTo>
                  <a:cubicBezTo>
                    <a:pt x="68823" y="109433"/>
                    <a:pt x="69705" y="107169"/>
                    <a:pt x="69705" y="107169"/>
                  </a:cubicBezTo>
                  <a:cubicBezTo>
                    <a:pt x="69705" y="106415"/>
                    <a:pt x="70588" y="105660"/>
                    <a:pt x="70588" y="105660"/>
                  </a:cubicBezTo>
                  <a:cubicBezTo>
                    <a:pt x="70588" y="105660"/>
                    <a:pt x="72352" y="104150"/>
                    <a:pt x="72352" y="103396"/>
                  </a:cubicBezTo>
                  <a:cubicBezTo>
                    <a:pt x="72352" y="102641"/>
                    <a:pt x="71470" y="102641"/>
                    <a:pt x="70588" y="102641"/>
                  </a:cubicBezTo>
                  <a:cubicBezTo>
                    <a:pt x="70588" y="102641"/>
                    <a:pt x="67941" y="101886"/>
                    <a:pt x="67058" y="101132"/>
                  </a:cubicBezTo>
                  <a:cubicBezTo>
                    <a:pt x="66176" y="101132"/>
                    <a:pt x="64411" y="100377"/>
                    <a:pt x="62647" y="100377"/>
                  </a:cubicBezTo>
                  <a:cubicBezTo>
                    <a:pt x="60882" y="99622"/>
                    <a:pt x="61764" y="99622"/>
                    <a:pt x="62647" y="98113"/>
                  </a:cubicBezTo>
                  <a:cubicBezTo>
                    <a:pt x="62647" y="97358"/>
                    <a:pt x="60882" y="97358"/>
                    <a:pt x="60882" y="96603"/>
                  </a:cubicBezTo>
                  <a:cubicBezTo>
                    <a:pt x="60882" y="96603"/>
                    <a:pt x="60000" y="97358"/>
                    <a:pt x="59117" y="98113"/>
                  </a:cubicBezTo>
                  <a:cubicBezTo>
                    <a:pt x="58235" y="98113"/>
                    <a:pt x="57352" y="97358"/>
                    <a:pt x="56470" y="97358"/>
                  </a:cubicBezTo>
                  <a:cubicBezTo>
                    <a:pt x="56470" y="97358"/>
                    <a:pt x="53823" y="97358"/>
                    <a:pt x="53823" y="97358"/>
                  </a:cubicBezTo>
                  <a:cubicBezTo>
                    <a:pt x="53823" y="97358"/>
                    <a:pt x="53823" y="96603"/>
                    <a:pt x="53823" y="95849"/>
                  </a:cubicBezTo>
                  <a:cubicBezTo>
                    <a:pt x="53823" y="95094"/>
                    <a:pt x="52941" y="95094"/>
                    <a:pt x="52941" y="95094"/>
                  </a:cubicBezTo>
                  <a:cubicBezTo>
                    <a:pt x="52941" y="95094"/>
                    <a:pt x="51176" y="95094"/>
                    <a:pt x="51176" y="94339"/>
                  </a:cubicBezTo>
                  <a:cubicBezTo>
                    <a:pt x="50294" y="94339"/>
                    <a:pt x="51176" y="94339"/>
                    <a:pt x="51176" y="93584"/>
                  </a:cubicBezTo>
                  <a:cubicBezTo>
                    <a:pt x="51176" y="92830"/>
                    <a:pt x="51176" y="93584"/>
                    <a:pt x="50294" y="93584"/>
                  </a:cubicBezTo>
                  <a:cubicBezTo>
                    <a:pt x="49411" y="93584"/>
                    <a:pt x="49411" y="91320"/>
                    <a:pt x="49411" y="91320"/>
                  </a:cubicBezTo>
                  <a:cubicBezTo>
                    <a:pt x="49411" y="91320"/>
                    <a:pt x="48529" y="89811"/>
                    <a:pt x="48529" y="89056"/>
                  </a:cubicBezTo>
                  <a:cubicBezTo>
                    <a:pt x="47647" y="87547"/>
                    <a:pt x="47647" y="89056"/>
                    <a:pt x="47647" y="89056"/>
                  </a:cubicBezTo>
                  <a:cubicBezTo>
                    <a:pt x="45882" y="91320"/>
                    <a:pt x="45882" y="91320"/>
                    <a:pt x="45882" y="91320"/>
                  </a:cubicBezTo>
                  <a:cubicBezTo>
                    <a:pt x="45882" y="91320"/>
                    <a:pt x="45000" y="91320"/>
                    <a:pt x="42352" y="90566"/>
                  </a:cubicBezTo>
                  <a:cubicBezTo>
                    <a:pt x="40588" y="89811"/>
                    <a:pt x="41470" y="89811"/>
                    <a:pt x="41470" y="89811"/>
                  </a:cubicBezTo>
                  <a:cubicBezTo>
                    <a:pt x="43235" y="88301"/>
                    <a:pt x="43235" y="88301"/>
                    <a:pt x="43235" y="88301"/>
                  </a:cubicBezTo>
                  <a:cubicBezTo>
                    <a:pt x="43235" y="88301"/>
                    <a:pt x="41470" y="87547"/>
                    <a:pt x="40588" y="87547"/>
                  </a:cubicBezTo>
                  <a:cubicBezTo>
                    <a:pt x="39705" y="86792"/>
                    <a:pt x="39705" y="86792"/>
                    <a:pt x="38823" y="88301"/>
                  </a:cubicBezTo>
                  <a:cubicBezTo>
                    <a:pt x="37941" y="89056"/>
                    <a:pt x="37941" y="89056"/>
                    <a:pt x="37058" y="89811"/>
                  </a:cubicBezTo>
                  <a:cubicBezTo>
                    <a:pt x="36176" y="90566"/>
                    <a:pt x="36176" y="90566"/>
                    <a:pt x="34411" y="90566"/>
                  </a:cubicBezTo>
                  <a:cubicBezTo>
                    <a:pt x="33529" y="90566"/>
                    <a:pt x="33529" y="89811"/>
                    <a:pt x="32647" y="89811"/>
                  </a:cubicBezTo>
                  <a:cubicBezTo>
                    <a:pt x="32647" y="89056"/>
                    <a:pt x="32647" y="89056"/>
                    <a:pt x="31764" y="88301"/>
                  </a:cubicBezTo>
                  <a:cubicBezTo>
                    <a:pt x="31764" y="87547"/>
                    <a:pt x="30882" y="87547"/>
                    <a:pt x="30882" y="87547"/>
                  </a:cubicBezTo>
                  <a:cubicBezTo>
                    <a:pt x="30882" y="87547"/>
                    <a:pt x="29117" y="88301"/>
                    <a:pt x="29117" y="89056"/>
                  </a:cubicBezTo>
                  <a:cubicBezTo>
                    <a:pt x="28235" y="89056"/>
                    <a:pt x="29117" y="89811"/>
                    <a:pt x="29117" y="90566"/>
                  </a:cubicBezTo>
                  <a:cubicBezTo>
                    <a:pt x="30000" y="91320"/>
                    <a:pt x="29117" y="92075"/>
                    <a:pt x="29117" y="92075"/>
                  </a:cubicBezTo>
                  <a:cubicBezTo>
                    <a:pt x="29117" y="92075"/>
                    <a:pt x="27352" y="92075"/>
                    <a:pt x="26470" y="92075"/>
                  </a:cubicBezTo>
                  <a:cubicBezTo>
                    <a:pt x="25588" y="92075"/>
                    <a:pt x="24705" y="92075"/>
                    <a:pt x="23823" y="91320"/>
                  </a:cubicBezTo>
                  <a:cubicBezTo>
                    <a:pt x="22058" y="90566"/>
                    <a:pt x="22941" y="92075"/>
                    <a:pt x="22941" y="92830"/>
                  </a:cubicBezTo>
                  <a:cubicBezTo>
                    <a:pt x="22941" y="92830"/>
                    <a:pt x="21176" y="94339"/>
                    <a:pt x="21176" y="94339"/>
                  </a:cubicBezTo>
                  <a:cubicBezTo>
                    <a:pt x="21176" y="94339"/>
                    <a:pt x="21176" y="94339"/>
                    <a:pt x="21176" y="94339"/>
                  </a:cubicBezTo>
                  <a:cubicBezTo>
                    <a:pt x="19411" y="94339"/>
                    <a:pt x="17647" y="93584"/>
                    <a:pt x="17647" y="93584"/>
                  </a:cubicBezTo>
                  <a:cubicBezTo>
                    <a:pt x="16764" y="94339"/>
                    <a:pt x="16764" y="94339"/>
                    <a:pt x="16764" y="94339"/>
                  </a:cubicBezTo>
                  <a:cubicBezTo>
                    <a:pt x="14117" y="93584"/>
                    <a:pt x="14117" y="93584"/>
                    <a:pt x="14117" y="93584"/>
                  </a:cubicBezTo>
                  <a:cubicBezTo>
                    <a:pt x="13235" y="93584"/>
                    <a:pt x="13235" y="93584"/>
                    <a:pt x="13235" y="93584"/>
                  </a:cubicBezTo>
                  <a:cubicBezTo>
                    <a:pt x="12352" y="91320"/>
                    <a:pt x="12352" y="91320"/>
                    <a:pt x="12352" y="91320"/>
                  </a:cubicBezTo>
                  <a:cubicBezTo>
                    <a:pt x="11470" y="91320"/>
                    <a:pt x="11470" y="91320"/>
                    <a:pt x="11470" y="91320"/>
                  </a:cubicBezTo>
                  <a:cubicBezTo>
                    <a:pt x="7941" y="89811"/>
                    <a:pt x="7941" y="89811"/>
                    <a:pt x="7941" y="89811"/>
                  </a:cubicBezTo>
                  <a:cubicBezTo>
                    <a:pt x="7058" y="89056"/>
                    <a:pt x="7058" y="89056"/>
                    <a:pt x="7058" y="89056"/>
                  </a:cubicBezTo>
                  <a:cubicBezTo>
                    <a:pt x="5294" y="89811"/>
                    <a:pt x="5294" y="89811"/>
                    <a:pt x="5294" y="89811"/>
                  </a:cubicBezTo>
                  <a:cubicBezTo>
                    <a:pt x="4411" y="90566"/>
                    <a:pt x="4411" y="90566"/>
                    <a:pt x="4411" y="90566"/>
                  </a:cubicBezTo>
                  <a:cubicBezTo>
                    <a:pt x="4411" y="90566"/>
                    <a:pt x="2647" y="91320"/>
                    <a:pt x="1764" y="91320"/>
                  </a:cubicBezTo>
                  <a:cubicBezTo>
                    <a:pt x="1764" y="90566"/>
                    <a:pt x="0" y="87547"/>
                    <a:pt x="0" y="87547"/>
                  </a:cubicBezTo>
                  <a:cubicBezTo>
                    <a:pt x="882" y="85283"/>
                    <a:pt x="882" y="85283"/>
                    <a:pt x="882" y="85283"/>
                  </a:cubicBezTo>
                  <a:cubicBezTo>
                    <a:pt x="882" y="85283"/>
                    <a:pt x="3529" y="84528"/>
                    <a:pt x="3529" y="84528"/>
                  </a:cubicBezTo>
                  <a:cubicBezTo>
                    <a:pt x="3529" y="84528"/>
                    <a:pt x="5294" y="84528"/>
                    <a:pt x="5294" y="84528"/>
                  </a:cubicBezTo>
                  <a:cubicBezTo>
                    <a:pt x="5294" y="84528"/>
                    <a:pt x="6176" y="84528"/>
                    <a:pt x="6176" y="85283"/>
                  </a:cubicBezTo>
                  <a:cubicBezTo>
                    <a:pt x="7058" y="85283"/>
                    <a:pt x="8823" y="86792"/>
                    <a:pt x="9705" y="86792"/>
                  </a:cubicBezTo>
                  <a:cubicBezTo>
                    <a:pt x="9705" y="86792"/>
                    <a:pt x="11470" y="87547"/>
                    <a:pt x="11470" y="87547"/>
                  </a:cubicBezTo>
                  <a:cubicBezTo>
                    <a:pt x="12352" y="87547"/>
                    <a:pt x="14117" y="88301"/>
                    <a:pt x="14117" y="88301"/>
                  </a:cubicBezTo>
                  <a:cubicBezTo>
                    <a:pt x="14117" y="88301"/>
                    <a:pt x="15882" y="88301"/>
                    <a:pt x="15882" y="88301"/>
                  </a:cubicBezTo>
                  <a:cubicBezTo>
                    <a:pt x="15882" y="88301"/>
                    <a:pt x="17647" y="87547"/>
                    <a:pt x="17647" y="87547"/>
                  </a:cubicBezTo>
                  <a:cubicBezTo>
                    <a:pt x="17647" y="87547"/>
                    <a:pt x="17647" y="87547"/>
                    <a:pt x="17647" y="87547"/>
                  </a:cubicBezTo>
                  <a:cubicBezTo>
                    <a:pt x="18529" y="86792"/>
                    <a:pt x="18529" y="86037"/>
                    <a:pt x="18529" y="86037"/>
                  </a:cubicBezTo>
                  <a:cubicBezTo>
                    <a:pt x="18529" y="86037"/>
                    <a:pt x="19411" y="86037"/>
                    <a:pt x="19411" y="86037"/>
                  </a:cubicBezTo>
                  <a:cubicBezTo>
                    <a:pt x="19411" y="86792"/>
                    <a:pt x="20294" y="87547"/>
                    <a:pt x="20294" y="87547"/>
                  </a:cubicBezTo>
                  <a:cubicBezTo>
                    <a:pt x="20294" y="87547"/>
                    <a:pt x="21176" y="88301"/>
                    <a:pt x="21176" y="88301"/>
                  </a:cubicBezTo>
                  <a:cubicBezTo>
                    <a:pt x="22058" y="89056"/>
                    <a:pt x="22941" y="89056"/>
                    <a:pt x="22941" y="89056"/>
                  </a:cubicBezTo>
                  <a:cubicBezTo>
                    <a:pt x="22941" y="89056"/>
                    <a:pt x="23823" y="88301"/>
                    <a:pt x="23823" y="88301"/>
                  </a:cubicBezTo>
                  <a:cubicBezTo>
                    <a:pt x="23823" y="88301"/>
                    <a:pt x="24705" y="89056"/>
                    <a:pt x="24705" y="88301"/>
                  </a:cubicBezTo>
                  <a:cubicBezTo>
                    <a:pt x="24705" y="88301"/>
                    <a:pt x="25588" y="88301"/>
                    <a:pt x="25588" y="88301"/>
                  </a:cubicBezTo>
                  <a:cubicBezTo>
                    <a:pt x="25588" y="88301"/>
                    <a:pt x="26470" y="87547"/>
                    <a:pt x="25588" y="87547"/>
                  </a:cubicBezTo>
                  <a:cubicBezTo>
                    <a:pt x="25588" y="87547"/>
                    <a:pt x="25588" y="86792"/>
                    <a:pt x="25588" y="87547"/>
                  </a:cubicBezTo>
                  <a:cubicBezTo>
                    <a:pt x="24705" y="87547"/>
                    <a:pt x="24705" y="87547"/>
                    <a:pt x="23823" y="87547"/>
                  </a:cubicBezTo>
                  <a:cubicBezTo>
                    <a:pt x="22941" y="87547"/>
                    <a:pt x="21176" y="86792"/>
                    <a:pt x="21176" y="86792"/>
                  </a:cubicBezTo>
                  <a:cubicBezTo>
                    <a:pt x="21176" y="86037"/>
                    <a:pt x="20294" y="86037"/>
                    <a:pt x="20294" y="85283"/>
                  </a:cubicBezTo>
                  <a:cubicBezTo>
                    <a:pt x="19411" y="85283"/>
                    <a:pt x="19411" y="84528"/>
                    <a:pt x="18529" y="84528"/>
                  </a:cubicBezTo>
                  <a:cubicBezTo>
                    <a:pt x="17647" y="84528"/>
                    <a:pt x="17647" y="84528"/>
                    <a:pt x="17647" y="84528"/>
                  </a:cubicBezTo>
                  <a:cubicBezTo>
                    <a:pt x="17647" y="84528"/>
                    <a:pt x="16764" y="85283"/>
                    <a:pt x="16764" y="86037"/>
                  </a:cubicBezTo>
                  <a:cubicBezTo>
                    <a:pt x="16764" y="86037"/>
                    <a:pt x="17647" y="86792"/>
                    <a:pt x="15882" y="86037"/>
                  </a:cubicBezTo>
                  <a:cubicBezTo>
                    <a:pt x="14117" y="86037"/>
                    <a:pt x="12352" y="86037"/>
                    <a:pt x="12352" y="86037"/>
                  </a:cubicBezTo>
                  <a:cubicBezTo>
                    <a:pt x="9705" y="83773"/>
                    <a:pt x="9705" y="83773"/>
                    <a:pt x="9705" y="83773"/>
                  </a:cubicBezTo>
                  <a:cubicBezTo>
                    <a:pt x="9705" y="83773"/>
                    <a:pt x="8823" y="83773"/>
                    <a:pt x="7941" y="83773"/>
                  </a:cubicBezTo>
                  <a:cubicBezTo>
                    <a:pt x="7941" y="83773"/>
                    <a:pt x="6176" y="83018"/>
                    <a:pt x="6176" y="82264"/>
                  </a:cubicBezTo>
                  <a:cubicBezTo>
                    <a:pt x="6176" y="82264"/>
                    <a:pt x="5294" y="81509"/>
                    <a:pt x="5294" y="80754"/>
                  </a:cubicBezTo>
                  <a:cubicBezTo>
                    <a:pt x="5294" y="80754"/>
                    <a:pt x="4411" y="80754"/>
                    <a:pt x="4411" y="80000"/>
                  </a:cubicBezTo>
                  <a:cubicBezTo>
                    <a:pt x="4411" y="80000"/>
                    <a:pt x="3529" y="79245"/>
                    <a:pt x="3529" y="79245"/>
                  </a:cubicBezTo>
                  <a:cubicBezTo>
                    <a:pt x="3529" y="79245"/>
                    <a:pt x="3529" y="78490"/>
                    <a:pt x="4411" y="77735"/>
                  </a:cubicBezTo>
                  <a:cubicBezTo>
                    <a:pt x="6176" y="77735"/>
                    <a:pt x="6176" y="77735"/>
                    <a:pt x="7058" y="77735"/>
                  </a:cubicBezTo>
                  <a:cubicBezTo>
                    <a:pt x="7941" y="77735"/>
                    <a:pt x="7058" y="77735"/>
                    <a:pt x="8823" y="77735"/>
                  </a:cubicBezTo>
                  <a:cubicBezTo>
                    <a:pt x="10588" y="77735"/>
                    <a:pt x="9705" y="77735"/>
                    <a:pt x="10588" y="77735"/>
                  </a:cubicBezTo>
                  <a:cubicBezTo>
                    <a:pt x="11470" y="77735"/>
                    <a:pt x="13235" y="77735"/>
                    <a:pt x="13235" y="77735"/>
                  </a:cubicBezTo>
                  <a:cubicBezTo>
                    <a:pt x="13235" y="77735"/>
                    <a:pt x="11470" y="76981"/>
                    <a:pt x="14117" y="77735"/>
                  </a:cubicBezTo>
                  <a:cubicBezTo>
                    <a:pt x="14117" y="77735"/>
                    <a:pt x="17647" y="78490"/>
                    <a:pt x="16764" y="80000"/>
                  </a:cubicBezTo>
                  <a:cubicBezTo>
                    <a:pt x="16764" y="80000"/>
                    <a:pt x="15882" y="80754"/>
                    <a:pt x="15882" y="80754"/>
                  </a:cubicBezTo>
                  <a:cubicBezTo>
                    <a:pt x="15882" y="80754"/>
                    <a:pt x="17647" y="81509"/>
                    <a:pt x="17647" y="81509"/>
                  </a:cubicBezTo>
                  <a:cubicBezTo>
                    <a:pt x="17647" y="81509"/>
                    <a:pt x="18529" y="80754"/>
                    <a:pt x="18529" y="80754"/>
                  </a:cubicBezTo>
                  <a:cubicBezTo>
                    <a:pt x="19411" y="81509"/>
                    <a:pt x="19411" y="81509"/>
                    <a:pt x="19411" y="81509"/>
                  </a:cubicBezTo>
                  <a:cubicBezTo>
                    <a:pt x="21176" y="83018"/>
                    <a:pt x="21176" y="83018"/>
                    <a:pt x="21176" y="83018"/>
                  </a:cubicBezTo>
                  <a:cubicBezTo>
                    <a:pt x="21176" y="83018"/>
                    <a:pt x="22941" y="83018"/>
                    <a:pt x="22941" y="83018"/>
                  </a:cubicBezTo>
                  <a:cubicBezTo>
                    <a:pt x="22058" y="83773"/>
                    <a:pt x="21176" y="82264"/>
                    <a:pt x="22058" y="83773"/>
                  </a:cubicBezTo>
                  <a:cubicBezTo>
                    <a:pt x="22941" y="85283"/>
                    <a:pt x="23823" y="86037"/>
                    <a:pt x="23823" y="86037"/>
                  </a:cubicBezTo>
                  <a:cubicBezTo>
                    <a:pt x="24705" y="86037"/>
                    <a:pt x="24705" y="86037"/>
                    <a:pt x="24705" y="86037"/>
                  </a:cubicBezTo>
                  <a:cubicBezTo>
                    <a:pt x="24705" y="86037"/>
                    <a:pt x="24705" y="85283"/>
                    <a:pt x="25588" y="85283"/>
                  </a:cubicBezTo>
                  <a:cubicBezTo>
                    <a:pt x="25588" y="86037"/>
                    <a:pt x="27352" y="86037"/>
                    <a:pt x="28235" y="86037"/>
                  </a:cubicBezTo>
                  <a:cubicBezTo>
                    <a:pt x="28235" y="86037"/>
                    <a:pt x="28235" y="85283"/>
                    <a:pt x="27352" y="83773"/>
                  </a:cubicBezTo>
                  <a:cubicBezTo>
                    <a:pt x="26470" y="83018"/>
                    <a:pt x="25588" y="82264"/>
                    <a:pt x="25588" y="82264"/>
                  </a:cubicBezTo>
                  <a:cubicBezTo>
                    <a:pt x="24705" y="82264"/>
                    <a:pt x="25588" y="83018"/>
                    <a:pt x="23823" y="82264"/>
                  </a:cubicBezTo>
                  <a:cubicBezTo>
                    <a:pt x="22058" y="81509"/>
                    <a:pt x="22058" y="82264"/>
                    <a:pt x="21176" y="81509"/>
                  </a:cubicBezTo>
                  <a:cubicBezTo>
                    <a:pt x="20294" y="80000"/>
                    <a:pt x="19411" y="80000"/>
                    <a:pt x="19411" y="79245"/>
                  </a:cubicBezTo>
                  <a:cubicBezTo>
                    <a:pt x="19411" y="79245"/>
                    <a:pt x="20294" y="79245"/>
                    <a:pt x="21176" y="78490"/>
                  </a:cubicBezTo>
                  <a:cubicBezTo>
                    <a:pt x="22058" y="78490"/>
                    <a:pt x="20294" y="77735"/>
                    <a:pt x="22058" y="78490"/>
                  </a:cubicBezTo>
                  <a:cubicBezTo>
                    <a:pt x="24705" y="79245"/>
                    <a:pt x="24705" y="79245"/>
                    <a:pt x="25588" y="79245"/>
                  </a:cubicBezTo>
                  <a:cubicBezTo>
                    <a:pt x="25588" y="79245"/>
                    <a:pt x="27352" y="79245"/>
                    <a:pt x="25588" y="78490"/>
                  </a:cubicBezTo>
                  <a:cubicBezTo>
                    <a:pt x="23823" y="78490"/>
                    <a:pt x="22941" y="77735"/>
                    <a:pt x="22941" y="77735"/>
                  </a:cubicBezTo>
                  <a:cubicBezTo>
                    <a:pt x="21176" y="77735"/>
                    <a:pt x="21176" y="77735"/>
                    <a:pt x="21176" y="77735"/>
                  </a:cubicBezTo>
                  <a:cubicBezTo>
                    <a:pt x="21176" y="77735"/>
                    <a:pt x="21176" y="77735"/>
                    <a:pt x="20294" y="77735"/>
                  </a:cubicBezTo>
                  <a:cubicBezTo>
                    <a:pt x="19411" y="77735"/>
                    <a:pt x="19411" y="78490"/>
                    <a:pt x="19411" y="77735"/>
                  </a:cubicBezTo>
                  <a:cubicBezTo>
                    <a:pt x="18529" y="77735"/>
                    <a:pt x="17647" y="77735"/>
                    <a:pt x="17647" y="76981"/>
                  </a:cubicBezTo>
                  <a:cubicBezTo>
                    <a:pt x="16764" y="76981"/>
                    <a:pt x="15882" y="76226"/>
                    <a:pt x="15882" y="76226"/>
                  </a:cubicBezTo>
                  <a:cubicBezTo>
                    <a:pt x="15882" y="75471"/>
                    <a:pt x="15000" y="74716"/>
                    <a:pt x="15000" y="74716"/>
                  </a:cubicBezTo>
                  <a:cubicBezTo>
                    <a:pt x="15000" y="74716"/>
                    <a:pt x="15000" y="74716"/>
                    <a:pt x="15000" y="74716"/>
                  </a:cubicBezTo>
                  <a:cubicBezTo>
                    <a:pt x="14117" y="74716"/>
                    <a:pt x="13235" y="74716"/>
                    <a:pt x="12352" y="74716"/>
                  </a:cubicBezTo>
                  <a:cubicBezTo>
                    <a:pt x="12352" y="74716"/>
                    <a:pt x="11470" y="74716"/>
                    <a:pt x="11470" y="74716"/>
                  </a:cubicBezTo>
                  <a:cubicBezTo>
                    <a:pt x="11470" y="73962"/>
                    <a:pt x="11470" y="73962"/>
                    <a:pt x="11470" y="73207"/>
                  </a:cubicBezTo>
                  <a:cubicBezTo>
                    <a:pt x="11470" y="73207"/>
                    <a:pt x="11470" y="72452"/>
                    <a:pt x="12352" y="72452"/>
                  </a:cubicBezTo>
                  <a:cubicBezTo>
                    <a:pt x="13235" y="72452"/>
                    <a:pt x="14117" y="72452"/>
                    <a:pt x="15000" y="72452"/>
                  </a:cubicBezTo>
                  <a:cubicBezTo>
                    <a:pt x="15882" y="72452"/>
                    <a:pt x="16764" y="72452"/>
                    <a:pt x="17647" y="72452"/>
                  </a:cubicBezTo>
                  <a:cubicBezTo>
                    <a:pt x="17647" y="72452"/>
                    <a:pt x="18529" y="73207"/>
                    <a:pt x="18529" y="73207"/>
                  </a:cubicBezTo>
                  <a:cubicBezTo>
                    <a:pt x="19411" y="73962"/>
                    <a:pt x="20294" y="73962"/>
                    <a:pt x="20294" y="73962"/>
                  </a:cubicBezTo>
                  <a:cubicBezTo>
                    <a:pt x="20294" y="74716"/>
                    <a:pt x="20294" y="74716"/>
                    <a:pt x="21176" y="74716"/>
                  </a:cubicBezTo>
                  <a:cubicBezTo>
                    <a:pt x="21176" y="75471"/>
                    <a:pt x="22058" y="75471"/>
                    <a:pt x="22058" y="75471"/>
                  </a:cubicBezTo>
                  <a:cubicBezTo>
                    <a:pt x="22941" y="76981"/>
                    <a:pt x="22941" y="76981"/>
                    <a:pt x="22941" y="76981"/>
                  </a:cubicBezTo>
                  <a:cubicBezTo>
                    <a:pt x="22941" y="76981"/>
                    <a:pt x="22941" y="76981"/>
                    <a:pt x="22941" y="76981"/>
                  </a:cubicBezTo>
                  <a:cubicBezTo>
                    <a:pt x="24705" y="77735"/>
                    <a:pt x="24705" y="77735"/>
                    <a:pt x="24705" y="77735"/>
                  </a:cubicBezTo>
                  <a:cubicBezTo>
                    <a:pt x="24705" y="77735"/>
                    <a:pt x="27352" y="78490"/>
                    <a:pt x="27352" y="78490"/>
                  </a:cubicBezTo>
                  <a:cubicBezTo>
                    <a:pt x="27352" y="78490"/>
                    <a:pt x="27352" y="78490"/>
                    <a:pt x="28235" y="78490"/>
                  </a:cubicBezTo>
                  <a:cubicBezTo>
                    <a:pt x="29117" y="78490"/>
                    <a:pt x="29117" y="77735"/>
                    <a:pt x="29117" y="77735"/>
                  </a:cubicBezTo>
                  <a:cubicBezTo>
                    <a:pt x="29117" y="77735"/>
                    <a:pt x="30000" y="77735"/>
                    <a:pt x="30000" y="77735"/>
                  </a:cubicBezTo>
                  <a:cubicBezTo>
                    <a:pt x="30000" y="77735"/>
                    <a:pt x="32647" y="76226"/>
                    <a:pt x="32647" y="76226"/>
                  </a:cubicBezTo>
                  <a:cubicBezTo>
                    <a:pt x="32647" y="76981"/>
                    <a:pt x="33529" y="76981"/>
                    <a:pt x="34411" y="76981"/>
                  </a:cubicBezTo>
                  <a:cubicBezTo>
                    <a:pt x="34411" y="76981"/>
                    <a:pt x="37058" y="78490"/>
                    <a:pt x="37058" y="78490"/>
                  </a:cubicBezTo>
                  <a:cubicBezTo>
                    <a:pt x="37058" y="77735"/>
                    <a:pt x="37058" y="76981"/>
                    <a:pt x="37058" y="76981"/>
                  </a:cubicBezTo>
                  <a:cubicBezTo>
                    <a:pt x="37058" y="76981"/>
                    <a:pt x="37941" y="76226"/>
                    <a:pt x="37941" y="76226"/>
                  </a:cubicBezTo>
                  <a:cubicBezTo>
                    <a:pt x="41470" y="76226"/>
                    <a:pt x="41470" y="76226"/>
                    <a:pt x="41470" y="76226"/>
                  </a:cubicBezTo>
                  <a:cubicBezTo>
                    <a:pt x="41470" y="76226"/>
                    <a:pt x="42352" y="75471"/>
                    <a:pt x="42352" y="75471"/>
                  </a:cubicBezTo>
                  <a:cubicBezTo>
                    <a:pt x="41470" y="75471"/>
                    <a:pt x="40588" y="75471"/>
                    <a:pt x="40588" y="75471"/>
                  </a:cubicBezTo>
                  <a:cubicBezTo>
                    <a:pt x="38823" y="76226"/>
                    <a:pt x="38823" y="76226"/>
                    <a:pt x="38823" y="76226"/>
                  </a:cubicBezTo>
                  <a:cubicBezTo>
                    <a:pt x="37058" y="76226"/>
                    <a:pt x="37058" y="76226"/>
                    <a:pt x="37058" y="76226"/>
                  </a:cubicBezTo>
                  <a:cubicBezTo>
                    <a:pt x="37058" y="76226"/>
                    <a:pt x="36176" y="76981"/>
                    <a:pt x="36176" y="76981"/>
                  </a:cubicBezTo>
                  <a:cubicBezTo>
                    <a:pt x="35294" y="76981"/>
                    <a:pt x="34411" y="76226"/>
                    <a:pt x="34411" y="76226"/>
                  </a:cubicBezTo>
                  <a:cubicBezTo>
                    <a:pt x="33529" y="75471"/>
                    <a:pt x="31764" y="74716"/>
                    <a:pt x="31764" y="74716"/>
                  </a:cubicBezTo>
                  <a:cubicBezTo>
                    <a:pt x="30882" y="74716"/>
                    <a:pt x="31764" y="74716"/>
                    <a:pt x="30000" y="73962"/>
                  </a:cubicBezTo>
                  <a:cubicBezTo>
                    <a:pt x="28235" y="73207"/>
                    <a:pt x="27352" y="72452"/>
                    <a:pt x="27352" y="72452"/>
                  </a:cubicBezTo>
                  <a:cubicBezTo>
                    <a:pt x="26470" y="71698"/>
                    <a:pt x="26470" y="71698"/>
                    <a:pt x="26470" y="71698"/>
                  </a:cubicBezTo>
                  <a:cubicBezTo>
                    <a:pt x="26470" y="71698"/>
                    <a:pt x="26470" y="70943"/>
                    <a:pt x="25588" y="70943"/>
                  </a:cubicBezTo>
                  <a:cubicBezTo>
                    <a:pt x="24705" y="70188"/>
                    <a:pt x="22058" y="69433"/>
                    <a:pt x="22058" y="69433"/>
                  </a:cubicBezTo>
                  <a:cubicBezTo>
                    <a:pt x="22058" y="69433"/>
                    <a:pt x="22058" y="68679"/>
                    <a:pt x="22058" y="68679"/>
                  </a:cubicBezTo>
                  <a:cubicBezTo>
                    <a:pt x="22058" y="68679"/>
                    <a:pt x="22058" y="66415"/>
                    <a:pt x="22058" y="66415"/>
                  </a:cubicBezTo>
                  <a:cubicBezTo>
                    <a:pt x="22058" y="65660"/>
                    <a:pt x="21176" y="64150"/>
                    <a:pt x="21176" y="64150"/>
                  </a:cubicBezTo>
                  <a:cubicBezTo>
                    <a:pt x="21176" y="64150"/>
                    <a:pt x="22941" y="63396"/>
                    <a:pt x="22941" y="63396"/>
                  </a:cubicBezTo>
                  <a:cubicBezTo>
                    <a:pt x="23823" y="63396"/>
                    <a:pt x="24705" y="64150"/>
                    <a:pt x="24705" y="64150"/>
                  </a:cubicBezTo>
                  <a:cubicBezTo>
                    <a:pt x="25588" y="63396"/>
                    <a:pt x="25588" y="63396"/>
                    <a:pt x="25588" y="63396"/>
                  </a:cubicBezTo>
                  <a:cubicBezTo>
                    <a:pt x="32647" y="55094"/>
                    <a:pt x="32647" y="55094"/>
                    <a:pt x="32647" y="55094"/>
                  </a:cubicBezTo>
                  <a:cubicBezTo>
                    <a:pt x="38823" y="47547"/>
                    <a:pt x="38823" y="47547"/>
                    <a:pt x="38823" y="47547"/>
                  </a:cubicBezTo>
                  <a:cubicBezTo>
                    <a:pt x="41470" y="36226"/>
                    <a:pt x="41470" y="36226"/>
                    <a:pt x="41470" y="36226"/>
                  </a:cubicBezTo>
                  <a:cubicBezTo>
                    <a:pt x="43235" y="30943"/>
                    <a:pt x="43235" y="30943"/>
                    <a:pt x="43235" y="30943"/>
                  </a:cubicBezTo>
                  <a:cubicBezTo>
                    <a:pt x="45000" y="26415"/>
                    <a:pt x="45000" y="26415"/>
                    <a:pt x="45000" y="26415"/>
                  </a:cubicBezTo>
                  <a:cubicBezTo>
                    <a:pt x="45000" y="26415"/>
                    <a:pt x="45000" y="25660"/>
                    <a:pt x="45882" y="26415"/>
                  </a:cubicBezTo>
                  <a:cubicBezTo>
                    <a:pt x="45882" y="26415"/>
                    <a:pt x="46764" y="27924"/>
                    <a:pt x="46764" y="27924"/>
                  </a:cubicBezTo>
                  <a:cubicBezTo>
                    <a:pt x="47647" y="28679"/>
                    <a:pt x="47647" y="28679"/>
                    <a:pt x="47647" y="28679"/>
                  </a:cubicBezTo>
                  <a:cubicBezTo>
                    <a:pt x="48529" y="28679"/>
                    <a:pt x="48529" y="28679"/>
                    <a:pt x="48529" y="28679"/>
                  </a:cubicBezTo>
                  <a:cubicBezTo>
                    <a:pt x="48529" y="28679"/>
                    <a:pt x="50294" y="27924"/>
                    <a:pt x="51176" y="27924"/>
                  </a:cubicBezTo>
                  <a:cubicBezTo>
                    <a:pt x="51176" y="27924"/>
                    <a:pt x="54705" y="29433"/>
                    <a:pt x="54705" y="29433"/>
                  </a:cubicBezTo>
                  <a:cubicBezTo>
                    <a:pt x="54705" y="29433"/>
                    <a:pt x="54705" y="30943"/>
                    <a:pt x="54705" y="31698"/>
                  </a:cubicBezTo>
                  <a:cubicBezTo>
                    <a:pt x="54705" y="31698"/>
                    <a:pt x="56470" y="33207"/>
                    <a:pt x="55588" y="33962"/>
                  </a:cubicBezTo>
                  <a:cubicBezTo>
                    <a:pt x="55588" y="33962"/>
                    <a:pt x="54705" y="35471"/>
                    <a:pt x="54705" y="35471"/>
                  </a:cubicBezTo>
                  <a:cubicBezTo>
                    <a:pt x="54705" y="35471"/>
                    <a:pt x="55588" y="36226"/>
                    <a:pt x="55588" y="36226"/>
                  </a:cubicBezTo>
                  <a:cubicBezTo>
                    <a:pt x="56470" y="36226"/>
                    <a:pt x="56470" y="36226"/>
                    <a:pt x="57352" y="36226"/>
                  </a:cubicBezTo>
                  <a:cubicBezTo>
                    <a:pt x="58235" y="36226"/>
                    <a:pt x="59117" y="36981"/>
                    <a:pt x="59117" y="36981"/>
                  </a:cubicBezTo>
                  <a:cubicBezTo>
                    <a:pt x="59117" y="36981"/>
                    <a:pt x="59117" y="37735"/>
                    <a:pt x="59117" y="37735"/>
                  </a:cubicBezTo>
                  <a:cubicBezTo>
                    <a:pt x="59117" y="37735"/>
                    <a:pt x="59117" y="39245"/>
                    <a:pt x="59117" y="39245"/>
                  </a:cubicBezTo>
                  <a:cubicBezTo>
                    <a:pt x="59117" y="40000"/>
                    <a:pt x="57352" y="40000"/>
                    <a:pt x="57352" y="40000"/>
                  </a:cubicBezTo>
                  <a:cubicBezTo>
                    <a:pt x="57352" y="40000"/>
                    <a:pt x="57352" y="40754"/>
                    <a:pt x="57352" y="40754"/>
                  </a:cubicBezTo>
                  <a:cubicBezTo>
                    <a:pt x="56470" y="41509"/>
                    <a:pt x="55588" y="42264"/>
                    <a:pt x="54705" y="42264"/>
                  </a:cubicBezTo>
                  <a:cubicBezTo>
                    <a:pt x="54705" y="42264"/>
                    <a:pt x="52941" y="40754"/>
                    <a:pt x="52941" y="40754"/>
                  </a:cubicBezTo>
                  <a:cubicBezTo>
                    <a:pt x="52941" y="40754"/>
                    <a:pt x="52058" y="41509"/>
                    <a:pt x="52058" y="41509"/>
                  </a:cubicBezTo>
                  <a:cubicBezTo>
                    <a:pt x="52941" y="43018"/>
                    <a:pt x="52941" y="43018"/>
                    <a:pt x="52941" y="43018"/>
                  </a:cubicBezTo>
                  <a:cubicBezTo>
                    <a:pt x="53823" y="45283"/>
                    <a:pt x="53823" y="45283"/>
                    <a:pt x="53823" y="45283"/>
                  </a:cubicBezTo>
                  <a:cubicBezTo>
                    <a:pt x="52941" y="46037"/>
                    <a:pt x="52941" y="46037"/>
                    <a:pt x="52941" y="46037"/>
                  </a:cubicBezTo>
                  <a:cubicBezTo>
                    <a:pt x="53823" y="48301"/>
                    <a:pt x="53823" y="48301"/>
                    <a:pt x="53823" y="48301"/>
                  </a:cubicBezTo>
                  <a:cubicBezTo>
                    <a:pt x="53823" y="49811"/>
                    <a:pt x="53823" y="49811"/>
                    <a:pt x="53823" y="49811"/>
                  </a:cubicBezTo>
                  <a:cubicBezTo>
                    <a:pt x="52058" y="50566"/>
                    <a:pt x="52058" y="50566"/>
                    <a:pt x="52058" y="50566"/>
                  </a:cubicBezTo>
                  <a:cubicBezTo>
                    <a:pt x="52058" y="50566"/>
                    <a:pt x="51176" y="51320"/>
                    <a:pt x="50294" y="51320"/>
                  </a:cubicBezTo>
                  <a:cubicBezTo>
                    <a:pt x="50294" y="51320"/>
                    <a:pt x="49411" y="50566"/>
                    <a:pt x="49411" y="51320"/>
                  </a:cubicBezTo>
                  <a:cubicBezTo>
                    <a:pt x="50294" y="52075"/>
                    <a:pt x="50294" y="52830"/>
                    <a:pt x="51176" y="52830"/>
                  </a:cubicBezTo>
                  <a:cubicBezTo>
                    <a:pt x="52058" y="52830"/>
                    <a:pt x="53823" y="52830"/>
                    <a:pt x="53823" y="52830"/>
                  </a:cubicBezTo>
                  <a:cubicBezTo>
                    <a:pt x="55588" y="55094"/>
                    <a:pt x="55588" y="55094"/>
                    <a:pt x="55588" y="55094"/>
                  </a:cubicBezTo>
                  <a:cubicBezTo>
                    <a:pt x="55588" y="55094"/>
                    <a:pt x="56470" y="55094"/>
                    <a:pt x="57352" y="55094"/>
                  </a:cubicBezTo>
                  <a:cubicBezTo>
                    <a:pt x="57352" y="55094"/>
                    <a:pt x="59117" y="55849"/>
                    <a:pt x="59117" y="55849"/>
                  </a:cubicBezTo>
                  <a:cubicBezTo>
                    <a:pt x="59117" y="55849"/>
                    <a:pt x="59117" y="55849"/>
                    <a:pt x="60000" y="56603"/>
                  </a:cubicBezTo>
                  <a:cubicBezTo>
                    <a:pt x="60882" y="56603"/>
                    <a:pt x="62647" y="57358"/>
                    <a:pt x="62647" y="57358"/>
                  </a:cubicBezTo>
                  <a:cubicBezTo>
                    <a:pt x="62647" y="57358"/>
                    <a:pt x="62647" y="56603"/>
                    <a:pt x="61764" y="56603"/>
                  </a:cubicBezTo>
                  <a:cubicBezTo>
                    <a:pt x="61764" y="56603"/>
                    <a:pt x="60882" y="54339"/>
                    <a:pt x="59117" y="54339"/>
                  </a:cubicBezTo>
                  <a:cubicBezTo>
                    <a:pt x="58235" y="53584"/>
                    <a:pt x="57352" y="53584"/>
                    <a:pt x="56470" y="53584"/>
                  </a:cubicBezTo>
                  <a:cubicBezTo>
                    <a:pt x="55588" y="53584"/>
                    <a:pt x="53823" y="52830"/>
                    <a:pt x="53823" y="52830"/>
                  </a:cubicBezTo>
                  <a:cubicBezTo>
                    <a:pt x="53823" y="52075"/>
                    <a:pt x="52941" y="51320"/>
                    <a:pt x="53823" y="51320"/>
                  </a:cubicBezTo>
                  <a:cubicBezTo>
                    <a:pt x="53823" y="50566"/>
                    <a:pt x="53823" y="49811"/>
                    <a:pt x="55588" y="49811"/>
                  </a:cubicBezTo>
                  <a:cubicBezTo>
                    <a:pt x="56470" y="49811"/>
                    <a:pt x="57352" y="50566"/>
                    <a:pt x="58235" y="49811"/>
                  </a:cubicBezTo>
                  <a:cubicBezTo>
                    <a:pt x="59117" y="49811"/>
                    <a:pt x="60882" y="47547"/>
                    <a:pt x="60882" y="47547"/>
                  </a:cubicBezTo>
                  <a:cubicBezTo>
                    <a:pt x="62647" y="46037"/>
                    <a:pt x="62647" y="46037"/>
                    <a:pt x="62647" y="46037"/>
                  </a:cubicBezTo>
                  <a:cubicBezTo>
                    <a:pt x="65294" y="45283"/>
                    <a:pt x="65294" y="45283"/>
                    <a:pt x="65294" y="45283"/>
                  </a:cubicBezTo>
                  <a:cubicBezTo>
                    <a:pt x="65294" y="45283"/>
                    <a:pt x="68823" y="43773"/>
                    <a:pt x="68823" y="43773"/>
                  </a:cubicBezTo>
                  <a:cubicBezTo>
                    <a:pt x="68823" y="43773"/>
                    <a:pt x="69705" y="43773"/>
                    <a:pt x="70588" y="44528"/>
                  </a:cubicBezTo>
                  <a:cubicBezTo>
                    <a:pt x="71470" y="45283"/>
                    <a:pt x="71470" y="45283"/>
                    <a:pt x="71470" y="45283"/>
                  </a:cubicBezTo>
                  <a:cubicBezTo>
                    <a:pt x="72352" y="45283"/>
                    <a:pt x="74117" y="46037"/>
                    <a:pt x="74117" y="46037"/>
                  </a:cubicBezTo>
                  <a:cubicBezTo>
                    <a:pt x="74117" y="46037"/>
                    <a:pt x="74117" y="46037"/>
                    <a:pt x="75000" y="46792"/>
                  </a:cubicBezTo>
                  <a:cubicBezTo>
                    <a:pt x="75000" y="46792"/>
                    <a:pt x="75882" y="47547"/>
                    <a:pt x="75000" y="49056"/>
                  </a:cubicBezTo>
                  <a:cubicBezTo>
                    <a:pt x="75000" y="49811"/>
                    <a:pt x="75000" y="50566"/>
                    <a:pt x="75000" y="50566"/>
                  </a:cubicBezTo>
                  <a:cubicBezTo>
                    <a:pt x="75000" y="50566"/>
                    <a:pt x="75882" y="49811"/>
                    <a:pt x="75882" y="49056"/>
                  </a:cubicBezTo>
                  <a:cubicBezTo>
                    <a:pt x="75882" y="47547"/>
                    <a:pt x="75882" y="46792"/>
                    <a:pt x="75882" y="46037"/>
                  </a:cubicBezTo>
                  <a:cubicBezTo>
                    <a:pt x="75882" y="45283"/>
                    <a:pt x="75000" y="44528"/>
                    <a:pt x="75000" y="44528"/>
                  </a:cubicBezTo>
                  <a:cubicBezTo>
                    <a:pt x="75000" y="44528"/>
                    <a:pt x="73235" y="45283"/>
                    <a:pt x="71470" y="44528"/>
                  </a:cubicBezTo>
                  <a:cubicBezTo>
                    <a:pt x="70588" y="43773"/>
                    <a:pt x="70588" y="43018"/>
                    <a:pt x="69705" y="43018"/>
                  </a:cubicBezTo>
                  <a:cubicBezTo>
                    <a:pt x="69705" y="43018"/>
                    <a:pt x="68823" y="42264"/>
                    <a:pt x="67941" y="42264"/>
                  </a:cubicBezTo>
                  <a:cubicBezTo>
                    <a:pt x="67941" y="42264"/>
                    <a:pt x="67941" y="41509"/>
                    <a:pt x="67941" y="40754"/>
                  </a:cubicBezTo>
                  <a:cubicBezTo>
                    <a:pt x="67941" y="40000"/>
                    <a:pt x="67941" y="39245"/>
                    <a:pt x="67941" y="38490"/>
                  </a:cubicBezTo>
                  <a:cubicBezTo>
                    <a:pt x="67941" y="38490"/>
                    <a:pt x="67058" y="37735"/>
                    <a:pt x="67941" y="36981"/>
                  </a:cubicBezTo>
                  <a:cubicBezTo>
                    <a:pt x="68823" y="36226"/>
                    <a:pt x="68823" y="36226"/>
                    <a:pt x="69705" y="36226"/>
                  </a:cubicBezTo>
                  <a:cubicBezTo>
                    <a:pt x="69705" y="35471"/>
                    <a:pt x="71470" y="34716"/>
                    <a:pt x="70588" y="34716"/>
                  </a:cubicBezTo>
                  <a:cubicBezTo>
                    <a:pt x="70588" y="33962"/>
                    <a:pt x="69705" y="33962"/>
                    <a:pt x="68823" y="33962"/>
                  </a:cubicBezTo>
                  <a:cubicBezTo>
                    <a:pt x="67941" y="33962"/>
                    <a:pt x="68823" y="34716"/>
                    <a:pt x="67941" y="34716"/>
                  </a:cubicBezTo>
                  <a:cubicBezTo>
                    <a:pt x="66176" y="34716"/>
                    <a:pt x="66176" y="33962"/>
                    <a:pt x="65294" y="33207"/>
                  </a:cubicBezTo>
                  <a:cubicBezTo>
                    <a:pt x="65294" y="32452"/>
                    <a:pt x="65294" y="32452"/>
                    <a:pt x="64411" y="33207"/>
                  </a:cubicBezTo>
                  <a:cubicBezTo>
                    <a:pt x="63529" y="33207"/>
                    <a:pt x="62647" y="32452"/>
                    <a:pt x="62647" y="32452"/>
                  </a:cubicBezTo>
                  <a:cubicBezTo>
                    <a:pt x="62647" y="32452"/>
                    <a:pt x="61764" y="31698"/>
                    <a:pt x="62647" y="30943"/>
                  </a:cubicBezTo>
                  <a:cubicBezTo>
                    <a:pt x="62647" y="30943"/>
                    <a:pt x="63529" y="29433"/>
                    <a:pt x="63529" y="29433"/>
                  </a:cubicBezTo>
                  <a:cubicBezTo>
                    <a:pt x="63529" y="29433"/>
                    <a:pt x="63529" y="27169"/>
                    <a:pt x="63529" y="27169"/>
                  </a:cubicBezTo>
                  <a:cubicBezTo>
                    <a:pt x="63529" y="26415"/>
                    <a:pt x="63529" y="26415"/>
                    <a:pt x="63529" y="26415"/>
                  </a:cubicBezTo>
                  <a:close/>
                  <a:moveTo>
                    <a:pt x="112058" y="754"/>
                  </a:moveTo>
                  <a:cubicBezTo>
                    <a:pt x="112058" y="754"/>
                    <a:pt x="112058" y="754"/>
                    <a:pt x="112058" y="754"/>
                  </a:cubicBezTo>
                  <a:cubicBezTo>
                    <a:pt x="112058" y="754"/>
                    <a:pt x="112058" y="0"/>
                    <a:pt x="112941" y="0"/>
                  </a:cubicBezTo>
                  <a:cubicBezTo>
                    <a:pt x="113823" y="0"/>
                    <a:pt x="113823" y="0"/>
                    <a:pt x="114705" y="0"/>
                  </a:cubicBezTo>
                  <a:cubicBezTo>
                    <a:pt x="114705" y="0"/>
                    <a:pt x="116470" y="0"/>
                    <a:pt x="116470" y="0"/>
                  </a:cubicBezTo>
                  <a:cubicBezTo>
                    <a:pt x="116470" y="0"/>
                    <a:pt x="117352" y="0"/>
                    <a:pt x="118235" y="0"/>
                  </a:cubicBezTo>
                  <a:cubicBezTo>
                    <a:pt x="118235" y="0"/>
                    <a:pt x="119117" y="0"/>
                    <a:pt x="119117" y="0"/>
                  </a:cubicBezTo>
                  <a:cubicBezTo>
                    <a:pt x="120000" y="0"/>
                    <a:pt x="119117" y="754"/>
                    <a:pt x="119117" y="754"/>
                  </a:cubicBezTo>
                  <a:cubicBezTo>
                    <a:pt x="117352" y="754"/>
                    <a:pt x="117352" y="754"/>
                    <a:pt x="117352" y="754"/>
                  </a:cubicBezTo>
                  <a:cubicBezTo>
                    <a:pt x="117352" y="754"/>
                    <a:pt x="116470" y="754"/>
                    <a:pt x="115588" y="754"/>
                  </a:cubicBezTo>
                  <a:cubicBezTo>
                    <a:pt x="115588" y="1509"/>
                    <a:pt x="114705" y="1509"/>
                    <a:pt x="114705" y="1509"/>
                  </a:cubicBezTo>
                  <a:cubicBezTo>
                    <a:pt x="114705" y="1509"/>
                    <a:pt x="113823" y="1509"/>
                    <a:pt x="113823" y="1509"/>
                  </a:cubicBezTo>
                  <a:cubicBezTo>
                    <a:pt x="112941" y="1509"/>
                    <a:pt x="112941" y="754"/>
                    <a:pt x="112941" y="1509"/>
                  </a:cubicBezTo>
                  <a:cubicBezTo>
                    <a:pt x="112058" y="1509"/>
                    <a:pt x="112058" y="754"/>
                    <a:pt x="112058" y="754"/>
                  </a:cubicBezTo>
                  <a:close/>
                  <a:moveTo>
                    <a:pt x="104117" y="4528"/>
                  </a:moveTo>
                  <a:cubicBezTo>
                    <a:pt x="104117" y="4528"/>
                    <a:pt x="104117" y="4528"/>
                    <a:pt x="104117" y="4528"/>
                  </a:cubicBezTo>
                  <a:cubicBezTo>
                    <a:pt x="104117" y="4528"/>
                    <a:pt x="104117" y="3773"/>
                    <a:pt x="105000" y="3773"/>
                  </a:cubicBezTo>
                  <a:cubicBezTo>
                    <a:pt x="105000" y="3773"/>
                    <a:pt x="105000" y="3018"/>
                    <a:pt x="105882" y="3773"/>
                  </a:cubicBezTo>
                  <a:cubicBezTo>
                    <a:pt x="105882" y="3773"/>
                    <a:pt x="105882" y="5283"/>
                    <a:pt x="105882" y="5283"/>
                  </a:cubicBezTo>
                  <a:cubicBezTo>
                    <a:pt x="105000" y="5283"/>
                    <a:pt x="105000" y="5283"/>
                    <a:pt x="104117" y="5283"/>
                  </a:cubicBezTo>
                  <a:cubicBezTo>
                    <a:pt x="104117" y="5283"/>
                    <a:pt x="104117" y="4528"/>
                    <a:pt x="104117" y="4528"/>
                  </a:cubicBezTo>
                  <a:close/>
                  <a:moveTo>
                    <a:pt x="98823" y="6792"/>
                  </a:moveTo>
                  <a:cubicBezTo>
                    <a:pt x="98823" y="6792"/>
                    <a:pt x="98823" y="6792"/>
                    <a:pt x="98823" y="6792"/>
                  </a:cubicBezTo>
                  <a:cubicBezTo>
                    <a:pt x="98823" y="6792"/>
                    <a:pt x="97941" y="6037"/>
                    <a:pt x="97941" y="6037"/>
                  </a:cubicBezTo>
                  <a:cubicBezTo>
                    <a:pt x="97941" y="6037"/>
                    <a:pt x="97941" y="5283"/>
                    <a:pt x="98823" y="5283"/>
                  </a:cubicBezTo>
                  <a:cubicBezTo>
                    <a:pt x="98823" y="5283"/>
                    <a:pt x="99705" y="5283"/>
                    <a:pt x="99705" y="5283"/>
                  </a:cubicBezTo>
                  <a:cubicBezTo>
                    <a:pt x="100588" y="5283"/>
                    <a:pt x="100588" y="5283"/>
                    <a:pt x="100588" y="5283"/>
                  </a:cubicBezTo>
                  <a:cubicBezTo>
                    <a:pt x="100588" y="5283"/>
                    <a:pt x="101470" y="4528"/>
                    <a:pt x="101470" y="4528"/>
                  </a:cubicBezTo>
                  <a:cubicBezTo>
                    <a:pt x="101470" y="4528"/>
                    <a:pt x="102352" y="6037"/>
                    <a:pt x="102352" y="6037"/>
                  </a:cubicBezTo>
                  <a:cubicBezTo>
                    <a:pt x="102352" y="6037"/>
                    <a:pt x="102352" y="6037"/>
                    <a:pt x="101470" y="6037"/>
                  </a:cubicBezTo>
                  <a:cubicBezTo>
                    <a:pt x="101470" y="6037"/>
                    <a:pt x="100588" y="6792"/>
                    <a:pt x="100588" y="6792"/>
                  </a:cubicBezTo>
                  <a:cubicBezTo>
                    <a:pt x="99705" y="7547"/>
                    <a:pt x="99705" y="7547"/>
                    <a:pt x="99705" y="7547"/>
                  </a:cubicBezTo>
                  <a:cubicBezTo>
                    <a:pt x="98823" y="6792"/>
                    <a:pt x="98823" y="6792"/>
                    <a:pt x="98823" y="6792"/>
                  </a:cubicBezTo>
                  <a:close/>
                  <a:moveTo>
                    <a:pt x="95294" y="9056"/>
                  </a:moveTo>
                  <a:cubicBezTo>
                    <a:pt x="95294" y="9056"/>
                    <a:pt x="95294" y="9056"/>
                    <a:pt x="95294" y="9056"/>
                  </a:cubicBezTo>
                  <a:cubicBezTo>
                    <a:pt x="95294" y="8301"/>
                    <a:pt x="94411" y="8301"/>
                    <a:pt x="94411" y="8301"/>
                  </a:cubicBezTo>
                  <a:cubicBezTo>
                    <a:pt x="94411" y="8301"/>
                    <a:pt x="93529" y="7547"/>
                    <a:pt x="93529" y="7547"/>
                  </a:cubicBezTo>
                  <a:cubicBezTo>
                    <a:pt x="93529" y="7547"/>
                    <a:pt x="93529" y="6792"/>
                    <a:pt x="94411" y="6792"/>
                  </a:cubicBezTo>
                  <a:cubicBezTo>
                    <a:pt x="94411" y="6792"/>
                    <a:pt x="94411" y="6792"/>
                    <a:pt x="94411" y="7547"/>
                  </a:cubicBezTo>
                  <a:cubicBezTo>
                    <a:pt x="95294" y="7547"/>
                    <a:pt x="95294" y="8301"/>
                    <a:pt x="95294" y="8301"/>
                  </a:cubicBezTo>
                  <a:cubicBezTo>
                    <a:pt x="95294" y="9056"/>
                    <a:pt x="95294" y="9056"/>
                    <a:pt x="95294" y="9056"/>
                  </a:cubicBezTo>
                  <a:close/>
                  <a:moveTo>
                    <a:pt x="84705" y="9056"/>
                  </a:moveTo>
                  <a:cubicBezTo>
                    <a:pt x="84705" y="9056"/>
                    <a:pt x="84705" y="9056"/>
                    <a:pt x="84705" y="9056"/>
                  </a:cubicBezTo>
                  <a:cubicBezTo>
                    <a:pt x="84705" y="9056"/>
                    <a:pt x="84705" y="9056"/>
                    <a:pt x="85588" y="9056"/>
                  </a:cubicBezTo>
                  <a:cubicBezTo>
                    <a:pt x="86470" y="8301"/>
                    <a:pt x="86470" y="7547"/>
                    <a:pt x="87352" y="8301"/>
                  </a:cubicBezTo>
                  <a:cubicBezTo>
                    <a:pt x="88235" y="8301"/>
                    <a:pt x="90000" y="9056"/>
                    <a:pt x="90000" y="9056"/>
                  </a:cubicBezTo>
                  <a:cubicBezTo>
                    <a:pt x="90000" y="9056"/>
                    <a:pt x="90000" y="8301"/>
                    <a:pt x="90000" y="8301"/>
                  </a:cubicBezTo>
                  <a:cubicBezTo>
                    <a:pt x="90882" y="8301"/>
                    <a:pt x="90882" y="9056"/>
                    <a:pt x="90882" y="9056"/>
                  </a:cubicBezTo>
                  <a:cubicBezTo>
                    <a:pt x="90882" y="9056"/>
                    <a:pt x="90000" y="9056"/>
                    <a:pt x="90000" y="9056"/>
                  </a:cubicBezTo>
                  <a:cubicBezTo>
                    <a:pt x="89117" y="9811"/>
                    <a:pt x="89117" y="9811"/>
                    <a:pt x="88235" y="9811"/>
                  </a:cubicBezTo>
                  <a:cubicBezTo>
                    <a:pt x="87352" y="9811"/>
                    <a:pt x="87352" y="9056"/>
                    <a:pt x="86470" y="9811"/>
                  </a:cubicBezTo>
                  <a:cubicBezTo>
                    <a:pt x="86470" y="9811"/>
                    <a:pt x="86470" y="10566"/>
                    <a:pt x="85588" y="10566"/>
                  </a:cubicBezTo>
                  <a:cubicBezTo>
                    <a:pt x="85588" y="10566"/>
                    <a:pt x="84705" y="10566"/>
                    <a:pt x="84705" y="10566"/>
                  </a:cubicBezTo>
                  <a:cubicBezTo>
                    <a:pt x="84705" y="9811"/>
                    <a:pt x="84705" y="9056"/>
                    <a:pt x="84705" y="9056"/>
                  </a:cubicBezTo>
                  <a:close/>
                  <a:moveTo>
                    <a:pt x="82058" y="9811"/>
                  </a:moveTo>
                  <a:cubicBezTo>
                    <a:pt x="82058" y="9811"/>
                    <a:pt x="82058" y="9811"/>
                    <a:pt x="82058" y="9811"/>
                  </a:cubicBezTo>
                  <a:cubicBezTo>
                    <a:pt x="82058" y="9811"/>
                    <a:pt x="82058" y="9056"/>
                    <a:pt x="82941" y="9811"/>
                  </a:cubicBezTo>
                  <a:cubicBezTo>
                    <a:pt x="82941" y="9811"/>
                    <a:pt x="82941" y="9056"/>
                    <a:pt x="82941" y="9811"/>
                  </a:cubicBezTo>
                  <a:cubicBezTo>
                    <a:pt x="83823" y="10566"/>
                    <a:pt x="83823" y="11320"/>
                    <a:pt x="82941" y="11320"/>
                  </a:cubicBezTo>
                  <a:cubicBezTo>
                    <a:pt x="82058" y="10566"/>
                    <a:pt x="82058" y="9811"/>
                    <a:pt x="82058" y="9811"/>
                  </a:cubicBezTo>
                  <a:close/>
                  <a:moveTo>
                    <a:pt x="71470" y="9811"/>
                  </a:moveTo>
                  <a:cubicBezTo>
                    <a:pt x="71470" y="9811"/>
                    <a:pt x="71470" y="9811"/>
                    <a:pt x="71470" y="9811"/>
                  </a:cubicBezTo>
                  <a:cubicBezTo>
                    <a:pt x="71470" y="9811"/>
                    <a:pt x="71470" y="9056"/>
                    <a:pt x="72352" y="9056"/>
                  </a:cubicBezTo>
                  <a:cubicBezTo>
                    <a:pt x="72352" y="9056"/>
                    <a:pt x="72352" y="9056"/>
                    <a:pt x="73235" y="9056"/>
                  </a:cubicBezTo>
                  <a:cubicBezTo>
                    <a:pt x="73235" y="9811"/>
                    <a:pt x="74117" y="9811"/>
                    <a:pt x="74117" y="9811"/>
                  </a:cubicBezTo>
                  <a:cubicBezTo>
                    <a:pt x="75000" y="9811"/>
                    <a:pt x="75000" y="9811"/>
                    <a:pt x="75000" y="9811"/>
                  </a:cubicBezTo>
                  <a:cubicBezTo>
                    <a:pt x="75882" y="9811"/>
                    <a:pt x="75882" y="9056"/>
                    <a:pt x="76764" y="9811"/>
                  </a:cubicBezTo>
                  <a:cubicBezTo>
                    <a:pt x="77647" y="9811"/>
                    <a:pt x="77647" y="9811"/>
                    <a:pt x="78529" y="9811"/>
                  </a:cubicBezTo>
                  <a:cubicBezTo>
                    <a:pt x="78529" y="9811"/>
                    <a:pt x="80294" y="9811"/>
                    <a:pt x="80294" y="9811"/>
                  </a:cubicBezTo>
                  <a:cubicBezTo>
                    <a:pt x="80294" y="9811"/>
                    <a:pt x="80294" y="10566"/>
                    <a:pt x="80294" y="10566"/>
                  </a:cubicBezTo>
                  <a:cubicBezTo>
                    <a:pt x="79411" y="10566"/>
                    <a:pt x="79411" y="10566"/>
                    <a:pt x="78529" y="10566"/>
                  </a:cubicBezTo>
                  <a:cubicBezTo>
                    <a:pt x="78529" y="10566"/>
                    <a:pt x="79411" y="10566"/>
                    <a:pt x="77647" y="10566"/>
                  </a:cubicBezTo>
                  <a:cubicBezTo>
                    <a:pt x="76764" y="10566"/>
                    <a:pt x="76764" y="10566"/>
                    <a:pt x="75882" y="10566"/>
                  </a:cubicBezTo>
                  <a:cubicBezTo>
                    <a:pt x="75882" y="10566"/>
                    <a:pt x="75882" y="10566"/>
                    <a:pt x="75000" y="10566"/>
                  </a:cubicBezTo>
                  <a:cubicBezTo>
                    <a:pt x="75000" y="10566"/>
                    <a:pt x="75000" y="10566"/>
                    <a:pt x="75000" y="10566"/>
                  </a:cubicBezTo>
                  <a:cubicBezTo>
                    <a:pt x="74117" y="10566"/>
                    <a:pt x="76764" y="9811"/>
                    <a:pt x="74117" y="10566"/>
                  </a:cubicBezTo>
                  <a:cubicBezTo>
                    <a:pt x="71470" y="11320"/>
                    <a:pt x="71470" y="11320"/>
                    <a:pt x="71470" y="11320"/>
                  </a:cubicBezTo>
                  <a:cubicBezTo>
                    <a:pt x="71470" y="11320"/>
                    <a:pt x="71470" y="10566"/>
                    <a:pt x="71470" y="10566"/>
                  </a:cubicBezTo>
                  <a:cubicBezTo>
                    <a:pt x="71470" y="10566"/>
                    <a:pt x="71470" y="9811"/>
                    <a:pt x="71470" y="9811"/>
                  </a:cubicBezTo>
                  <a:close/>
                  <a:moveTo>
                    <a:pt x="60000" y="12075"/>
                  </a:moveTo>
                  <a:cubicBezTo>
                    <a:pt x="60000" y="12075"/>
                    <a:pt x="60000" y="12075"/>
                    <a:pt x="60000" y="12075"/>
                  </a:cubicBezTo>
                  <a:cubicBezTo>
                    <a:pt x="60882" y="12075"/>
                    <a:pt x="60882" y="12075"/>
                    <a:pt x="60882" y="12075"/>
                  </a:cubicBezTo>
                  <a:cubicBezTo>
                    <a:pt x="60882" y="12075"/>
                    <a:pt x="62647" y="12075"/>
                    <a:pt x="62647" y="11320"/>
                  </a:cubicBezTo>
                  <a:cubicBezTo>
                    <a:pt x="63529" y="11320"/>
                    <a:pt x="63529" y="11320"/>
                    <a:pt x="63529" y="11320"/>
                  </a:cubicBezTo>
                  <a:cubicBezTo>
                    <a:pt x="63529" y="11320"/>
                    <a:pt x="65294" y="10566"/>
                    <a:pt x="65294" y="10566"/>
                  </a:cubicBezTo>
                  <a:cubicBezTo>
                    <a:pt x="66176" y="10566"/>
                    <a:pt x="67058" y="9811"/>
                    <a:pt x="67058" y="9811"/>
                  </a:cubicBezTo>
                  <a:cubicBezTo>
                    <a:pt x="67058" y="9811"/>
                    <a:pt x="68823" y="10566"/>
                    <a:pt x="68823" y="10566"/>
                  </a:cubicBezTo>
                  <a:cubicBezTo>
                    <a:pt x="69705" y="10566"/>
                    <a:pt x="69705" y="9811"/>
                    <a:pt x="69705" y="9811"/>
                  </a:cubicBezTo>
                  <a:cubicBezTo>
                    <a:pt x="67941" y="9056"/>
                    <a:pt x="67941" y="9056"/>
                    <a:pt x="67941" y="9056"/>
                  </a:cubicBezTo>
                  <a:cubicBezTo>
                    <a:pt x="64411" y="9811"/>
                    <a:pt x="64411" y="9811"/>
                    <a:pt x="64411" y="9811"/>
                  </a:cubicBezTo>
                  <a:cubicBezTo>
                    <a:pt x="64411" y="9811"/>
                    <a:pt x="61764" y="10566"/>
                    <a:pt x="60882" y="10566"/>
                  </a:cubicBezTo>
                  <a:cubicBezTo>
                    <a:pt x="60000" y="9811"/>
                    <a:pt x="59117" y="10566"/>
                    <a:pt x="59117" y="10566"/>
                  </a:cubicBezTo>
                  <a:cubicBezTo>
                    <a:pt x="58235" y="11320"/>
                    <a:pt x="58235" y="11320"/>
                    <a:pt x="58235" y="11320"/>
                  </a:cubicBezTo>
                  <a:cubicBezTo>
                    <a:pt x="58235" y="11320"/>
                    <a:pt x="59117" y="12075"/>
                    <a:pt x="59117" y="12075"/>
                  </a:cubicBezTo>
                  <a:cubicBezTo>
                    <a:pt x="59117" y="12830"/>
                    <a:pt x="60000" y="12075"/>
                    <a:pt x="60000" y="12075"/>
                  </a:cubicBezTo>
                  <a:close/>
                  <a:moveTo>
                    <a:pt x="49411" y="16603"/>
                  </a:moveTo>
                  <a:cubicBezTo>
                    <a:pt x="49411" y="16603"/>
                    <a:pt x="49411" y="16603"/>
                    <a:pt x="49411" y="16603"/>
                  </a:cubicBezTo>
                  <a:cubicBezTo>
                    <a:pt x="49411" y="16603"/>
                    <a:pt x="49411" y="16603"/>
                    <a:pt x="49411" y="16603"/>
                  </a:cubicBezTo>
                  <a:cubicBezTo>
                    <a:pt x="50294" y="17358"/>
                    <a:pt x="50294" y="17358"/>
                    <a:pt x="50294" y="17358"/>
                  </a:cubicBezTo>
                  <a:cubicBezTo>
                    <a:pt x="50294" y="17358"/>
                    <a:pt x="51176" y="16603"/>
                    <a:pt x="51176" y="16603"/>
                  </a:cubicBezTo>
                  <a:cubicBezTo>
                    <a:pt x="51176" y="15849"/>
                    <a:pt x="52058" y="15849"/>
                    <a:pt x="52058" y="15849"/>
                  </a:cubicBezTo>
                  <a:cubicBezTo>
                    <a:pt x="52058" y="15849"/>
                    <a:pt x="52941" y="15094"/>
                    <a:pt x="53823" y="15094"/>
                  </a:cubicBezTo>
                  <a:cubicBezTo>
                    <a:pt x="53823" y="15094"/>
                    <a:pt x="55588" y="14339"/>
                    <a:pt x="55588" y="14339"/>
                  </a:cubicBezTo>
                  <a:cubicBezTo>
                    <a:pt x="55588" y="13584"/>
                    <a:pt x="55588" y="13584"/>
                    <a:pt x="55588" y="13584"/>
                  </a:cubicBezTo>
                  <a:cubicBezTo>
                    <a:pt x="55588" y="13584"/>
                    <a:pt x="52941" y="13584"/>
                    <a:pt x="52941" y="13584"/>
                  </a:cubicBezTo>
                  <a:cubicBezTo>
                    <a:pt x="52941" y="13584"/>
                    <a:pt x="51176" y="15094"/>
                    <a:pt x="51176" y="15094"/>
                  </a:cubicBezTo>
                  <a:cubicBezTo>
                    <a:pt x="51176" y="15094"/>
                    <a:pt x="49411" y="16603"/>
                    <a:pt x="49411" y="16603"/>
                  </a:cubicBezTo>
                  <a:close/>
                  <a:moveTo>
                    <a:pt x="48529" y="24150"/>
                  </a:moveTo>
                  <a:cubicBezTo>
                    <a:pt x="48529" y="24150"/>
                    <a:pt x="48529" y="24150"/>
                    <a:pt x="48529" y="24150"/>
                  </a:cubicBezTo>
                  <a:cubicBezTo>
                    <a:pt x="48529" y="24150"/>
                    <a:pt x="50294" y="22641"/>
                    <a:pt x="50294" y="21886"/>
                  </a:cubicBezTo>
                  <a:cubicBezTo>
                    <a:pt x="50294" y="21886"/>
                    <a:pt x="50294" y="20377"/>
                    <a:pt x="50294" y="20377"/>
                  </a:cubicBezTo>
                  <a:cubicBezTo>
                    <a:pt x="50294" y="18867"/>
                    <a:pt x="50294" y="18867"/>
                    <a:pt x="50294" y="18867"/>
                  </a:cubicBezTo>
                  <a:cubicBezTo>
                    <a:pt x="48529" y="17358"/>
                    <a:pt x="48529" y="17358"/>
                    <a:pt x="48529" y="17358"/>
                  </a:cubicBezTo>
                  <a:cubicBezTo>
                    <a:pt x="48529" y="17358"/>
                    <a:pt x="47647" y="18867"/>
                    <a:pt x="47647" y="18867"/>
                  </a:cubicBezTo>
                  <a:cubicBezTo>
                    <a:pt x="47647" y="19622"/>
                    <a:pt x="46764" y="19622"/>
                    <a:pt x="45882" y="20377"/>
                  </a:cubicBezTo>
                  <a:cubicBezTo>
                    <a:pt x="45000" y="21132"/>
                    <a:pt x="45000" y="21886"/>
                    <a:pt x="45000" y="22641"/>
                  </a:cubicBezTo>
                  <a:cubicBezTo>
                    <a:pt x="45000" y="22641"/>
                    <a:pt x="44117" y="23396"/>
                    <a:pt x="44117" y="24150"/>
                  </a:cubicBezTo>
                  <a:cubicBezTo>
                    <a:pt x="44117" y="24905"/>
                    <a:pt x="45000" y="24905"/>
                    <a:pt x="45882" y="24905"/>
                  </a:cubicBezTo>
                  <a:cubicBezTo>
                    <a:pt x="46764" y="24905"/>
                    <a:pt x="45882" y="24905"/>
                    <a:pt x="45882" y="24905"/>
                  </a:cubicBezTo>
                  <a:cubicBezTo>
                    <a:pt x="48529" y="24150"/>
                    <a:pt x="48529" y="24150"/>
                    <a:pt x="48529" y="24150"/>
                  </a:cubicBezTo>
                  <a:close/>
                  <a:moveTo>
                    <a:pt x="18529" y="70943"/>
                  </a:moveTo>
                  <a:cubicBezTo>
                    <a:pt x="18529" y="70943"/>
                    <a:pt x="18529" y="70943"/>
                    <a:pt x="18529" y="70943"/>
                  </a:cubicBezTo>
                  <a:cubicBezTo>
                    <a:pt x="18529" y="70943"/>
                    <a:pt x="18529" y="70943"/>
                    <a:pt x="19411" y="70943"/>
                  </a:cubicBezTo>
                  <a:cubicBezTo>
                    <a:pt x="19411" y="70943"/>
                    <a:pt x="19411" y="70188"/>
                    <a:pt x="19411" y="70188"/>
                  </a:cubicBezTo>
                  <a:cubicBezTo>
                    <a:pt x="20294" y="70188"/>
                    <a:pt x="20294" y="70943"/>
                    <a:pt x="20294" y="70943"/>
                  </a:cubicBezTo>
                  <a:cubicBezTo>
                    <a:pt x="21176" y="70943"/>
                    <a:pt x="21176" y="71698"/>
                    <a:pt x="21176" y="71698"/>
                  </a:cubicBezTo>
                  <a:cubicBezTo>
                    <a:pt x="22058" y="73207"/>
                    <a:pt x="22058" y="73207"/>
                    <a:pt x="22058" y="73207"/>
                  </a:cubicBezTo>
                  <a:cubicBezTo>
                    <a:pt x="22058" y="73207"/>
                    <a:pt x="22058" y="73962"/>
                    <a:pt x="22058" y="73962"/>
                  </a:cubicBezTo>
                  <a:cubicBezTo>
                    <a:pt x="22058" y="74716"/>
                    <a:pt x="22058" y="74716"/>
                    <a:pt x="22058" y="74716"/>
                  </a:cubicBezTo>
                  <a:cubicBezTo>
                    <a:pt x="22058" y="74716"/>
                    <a:pt x="22941" y="74716"/>
                    <a:pt x="23823" y="74716"/>
                  </a:cubicBezTo>
                  <a:cubicBezTo>
                    <a:pt x="23823" y="74716"/>
                    <a:pt x="23823" y="75471"/>
                    <a:pt x="24705" y="75471"/>
                  </a:cubicBezTo>
                  <a:cubicBezTo>
                    <a:pt x="25588" y="76226"/>
                    <a:pt x="25588" y="76226"/>
                    <a:pt x="25588" y="76226"/>
                  </a:cubicBezTo>
                  <a:cubicBezTo>
                    <a:pt x="26470" y="76981"/>
                    <a:pt x="26470" y="76981"/>
                    <a:pt x="27352" y="77735"/>
                  </a:cubicBezTo>
                  <a:cubicBezTo>
                    <a:pt x="28235" y="77735"/>
                    <a:pt x="28235" y="77735"/>
                    <a:pt x="29117" y="77735"/>
                  </a:cubicBezTo>
                  <a:cubicBezTo>
                    <a:pt x="29117" y="76981"/>
                    <a:pt x="29117" y="76981"/>
                    <a:pt x="30000" y="76981"/>
                  </a:cubicBezTo>
                  <a:cubicBezTo>
                    <a:pt x="30000" y="76981"/>
                    <a:pt x="30000" y="76981"/>
                    <a:pt x="30882" y="76981"/>
                  </a:cubicBezTo>
                  <a:cubicBezTo>
                    <a:pt x="30882" y="76226"/>
                    <a:pt x="30000" y="76226"/>
                    <a:pt x="30000" y="76226"/>
                  </a:cubicBezTo>
                  <a:cubicBezTo>
                    <a:pt x="30000" y="76226"/>
                    <a:pt x="29117" y="75471"/>
                    <a:pt x="28235" y="74716"/>
                  </a:cubicBezTo>
                  <a:cubicBezTo>
                    <a:pt x="28235" y="74716"/>
                    <a:pt x="28235" y="74716"/>
                    <a:pt x="28235" y="73962"/>
                  </a:cubicBezTo>
                  <a:cubicBezTo>
                    <a:pt x="28235" y="73962"/>
                    <a:pt x="28235" y="73962"/>
                    <a:pt x="27352" y="73207"/>
                  </a:cubicBezTo>
                  <a:cubicBezTo>
                    <a:pt x="26470" y="73207"/>
                    <a:pt x="26470" y="73207"/>
                    <a:pt x="26470" y="73207"/>
                  </a:cubicBezTo>
                  <a:cubicBezTo>
                    <a:pt x="25588" y="72452"/>
                    <a:pt x="25588" y="71698"/>
                    <a:pt x="25588" y="71698"/>
                  </a:cubicBezTo>
                  <a:cubicBezTo>
                    <a:pt x="25588" y="71698"/>
                    <a:pt x="23823" y="71698"/>
                    <a:pt x="23823" y="70943"/>
                  </a:cubicBezTo>
                  <a:cubicBezTo>
                    <a:pt x="23823" y="70943"/>
                    <a:pt x="22941" y="70943"/>
                    <a:pt x="22941" y="70943"/>
                  </a:cubicBezTo>
                  <a:cubicBezTo>
                    <a:pt x="22941" y="70943"/>
                    <a:pt x="21176" y="70188"/>
                    <a:pt x="21176" y="69433"/>
                  </a:cubicBezTo>
                  <a:cubicBezTo>
                    <a:pt x="21176" y="69433"/>
                    <a:pt x="21176" y="68679"/>
                    <a:pt x="21176" y="68679"/>
                  </a:cubicBezTo>
                  <a:cubicBezTo>
                    <a:pt x="21176" y="68679"/>
                    <a:pt x="20294" y="68679"/>
                    <a:pt x="19411" y="68679"/>
                  </a:cubicBezTo>
                  <a:cubicBezTo>
                    <a:pt x="18529" y="69433"/>
                    <a:pt x="17647" y="69433"/>
                    <a:pt x="17647" y="69433"/>
                  </a:cubicBezTo>
                  <a:cubicBezTo>
                    <a:pt x="16764" y="69433"/>
                    <a:pt x="16764" y="70188"/>
                    <a:pt x="16764" y="70188"/>
                  </a:cubicBezTo>
                  <a:cubicBezTo>
                    <a:pt x="16764" y="70188"/>
                    <a:pt x="16764" y="70943"/>
                    <a:pt x="17647" y="70943"/>
                  </a:cubicBezTo>
                  <a:cubicBezTo>
                    <a:pt x="17647" y="71698"/>
                    <a:pt x="18529" y="70943"/>
                    <a:pt x="18529" y="70943"/>
                  </a:cubicBezTo>
                  <a:close/>
                  <a:moveTo>
                    <a:pt x="62647" y="56603"/>
                  </a:moveTo>
                  <a:cubicBezTo>
                    <a:pt x="62647" y="56603"/>
                    <a:pt x="62647" y="56603"/>
                    <a:pt x="62647" y="56603"/>
                  </a:cubicBezTo>
                  <a:cubicBezTo>
                    <a:pt x="62647" y="57358"/>
                    <a:pt x="62647" y="57358"/>
                    <a:pt x="62647" y="57358"/>
                  </a:cubicBezTo>
                  <a:cubicBezTo>
                    <a:pt x="62647" y="57358"/>
                    <a:pt x="62647" y="57358"/>
                    <a:pt x="63529" y="57358"/>
                  </a:cubicBezTo>
                  <a:cubicBezTo>
                    <a:pt x="63529" y="56603"/>
                    <a:pt x="63529" y="57358"/>
                    <a:pt x="64411" y="57358"/>
                  </a:cubicBezTo>
                  <a:cubicBezTo>
                    <a:pt x="64411" y="57358"/>
                    <a:pt x="64411" y="57358"/>
                    <a:pt x="64411" y="57358"/>
                  </a:cubicBezTo>
                  <a:cubicBezTo>
                    <a:pt x="65294" y="57358"/>
                    <a:pt x="66176" y="55849"/>
                    <a:pt x="66176" y="55849"/>
                  </a:cubicBezTo>
                  <a:cubicBezTo>
                    <a:pt x="66176" y="55849"/>
                    <a:pt x="66176" y="55849"/>
                    <a:pt x="67058" y="55849"/>
                  </a:cubicBezTo>
                  <a:cubicBezTo>
                    <a:pt x="67058" y="55849"/>
                    <a:pt x="67941" y="55849"/>
                    <a:pt x="67941" y="55094"/>
                  </a:cubicBezTo>
                  <a:cubicBezTo>
                    <a:pt x="67941" y="55094"/>
                    <a:pt x="67941" y="55094"/>
                    <a:pt x="68823" y="55094"/>
                  </a:cubicBezTo>
                  <a:cubicBezTo>
                    <a:pt x="68823" y="54339"/>
                    <a:pt x="68823" y="54339"/>
                    <a:pt x="68823" y="54339"/>
                  </a:cubicBezTo>
                  <a:cubicBezTo>
                    <a:pt x="69705" y="53584"/>
                    <a:pt x="70588" y="53584"/>
                    <a:pt x="70588" y="53584"/>
                  </a:cubicBezTo>
                  <a:cubicBezTo>
                    <a:pt x="71470" y="52830"/>
                    <a:pt x="71470" y="52830"/>
                    <a:pt x="71470" y="52075"/>
                  </a:cubicBezTo>
                  <a:cubicBezTo>
                    <a:pt x="71470" y="52075"/>
                    <a:pt x="70588" y="52075"/>
                    <a:pt x="70588" y="52830"/>
                  </a:cubicBezTo>
                  <a:cubicBezTo>
                    <a:pt x="69705" y="52830"/>
                    <a:pt x="68823" y="52830"/>
                    <a:pt x="68823" y="52830"/>
                  </a:cubicBezTo>
                  <a:cubicBezTo>
                    <a:pt x="68823" y="53584"/>
                    <a:pt x="67941" y="53584"/>
                    <a:pt x="67941" y="53584"/>
                  </a:cubicBezTo>
                  <a:cubicBezTo>
                    <a:pt x="67058" y="53584"/>
                    <a:pt x="66176" y="54339"/>
                    <a:pt x="65294" y="54339"/>
                  </a:cubicBezTo>
                  <a:cubicBezTo>
                    <a:pt x="65294" y="54339"/>
                    <a:pt x="65294" y="55094"/>
                    <a:pt x="64411" y="55849"/>
                  </a:cubicBezTo>
                  <a:cubicBezTo>
                    <a:pt x="64411" y="55849"/>
                    <a:pt x="64411" y="55849"/>
                    <a:pt x="64411" y="56603"/>
                  </a:cubicBezTo>
                  <a:cubicBezTo>
                    <a:pt x="63529" y="56603"/>
                    <a:pt x="62647" y="56603"/>
                    <a:pt x="62647" y="5660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 cmpd="sng">
              <a:solidFill>
                <a:schemeClr val="tx1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defTabSz="457200"/>
              <a:endParaRPr kern="0">
                <a:solidFill>
                  <a:srgbClr val="7F7F7F"/>
                </a:solidFill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36" name="Shape 2030">
              <a:extLst>
                <a:ext uri="{FF2B5EF4-FFF2-40B4-BE49-F238E27FC236}">
                  <a16:creationId xmlns:a16="http://schemas.microsoft.com/office/drawing/2014/main" id="{91A90021-4CD8-64E2-5834-CE3F9B89D460}"/>
                </a:ext>
              </a:extLst>
            </p:cNvPr>
            <p:cNvSpPr/>
            <p:nvPr/>
          </p:nvSpPr>
          <p:spPr>
            <a:xfrm>
              <a:off x="4639599" y="3135393"/>
              <a:ext cx="504385" cy="346556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4000" y="43058"/>
                  </a:moveTo>
                  <a:cubicBezTo>
                    <a:pt x="14000" y="43058"/>
                    <a:pt x="14000" y="43058"/>
                    <a:pt x="14000" y="43058"/>
                  </a:cubicBezTo>
                  <a:cubicBezTo>
                    <a:pt x="14000" y="43058"/>
                    <a:pt x="14000" y="43058"/>
                    <a:pt x="14000" y="43058"/>
                  </a:cubicBezTo>
                  <a:cubicBezTo>
                    <a:pt x="14000" y="42352"/>
                    <a:pt x="14000" y="42352"/>
                    <a:pt x="14000" y="42352"/>
                  </a:cubicBezTo>
                  <a:cubicBezTo>
                    <a:pt x="14000" y="40941"/>
                    <a:pt x="14000" y="40941"/>
                    <a:pt x="14000" y="40941"/>
                  </a:cubicBezTo>
                  <a:cubicBezTo>
                    <a:pt x="15500" y="38117"/>
                    <a:pt x="15500" y="38117"/>
                    <a:pt x="15500" y="38117"/>
                  </a:cubicBezTo>
                  <a:cubicBezTo>
                    <a:pt x="15500" y="34588"/>
                    <a:pt x="15500" y="34588"/>
                    <a:pt x="15500" y="34588"/>
                  </a:cubicBezTo>
                  <a:cubicBezTo>
                    <a:pt x="19500" y="35294"/>
                    <a:pt x="19500" y="35294"/>
                    <a:pt x="19500" y="35294"/>
                  </a:cubicBezTo>
                  <a:cubicBezTo>
                    <a:pt x="22000" y="38823"/>
                    <a:pt x="22000" y="38823"/>
                    <a:pt x="22000" y="38823"/>
                  </a:cubicBezTo>
                  <a:cubicBezTo>
                    <a:pt x="25500" y="41647"/>
                    <a:pt x="25500" y="41647"/>
                    <a:pt x="25500" y="41647"/>
                  </a:cubicBezTo>
                  <a:cubicBezTo>
                    <a:pt x="27500" y="43058"/>
                    <a:pt x="27500" y="43058"/>
                    <a:pt x="27500" y="43058"/>
                  </a:cubicBezTo>
                  <a:cubicBezTo>
                    <a:pt x="32000" y="41647"/>
                    <a:pt x="32000" y="41647"/>
                    <a:pt x="32000" y="41647"/>
                  </a:cubicBezTo>
                  <a:cubicBezTo>
                    <a:pt x="40500" y="40941"/>
                    <a:pt x="40500" y="40941"/>
                    <a:pt x="40500" y="40941"/>
                  </a:cubicBezTo>
                  <a:cubicBezTo>
                    <a:pt x="40500" y="40941"/>
                    <a:pt x="45000" y="40235"/>
                    <a:pt x="45500" y="39529"/>
                  </a:cubicBezTo>
                  <a:cubicBezTo>
                    <a:pt x="46000" y="38823"/>
                    <a:pt x="49000" y="38117"/>
                    <a:pt x="48000" y="36705"/>
                  </a:cubicBezTo>
                  <a:cubicBezTo>
                    <a:pt x="47000" y="36000"/>
                    <a:pt x="45000" y="33882"/>
                    <a:pt x="45000" y="33882"/>
                  </a:cubicBezTo>
                  <a:cubicBezTo>
                    <a:pt x="45000" y="32470"/>
                    <a:pt x="45000" y="32470"/>
                    <a:pt x="45000" y="32470"/>
                  </a:cubicBezTo>
                  <a:cubicBezTo>
                    <a:pt x="47500" y="28941"/>
                    <a:pt x="47500" y="28941"/>
                    <a:pt x="47500" y="28941"/>
                  </a:cubicBezTo>
                  <a:cubicBezTo>
                    <a:pt x="52000" y="26823"/>
                    <a:pt x="52000" y="26823"/>
                    <a:pt x="52000" y="26823"/>
                  </a:cubicBezTo>
                  <a:cubicBezTo>
                    <a:pt x="55500" y="26117"/>
                    <a:pt x="55500" y="26117"/>
                    <a:pt x="55500" y="26117"/>
                  </a:cubicBezTo>
                  <a:cubicBezTo>
                    <a:pt x="57500" y="25411"/>
                    <a:pt x="57500" y="25411"/>
                    <a:pt x="57500" y="25411"/>
                  </a:cubicBezTo>
                  <a:cubicBezTo>
                    <a:pt x="58500" y="21176"/>
                    <a:pt x="58500" y="21176"/>
                    <a:pt x="58500" y="21176"/>
                  </a:cubicBezTo>
                  <a:cubicBezTo>
                    <a:pt x="61500" y="20470"/>
                    <a:pt x="61500" y="20470"/>
                    <a:pt x="61500" y="20470"/>
                  </a:cubicBezTo>
                  <a:cubicBezTo>
                    <a:pt x="63500" y="21176"/>
                    <a:pt x="63500" y="21176"/>
                    <a:pt x="63500" y="21176"/>
                  </a:cubicBezTo>
                  <a:cubicBezTo>
                    <a:pt x="66500" y="21176"/>
                    <a:pt x="66500" y="21176"/>
                    <a:pt x="66500" y="21176"/>
                  </a:cubicBezTo>
                  <a:cubicBezTo>
                    <a:pt x="68000" y="18352"/>
                    <a:pt x="68000" y="18352"/>
                    <a:pt x="68000" y="18352"/>
                  </a:cubicBezTo>
                  <a:cubicBezTo>
                    <a:pt x="69500" y="16941"/>
                    <a:pt x="69500" y="16941"/>
                    <a:pt x="69500" y="16941"/>
                  </a:cubicBezTo>
                  <a:cubicBezTo>
                    <a:pt x="71500" y="15529"/>
                    <a:pt x="71500" y="15529"/>
                    <a:pt x="71500" y="15529"/>
                  </a:cubicBezTo>
                  <a:cubicBezTo>
                    <a:pt x="73000" y="11294"/>
                    <a:pt x="73000" y="11294"/>
                    <a:pt x="73000" y="11294"/>
                  </a:cubicBezTo>
                  <a:cubicBezTo>
                    <a:pt x="74000" y="6352"/>
                    <a:pt x="74000" y="6352"/>
                    <a:pt x="74000" y="6352"/>
                  </a:cubicBezTo>
                  <a:cubicBezTo>
                    <a:pt x="74500" y="4235"/>
                    <a:pt x="74500" y="4235"/>
                    <a:pt x="74500" y="4235"/>
                  </a:cubicBezTo>
                  <a:cubicBezTo>
                    <a:pt x="81500" y="1411"/>
                    <a:pt x="81500" y="1411"/>
                    <a:pt x="81500" y="1411"/>
                  </a:cubicBezTo>
                  <a:cubicBezTo>
                    <a:pt x="84000" y="3529"/>
                    <a:pt x="84000" y="3529"/>
                    <a:pt x="84000" y="3529"/>
                  </a:cubicBezTo>
                  <a:cubicBezTo>
                    <a:pt x="87500" y="2823"/>
                    <a:pt x="87500" y="2823"/>
                    <a:pt x="87500" y="2823"/>
                  </a:cubicBezTo>
                  <a:cubicBezTo>
                    <a:pt x="90000" y="0"/>
                    <a:pt x="90000" y="0"/>
                    <a:pt x="90000" y="0"/>
                  </a:cubicBezTo>
                  <a:cubicBezTo>
                    <a:pt x="93000" y="705"/>
                    <a:pt x="93000" y="705"/>
                    <a:pt x="93000" y="705"/>
                  </a:cubicBezTo>
                  <a:cubicBezTo>
                    <a:pt x="97000" y="6352"/>
                    <a:pt x="97000" y="6352"/>
                    <a:pt x="97000" y="6352"/>
                  </a:cubicBezTo>
                  <a:cubicBezTo>
                    <a:pt x="101000" y="6352"/>
                    <a:pt x="101000" y="6352"/>
                    <a:pt x="101000" y="6352"/>
                  </a:cubicBezTo>
                  <a:cubicBezTo>
                    <a:pt x="103500" y="4235"/>
                    <a:pt x="103500" y="4235"/>
                    <a:pt x="103500" y="4235"/>
                  </a:cubicBezTo>
                  <a:cubicBezTo>
                    <a:pt x="106000" y="2823"/>
                    <a:pt x="106000" y="2823"/>
                    <a:pt x="106000" y="2823"/>
                  </a:cubicBezTo>
                  <a:cubicBezTo>
                    <a:pt x="107500" y="4941"/>
                    <a:pt x="107500" y="4941"/>
                    <a:pt x="107500" y="4941"/>
                  </a:cubicBezTo>
                  <a:cubicBezTo>
                    <a:pt x="109000" y="7764"/>
                    <a:pt x="109000" y="7764"/>
                    <a:pt x="109000" y="7764"/>
                  </a:cubicBezTo>
                  <a:cubicBezTo>
                    <a:pt x="111500" y="7058"/>
                    <a:pt x="111500" y="7058"/>
                    <a:pt x="111500" y="7058"/>
                  </a:cubicBezTo>
                  <a:cubicBezTo>
                    <a:pt x="113000" y="9882"/>
                    <a:pt x="113000" y="9882"/>
                    <a:pt x="113000" y="9882"/>
                  </a:cubicBezTo>
                  <a:cubicBezTo>
                    <a:pt x="114500" y="12000"/>
                    <a:pt x="114500" y="12000"/>
                    <a:pt x="114500" y="12000"/>
                  </a:cubicBezTo>
                  <a:cubicBezTo>
                    <a:pt x="117000" y="11294"/>
                    <a:pt x="117000" y="11294"/>
                    <a:pt x="117000" y="11294"/>
                  </a:cubicBezTo>
                  <a:cubicBezTo>
                    <a:pt x="119500" y="13411"/>
                    <a:pt x="119500" y="13411"/>
                    <a:pt x="119500" y="13411"/>
                  </a:cubicBezTo>
                  <a:cubicBezTo>
                    <a:pt x="119000" y="16235"/>
                    <a:pt x="119000" y="16235"/>
                    <a:pt x="119000" y="16235"/>
                  </a:cubicBezTo>
                  <a:cubicBezTo>
                    <a:pt x="120000" y="19764"/>
                    <a:pt x="120000" y="19764"/>
                    <a:pt x="120000" y="19764"/>
                  </a:cubicBezTo>
                  <a:cubicBezTo>
                    <a:pt x="118500" y="21882"/>
                    <a:pt x="118500" y="21882"/>
                    <a:pt x="118500" y="21882"/>
                  </a:cubicBezTo>
                  <a:cubicBezTo>
                    <a:pt x="118500" y="21882"/>
                    <a:pt x="118000" y="23294"/>
                    <a:pt x="117000" y="23294"/>
                  </a:cubicBezTo>
                  <a:cubicBezTo>
                    <a:pt x="116500" y="24000"/>
                    <a:pt x="115500" y="24705"/>
                    <a:pt x="115500" y="24705"/>
                  </a:cubicBezTo>
                  <a:cubicBezTo>
                    <a:pt x="114000" y="26823"/>
                    <a:pt x="114000" y="26823"/>
                    <a:pt x="114000" y="26823"/>
                  </a:cubicBezTo>
                  <a:cubicBezTo>
                    <a:pt x="112000" y="27529"/>
                    <a:pt x="112000" y="27529"/>
                    <a:pt x="112000" y="27529"/>
                  </a:cubicBezTo>
                  <a:cubicBezTo>
                    <a:pt x="110500" y="28235"/>
                    <a:pt x="110500" y="28235"/>
                    <a:pt x="110500" y="28235"/>
                  </a:cubicBezTo>
                  <a:cubicBezTo>
                    <a:pt x="109500" y="29647"/>
                    <a:pt x="109500" y="29647"/>
                    <a:pt x="109500" y="29647"/>
                  </a:cubicBezTo>
                  <a:cubicBezTo>
                    <a:pt x="108500" y="33882"/>
                    <a:pt x="108500" y="33882"/>
                    <a:pt x="108500" y="33882"/>
                  </a:cubicBezTo>
                  <a:cubicBezTo>
                    <a:pt x="107000" y="36000"/>
                    <a:pt x="107000" y="36000"/>
                    <a:pt x="107000" y="36000"/>
                  </a:cubicBezTo>
                  <a:cubicBezTo>
                    <a:pt x="106500" y="39529"/>
                    <a:pt x="106500" y="39529"/>
                    <a:pt x="106500" y="39529"/>
                  </a:cubicBezTo>
                  <a:cubicBezTo>
                    <a:pt x="106500" y="39529"/>
                    <a:pt x="107500" y="43058"/>
                    <a:pt x="106500" y="43764"/>
                  </a:cubicBezTo>
                  <a:cubicBezTo>
                    <a:pt x="106000" y="43764"/>
                    <a:pt x="105500" y="44470"/>
                    <a:pt x="105500" y="44470"/>
                  </a:cubicBezTo>
                  <a:cubicBezTo>
                    <a:pt x="105000" y="50117"/>
                    <a:pt x="105000" y="50117"/>
                    <a:pt x="105000" y="50117"/>
                  </a:cubicBezTo>
                  <a:cubicBezTo>
                    <a:pt x="103000" y="52941"/>
                    <a:pt x="103000" y="52941"/>
                    <a:pt x="103000" y="52941"/>
                  </a:cubicBezTo>
                  <a:cubicBezTo>
                    <a:pt x="102500" y="58588"/>
                    <a:pt x="102500" y="58588"/>
                    <a:pt x="102500" y="58588"/>
                  </a:cubicBezTo>
                  <a:cubicBezTo>
                    <a:pt x="102500" y="58588"/>
                    <a:pt x="103500" y="61411"/>
                    <a:pt x="102000" y="61411"/>
                  </a:cubicBezTo>
                  <a:cubicBezTo>
                    <a:pt x="101000" y="62117"/>
                    <a:pt x="100500" y="63529"/>
                    <a:pt x="100500" y="63529"/>
                  </a:cubicBezTo>
                  <a:cubicBezTo>
                    <a:pt x="100500" y="68470"/>
                    <a:pt x="100500" y="68470"/>
                    <a:pt x="100500" y="68470"/>
                  </a:cubicBezTo>
                  <a:cubicBezTo>
                    <a:pt x="99000" y="72000"/>
                    <a:pt x="99000" y="72000"/>
                    <a:pt x="99000" y="72000"/>
                  </a:cubicBezTo>
                  <a:cubicBezTo>
                    <a:pt x="99500" y="74823"/>
                    <a:pt x="99500" y="74823"/>
                    <a:pt x="99500" y="74823"/>
                  </a:cubicBezTo>
                  <a:cubicBezTo>
                    <a:pt x="98500" y="76941"/>
                    <a:pt x="98500" y="76941"/>
                    <a:pt x="98500" y="76941"/>
                  </a:cubicBezTo>
                  <a:cubicBezTo>
                    <a:pt x="99000" y="80470"/>
                    <a:pt x="99000" y="80470"/>
                    <a:pt x="99000" y="80470"/>
                  </a:cubicBezTo>
                  <a:cubicBezTo>
                    <a:pt x="98000" y="82588"/>
                    <a:pt x="98000" y="82588"/>
                    <a:pt x="98000" y="82588"/>
                  </a:cubicBezTo>
                  <a:cubicBezTo>
                    <a:pt x="97500" y="83294"/>
                    <a:pt x="97500" y="83294"/>
                    <a:pt x="97500" y="83294"/>
                  </a:cubicBezTo>
                  <a:cubicBezTo>
                    <a:pt x="97000" y="85411"/>
                    <a:pt x="97000" y="85411"/>
                    <a:pt x="97000" y="85411"/>
                  </a:cubicBezTo>
                  <a:cubicBezTo>
                    <a:pt x="96000" y="88941"/>
                    <a:pt x="96000" y="88941"/>
                    <a:pt x="96000" y="88941"/>
                  </a:cubicBezTo>
                  <a:cubicBezTo>
                    <a:pt x="92000" y="93882"/>
                    <a:pt x="92000" y="93882"/>
                    <a:pt x="92000" y="93882"/>
                  </a:cubicBezTo>
                  <a:cubicBezTo>
                    <a:pt x="90000" y="93176"/>
                    <a:pt x="90000" y="93176"/>
                    <a:pt x="90000" y="93176"/>
                  </a:cubicBezTo>
                  <a:cubicBezTo>
                    <a:pt x="88500" y="95294"/>
                    <a:pt x="88500" y="95294"/>
                    <a:pt x="88500" y="95294"/>
                  </a:cubicBezTo>
                  <a:cubicBezTo>
                    <a:pt x="88500" y="95294"/>
                    <a:pt x="89000" y="95294"/>
                    <a:pt x="88000" y="96705"/>
                  </a:cubicBezTo>
                  <a:cubicBezTo>
                    <a:pt x="87000" y="97411"/>
                    <a:pt x="85000" y="98117"/>
                    <a:pt x="85000" y="98117"/>
                  </a:cubicBezTo>
                  <a:cubicBezTo>
                    <a:pt x="84000" y="98117"/>
                    <a:pt x="84000" y="98117"/>
                    <a:pt x="84000" y="98117"/>
                  </a:cubicBezTo>
                  <a:cubicBezTo>
                    <a:pt x="80500" y="98117"/>
                    <a:pt x="80500" y="98117"/>
                    <a:pt x="80500" y="98117"/>
                  </a:cubicBezTo>
                  <a:cubicBezTo>
                    <a:pt x="80500" y="98117"/>
                    <a:pt x="80000" y="97411"/>
                    <a:pt x="79500" y="98117"/>
                  </a:cubicBezTo>
                  <a:cubicBezTo>
                    <a:pt x="79000" y="98117"/>
                    <a:pt x="76500" y="98117"/>
                    <a:pt x="76500" y="98117"/>
                  </a:cubicBezTo>
                  <a:cubicBezTo>
                    <a:pt x="76500" y="98117"/>
                    <a:pt x="75500" y="97411"/>
                    <a:pt x="75000" y="97411"/>
                  </a:cubicBezTo>
                  <a:cubicBezTo>
                    <a:pt x="74500" y="97411"/>
                    <a:pt x="71500" y="98117"/>
                    <a:pt x="71500" y="98117"/>
                  </a:cubicBezTo>
                  <a:cubicBezTo>
                    <a:pt x="69500" y="99529"/>
                    <a:pt x="69500" y="99529"/>
                    <a:pt x="69500" y="99529"/>
                  </a:cubicBezTo>
                  <a:cubicBezTo>
                    <a:pt x="69500" y="99529"/>
                    <a:pt x="69000" y="98117"/>
                    <a:pt x="68500" y="98823"/>
                  </a:cubicBezTo>
                  <a:cubicBezTo>
                    <a:pt x="67500" y="98823"/>
                    <a:pt x="65000" y="100235"/>
                    <a:pt x="65000" y="100235"/>
                  </a:cubicBezTo>
                  <a:cubicBezTo>
                    <a:pt x="65000" y="100235"/>
                    <a:pt x="66000" y="101647"/>
                    <a:pt x="65000" y="101647"/>
                  </a:cubicBezTo>
                  <a:cubicBezTo>
                    <a:pt x="64500" y="101647"/>
                    <a:pt x="63000" y="104470"/>
                    <a:pt x="63000" y="104470"/>
                  </a:cubicBezTo>
                  <a:cubicBezTo>
                    <a:pt x="62000" y="105176"/>
                    <a:pt x="62000" y="105176"/>
                    <a:pt x="62000" y="105176"/>
                  </a:cubicBezTo>
                  <a:cubicBezTo>
                    <a:pt x="61500" y="107294"/>
                    <a:pt x="61500" y="107294"/>
                    <a:pt x="61500" y="107294"/>
                  </a:cubicBezTo>
                  <a:cubicBezTo>
                    <a:pt x="61500" y="107294"/>
                    <a:pt x="61000" y="107294"/>
                    <a:pt x="60000" y="107294"/>
                  </a:cubicBezTo>
                  <a:cubicBezTo>
                    <a:pt x="59500" y="107294"/>
                    <a:pt x="58000" y="108000"/>
                    <a:pt x="58000" y="108000"/>
                  </a:cubicBezTo>
                  <a:cubicBezTo>
                    <a:pt x="57500" y="107294"/>
                    <a:pt x="57500" y="107294"/>
                    <a:pt x="57500" y="107294"/>
                  </a:cubicBezTo>
                  <a:cubicBezTo>
                    <a:pt x="55500" y="111529"/>
                    <a:pt x="55500" y="111529"/>
                    <a:pt x="55500" y="111529"/>
                  </a:cubicBezTo>
                  <a:cubicBezTo>
                    <a:pt x="53500" y="112941"/>
                    <a:pt x="53500" y="112941"/>
                    <a:pt x="53500" y="112941"/>
                  </a:cubicBezTo>
                  <a:cubicBezTo>
                    <a:pt x="52500" y="112235"/>
                    <a:pt x="52500" y="112235"/>
                    <a:pt x="52500" y="112235"/>
                  </a:cubicBezTo>
                  <a:cubicBezTo>
                    <a:pt x="51500" y="115764"/>
                    <a:pt x="51500" y="115764"/>
                    <a:pt x="51500" y="115764"/>
                  </a:cubicBezTo>
                  <a:cubicBezTo>
                    <a:pt x="51500" y="115764"/>
                    <a:pt x="50000" y="116470"/>
                    <a:pt x="50000" y="117176"/>
                  </a:cubicBezTo>
                  <a:cubicBezTo>
                    <a:pt x="49500" y="117882"/>
                    <a:pt x="47000" y="117882"/>
                    <a:pt x="47000" y="117882"/>
                  </a:cubicBezTo>
                  <a:cubicBezTo>
                    <a:pt x="45000" y="117882"/>
                    <a:pt x="45000" y="117882"/>
                    <a:pt x="45000" y="117882"/>
                  </a:cubicBezTo>
                  <a:cubicBezTo>
                    <a:pt x="41500" y="119294"/>
                    <a:pt x="41500" y="119294"/>
                    <a:pt x="41500" y="119294"/>
                  </a:cubicBezTo>
                  <a:cubicBezTo>
                    <a:pt x="41500" y="119294"/>
                    <a:pt x="40500" y="120000"/>
                    <a:pt x="40000" y="120000"/>
                  </a:cubicBezTo>
                  <a:cubicBezTo>
                    <a:pt x="39500" y="120000"/>
                    <a:pt x="37000" y="119294"/>
                    <a:pt x="37000" y="119294"/>
                  </a:cubicBezTo>
                  <a:cubicBezTo>
                    <a:pt x="35500" y="120000"/>
                    <a:pt x="35500" y="120000"/>
                    <a:pt x="35500" y="120000"/>
                  </a:cubicBezTo>
                  <a:cubicBezTo>
                    <a:pt x="32000" y="118588"/>
                    <a:pt x="32000" y="118588"/>
                    <a:pt x="32000" y="118588"/>
                  </a:cubicBezTo>
                  <a:cubicBezTo>
                    <a:pt x="31000" y="116470"/>
                    <a:pt x="31000" y="116470"/>
                    <a:pt x="31000" y="116470"/>
                  </a:cubicBezTo>
                  <a:cubicBezTo>
                    <a:pt x="28000" y="115764"/>
                    <a:pt x="28000" y="115764"/>
                    <a:pt x="28000" y="115764"/>
                  </a:cubicBezTo>
                  <a:cubicBezTo>
                    <a:pt x="27500" y="114352"/>
                    <a:pt x="27500" y="114352"/>
                    <a:pt x="27500" y="114352"/>
                  </a:cubicBezTo>
                  <a:cubicBezTo>
                    <a:pt x="25500" y="114352"/>
                    <a:pt x="25500" y="114352"/>
                    <a:pt x="25500" y="114352"/>
                  </a:cubicBezTo>
                  <a:cubicBezTo>
                    <a:pt x="23500" y="111529"/>
                    <a:pt x="23500" y="111529"/>
                    <a:pt x="23500" y="111529"/>
                  </a:cubicBezTo>
                  <a:cubicBezTo>
                    <a:pt x="21000" y="107294"/>
                    <a:pt x="21000" y="107294"/>
                    <a:pt x="21000" y="107294"/>
                  </a:cubicBezTo>
                  <a:cubicBezTo>
                    <a:pt x="16000" y="105176"/>
                    <a:pt x="16000" y="105176"/>
                    <a:pt x="16000" y="105176"/>
                  </a:cubicBezTo>
                  <a:cubicBezTo>
                    <a:pt x="14500" y="102352"/>
                    <a:pt x="14500" y="102352"/>
                    <a:pt x="14500" y="102352"/>
                  </a:cubicBezTo>
                  <a:cubicBezTo>
                    <a:pt x="13000" y="100941"/>
                    <a:pt x="13000" y="100941"/>
                    <a:pt x="13000" y="100941"/>
                  </a:cubicBezTo>
                  <a:cubicBezTo>
                    <a:pt x="11000" y="98823"/>
                    <a:pt x="11000" y="98823"/>
                    <a:pt x="11000" y="98823"/>
                  </a:cubicBezTo>
                  <a:cubicBezTo>
                    <a:pt x="9000" y="96705"/>
                    <a:pt x="9000" y="96705"/>
                    <a:pt x="9000" y="96705"/>
                  </a:cubicBezTo>
                  <a:cubicBezTo>
                    <a:pt x="8000" y="95294"/>
                    <a:pt x="8000" y="95294"/>
                    <a:pt x="8000" y="95294"/>
                  </a:cubicBezTo>
                  <a:cubicBezTo>
                    <a:pt x="5000" y="89647"/>
                    <a:pt x="5000" y="89647"/>
                    <a:pt x="5000" y="89647"/>
                  </a:cubicBezTo>
                  <a:cubicBezTo>
                    <a:pt x="5000" y="88235"/>
                    <a:pt x="5000" y="88235"/>
                    <a:pt x="5000" y="88235"/>
                  </a:cubicBezTo>
                  <a:cubicBezTo>
                    <a:pt x="3500" y="85411"/>
                    <a:pt x="3500" y="85411"/>
                    <a:pt x="3500" y="85411"/>
                  </a:cubicBezTo>
                  <a:cubicBezTo>
                    <a:pt x="3000" y="82588"/>
                    <a:pt x="3000" y="82588"/>
                    <a:pt x="3000" y="82588"/>
                  </a:cubicBezTo>
                  <a:cubicBezTo>
                    <a:pt x="2000" y="81176"/>
                    <a:pt x="2000" y="81176"/>
                    <a:pt x="2000" y="81176"/>
                  </a:cubicBezTo>
                  <a:cubicBezTo>
                    <a:pt x="0" y="82588"/>
                    <a:pt x="0" y="82588"/>
                    <a:pt x="0" y="82588"/>
                  </a:cubicBezTo>
                  <a:cubicBezTo>
                    <a:pt x="0" y="82588"/>
                    <a:pt x="0" y="82588"/>
                    <a:pt x="0" y="82588"/>
                  </a:cubicBezTo>
                  <a:cubicBezTo>
                    <a:pt x="0" y="81882"/>
                    <a:pt x="0" y="81882"/>
                    <a:pt x="0" y="81882"/>
                  </a:cubicBezTo>
                  <a:cubicBezTo>
                    <a:pt x="1500" y="76941"/>
                    <a:pt x="1500" y="76941"/>
                    <a:pt x="1500" y="76941"/>
                  </a:cubicBezTo>
                  <a:cubicBezTo>
                    <a:pt x="3000" y="76235"/>
                    <a:pt x="3000" y="76235"/>
                    <a:pt x="3000" y="76235"/>
                  </a:cubicBezTo>
                  <a:cubicBezTo>
                    <a:pt x="4500" y="72705"/>
                    <a:pt x="4500" y="72705"/>
                    <a:pt x="4500" y="72705"/>
                  </a:cubicBezTo>
                  <a:cubicBezTo>
                    <a:pt x="4000" y="68470"/>
                    <a:pt x="4000" y="68470"/>
                    <a:pt x="4000" y="68470"/>
                  </a:cubicBezTo>
                  <a:cubicBezTo>
                    <a:pt x="4000" y="67058"/>
                    <a:pt x="4000" y="67058"/>
                    <a:pt x="4000" y="67058"/>
                  </a:cubicBezTo>
                  <a:cubicBezTo>
                    <a:pt x="2500" y="62823"/>
                    <a:pt x="2500" y="62823"/>
                    <a:pt x="2500" y="62823"/>
                  </a:cubicBezTo>
                  <a:cubicBezTo>
                    <a:pt x="2500" y="62823"/>
                    <a:pt x="3000" y="62117"/>
                    <a:pt x="3500" y="62117"/>
                  </a:cubicBezTo>
                  <a:cubicBezTo>
                    <a:pt x="4000" y="62117"/>
                    <a:pt x="5500" y="60705"/>
                    <a:pt x="5500" y="60705"/>
                  </a:cubicBezTo>
                  <a:cubicBezTo>
                    <a:pt x="8500" y="57882"/>
                    <a:pt x="8500" y="57882"/>
                    <a:pt x="8500" y="57882"/>
                  </a:cubicBezTo>
                  <a:cubicBezTo>
                    <a:pt x="6000" y="52235"/>
                    <a:pt x="6000" y="52235"/>
                    <a:pt x="6000" y="52235"/>
                  </a:cubicBezTo>
                  <a:cubicBezTo>
                    <a:pt x="5000" y="52235"/>
                    <a:pt x="5000" y="52235"/>
                    <a:pt x="5000" y="52235"/>
                  </a:cubicBezTo>
                  <a:cubicBezTo>
                    <a:pt x="2000" y="50823"/>
                    <a:pt x="2000" y="50823"/>
                    <a:pt x="2000" y="50823"/>
                  </a:cubicBezTo>
                  <a:cubicBezTo>
                    <a:pt x="4000" y="48705"/>
                    <a:pt x="4000" y="48705"/>
                    <a:pt x="4000" y="48705"/>
                  </a:cubicBezTo>
                  <a:cubicBezTo>
                    <a:pt x="5000" y="47294"/>
                    <a:pt x="5000" y="47294"/>
                    <a:pt x="5000" y="47294"/>
                  </a:cubicBezTo>
                  <a:cubicBezTo>
                    <a:pt x="9000" y="49411"/>
                    <a:pt x="9000" y="49411"/>
                    <a:pt x="9000" y="49411"/>
                  </a:cubicBezTo>
                  <a:cubicBezTo>
                    <a:pt x="9000" y="49411"/>
                    <a:pt x="10500" y="50117"/>
                    <a:pt x="10000" y="49411"/>
                  </a:cubicBezTo>
                  <a:cubicBezTo>
                    <a:pt x="10000" y="47294"/>
                    <a:pt x="10500" y="48705"/>
                    <a:pt x="10500" y="48705"/>
                  </a:cubicBezTo>
                  <a:cubicBezTo>
                    <a:pt x="11000" y="50117"/>
                    <a:pt x="12500" y="48705"/>
                    <a:pt x="13500" y="48705"/>
                  </a:cubicBezTo>
                  <a:cubicBezTo>
                    <a:pt x="15000" y="48000"/>
                    <a:pt x="14000" y="46588"/>
                    <a:pt x="13500" y="45176"/>
                  </a:cubicBezTo>
                  <a:cubicBezTo>
                    <a:pt x="13500" y="44470"/>
                    <a:pt x="13500" y="43764"/>
                    <a:pt x="14000" y="43058"/>
                  </a:cubicBezTo>
                  <a:close/>
                </a:path>
              </a:pathLst>
            </a:custGeom>
            <a:solidFill>
              <a:srgbClr val="00B050"/>
            </a:solidFill>
            <a:ln w="3175" cap="flat" cmpd="sng">
              <a:solidFill>
                <a:schemeClr val="tx1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defTabSz="457200"/>
              <a:endParaRPr kern="0">
                <a:solidFill>
                  <a:srgbClr val="7F7F7F"/>
                </a:solidFill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37" name="Shape 2031">
              <a:extLst>
                <a:ext uri="{FF2B5EF4-FFF2-40B4-BE49-F238E27FC236}">
                  <a16:creationId xmlns:a16="http://schemas.microsoft.com/office/drawing/2014/main" id="{B209756C-062A-094A-24B1-175721F15FDE}"/>
                </a:ext>
              </a:extLst>
            </p:cNvPr>
            <p:cNvSpPr/>
            <p:nvPr/>
          </p:nvSpPr>
          <p:spPr>
            <a:xfrm>
              <a:off x="5045741" y="2229243"/>
              <a:ext cx="604654" cy="549777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33750" y="29333"/>
                  </a:moveTo>
                  <a:cubicBezTo>
                    <a:pt x="33333" y="27111"/>
                    <a:pt x="33333" y="27111"/>
                    <a:pt x="33333" y="27111"/>
                  </a:cubicBezTo>
                  <a:cubicBezTo>
                    <a:pt x="35000" y="26222"/>
                    <a:pt x="35000" y="26222"/>
                    <a:pt x="35000" y="26222"/>
                  </a:cubicBezTo>
                  <a:cubicBezTo>
                    <a:pt x="34583" y="24444"/>
                    <a:pt x="34583" y="24444"/>
                    <a:pt x="34583" y="24444"/>
                  </a:cubicBezTo>
                  <a:cubicBezTo>
                    <a:pt x="31666" y="24888"/>
                    <a:pt x="31666" y="24888"/>
                    <a:pt x="31666" y="24888"/>
                  </a:cubicBezTo>
                  <a:cubicBezTo>
                    <a:pt x="30416" y="24444"/>
                    <a:pt x="30416" y="24444"/>
                    <a:pt x="30416" y="24444"/>
                  </a:cubicBezTo>
                  <a:cubicBezTo>
                    <a:pt x="30416" y="22222"/>
                    <a:pt x="30416" y="22222"/>
                    <a:pt x="30416" y="22222"/>
                  </a:cubicBezTo>
                  <a:cubicBezTo>
                    <a:pt x="31250" y="20000"/>
                    <a:pt x="31250" y="20000"/>
                    <a:pt x="31250" y="20000"/>
                  </a:cubicBezTo>
                  <a:cubicBezTo>
                    <a:pt x="30833" y="16000"/>
                    <a:pt x="30833" y="16000"/>
                    <a:pt x="30833" y="16000"/>
                  </a:cubicBezTo>
                  <a:cubicBezTo>
                    <a:pt x="30833" y="16000"/>
                    <a:pt x="30000" y="16000"/>
                    <a:pt x="31250" y="15111"/>
                  </a:cubicBezTo>
                  <a:cubicBezTo>
                    <a:pt x="32916" y="14666"/>
                    <a:pt x="33750" y="14666"/>
                    <a:pt x="33750" y="14666"/>
                  </a:cubicBezTo>
                  <a:cubicBezTo>
                    <a:pt x="34166" y="12000"/>
                    <a:pt x="34166" y="12000"/>
                    <a:pt x="34166" y="12000"/>
                  </a:cubicBezTo>
                  <a:cubicBezTo>
                    <a:pt x="35416" y="10666"/>
                    <a:pt x="35416" y="10666"/>
                    <a:pt x="35416" y="10666"/>
                  </a:cubicBezTo>
                  <a:cubicBezTo>
                    <a:pt x="35416" y="10666"/>
                    <a:pt x="35000" y="10666"/>
                    <a:pt x="36666" y="10666"/>
                  </a:cubicBezTo>
                  <a:cubicBezTo>
                    <a:pt x="38333" y="10666"/>
                    <a:pt x="38750" y="10666"/>
                    <a:pt x="38750" y="10666"/>
                  </a:cubicBezTo>
                  <a:cubicBezTo>
                    <a:pt x="42083" y="10666"/>
                    <a:pt x="42083" y="10666"/>
                    <a:pt x="42083" y="10666"/>
                  </a:cubicBezTo>
                  <a:cubicBezTo>
                    <a:pt x="42916" y="9333"/>
                    <a:pt x="42916" y="9333"/>
                    <a:pt x="42916" y="9333"/>
                  </a:cubicBezTo>
                  <a:cubicBezTo>
                    <a:pt x="42083" y="7111"/>
                    <a:pt x="42083" y="7111"/>
                    <a:pt x="42083" y="7111"/>
                  </a:cubicBezTo>
                  <a:cubicBezTo>
                    <a:pt x="44166" y="4888"/>
                    <a:pt x="44166" y="4888"/>
                    <a:pt x="44166" y="4888"/>
                  </a:cubicBezTo>
                  <a:cubicBezTo>
                    <a:pt x="44583" y="1777"/>
                    <a:pt x="44583" y="1777"/>
                    <a:pt x="44583" y="1777"/>
                  </a:cubicBezTo>
                  <a:cubicBezTo>
                    <a:pt x="46666" y="444"/>
                    <a:pt x="46666" y="444"/>
                    <a:pt x="46666" y="444"/>
                  </a:cubicBezTo>
                  <a:cubicBezTo>
                    <a:pt x="46666" y="444"/>
                    <a:pt x="47916" y="1777"/>
                    <a:pt x="48333" y="1777"/>
                  </a:cubicBezTo>
                  <a:cubicBezTo>
                    <a:pt x="48750" y="1777"/>
                    <a:pt x="49166" y="2222"/>
                    <a:pt x="49583" y="1777"/>
                  </a:cubicBezTo>
                  <a:cubicBezTo>
                    <a:pt x="50000" y="1777"/>
                    <a:pt x="50416" y="888"/>
                    <a:pt x="50416" y="888"/>
                  </a:cubicBezTo>
                  <a:cubicBezTo>
                    <a:pt x="52500" y="0"/>
                    <a:pt x="52500" y="0"/>
                    <a:pt x="52500" y="0"/>
                  </a:cubicBezTo>
                  <a:cubicBezTo>
                    <a:pt x="53750" y="444"/>
                    <a:pt x="53750" y="444"/>
                    <a:pt x="53750" y="444"/>
                  </a:cubicBezTo>
                  <a:cubicBezTo>
                    <a:pt x="54583" y="2222"/>
                    <a:pt x="54583" y="2222"/>
                    <a:pt x="54583" y="2222"/>
                  </a:cubicBezTo>
                  <a:cubicBezTo>
                    <a:pt x="56666" y="2222"/>
                    <a:pt x="56666" y="2222"/>
                    <a:pt x="56666" y="2222"/>
                  </a:cubicBezTo>
                  <a:cubicBezTo>
                    <a:pt x="57083" y="1333"/>
                    <a:pt x="57083" y="1333"/>
                    <a:pt x="57083" y="1333"/>
                  </a:cubicBezTo>
                  <a:cubicBezTo>
                    <a:pt x="60000" y="444"/>
                    <a:pt x="60000" y="444"/>
                    <a:pt x="60000" y="444"/>
                  </a:cubicBezTo>
                  <a:cubicBezTo>
                    <a:pt x="63333" y="444"/>
                    <a:pt x="63333" y="444"/>
                    <a:pt x="63333" y="444"/>
                  </a:cubicBezTo>
                  <a:cubicBezTo>
                    <a:pt x="63750" y="3111"/>
                    <a:pt x="63750" y="3111"/>
                    <a:pt x="63750" y="3111"/>
                  </a:cubicBezTo>
                  <a:cubicBezTo>
                    <a:pt x="63750" y="4444"/>
                    <a:pt x="63750" y="4444"/>
                    <a:pt x="63750" y="4444"/>
                  </a:cubicBezTo>
                  <a:cubicBezTo>
                    <a:pt x="63750" y="4444"/>
                    <a:pt x="64583" y="5777"/>
                    <a:pt x="65416" y="5333"/>
                  </a:cubicBezTo>
                  <a:cubicBezTo>
                    <a:pt x="65833" y="5333"/>
                    <a:pt x="67500" y="4888"/>
                    <a:pt x="67916" y="4000"/>
                  </a:cubicBezTo>
                  <a:cubicBezTo>
                    <a:pt x="67916" y="3111"/>
                    <a:pt x="68333" y="2222"/>
                    <a:pt x="69166" y="1777"/>
                  </a:cubicBezTo>
                  <a:cubicBezTo>
                    <a:pt x="70000" y="1777"/>
                    <a:pt x="69583" y="1333"/>
                    <a:pt x="70833" y="888"/>
                  </a:cubicBezTo>
                  <a:cubicBezTo>
                    <a:pt x="72500" y="444"/>
                    <a:pt x="73750" y="0"/>
                    <a:pt x="73750" y="0"/>
                  </a:cubicBezTo>
                  <a:cubicBezTo>
                    <a:pt x="77500" y="888"/>
                    <a:pt x="77500" y="888"/>
                    <a:pt x="77500" y="888"/>
                  </a:cubicBezTo>
                  <a:cubicBezTo>
                    <a:pt x="78750" y="2222"/>
                    <a:pt x="78750" y="2222"/>
                    <a:pt x="78750" y="2222"/>
                  </a:cubicBezTo>
                  <a:cubicBezTo>
                    <a:pt x="80000" y="3111"/>
                    <a:pt x="80000" y="3111"/>
                    <a:pt x="80000" y="3111"/>
                  </a:cubicBezTo>
                  <a:cubicBezTo>
                    <a:pt x="81250" y="2666"/>
                    <a:pt x="81250" y="2666"/>
                    <a:pt x="81250" y="2666"/>
                  </a:cubicBezTo>
                  <a:cubicBezTo>
                    <a:pt x="81666" y="3555"/>
                    <a:pt x="81666" y="3555"/>
                    <a:pt x="81666" y="3555"/>
                  </a:cubicBezTo>
                  <a:cubicBezTo>
                    <a:pt x="83333" y="2666"/>
                    <a:pt x="83333" y="2666"/>
                    <a:pt x="83333" y="2666"/>
                  </a:cubicBezTo>
                  <a:cubicBezTo>
                    <a:pt x="84166" y="4444"/>
                    <a:pt x="84166" y="4444"/>
                    <a:pt x="84166" y="4444"/>
                  </a:cubicBezTo>
                  <a:cubicBezTo>
                    <a:pt x="84166" y="8000"/>
                    <a:pt x="84166" y="8000"/>
                    <a:pt x="84166" y="8000"/>
                  </a:cubicBezTo>
                  <a:cubicBezTo>
                    <a:pt x="84166" y="9333"/>
                    <a:pt x="84166" y="9333"/>
                    <a:pt x="84166" y="9333"/>
                  </a:cubicBezTo>
                  <a:cubicBezTo>
                    <a:pt x="84166" y="10666"/>
                    <a:pt x="84166" y="10666"/>
                    <a:pt x="84166" y="10666"/>
                  </a:cubicBezTo>
                  <a:cubicBezTo>
                    <a:pt x="86666" y="12444"/>
                    <a:pt x="86666" y="12444"/>
                    <a:pt x="86666" y="12444"/>
                  </a:cubicBezTo>
                  <a:cubicBezTo>
                    <a:pt x="87916" y="13777"/>
                    <a:pt x="87916" y="13777"/>
                    <a:pt x="87916" y="13777"/>
                  </a:cubicBezTo>
                  <a:cubicBezTo>
                    <a:pt x="87500" y="16000"/>
                    <a:pt x="87500" y="16000"/>
                    <a:pt x="87500" y="16000"/>
                  </a:cubicBezTo>
                  <a:cubicBezTo>
                    <a:pt x="87500" y="17333"/>
                    <a:pt x="87500" y="17333"/>
                    <a:pt x="87500" y="17333"/>
                  </a:cubicBezTo>
                  <a:cubicBezTo>
                    <a:pt x="86250" y="20888"/>
                    <a:pt x="86250" y="20888"/>
                    <a:pt x="86250" y="20888"/>
                  </a:cubicBezTo>
                  <a:cubicBezTo>
                    <a:pt x="89166" y="21777"/>
                    <a:pt x="89166" y="21777"/>
                    <a:pt x="89166" y="21777"/>
                  </a:cubicBezTo>
                  <a:cubicBezTo>
                    <a:pt x="90833" y="23555"/>
                    <a:pt x="90833" y="23555"/>
                    <a:pt x="90833" y="23555"/>
                  </a:cubicBezTo>
                  <a:cubicBezTo>
                    <a:pt x="92500" y="23555"/>
                    <a:pt x="92500" y="23555"/>
                    <a:pt x="92500" y="23555"/>
                  </a:cubicBezTo>
                  <a:cubicBezTo>
                    <a:pt x="92500" y="25777"/>
                    <a:pt x="92500" y="25777"/>
                    <a:pt x="92500" y="25777"/>
                  </a:cubicBezTo>
                  <a:cubicBezTo>
                    <a:pt x="92500" y="25777"/>
                    <a:pt x="91666" y="27111"/>
                    <a:pt x="92916" y="27111"/>
                  </a:cubicBezTo>
                  <a:cubicBezTo>
                    <a:pt x="94166" y="27555"/>
                    <a:pt x="94583" y="27555"/>
                    <a:pt x="94583" y="27555"/>
                  </a:cubicBezTo>
                  <a:cubicBezTo>
                    <a:pt x="95000" y="28888"/>
                    <a:pt x="95000" y="28888"/>
                    <a:pt x="95000" y="28888"/>
                  </a:cubicBezTo>
                  <a:cubicBezTo>
                    <a:pt x="97083" y="32000"/>
                    <a:pt x="97083" y="32000"/>
                    <a:pt x="97083" y="32000"/>
                  </a:cubicBezTo>
                  <a:cubicBezTo>
                    <a:pt x="101666" y="32888"/>
                    <a:pt x="101666" y="32888"/>
                    <a:pt x="101666" y="32888"/>
                  </a:cubicBezTo>
                  <a:cubicBezTo>
                    <a:pt x="103750" y="33777"/>
                    <a:pt x="103750" y="33777"/>
                    <a:pt x="103750" y="33777"/>
                  </a:cubicBezTo>
                  <a:cubicBezTo>
                    <a:pt x="104583" y="35555"/>
                    <a:pt x="104583" y="35555"/>
                    <a:pt x="104583" y="35555"/>
                  </a:cubicBezTo>
                  <a:cubicBezTo>
                    <a:pt x="105000" y="39555"/>
                    <a:pt x="105000" y="39555"/>
                    <a:pt x="105000" y="39555"/>
                  </a:cubicBezTo>
                  <a:cubicBezTo>
                    <a:pt x="107083" y="39555"/>
                    <a:pt x="107083" y="39555"/>
                    <a:pt x="107083" y="39555"/>
                  </a:cubicBezTo>
                  <a:cubicBezTo>
                    <a:pt x="108333" y="38222"/>
                    <a:pt x="108333" y="38222"/>
                    <a:pt x="108333" y="38222"/>
                  </a:cubicBezTo>
                  <a:cubicBezTo>
                    <a:pt x="109583" y="37777"/>
                    <a:pt x="109583" y="37777"/>
                    <a:pt x="109583" y="37777"/>
                  </a:cubicBezTo>
                  <a:cubicBezTo>
                    <a:pt x="111250" y="38222"/>
                    <a:pt x="111250" y="38222"/>
                    <a:pt x="111250" y="38222"/>
                  </a:cubicBezTo>
                  <a:cubicBezTo>
                    <a:pt x="113333" y="38666"/>
                    <a:pt x="113333" y="38666"/>
                    <a:pt x="113333" y="38666"/>
                  </a:cubicBezTo>
                  <a:cubicBezTo>
                    <a:pt x="115416" y="38666"/>
                    <a:pt x="115416" y="38666"/>
                    <a:pt x="115416" y="38666"/>
                  </a:cubicBezTo>
                  <a:cubicBezTo>
                    <a:pt x="114583" y="40888"/>
                    <a:pt x="114583" y="40888"/>
                    <a:pt x="114583" y="40888"/>
                  </a:cubicBezTo>
                  <a:cubicBezTo>
                    <a:pt x="116250" y="42222"/>
                    <a:pt x="116250" y="42222"/>
                    <a:pt x="116250" y="42222"/>
                  </a:cubicBezTo>
                  <a:cubicBezTo>
                    <a:pt x="117916" y="42666"/>
                    <a:pt x="117916" y="42666"/>
                    <a:pt x="117916" y="42666"/>
                  </a:cubicBezTo>
                  <a:cubicBezTo>
                    <a:pt x="120000" y="43555"/>
                    <a:pt x="120000" y="43555"/>
                    <a:pt x="120000" y="43555"/>
                  </a:cubicBezTo>
                  <a:cubicBezTo>
                    <a:pt x="120000" y="46222"/>
                    <a:pt x="120000" y="46222"/>
                    <a:pt x="120000" y="46222"/>
                  </a:cubicBezTo>
                  <a:cubicBezTo>
                    <a:pt x="119166" y="47555"/>
                    <a:pt x="119166" y="47555"/>
                    <a:pt x="119166" y="47555"/>
                  </a:cubicBezTo>
                  <a:cubicBezTo>
                    <a:pt x="117500" y="48000"/>
                    <a:pt x="117500" y="48000"/>
                    <a:pt x="117500" y="48000"/>
                  </a:cubicBezTo>
                  <a:cubicBezTo>
                    <a:pt x="117500" y="48000"/>
                    <a:pt x="118333" y="50222"/>
                    <a:pt x="117500" y="50666"/>
                  </a:cubicBezTo>
                  <a:cubicBezTo>
                    <a:pt x="117083" y="51111"/>
                    <a:pt x="114166" y="53777"/>
                    <a:pt x="114166" y="53777"/>
                  </a:cubicBezTo>
                  <a:cubicBezTo>
                    <a:pt x="111250" y="54666"/>
                    <a:pt x="111250" y="54666"/>
                    <a:pt x="111250" y="54666"/>
                  </a:cubicBezTo>
                  <a:cubicBezTo>
                    <a:pt x="108750" y="53777"/>
                    <a:pt x="108750" y="53777"/>
                    <a:pt x="108750" y="53777"/>
                  </a:cubicBezTo>
                  <a:cubicBezTo>
                    <a:pt x="108750" y="53777"/>
                    <a:pt x="108333" y="53333"/>
                    <a:pt x="106666" y="53777"/>
                  </a:cubicBezTo>
                  <a:cubicBezTo>
                    <a:pt x="105000" y="54666"/>
                    <a:pt x="105000" y="55111"/>
                    <a:pt x="105000" y="55111"/>
                  </a:cubicBezTo>
                  <a:cubicBezTo>
                    <a:pt x="104166" y="58222"/>
                    <a:pt x="104166" y="58222"/>
                    <a:pt x="104166" y="58222"/>
                  </a:cubicBezTo>
                  <a:cubicBezTo>
                    <a:pt x="104166" y="59555"/>
                    <a:pt x="104166" y="59555"/>
                    <a:pt x="104166" y="59555"/>
                  </a:cubicBezTo>
                  <a:cubicBezTo>
                    <a:pt x="105833" y="60888"/>
                    <a:pt x="105833" y="60888"/>
                    <a:pt x="105833" y="60888"/>
                  </a:cubicBezTo>
                  <a:cubicBezTo>
                    <a:pt x="107916" y="61333"/>
                    <a:pt x="107916" y="61333"/>
                    <a:pt x="107916" y="61333"/>
                  </a:cubicBezTo>
                  <a:cubicBezTo>
                    <a:pt x="109166" y="63111"/>
                    <a:pt x="109166" y="63111"/>
                    <a:pt x="109166" y="63111"/>
                  </a:cubicBezTo>
                  <a:cubicBezTo>
                    <a:pt x="110000" y="64444"/>
                    <a:pt x="110000" y="64444"/>
                    <a:pt x="110000" y="64444"/>
                  </a:cubicBezTo>
                  <a:cubicBezTo>
                    <a:pt x="109166" y="66222"/>
                    <a:pt x="109166" y="66222"/>
                    <a:pt x="109166" y="66222"/>
                  </a:cubicBezTo>
                  <a:cubicBezTo>
                    <a:pt x="110000" y="67111"/>
                    <a:pt x="110000" y="67111"/>
                    <a:pt x="110000" y="67111"/>
                  </a:cubicBezTo>
                  <a:cubicBezTo>
                    <a:pt x="111666" y="68000"/>
                    <a:pt x="111666" y="68000"/>
                    <a:pt x="111666" y="68000"/>
                  </a:cubicBezTo>
                  <a:cubicBezTo>
                    <a:pt x="110833" y="68888"/>
                    <a:pt x="110833" y="68888"/>
                    <a:pt x="110833" y="68888"/>
                  </a:cubicBezTo>
                  <a:cubicBezTo>
                    <a:pt x="112083" y="71555"/>
                    <a:pt x="112083" y="71555"/>
                    <a:pt x="112083" y="71555"/>
                  </a:cubicBezTo>
                  <a:cubicBezTo>
                    <a:pt x="112916" y="72888"/>
                    <a:pt x="112916" y="72888"/>
                    <a:pt x="112916" y="72888"/>
                  </a:cubicBezTo>
                  <a:cubicBezTo>
                    <a:pt x="112083" y="73777"/>
                    <a:pt x="112083" y="73777"/>
                    <a:pt x="112083" y="73777"/>
                  </a:cubicBezTo>
                  <a:cubicBezTo>
                    <a:pt x="113333" y="74222"/>
                    <a:pt x="113333" y="74222"/>
                    <a:pt x="113333" y="74222"/>
                  </a:cubicBezTo>
                  <a:cubicBezTo>
                    <a:pt x="115000" y="74222"/>
                    <a:pt x="115000" y="74222"/>
                    <a:pt x="115000" y="74222"/>
                  </a:cubicBezTo>
                  <a:cubicBezTo>
                    <a:pt x="115000" y="75555"/>
                    <a:pt x="115000" y="75555"/>
                    <a:pt x="115000" y="75555"/>
                  </a:cubicBezTo>
                  <a:cubicBezTo>
                    <a:pt x="117916" y="77333"/>
                    <a:pt x="117916" y="77333"/>
                    <a:pt x="117916" y="77333"/>
                  </a:cubicBezTo>
                  <a:cubicBezTo>
                    <a:pt x="117083" y="77333"/>
                    <a:pt x="117083" y="77333"/>
                    <a:pt x="117083" y="77333"/>
                  </a:cubicBezTo>
                  <a:cubicBezTo>
                    <a:pt x="113750" y="78222"/>
                    <a:pt x="113750" y="78222"/>
                    <a:pt x="113750" y="78222"/>
                  </a:cubicBezTo>
                  <a:cubicBezTo>
                    <a:pt x="112083" y="80888"/>
                    <a:pt x="112083" y="80888"/>
                    <a:pt x="112083" y="80888"/>
                  </a:cubicBezTo>
                  <a:cubicBezTo>
                    <a:pt x="107083" y="80888"/>
                    <a:pt x="107083" y="80888"/>
                    <a:pt x="107083" y="80888"/>
                  </a:cubicBezTo>
                  <a:cubicBezTo>
                    <a:pt x="106250" y="86222"/>
                    <a:pt x="106250" y="86222"/>
                    <a:pt x="106250" y="86222"/>
                  </a:cubicBezTo>
                  <a:cubicBezTo>
                    <a:pt x="105000" y="89777"/>
                    <a:pt x="105000" y="89777"/>
                    <a:pt x="105000" y="89777"/>
                  </a:cubicBezTo>
                  <a:cubicBezTo>
                    <a:pt x="103750" y="93777"/>
                    <a:pt x="103750" y="93777"/>
                    <a:pt x="103750" y="93777"/>
                  </a:cubicBezTo>
                  <a:cubicBezTo>
                    <a:pt x="104583" y="96000"/>
                    <a:pt x="104583" y="96000"/>
                    <a:pt x="104583" y="96000"/>
                  </a:cubicBezTo>
                  <a:cubicBezTo>
                    <a:pt x="105833" y="99111"/>
                    <a:pt x="105833" y="99111"/>
                    <a:pt x="105833" y="99111"/>
                  </a:cubicBezTo>
                  <a:cubicBezTo>
                    <a:pt x="108333" y="102222"/>
                    <a:pt x="108333" y="102222"/>
                    <a:pt x="108333" y="102222"/>
                  </a:cubicBezTo>
                  <a:cubicBezTo>
                    <a:pt x="108333" y="102222"/>
                    <a:pt x="108333" y="102222"/>
                    <a:pt x="108333" y="102222"/>
                  </a:cubicBezTo>
                  <a:cubicBezTo>
                    <a:pt x="105833" y="103111"/>
                    <a:pt x="105833" y="103111"/>
                    <a:pt x="105833" y="103111"/>
                  </a:cubicBezTo>
                  <a:cubicBezTo>
                    <a:pt x="104166" y="103555"/>
                    <a:pt x="104166" y="103555"/>
                    <a:pt x="104166" y="103555"/>
                  </a:cubicBezTo>
                  <a:cubicBezTo>
                    <a:pt x="102500" y="100888"/>
                    <a:pt x="102500" y="100888"/>
                    <a:pt x="102500" y="100888"/>
                  </a:cubicBezTo>
                  <a:cubicBezTo>
                    <a:pt x="100000" y="100000"/>
                    <a:pt x="100000" y="100000"/>
                    <a:pt x="100000" y="100000"/>
                  </a:cubicBezTo>
                  <a:cubicBezTo>
                    <a:pt x="97083" y="101333"/>
                    <a:pt x="97083" y="101333"/>
                    <a:pt x="97083" y="101333"/>
                  </a:cubicBezTo>
                  <a:cubicBezTo>
                    <a:pt x="94166" y="102222"/>
                    <a:pt x="94166" y="102222"/>
                    <a:pt x="94166" y="102222"/>
                  </a:cubicBezTo>
                  <a:cubicBezTo>
                    <a:pt x="93333" y="102222"/>
                    <a:pt x="93333" y="102222"/>
                    <a:pt x="93333" y="102222"/>
                  </a:cubicBezTo>
                  <a:cubicBezTo>
                    <a:pt x="92500" y="104000"/>
                    <a:pt x="92500" y="104000"/>
                    <a:pt x="92500" y="104000"/>
                  </a:cubicBezTo>
                  <a:cubicBezTo>
                    <a:pt x="90000" y="105333"/>
                    <a:pt x="90000" y="105333"/>
                    <a:pt x="90000" y="105333"/>
                  </a:cubicBezTo>
                  <a:cubicBezTo>
                    <a:pt x="90000" y="105333"/>
                    <a:pt x="89166" y="104444"/>
                    <a:pt x="88750" y="104000"/>
                  </a:cubicBezTo>
                  <a:cubicBezTo>
                    <a:pt x="88333" y="103555"/>
                    <a:pt x="87083" y="102666"/>
                    <a:pt x="87083" y="102666"/>
                  </a:cubicBezTo>
                  <a:cubicBezTo>
                    <a:pt x="87083" y="102666"/>
                    <a:pt x="86666" y="101777"/>
                    <a:pt x="86250" y="101333"/>
                  </a:cubicBezTo>
                  <a:cubicBezTo>
                    <a:pt x="85833" y="101333"/>
                    <a:pt x="83333" y="103111"/>
                    <a:pt x="83333" y="103111"/>
                  </a:cubicBezTo>
                  <a:cubicBezTo>
                    <a:pt x="83333" y="103111"/>
                    <a:pt x="81250" y="104444"/>
                    <a:pt x="81250" y="104888"/>
                  </a:cubicBezTo>
                  <a:cubicBezTo>
                    <a:pt x="81666" y="104888"/>
                    <a:pt x="81250" y="107111"/>
                    <a:pt x="81250" y="107111"/>
                  </a:cubicBezTo>
                  <a:cubicBezTo>
                    <a:pt x="78333" y="104444"/>
                    <a:pt x="78333" y="104444"/>
                    <a:pt x="78333" y="104444"/>
                  </a:cubicBezTo>
                  <a:cubicBezTo>
                    <a:pt x="76250" y="106222"/>
                    <a:pt x="76250" y="106222"/>
                    <a:pt x="76250" y="106222"/>
                  </a:cubicBezTo>
                  <a:cubicBezTo>
                    <a:pt x="74583" y="104888"/>
                    <a:pt x="74583" y="104888"/>
                    <a:pt x="74583" y="104888"/>
                  </a:cubicBezTo>
                  <a:cubicBezTo>
                    <a:pt x="73750" y="104444"/>
                    <a:pt x="73750" y="104444"/>
                    <a:pt x="73750" y="104444"/>
                  </a:cubicBezTo>
                  <a:cubicBezTo>
                    <a:pt x="71250" y="107555"/>
                    <a:pt x="71250" y="107555"/>
                    <a:pt x="71250" y="107555"/>
                  </a:cubicBezTo>
                  <a:cubicBezTo>
                    <a:pt x="69583" y="106666"/>
                    <a:pt x="69583" y="106666"/>
                    <a:pt x="69583" y="106666"/>
                  </a:cubicBezTo>
                  <a:cubicBezTo>
                    <a:pt x="68750" y="109777"/>
                    <a:pt x="68750" y="109777"/>
                    <a:pt x="68750" y="109777"/>
                  </a:cubicBezTo>
                  <a:cubicBezTo>
                    <a:pt x="66666" y="108000"/>
                    <a:pt x="66666" y="108000"/>
                    <a:pt x="66666" y="108000"/>
                  </a:cubicBezTo>
                  <a:cubicBezTo>
                    <a:pt x="66666" y="108000"/>
                    <a:pt x="64583" y="107555"/>
                    <a:pt x="64166" y="107555"/>
                  </a:cubicBezTo>
                  <a:cubicBezTo>
                    <a:pt x="63750" y="107555"/>
                    <a:pt x="62500" y="109333"/>
                    <a:pt x="62500" y="109333"/>
                  </a:cubicBezTo>
                  <a:cubicBezTo>
                    <a:pt x="60416" y="107555"/>
                    <a:pt x="60416" y="107555"/>
                    <a:pt x="60416" y="107555"/>
                  </a:cubicBezTo>
                  <a:cubicBezTo>
                    <a:pt x="58750" y="106222"/>
                    <a:pt x="58750" y="106222"/>
                    <a:pt x="58750" y="106222"/>
                  </a:cubicBezTo>
                  <a:cubicBezTo>
                    <a:pt x="58750" y="106222"/>
                    <a:pt x="54166" y="106666"/>
                    <a:pt x="53750" y="106666"/>
                  </a:cubicBezTo>
                  <a:cubicBezTo>
                    <a:pt x="53333" y="106666"/>
                    <a:pt x="50416" y="106222"/>
                    <a:pt x="50416" y="106222"/>
                  </a:cubicBezTo>
                  <a:cubicBezTo>
                    <a:pt x="46666" y="107111"/>
                    <a:pt x="46666" y="107111"/>
                    <a:pt x="46666" y="107111"/>
                  </a:cubicBezTo>
                  <a:cubicBezTo>
                    <a:pt x="41250" y="107111"/>
                    <a:pt x="41250" y="107111"/>
                    <a:pt x="41250" y="107111"/>
                  </a:cubicBezTo>
                  <a:cubicBezTo>
                    <a:pt x="36250" y="107555"/>
                    <a:pt x="36250" y="107555"/>
                    <a:pt x="36250" y="107555"/>
                  </a:cubicBezTo>
                  <a:cubicBezTo>
                    <a:pt x="32500" y="107555"/>
                    <a:pt x="32500" y="107555"/>
                    <a:pt x="32500" y="107555"/>
                  </a:cubicBezTo>
                  <a:cubicBezTo>
                    <a:pt x="29583" y="109777"/>
                    <a:pt x="29583" y="109777"/>
                    <a:pt x="29583" y="109777"/>
                  </a:cubicBezTo>
                  <a:cubicBezTo>
                    <a:pt x="26666" y="110222"/>
                    <a:pt x="26666" y="110222"/>
                    <a:pt x="26666" y="110222"/>
                  </a:cubicBezTo>
                  <a:cubicBezTo>
                    <a:pt x="23333" y="110666"/>
                    <a:pt x="23333" y="110666"/>
                    <a:pt x="23333" y="110666"/>
                  </a:cubicBezTo>
                  <a:cubicBezTo>
                    <a:pt x="22916" y="110666"/>
                    <a:pt x="22916" y="110666"/>
                    <a:pt x="22916" y="110666"/>
                  </a:cubicBezTo>
                  <a:cubicBezTo>
                    <a:pt x="22500" y="111111"/>
                    <a:pt x="22500" y="111111"/>
                    <a:pt x="22500" y="111111"/>
                  </a:cubicBezTo>
                  <a:cubicBezTo>
                    <a:pt x="21250" y="112000"/>
                    <a:pt x="21250" y="112000"/>
                    <a:pt x="21250" y="112000"/>
                  </a:cubicBezTo>
                  <a:cubicBezTo>
                    <a:pt x="21250" y="112444"/>
                    <a:pt x="21250" y="112444"/>
                    <a:pt x="21250" y="112444"/>
                  </a:cubicBezTo>
                  <a:cubicBezTo>
                    <a:pt x="20416" y="113333"/>
                    <a:pt x="20416" y="113333"/>
                    <a:pt x="20416" y="113333"/>
                  </a:cubicBezTo>
                  <a:cubicBezTo>
                    <a:pt x="20000" y="115555"/>
                    <a:pt x="20000" y="115555"/>
                    <a:pt x="20000" y="115555"/>
                  </a:cubicBezTo>
                  <a:cubicBezTo>
                    <a:pt x="19583" y="116444"/>
                    <a:pt x="18750" y="117333"/>
                    <a:pt x="18333" y="118222"/>
                  </a:cubicBezTo>
                  <a:cubicBezTo>
                    <a:pt x="18333" y="118222"/>
                    <a:pt x="18333" y="118222"/>
                    <a:pt x="18333" y="118222"/>
                  </a:cubicBezTo>
                  <a:cubicBezTo>
                    <a:pt x="18333" y="118222"/>
                    <a:pt x="17083" y="117777"/>
                    <a:pt x="17083" y="118666"/>
                  </a:cubicBezTo>
                  <a:cubicBezTo>
                    <a:pt x="17083" y="119111"/>
                    <a:pt x="17083" y="119111"/>
                    <a:pt x="17083" y="119111"/>
                  </a:cubicBezTo>
                  <a:cubicBezTo>
                    <a:pt x="15833" y="119555"/>
                    <a:pt x="13750" y="118666"/>
                    <a:pt x="13750" y="118666"/>
                  </a:cubicBezTo>
                  <a:cubicBezTo>
                    <a:pt x="11250" y="120000"/>
                    <a:pt x="11250" y="120000"/>
                    <a:pt x="11250" y="120000"/>
                  </a:cubicBezTo>
                  <a:cubicBezTo>
                    <a:pt x="11250" y="120000"/>
                    <a:pt x="11250" y="120000"/>
                    <a:pt x="11250" y="120000"/>
                  </a:cubicBezTo>
                  <a:cubicBezTo>
                    <a:pt x="11250" y="119555"/>
                    <a:pt x="10416" y="117777"/>
                    <a:pt x="10416" y="117777"/>
                  </a:cubicBezTo>
                  <a:cubicBezTo>
                    <a:pt x="10416" y="117777"/>
                    <a:pt x="10833" y="114666"/>
                    <a:pt x="10833" y="114666"/>
                  </a:cubicBezTo>
                  <a:cubicBezTo>
                    <a:pt x="10833" y="114222"/>
                    <a:pt x="10416" y="110666"/>
                    <a:pt x="10416" y="110666"/>
                  </a:cubicBezTo>
                  <a:cubicBezTo>
                    <a:pt x="10416" y="108888"/>
                    <a:pt x="10416" y="108888"/>
                    <a:pt x="10416" y="108888"/>
                  </a:cubicBezTo>
                  <a:cubicBezTo>
                    <a:pt x="7916" y="107111"/>
                    <a:pt x="7916" y="107111"/>
                    <a:pt x="7916" y="107111"/>
                  </a:cubicBezTo>
                  <a:cubicBezTo>
                    <a:pt x="7916" y="107111"/>
                    <a:pt x="5000" y="106666"/>
                    <a:pt x="4166" y="106666"/>
                  </a:cubicBezTo>
                  <a:cubicBezTo>
                    <a:pt x="3750" y="106666"/>
                    <a:pt x="3333" y="105333"/>
                    <a:pt x="3333" y="105333"/>
                  </a:cubicBezTo>
                  <a:cubicBezTo>
                    <a:pt x="3750" y="104000"/>
                    <a:pt x="3750" y="104000"/>
                    <a:pt x="3750" y="104000"/>
                  </a:cubicBezTo>
                  <a:cubicBezTo>
                    <a:pt x="5000" y="100000"/>
                    <a:pt x="5000" y="100000"/>
                    <a:pt x="5000" y="100000"/>
                  </a:cubicBezTo>
                  <a:cubicBezTo>
                    <a:pt x="7083" y="96888"/>
                    <a:pt x="7083" y="96888"/>
                    <a:pt x="7083" y="96888"/>
                  </a:cubicBezTo>
                  <a:cubicBezTo>
                    <a:pt x="8750" y="96000"/>
                    <a:pt x="8750" y="96000"/>
                    <a:pt x="8750" y="96000"/>
                  </a:cubicBezTo>
                  <a:cubicBezTo>
                    <a:pt x="8750" y="96000"/>
                    <a:pt x="10416" y="93333"/>
                    <a:pt x="10833" y="92888"/>
                  </a:cubicBezTo>
                  <a:cubicBezTo>
                    <a:pt x="11250" y="92888"/>
                    <a:pt x="10833" y="90666"/>
                    <a:pt x="10416" y="90666"/>
                  </a:cubicBezTo>
                  <a:cubicBezTo>
                    <a:pt x="10416" y="90222"/>
                    <a:pt x="10416" y="88888"/>
                    <a:pt x="10416" y="88444"/>
                  </a:cubicBezTo>
                  <a:cubicBezTo>
                    <a:pt x="10416" y="87555"/>
                    <a:pt x="9166" y="86222"/>
                    <a:pt x="9166" y="86222"/>
                  </a:cubicBezTo>
                  <a:cubicBezTo>
                    <a:pt x="8750" y="82666"/>
                    <a:pt x="8750" y="82666"/>
                    <a:pt x="8750" y="82666"/>
                  </a:cubicBezTo>
                  <a:cubicBezTo>
                    <a:pt x="7916" y="81777"/>
                    <a:pt x="7916" y="81777"/>
                    <a:pt x="7916" y="81777"/>
                  </a:cubicBezTo>
                  <a:cubicBezTo>
                    <a:pt x="7916" y="81333"/>
                    <a:pt x="7916" y="81333"/>
                    <a:pt x="7916" y="81333"/>
                  </a:cubicBezTo>
                  <a:cubicBezTo>
                    <a:pt x="5416" y="77777"/>
                    <a:pt x="5416" y="77777"/>
                    <a:pt x="5416" y="77777"/>
                  </a:cubicBezTo>
                  <a:cubicBezTo>
                    <a:pt x="3333" y="72888"/>
                    <a:pt x="3333" y="72888"/>
                    <a:pt x="3333" y="72888"/>
                  </a:cubicBezTo>
                  <a:cubicBezTo>
                    <a:pt x="3333" y="72888"/>
                    <a:pt x="833" y="68444"/>
                    <a:pt x="416" y="66666"/>
                  </a:cubicBezTo>
                  <a:cubicBezTo>
                    <a:pt x="0" y="65333"/>
                    <a:pt x="0" y="65333"/>
                    <a:pt x="0" y="65333"/>
                  </a:cubicBezTo>
                  <a:cubicBezTo>
                    <a:pt x="3750" y="64444"/>
                    <a:pt x="3750" y="64444"/>
                    <a:pt x="3750" y="64444"/>
                  </a:cubicBezTo>
                  <a:cubicBezTo>
                    <a:pt x="7916" y="62666"/>
                    <a:pt x="7916" y="62666"/>
                    <a:pt x="7916" y="62666"/>
                  </a:cubicBezTo>
                  <a:cubicBezTo>
                    <a:pt x="10416" y="63111"/>
                    <a:pt x="10416" y="63111"/>
                    <a:pt x="10416" y="63111"/>
                  </a:cubicBezTo>
                  <a:cubicBezTo>
                    <a:pt x="13333" y="62666"/>
                    <a:pt x="13333" y="62666"/>
                    <a:pt x="13333" y="62666"/>
                  </a:cubicBezTo>
                  <a:cubicBezTo>
                    <a:pt x="15000" y="60444"/>
                    <a:pt x="15000" y="60444"/>
                    <a:pt x="15000" y="60444"/>
                  </a:cubicBezTo>
                  <a:cubicBezTo>
                    <a:pt x="17083" y="60444"/>
                    <a:pt x="17083" y="60444"/>
                    <a:pt x="17083" y="60444"/>
                  </a:cubicBezTo>
                  <a:cubicBezTo>
                    <a:pt x="16250" y="57333"/>
                    <a:pt x="16250" y="57333"/>
                    <a:pt x="16250" y="57333"/>
                  </a:cubicBezTo>
                  <a:cubicBezTo>
                    <a:pt x="16250" y="57333"/>
                    <a:pt x="16666" y="56000"/>
                    <a:pt x="17083" y="56444"/>
                  </a:cubicBezTo>
                  <a:cubicBezTo>
                    <a:pt x="17916" y="56444"/>
                    <a:pt x="19583" y="56444"/>
                    <a:pt x="19583" y="56444"/>
                  </a:cubicBezTo>
                  <a:cubicBezTo>
                    <a:pt x="20416" y="54666"/>
                    <a:pt x="20416" y="54666"/>
                    <a:pt x="20416" y="54666"/>
                  </a:cubicBezTo>
                  <a:cubicBezTo>
                    <a:pt x="20416" y="53777"/>
                    <a:pt x="20416" y="53777"/>
                    <a:pt x="20416" y="53777"/>
                  </a:cubicBezTo>
                  <a:cubicBezTo>
                    <a:pt x="23333" y="52888"/>
                    <a:pt x="23333" y="52888"/>
                    <a:pt x="23333" y="52888"/>
                  </a:cubicBezTo>
                  <a:cubicBezTo>
                    <a:pt x="24583" y="51555"/>
                    <a:pt x="24583" y="51555"/>
                    <a:pt x="24583" y="51555"/>
                  </a:cubicBezTo>
                  <a:cubicBezTo>
                    <a:pt x="25416" y="52444"/>
                    <a:pt x="25416" y="52444"/>
                    <a:pt x="25416" y="52444"/>
                  </a:cubicBezTo>
                  <a:cubicBezTo>
                    <a:pt x="25000" y="54222"/>
                    <a:pt x="25000" y="54222"/>
                    <a:pt x="25000" y="54222"/>
                  </a:cubicBezTo>
                  <a:cubicBezTo>
                    <a:pt x="27083" y="53777"/>
                    <a:pt x="27083" y="53777"/>
                    <a:pt x="27083" y="53777"/>
                  </a:cubicBezTo>
                  <a:cubicBezTo>
                    <a:pt x="27916" y="51111"/>
                    <a:pt x="27916" y="51111"/>
                    <a:pt x="27916" y="51111"/>
                  </a:cubicBezTo>
                  <a:cubicBezTo>
                    <a:pt x="27083" y="50666"/>
                    <a:pt x="27083" y="50666"/>
                    <a:pt x="27083" y="50666"/>
                  </a:cubicBezTo>
                  <a:cubicBezTo>
                    <a:pt x="25000" y="49777"/>
                    <a:pt x="25000" y="49777"/>
                    <a:pt x="25000" y="49777"/>
                  </a:cubicBezTo>
                  <a:cubicBezTo>
                    <a:pt x="25000" y="49777"/>
                    <a:pt x="24166" y="50222"/>
                    <a:pt x="24166" y="49333"/>
                  </a:cubicBezTo>
                  <a:cubicBezTo>
                    <a:pt x="24583" y="48000"/>
                    <a:pt x="25416" y="45777"/>
                    <a:pt x="25416" y="45777"/>
                  </a:cubicBezTo>
                  <a:cubicBezTo>
                    <a:pt x="25000" y="43111"/>
                    <a:pt x="25000" y="43111"/>
                    <a:pt x="25000" y="43111"/>
                  </a:cubicBezTo>
                  <a:cubicBezTo>
                    <a:pt x="24583" y="40000"/>
                    <a:pt x="24583" y="40000"/>
                    <a:pt x="24583" y="40000"/>
                  </a:cubicBezTo>
                  <a:cubicBezTo>
                    <a:pt x="25000" y="38222"/>
                    <a:pt x="25000" y="38222"/>
                    <a:pt x="25000" y="38222"/>
                  </a:cubicBezTo>
                  <a:cubicBezTo>
                    <a:pt x="25000" y="36444"/>
                    <a:pt x="25000" y="36444"/>
                    <a:pt x="25000" y="36444"/>
                  </a:cubicBezTo>
                  <a:cubicBezTo>
                    <a:pt x="25833" y="34666"/>
                    <a:pt x="25833" y="34666"/>
                    <a:pt x="25833" y="34666"/>
                  </a:cubicBezTo>
                  <a:cubicBezTo>
                    <a:pt x="29166" y="33333"/>
                    <a:pt x="29166" y="33333"/>
                    <a:pt x="29166" y="33333"/>
                  </a:cubicBezTo>
                  <a:cubicBezTo>
                    <a:pt x="29166" y="30222"/>
                    <a:pt x="29166" y="30222"/>
                    <a:pt x="29166" y="30222"/>
                  </a:cubicBezTo>
                  <a:cubicBezTo>
                    <a:pt x="30416" y="28888"/>
                    <a:pt x="30416" y="28888"/>
                    <a:pt x="30416" y="28888"/>
                  </a:cubicBezTo>
                  <a:lnTo>
                    <a:pt x="33750" y="29333"/>
                  </a:lnTo>
                  <a:close/>
                </a:path>
              </a:pathLst>
            </a:custGeom>
            <a:solidFill>
              <a:srgbClr val="92D050"/>
            </a:solidFill>
            <a:ln w="3175" cap="flat" cmpd="sng">
              <a:solidFill>
                <a:schemeClr val="tx1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defTabSz="457200"/>
              <a:endParaRPr kern="0">
                <a:solidFill>
                  <a:srgbClr val="7F7F7F"/>
                </a:solidFill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38" name="Shape 2032">
              <a:extLst>
                <a:ext uri="{FF2B5EF4-FFF2-40B4-BE49-F238E27FC236}">
                  <a16:creationId xmlns:a16="http://schemas.microsoft.com/office/drawing/2014/main" id="{EE5107FF-2F84-40A9-818C-51AAC8CFD673}"/>
                </a:ext>
              </a:extLst>
            </p:cNvPr>
            <p:cNvSpPr/>
            <p:nvPr/>
          </p:nvSpPr>
          <p:spPr>
            <a:xfrm>
              <a:off x="5400227" y="3048018"/>
              <a:ext cx="326128" cy="31023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76645" y="120000"/>
                  </a:moveTo>
                  <a:cubicBezTo>
                    <a:pt x="77419" y="116842"/>
                    <a:pt x="77419" y="116842"/>
                    <a:pt x="77419" y="116842"/>
                  </a:cubicBezTo>
                  <a:cubicBezTo>
                    <a:pt x="77419" y="116842"/>
                    <a:pt x="79741" y="116052"/>
                    <a:pt x="80516" y="116052"/>
                  </a:cubicBezTo>
                  <a:cubicBezTo>
                    <a:pt x="81290" y="115263"/>
                    <a:pt x="82064" y="116052"/>
                    <a:pt x="82838" y="115263"/>
                  </a:cubicBezTo>
                  <a:cubicBezTo>
                    <a:pt x="83612" y="115263"/>
                    <a:pt x="85161" y="114473"/>
                    <a:pt x="85161" y="114473"/>
                  </a:cubicBezTo>
                  <a:cubicBezTo>
                    <a:pt x="84387" y="114473"/>
                    <a:pt x="84387" y="114473"/>
                    <a:pt x="84387" y="114473"/>
                  </a:cubicBezTo>
                  <a:cubicBezTo>
                    <a:pt x="84387" y="112894"/>
                    <a:pt x="84387" y="112894"/>
                    <a:pt x="84387" y="112894"/>
                  </a:cubicBezTo>
                  <a:cubicBezTo>
                    <a:pt x="85161" y="111315"/>
                    <a:pt x="85161" y="111315"/>
                    <a:pt x="85161" y="111315"/>
                  </a:cubicBezTo>
                  <a:cubicBezTo>
                    <a:pt x="82064" y="109736"/>
                    <a:pt x="82064" y="109736"/>
                    <a:pt x="82064" y="109736"/>
                  </a:cubicBezTo>
                  <a:cubicBezTo>
                    <a:pt x="82838" y="108157"/>
                    <a:pt x="82838" y="108157"/>
                    <a:pt x="82838" y="108157"/>
                  </a:cubicBezTo>
                  <a:cubicBezTo>
                    <a:pt x="82838" y="108157"/>
                    <a:pt x="82064" y="106578"/>
                    <a:pt x="82838" y="106578"/>
                  </a:cubicBezTo>
                  <a:cubicBezTo>
                    <a:pt x="83612" y="106578"/>
                    <a:pt x="83612" y="104210"/>
                    <a:pt x="83612" y="104210"/>
                  </a:cubicBezTo>
                  <a:cubicBezTo>
                    <a:pt x="84387" y="102631"/>
                    <a:pt x="84387" y="102631"/>
                    <a:pt x="84387" y="102631"/>
                  </a:cubicBezTo>
                  <a:cubicBezTo>
                    <a:pt x="85935" y="102631"/>
                    <a:pt x="85935" y="102631"/>
                    <a:pt x="85935" y="102631"/>
                  </a:cubicBezTo>
                  <a:cubicBezTo>
                    <a:pt x="85935" y="102631"/>
                    <a:pt x="85935" y="101052"/>
                    <a:pt x="86709" y="100263"/>
                  </a:cubicBezTo>
                  <a:cubicBezTo>
                    <a:pt x="86709" y="100263"/>
                    <a:pt x="87483" y="99473"/>
                    <a:pt x="87483" y="99473"/>
                  </a:cubicBezTo>
                  <a:cubicBezTo>
                    <a:pt x="86709" y="97105"/>
                    <a:pt x="86709" y="97105"/>
                    <a:pt x="86709" y="97105"/>
                  </a:cubicBezTo>
                  <a:cubicBezTo>
                    <a:pt x="86709" y="97105"/>
                    <a:pt x="85161" y="94736"/>
                    <a:pt x="85935" y="94736"/>
                  </a:cubicBezTo>
                  <a:cubicBezTo>
                    <a:pt x="86709" y="94736"/>
                    <a:pt x="87483" y="93947"/>
                    <a:pt x="87483" y="93947"/>
                  </a:cubicBezTo>
                  <a:cubicBezTo>
                    <a:pt x="87483" y="93947"/>
                    <a:pt x="89806" y="91578"/>
                    <a:pt x="90580" y="91578"/>
                  </a:cubicBezTo>
                  <a:cubicBezTo>
                    <a:pt x="90580" y="91578"/>
                    <a:pt x="92129" y="90000"/>
                    <a:pt x="92129" y="89210"/>
                  </a:cubicBezTo>
                  <a:cubicBezTo>
                    <a:pt x="91354" y="88421"/>
                    <a:pt x="90580" y="87631"/>
                    <a:pt x="90580" y="87631"/>
                  </a:cubicBezTo>
                  <a:cubicBezTo>
                    <a:pt x="91354" y="84473"/>
                    <a:pt x="91354" y="84473"/>
                    <a:pt x="91354" y="84473"/>
                  </a:cubicBezTo>
                  <a:cubicBezTo>
                    <a:pt x="91354" y="84473"/>
                    <a:pt x="92129" y="82894"/>
                    <a:pt x="91354" y="82894"/>
                  </a:cubicBezTo>
                  <a:cubicBezTo>
                    <a:pt x="90580" y="82105"/>
                    <a:pt x="89032" y="82105"/>
                    <a:pt x="89032" y="82105"/>
                  </a:cubicBezTo>
                  <a:cubicBezTo>
                    <a:pt x="87483" y="80526"/>
                    <a:pt x="87483" y="80526"/>
                    <a:pt x="87483" y="80526"/>
                  </a:cubicBezTo>
                  <a:cubicBezTo>
                    <a:pt x="87483" y="78157"/>
                    <a:pt x="87483" y="78157"/>
                    <a:pt x="87483" y="78157"/>
                  </a:cubicBezTo>
                  <a:cubicBezTo>
                    <a:pt x="85935" y="75789"/>
                    <a:pt x="85935" y="75789"/>
                    <a:pt x="85935" y="75789"/>
                  </a:cubicBezTo>
                  <a:cubicBezTo>
                    <a:pt x="85935" y="75789"/>
                    <a:pt x="85935" y="74210"/>
                    <a:pt x="85935" y="73421"/>
                  </a:cubicBezTo>
                  <a:cubicBezTo>
                    <a:pt x="86709" y="73421"/>
                    <a:pt x="88258" y="70263"/>
                    <a:pt x="88258" y="69473"/>
                  </a:cubicBezTo>
                  <a:cubicBezTo>
                    <a:pt x="89032" y="69473"/>
                    <a:pt x="92129" y="66315"/>
                    <a:pt x="92129" y="66315"/>
                  </a:cubicBezTo>
                  <a:cubicBezTo>
                    <a:pt x="93677" y="70263"/>
                    <a:pt x="93677" y="70263"/>
                    <a:pt x="93677" y="70263"/>
                  </a:cubicBezTo>
                  <a:cubicBezTo>
                    <a:pt x="93677" y="73421"/>
                    <a:pt x="93677" y="73421"/>
                    <a:pt x="93677" y="73421"/>
                  </a:cubicBezTo>
                  <a:cubicBezTo>
                    <a:pt x="93677" y="73421"/>
                    <a:pt x="92903" y="75000"/>
                    <a:pt x="93677" y="75000"/>
                  </a:cubicBezTo>
                  <a:cubicBezTo>
                    <a:pt x="95225" y="74210"/>
                    <a:pt x="95225" y="72631"/>
                    <a:pt x="95225" y="72631"/>
                  </a:cubicBezTo>
                  <a:cubicBezTo>
                    <a:pt x="96000" y="71842"/>
                    <a:pt x="96000" y="71842"/>
                    <a:pt x="96000" y="71842"/>
                  </a:cubicBezTo>
                  <a:cubicBezTo>
                    <a:pt x="96000" y="71842"/>
                    <a:pt x="94451" y="69473"/>
                    <a:pt x="95225" y="69473"/>
                  </a:cubicBezTo>
                  <a:cubicBezTo>
                    <a:pt x="96000" y="69473"/>
                    <a:pt x="96000" y="67894"/>
                    <a:pt x="96000" y="69473"/>
                  </a:cubicBezTo>
                  <a:cubicBezTo>
                    <a:pt x="96774" y="70263"/>
                    <a:pt x="96774" y="71842"/>
                    <a:pt x="97548" y="71052"/>
                  </a:cubicBezTo>
                  <a:cubicBezTo>
                    <a:pt x="99096" y="71052"/>
                    <a:pt x="99096" y="71842"/>
                    <a:pt x="99096" y="71052"/>
                  </a:cubicBezTo>
                  <a:cubicBezTo>
                    <a:pt x="99870" y="70263"/>
                    <a:pt x="99870" y="69473"/>
                    <a:pt x="99870" y="69473"/>
                  </a:cubicBezTo>
                  <a:cubicBezTo>
                    <a:pt x="100645" y="68684"/>
                    <a:pt x="100645" y="68684"/>
                    <a:pt x="100645" y="68684"/>
                  </a:cubicBezTo>
                  <a:cubicBezTo>
                    <a:pt x="100645" y="68684"/>
                    <a:pt x="100645" y="70263"/>
                    <a:pt x="101419" y="70263"/>
                  </a:cubicBezTo>
                  <a:cubicBezTo>
                    <a:pt x="102193" y="70263"/>
                    <a:pt x="103741" y="70263"/>
                    <a:pt x="103741" y="70263"/>
                  </a:cubicBezTo>
                  <a:cubicBezTo>
                    <a:pt x="105290" y="71052"/>
                    <a:pt x="105290" y="71052"/>
                    <a:pt x="105290" y="71052"/>
                  </a:cubicBezTo>
                  <a:cubicBezTo>
                    <a:pt x="105290" y="71052"/>
                    <a:pt x="106064" y="71052"/>
                    <a:pt x="106064" y="70263"/>
                  </a:cubicBezTo>
                  <a:cubicBezTo>
                    <a:pt x="106064" y="69473"/>
                    <a:pt x="106064" y="68684"/>
                    <a:pt x="106064" y="68684"/>
                  </a:cubicBezTo>
                  <a:cubicBezTo>
                    <a:pt x="107612" y="67894"/>
                    <a:pt x="107612" y="67894"/>
                    <a:pt x="107612" y="67894"/>
                  </a:cubicBezTo>
                  <a:cubicBezTo>
                    <a:pt x="107612" y="65526"/>
                    <a:pt x="107612" y="65526"/>
                    <a:pt x="107612" y="65526"/>
                  </a:cubicBezTo>
                  <a:cubicBezTo>
                    <a:pt x="110709" y="67894"/>
                    <a:pt x="110709" y="67894"/>
                    <a:pt x="110709" y="67894"/>
                  </a:cubicBezTo>
                  <a:cubicBezTo>
                    <a:pt x="111483" y="70263"/>
                    <a:pt x="111483" y="70263"/>
                    <a:pt x="111483" y="70263"/>
                  </a:cubicBezTo>
                  <a:cubicBezTo>
                    <a:pt x="113032" y="69473"/>
                    <a:pt x="113032" y="69473"/>
                    <a:pt x="113032" y="69473"/>
                  </a:cubicBezTo>
                  <a:cubicBezTo>
                    <a:pt x="113806" y="67105"/>
                    <a:pt x="113806" y="67105"/>
                    <a:pt x="113806" y="67105"/>
                  </a:cubicBezTo>
                  <a:cubicBezTo>
                    <a:pt x="113806" y="67105"/>
                    <a:pt x="116129" y="67105"/>
                    <a:pt x="116903" y="66315"/>
                  </a:cubicBezTo>
                  <a:cubicBezTo>
                    <a:pt x="117677" y="66315"/>
                    <a:pt x="120000" y="65526"/>
                    <a:pt x="120000" y="65526"/>
                  </a:cubicBezTo>
                  <a:cubicBezTo>
                    <a:pt x="120000" y="64736"/>
                    <a:pt x="118451" y="63947"/>
                    <a:pt x="117677" y="64736"/>
                  </a:cubicBezTo>
                  <a:cubicBezTo>
                    <a:pt x="116903" y="64736"/>
                    <a:pt x="115354" y="65526"/>
                    <a:pt x="114580" y="64736"/>
                  </a:cubicBezTo>
                  <a:cubicBezTo>
                    <a:pt x="114580" y="63947"/>
                    <a:pt x="113032" y="62368"/>
                    <a:pt x="113032" y="62368"/>
                  </a:cubicBezTo>
                  <a:cubicBezTo>
                    <a:pt x="111483" y="62368"/>
                    <a:pt x="111483" y="62368"/>
                    <a:pt x="111483" y="62368"/>
                  </a:cubicBezTo>
                  <a:cubicBezTo>
                    <a:pt x="111483" y="62368"/>
                    <a:pt x="109935" y="61578"/>
                    <a:pt x="110709" y="60789"/>
                  </a:cubicBezTo>
                  <a:cubicBezTo>
                    <a:pt x="111483" y="60000"/>
                    <a:pt x="112258" y="60000"/>
                    <a:pt x="112258" y="60000"/>
                  </a:cubicBezTo>
                  <a:cubicBezTo>
                    <a:pt x="112258" y="60000"/>
                    <a:pt x="111483" y="58421"/>
                    <a:pt x="111483" y="57631"/>
                  </a:cubicBezTo>
                  <a:cubicBezTo>
                    <a:pt x="111483" y="56842"/>
                    <a:pt x="111483" y="55263"/>
                    <a:pt x="110709" y="54473"/>
                  </a:cubicBezTo>
                  <a:cubicBezTo>
                    <a:pt x="110709" y="54473"/>
                    <a:pt x="109161" y="51315"/>
                    <a:pt x="109161" y="51315"/>
                  </a:cubicBezTo>
                  <a:cubicBezTo>
                    <a:pt x="109161" y="49736"/>
                    <a:pt x="109161" y="49736"/>
                    <a:pt x="109161" y="49736"/>
                  </a:cubicBezTo>
                  <a:cubicBezTo>
                    <a:pt x="107612" y="50526"/>
                    <a:pt x="107612" y="50526"/>
                    <a:pt x="107612" y="50526"/>
                  </a:cubicBezTo>
                  <a:cubicBezTo>
                    <a:pt x="106064" y="48947"/>
                    <a:pt x="106064" y="48947"/>
                    <a:pt x="106064" y="48947"/>
                  </a:cubicBezTo>
                  <a:cubicBezTo>
                    <a:pt x="106064" y="48947"/>
                    <a:pt x="104516" y="48947"/>
                    <a:pt x="104516" y="49736"/>
                  </a:cubicBezTo>
                  <a:cubicBezTo>
                    <a:pt x="103741" y="49736"/>
                    <a:pt x="102967" y="48947"/>
                    <a:pt x="102967" y="48947"/>
                  </a:cubicBezTo>
                  <a:cubicBezTo>
                    <a:pt x="101419" y="48947"/>
                    <a:pt x="101419" y="48947"/>
                    <a:pt x="101419" y="48947"/>
                  </a:cubicBezTo>
                  <a:cubicBezTo>
                    <a:pt x="101419" y="48947"/>
                    <a:pt x="101419" y="48947"/>
                    <a:pt x="99870" y="48947"/>
                  </a:cubicBezTo>
                  <a:cubicBezTo>
                    <a:pt x="99096" y="48947"/>
                    <a:pt x="97548" y="48157"/>
                    <a:pt x="96774" y="48157"/>
                  </a:cubicBezTo>
                  <a:cubicBezTo>
                    <a:pt x="96774" y="47368"/>
                    <a:pt x="96774" y="46578"/>
                    <a:pt x="96774" y="46578"/>
                  </a:cubicBezTo>
                  <a:cubicBezTo>
                    <a:pt x="97548" y="45789"/>
                    <a:pt x="97548" y="45000"/>
                    <a:pt x="97548" y="45000"/>
                  </a:cubicBezTo>
                  <a:cubicBezTo>
                    <a:pt x="97548" y="45000"/>
                    <a:pt x="97548" y="42631"/>
                    <a:pt x="96774" y="42631"/>
                  </a:cubicBezTo>
                  <a:cubicBezTo>
                    <a:pt x="96000" y="42631"/>
                    <a:pt x="94451" y="42631"/>
                    <a:pt x="94451" y="42631"/>
                  </a:cubicBezTo>
                  <a:cubicBezTo>
                    <a:pt x="92903" y="41842"/>
                    <a:pt x="92903" y="41842"/>
                    <a:pt x="92903" y="41842"/>
                  </a:cubicBezTo>
                  <a:cubicBezTo>
                    <a:pt x="95225" y="41052"/>
                    <a:pt x="95225" y="41052"/>
                    <a:pt x="95225" y="41052"/>
                  </a:cubicBezTo>
                  <a:cubicBezTo>
                    <a:pt x="94451" y="39473"/>
                    <a:pt x="94451" y="39473"/>
                    <a:pt x="94451" y="39473"/>
                  </a:cubicBezTo>
                  <a:cubicBezTo>
                    <a:pt x="94451" y="39473"/>
                    <a:pt x="94451" y="37894"/>
                    <a:pt x="94451" y="37894"/>
                  </a:cubicBezTo>
                  <a:cubicBezTo>
                    <a:pt x="94451" y="37105"/>
                    <a:pt x="93677" y="36315"/>
                    <a:pt x="93677" y="36315"/>
                  </a:cubicBezTo>
                  <a:cubicBezTo>
                    <a:pt x="93677" y="33157"/>
                    <a:pt x="93677" y="33157"/>
                    <a:pt x="93677" y="33157"/>
                  </a:cubicBezTo>
                  <a:cubicBezTo>
                    <a:pt x="92129" y="33157"/>
                    <a:pt x="92129" y="33157"/>
                    <a:pt x="92129" y="33157"/>
                  </a:cubicBezTo>
                  <a:cubicBezTo>
                    <a:pt x="90580" y="32368"/>
                    <a:pt x="90580" y="32368"/>
                    <a:pt x="90580" y="32368"/>
                  </a:cubicBezTo>
                  <a:cubicBezTo>
                    <a:pt x="89806" y="34736"/>
                    <a:pt x="89806" y="34736"/>
                    <a:pt x="89806" y="34736"/>
                  </a:cubicBezTo>
                  <a:cubicBezTo>
                    <a:pt x="88258" y="35526"/>
                    <a:pt x="88258" y="35526"/>
                    <a:pt x="88258" y="35526"/>
                  </a:cubicBezTo>
                  <a:cubicBezTo>
                    <a:pt x="87483" y="33157"/>
                    <a:pt x="87483" y="33157"/>
                    <a:pt x="87483" y="33157"/>
                  </a:cubicBezTo>
                  <a:cubicBezTo>
                    <a:pt x="85935" y="32368"/>
                    <a:pt x="85935" y="32368"/>
                    <a:pt x="85935" y="32368"/>
                  </a:cubicBezTo>
                  <a:cubicBezTo>
                    <a:pt x="85161" y="32368"/>
                    <a:pt x="85161" y="32368"/>
                    <a:pt x="85161" y="32368"/>
                  </a:cubicBezTo>
                  <a:cubicBezTo>
                    <a:pt x="83612" y="30000"/>
                    <a:pt x="83612" y="30000"/>
                    <a:pt x="83612" y="30000"/>
                  </a:cubicBezTo>
                  <a:cubicBezTo>
                    <a:pt x="82064" y="30000"/>
                    <a:pt x="82064" y="30000"/>
                    <a:pt x="82064" y="30000"/>
                  </a:cubicBezTo>
                  <a:cubicBezTo>
                    <a:pt x="82064" y="30000"/>
                    <a:pt x="81290" y="32368"/>
                    <a:pt x="80516" y="30789"/>
                  </a:cubicBezTo>
                  <a:cubicBezTo>
                    <a:pt x="79741" y="30000"/>
                    <a:pt x="79741" y="27631"/>
                    <a:pt x="79741" y="27631"/>
                  </a:cubicBezTo>
                  <a:cubicBezTo>
                    <a:pt x="78967" y="26842"/>
                    <a:pt x="78967" y="26842"/>
                    <a:pt x="78967" y="26842"/>
                  </a:cubicBezTo>
                  <a:cubicBezTo>
                    <a:pt x="79741" y="25263"/>
                    <a:pt x="79741" y="25263"/>
                    <a:pt x="79741" y="25263"/>
                  </a:cubicBezTo>
                  <a:cubicBezTo>
                    <a:pt x="79741" y="22894"/>
                    <a:pt x="79741" y="22894"/>
                    <a:pt x="79741" y="22894"/>
                  </a:cubicBezTo>
                  <a:cubicBezTo>
                    <a:pt x="79741" y="22894"/>
                    <a:pt x="78967" y="21315"/>
                    <a:pt x="78967" y="21315"/>
                  </a:cubicBezTo>
                  <a:cubicBezTo>
                    <a:pt x="78967" y="20526"/>
                    <a:pt x="78193" y="18947"/>
                    <a:pt x="78193" y="18947"/>
                  </a:cubicBezTo>
                  <a:cubicBezTo>
                    <a:pt x="78967" y="17368"/>
                    <a:pt x="78967" y="17368"/>
                    <a:pt x="78967" y="17368"/>
                  </a:cubicBezTo>
                  <a:cubicBezTo>
                    <a:pt x="77419" y="16578"/>
                    <a:pt x="77419" y="16578"/>
                    <a:pt x="77419" y="16578"/>
                  </a:cubicBezTo>
                  <a:cubicBezTo>
                    <a:pt x="77419" y="14210"/>
                    <a:pt x="77419" y="14210"/>
                    <a:pt x="77419" y="14210"/>
                  </a:cubicBezTo>
                  <a:cubicBezTo>
                    <a:pt x="77419" y="13421"/>
                    <a:pt x="77419" y="13421"/>
                    <a:pt x="77419" y="13421"/>
                  </a:cubicBezTo>
                  <a:cubicBezTo>
                    <a:pt x="75096" y="12631"/>
                    <a:pt x="75096" y="12631"/>
                    <a:pt x="75096" y="12631"/>
                  </a:cubicBezTo>
                  <a:cubicBezTo>
                    <a:pt x="75096" y="12631"/>
                    <a:pt x="75096" y="11842"/>
                    <a:pt x="74322" y="11052"/>
                  </a:cubicBezTo>
                  <a:cubicBezTo>
                    <a:pt x="74322" y="11052"/>
                    <a:pt x="72774" y="9473"/>
                    <a:pt x="72774" y="9473"/>
                  </a:cubicBezTo>
                  <a:cubicBezTo>
                    <a:pt x="72774" y="9473"/>
                    <a:pt x="72000" y="9473"/>
                    <a:pt x="72000" y="10263"/>
                  </a:cubicBezTo>
                  <a:cubicBezTo>
                    <a:pt x="71225" y="11052"/>
                    <a:pt x="71225" y="12631"/>
                    <a:pt x="70451" y="12631"/>
                  </a:cubicBezTo>
                  <a:cubicBezTo>
                    <a:pt x="70451" y="12631"/>
                    <a:pt x="71225" y="12631"/>
                    <a:pt x="68903" y="12631"/>
                  </a:cubicBezTo>
                  <a:cubicBezTo>
                    <a:pt x="67354" y="11842"/>
                    <a:pt x="67354" y="11842"/>
                    <a:pt x="66580" y="11052"/>
                  </a:cubicBezTo>
                  <a:cubicBezTo>
                    <a:pt x="65806" y="11052"/>
                    <a:pt x="64258" y="9473"/>
                    <a:pt x="64258" y="9473"/>
                  </a:cubicBezTo>
                  <a:cubicBezTo>
                    <a:pt x="63483" y="6315"/>
                    <a:pt x="63483" y="6315"/>
                    <a:pt x="63483" y="6315"/>
                  </a:cubicBezTo>
                  <a:cubicBezTo>
                    <a:pt x="61935" y="6315"/>
                    <a:pt x="61935" y="6315"/>
                    <a:pt x="61935" y="6315"/>
                  </a:cubicBezTo>
                  <a:cubicBezTo>
                    <a:pt x="61935" y="6315"/>
                    <a:pt x="64258" y="7105"/>
                    <a:pt x="61161" y="7105"/>
                  </a:cubicBezTo>
                  <a:cubicBezTo>
                    <a:pt x="58064" y="7105"/>
                    <a:pt x="54967" y="7105"/>
                    <a:pt x="54967" y="7105"/>
                  </a:cubicBezTo>
                  <a:cubicBezTo>
                    <a:pt x="54193" y="8684"/>
                    <a:pt x="54193" y="8684"/>
                    <a:pt x="54193" y="8684"/>
                  </a:cubicBezTo>
                  <a:cubicBezTo>
                    <a:pt x="54193" y="8684"/>
                    <a:pt x="53419" y="10263"/>
                    <a:pt x="53419" y="11052"/>
                  </a:cubicBezTo>
                  <a:cubicBezTo>
                    <a:pt x="53419" y="11052"/>
                    <a:pt x="54193" y="11842"/>
                    <a:pt x="53419" y="11052"/>
                  </a:cubicBezTo>
                  <a:cubicBezTo>
                    <a:pt x="53419" y="10263"/>
                    <a:pt x="52645" y="10263"/>
                    <a:pt x="52645" y="9473"/>
                  </a:cubicBezTo>
                  <a:cubicBezTo>
                    <a:pt x="52645" y="9473"/>
                    <a:pt x="52645" y="8684"/>
                    <a:pt x="52645" y="8684"/>
                  </a:cubicBezTo>
                  <a:cubicBezTo>
                    <a:pt x="52645" y="7894"/>
                    <a:pt x="51096" y="7105"/>
                    <a:pt x="51096" y="7105"/>
                  </a:cubicBezTo>
                  <a:cubicBezTo>
                    <a:pt x="50322" y="8684"/>
                    <a:pt x="50322" y="8684"/>
                    <a:pt x="50322" y="8684"/>
                  </a:cubicBezTo>
                  <a:cubicBezTo>
                    <a:pt x="50322" y="8684"/>
                    <a:pt x="51096" y="9473"/>
                    <a:pt x="49548" y="9473"/>
                  </a:cubicBezTo>
                  <a:cubicBezTo>
                    <a:pt x="48774" y="10263"/>
                    <a:pt x="48774" y="10263"/>
                    <a:pt x="48774" y="10263"/>
                  </a:cubicBezTo>
                  <a:cubicBezTo>
                    <a:pt x="48774" y="9473"/>
                    <a:pt x="49548" y="8684"/>
                    <a:pt x="49548" y="8684"/>
                  </a:cubicBezTo>
                  <a:cubicBezTo>
                    <a:pt x="49548" y="8684"/>
                    <a:pt x="50322" y="7105"/>
                    <a:pt x="50322" y="7105"/>
                  </a:cubicBezTo>
                  <a:cubicBezTo>
                    <a:pt x="50322" y="7105"/>
                    <a:pt x="50322" y="5526"/>
                    <a:pt x="49548" y="5526"/>
                  </a:cubicBezTo>
                  <a:cubicBezTo>
                    <a:pt x="49548" y="5526"/>
                    <a:pt x="48000" y="5526"/>
                    <a:pt x="47225" y="5526"/>
                  </a:cubicBezTo>
                  <a:cubicBezTo>
                    <a:pt x="47225" y="5526"/>
                    <a:pt x="46451" y="6315"/>
                    <a:pt x="46451" y="6315"/>
                  </a:cubicBezTo>
                  <a:cubicBezTo>
                    <a:pt x="46451" y="6315"/>
                    <a:pt x="47225" y="7105"/>
                    <a:pt x="46451" y="7105"/>
                  </a:cubicBezTo>
                  <a:cubicBezTo>
                    <a:pt x="46451" y="7105"/>
                    <a:pt x="45677" y="7105"/>
                    <a:pt x="45677" y="7894"/>
                  </a:cubicBezTo>
                  <a:cubicBezTo>
                    <a:pt x="44903" y="7894"/>
                    <a:pt x="44903" y="6315"/>
                    <a:pt x="44903" y="6315"/>
                  </a:cubicBezTo>
                  <a:cubicBezTo>
                    <a:pt x="44903" y="6315"/>
                    <a:pt x="44129" y="5526"/>
                    <a:pt x="44129" y="5526"/>
                  </a:cubicBezTo>
                  <a:cubicBezTo>
                    <a:pt x="44129" y="6315"/>
                    <a:pt x="43354" y="7894"/>
                    <a:pt x="43354" y="7894"/>
                  </a:cubicBezTo>
                  <a:cubicBezTo>
                    <a:pt x="42580" y="7894"/>
                    <a:pt x="42580" y="7894"/>
                    <a:pt x="42580" y="7105"/>
                  </a:cubicBezTo>
                  <a:cubicBezTo>
                    <a:pt x="41806" y="7105"/>
                    <a:pt x="41806" y="5526"/>
                    <a:pt x="41806" y="5526"/>
                  </a:cubicBezTo>
                  <a:cubicBezTo>
                    <a:pt x="41032" y="4736"/>
                    <a:pt x="41032" y="4736"/>
                    <a:pt x="41032" y="4736"/>
                  </a:cubicBezTo>
                  <a:cubicBezTo>
                    <a:pt x="41032" y="4736"/>
                    <a:pt x="38709" y="4736"/>
                    <a:pt x="37935" y="4736"/>
                  </a:cubicBezTo>
                  <a:cubicBezTo>
                    <a:pt x="37935" y="4736"/>
                    <a:pt x="36387" y="4736"/>
                    <a:pt x="36387" y="3947"/>
                  </a:cubicBezTo>
                  <a:cubicBezTo>
                    <a:pt x="35612" y="3157"/>
                    <a:pt x="34838" y="3157"/>
                    <a:pt x="34838" y="3157"/>
                  </a:cubicBezTo>
                  <a:cubicBezTo>
                    <a:pt x="34838" y="3157"/>
                    <a:pt x="34838" y="3157"/>
                    <a:pt x="34064" y="2368"/>
                  </a:cubicBezTo>
                  <a:cubicBezTo>
                    <a:pt x="33290" y="2368"/>
                    <a:pt x="33290" y="2368"/>
                    <a:pt x="32516" y="2368"/>
                  </a:cubicBezTo>
                  <a:cubicBezTo>
                    <a:pt x="31741" y="1578"/>
                    <a:pt x="32516" y="1578"/>
                    <a:pt x="30967" y="1578"/>
                  </a:cubicBezTo>
                  <a:cubicBezTo>
                    <a:pt x="29419" y="1578"/>
                    <a:pt x="29419" y="3157"/>
                    <a:pt x="28645" y="2368"/>
                  </a:cubicBezTo>
                  <a:cubicBezTo>
                    <a:pt x="27096" y="2368"/>
                    <a:pt x="27096" y="2368"/>
                    <a:pt x="27096" y="2368"/>
                  </a:cubicBezTo>
                  <a:cubicBezTo>
                    <a:pt x="26322" y="1578"/>
                    <a:pt x="26322" y="1578"/>
                    <a:pt x="26322" y="1578"/>
                  </a:cubicBezTo>
                  <a:cubicBezTo>
                    <a:pt x="26322" y="789"/>
                    <a:pt x="25548" y="0"/>
                    <a:pt x="25548" y="789"/>
                  </a:cubicBezTo>
                  <a:cubicBezTo>
                    <a:pt x="25548" y="2368"/>
                    <a:pt x="25548" y="1578"/>
                    <a:pt x="24774" y="2368"/>
                  </a:cubicBezTo>
                  <a:cubicBezTo>
                    <a:pt x="24774" y="3157"/>
                    <a:pt x="23225" y="3947"/>
                    <a:pt x="23225" y="3947"/>
                  </a:cubicBezTo>
                  <a:cubicBezTo>
                    <a:pt x="23225" y="3947"/>
                    <a:pt x="22451" y="3947"/>
                    <a:pt x="22451" y="4736"/>
                  </a:cubicBezTo>
                  <a:cubicBezTo>
                    <a:pt x="22451" y="4736"/>
                    <a:pt x="21677" y="5526"/>
                    <a:pt x="21677" y="5526"/>
                  </a:cubicBezTo>
                  <a:cubicBezTo>
                    <a:pt x="21677" y="5526"/>
                    <a:pt x="21677" y="4736"/>
                    <a:pt x="20903" y="4736"/>
                  </a:cubicBezTo>
                  <a:cubicBezTo>
                    <a:pt x="20903" y="4736"/>
                    <a:pt x="20903" y="4736"/>
                    <a:pt x="20903" y="4736"/>
                  </a:cubicBezTo>
                  <a:cubicBezTo>
                    <a:pt x="20903" y="4736"/>
                    <a:pt x="19354" y="4736"/>
                    <a:pt x="19354" y="5526"/>
                  </a:cubicBezTo>
                  <a:cubicBezTo>
                    <a:pt x="19354" y="5526"/>
                    <a:pt x="19354" y="6315"/>
                    <a:pt x="19354" y="7105"/>
                  </a:cubicBezTo>
                  <a:cubicBezTo>
                    <a:pt x="19354" y="7105"/>
                    <a:pt x="18580" y="7894"/>
                    <a:pt x="18580" y="7894"/>
                  </a:cubicBezTo>
                  <a:cubicBezTo>
                    <a:pt x="17032" y="8684"/>
                    <a:pt x="17032" y="8684"/>
                    <a:pt x="17032" y="8684"/>
                  </a:cubicBezTo>
                  <a:cubicBezTo>
                    <a:pt x="17032" y="8684"/>
                    <a:pt x="17032" y="8684"/>
                    <a:pt x="16258" y="8684"/>
                  </a:cubicBezTo>
                  <a:cubicBezTo>
                    <a:pt x="15483" y="8684"/>
                    <a:pt x="13935" y="8684"/>
                    <a:pt x="13935" y="8684"/>
                  </a:cubicBezTo>
                  <a:cubicBezTo>
                    <a:pt x="13161" y="8684"/>
                    <a:pt x="12387" y="8684"/>
                    <a:pt x="12387" y="8684"/>
                  </a:cubicBezTo>
                  <a:cubicBezTo>
                    <a:pt x="12387" y="9473"/>
                    <a:pt x="12387" y="9473"/>
                    <a:pt x="12387" y="9473"/>
                  </a:cubicBezTo>
                  <a:cubicBezTo>
                    <a:pt x="11612" y="10263"/>
                    <a:pt x="11612" y="10263"/>
                    <a:pt x="11612" y="10263"/>
                  </a:cubicBezTo>
                  <a:cubicBezTo>
                    <a:pt x="11612" y="10263"/>
                    <a:pt x="10838" y="11842"/>
                    <a:pt x="10064" y="11052"/>
                  </a:cubicBezTo>
                  <a:cubicBezTo>
                    <a:pt x="10064" y="11052"/>
                    <a:pt x="9290" y="11052"/>
                    <a:pt x="9290" y="11052"/>
                  </a:cubicBezTo>
                  <a:cubicBezTo>
                    <a:pt x="7741" y="10263"/>
                    <a:pt x="7741" y="10263"/>
                    <a:pt x="7741" y="10263"/>
                  </a:cubicBezTo>
                  <a:cubicBezTo>
                    <a:pt x="7741" y="10263"/>
                    <a:pt x="6967" y="11052"/>
                    <a:pt x="6967" y="11052"/>
                  </a:cubicBezTo>
                  <a:cubicBezTo>
                    <a:pt x="6967" y="11052"/>
                    <a:pt x="6193" y="11052"/>
                    <a:pt x="6193" y="11052"/>
                  </a:cubicBezTo>
                  <a:cubicBezTo>
                    <a:pt x="6193" y="11052"/>
                    <a:pt x="6193" y="11052"/>
                    <a:pt x="6193" y="11052"/>
                  </a:cubicBezTo>
                  <a:cubicBezTo>
                    <a:pt x="6193" y="11052"/>
                    <a:pt x="6193" y="11842"/>
                    <a:pt x="6967" y="12631"/>
                  </a:cubicBezTo>
                  <a:cubicBezTo>
                    <a:pt x="6967" y="12631"/>
                    <a:pt x="6967" y="13421"/>
                    <a:pt x="6967" y="14210"/>
                  </a:cubicBezTo>
                  <a:cubicBezTo>
                    <a:pt x="6967" y="14210"/>
                    <a:pt x="6193" y="15000"/>
                    <a:pt x="6193" y="15000"/>
                  </a:cubicBezTo>
                  <a:cubicBezTo>
                    <a:pt x="5419" y="15000"/>
                    <a:pt x="4645" y="14210"/>
                    <a:pt x="4645" y="14210"/>
                  </a:cubicBezTo>
                  <a:cubicBezTo>
                    <a:pt x="4645" y="14210"/>
                    <a:pt x="4645" y="13421"/>
                    <a:pt x="3870" y="13421"/>
                  </a:cubicBezTo>
                  <a:cubicBezTo>
                    <a:pt x="3870" y="14210"/>
                    <a:pt x="1548" y="15000"/>
                    <a:pt x="1548" y="15000"/>
                  </a:cubicBezTo>
                  <a:cubicBezTo>
                    <a:pt x="1548" y="16578"/>
                    <a:pt x="1548" y="16578"/>
                    <a:pt x="1548" y="16578"/>
                  </a:cubicBezTo>
                  <a:cubicBezTo>
                    <a:pt x="0" y="17368"/>
                    <a:pt x="0" y="17368"/>
                    <a:pt x="0" y="17368"/>
                  </a:cubicBezTo>
                  <a:cubicBezTo>
                    <a:pt x="3870" y="17368"/>
                    <a:pt x="3870" y="17368"/>
                    <a:pt x="3870" y="17368"/>
                  </a:cubicBezTo>
                  <a:cubicBezTo>
                    <a:pt x="4645" y="17368"/>
                    <a:pt x="4645" y="17368"/>
                    <a:pt x="4645" y="17368"/>
                  </a:cubicBezTo>
                  <a:cubicBezTo>
                    <a:pt x="6193" y="17368"/>
                    <a:pt x="6193" y="17368"/>
                    <a:pt x="6193" y="17368"/>
                  </a:cubicBezTo>
                  <a:cubicBezTo>
                    <a:pt x="6967" y="16578"/>
                    <a:pt x="6967" y="16578"/>
                    <a:pt x="6967" y="16578"/>
                  </a:cubicBezTo>
                  <a:cubicBezTo>
                    <a:pt x="6967" y="16578"/>
                    <a:pt x="7741" y="16578"/>
                    <a:pt x="7741" y="17368"/>
                  </a:cubicBezTo>
                  <a:cubicBezTo>
                    <a:pt x="7741" y="17368"/>
                    <a:pt x="9290" y="18157"/>
                    <a:pt x="9290" y="18157"/>
                  </a:cubicBezTo>
                  <a:cubicBezTo>
                    <a:pt x="9290" y="18157"/>
                    <a:pt x="9290" y="18157"/>
                    <a:pt x="9290" y="18157"/>
                  </a:cubicBezTo>
                  <a:cubicBezTo>
                    <a:pt x="11612" y="17368"/>
                    <a:pt x="11612" y="17368"/>
                    <a:pt x="11612" y="17368"/>
                  </a:cubicBezTo>
                  <a:cubicBezTo>
                    <a:pt x="11612" y="18157"/>
                    <a:pt x="11612" y="18157"/>
                    <a:pt x="11612" y="18157"/>
                  </a:cubicBezTo>
                  <a:cubicBezTo>
                    <a:pt x="11612" y="18157"/>
                    <a:pt x="11612" y="18947"/>
                    <a:pt x="12387" y="18947"/>
                  </a:cubicBezTo>
                  <a:cubicBezTo>
                    <a:pt x="13161" y="18947"/>
                    <a:pt x="13161" y="18947"/>
                    <a:pt x="13161" y="18947"/>
                  </a:cubicBezTo>
                  <a:cubicBezTo>
                    <a:pt x="13161" y="20526"/>
                    <a:pt x="13161" y="20526"/>
                    <a:pt x="13161" y="20526"/>
                  </a:cubicBezTo>
                  <a:cubicBezTo>
                    <a:pt x="14709" y="20526"/>
                    <a:pt x="14709" y="20526"/>
                    <a:pt x="14709" y="20526"/>
                  </a:cubicBezTo>
                  <a:cubicBezTo>
                    <a:pt x="14709" y="20526"/>
                    <a:pt x="15483" y="20526"/>
                    <a:pt x="15483" y="20526"/>
                  </a:cubicBezTo>
                  <a:cubicBezTo>
                    <a:pt x="15483" y="20526"/>
                    <a:pt x="15483" y="21315"/>
                    <a:pt x="15483" y="21315"/>
                  </a:cubicBezTo>
                  <a:cubicBezTo>
                    <a:pt x="15483" y="21315"/>
                    <a:pt x="16258" y="22105"/>
                    <a:pt x="17032" y="22894"/>
                  </a:cubicBezTo>
                  <a:cubicBezTo>
                    <a:pt x="17032" y="22894"/>
                    <a:pt x="17806" y="23684"/>
                    <a:pt x="17806" y="23684"/>
                  </a:cubicBezTo>
                  <a:cubicBezTo>
                    <a:pt x="18580" y="24473"/>
                    <a:pt x="18580" y="24473"/>
                    <a:pt x="18580" y="24473"/>
                  </a:cubicBezTo>
                  <a:cubicBezTo>
                    <a:pt x="19354" y="25263"/>
                    <a:pt x="19354" y="25263"/>
                    <a:pt x="19354" y="25263"/>
                  </a:cubicBezTo>
                  <a:cubicBezTo>
                    <a:pt x="20129" y="26052"/>
                    <a:pt x="20129" y="26052"/>
                    <a:pt x="20129" y="26052"/>
                  </a:cubicBezTo>
                  <a:cubicBezTo>
                    <a:pt x="20129" y="26052"/>
                    <a:pt x="20129" y="26052"/>
                    <a:pt x="20129" y="26052"/>
                  </a:cubicBezTo>
                  <a:cubicBezTo>
                    <a:pt x="20129" y="26842"/>
                    <a:pt x="20129" y="27631"/>
                    <a:pt x="20903" y="27631"/>
                  </a:cubicBezTo>
                  <a:cubicBezTo>
                    <a:pt x="20903" y="27631"/>
                    <a:pt x="20903" y="27631"/>
                    <a:pt x="21677" y="27631"/>
                  </a:cubicBezTo>
                  <a:cubicBezTo>
                    <a:pt x="21677" y="27631"/>
                    <a:pt x="21677" y="27631"/>
                    <a:pt x="21677" y="28421"/>
                  </a:cubicBezTo>
                  <a:cubicBezTo>
                    <a:pt x="21677" y="28421"/>
                    <a:pt x="21677" y="28421"/>
                    <a:pt x="22451" y="29210"/>
                  </a:cubicBezTo>
                  <a:cubicBezTo>
                    <a:pt x="22451" y="29210"/>
                    <a:pt x="23225" y="30000"/>
                    <a:pt x="23225" y="30000"/>
                  </a:cubicBezTo>
                  <a:cubicBezTo>
                    <a:pt x="23225" y="30000"/>
                    <a:pt x="23225" y="30000"/>
                    <a:pt x="23225" y="30789"/>
                  </a:cubicBezTo>
                  <a:cubicBezTo>
                    <a:pt x="23225" y="31578"/>
                    <a:pt x="24000" y="32368"/>
                    <a:pt x="24000" y="32368"/>
                  </a:cubicBezTo>
                  <a:cubicBezTo>
                    <a:pt x="24000" y="33157"/>
                    <a:pt x="24774" y="33157"/>
                    <a:pt x="24774" y="33157"/>
                  </a:cubicBezTo>
                  <a:cubicBezTo>
                    <a:pt x="24774" y="33157"/>
                    <a:pt x="24774" y="33157"/>
                    <a:pt x="24774" y="33157"/>
                  </a:cubicBezTo>
                  <a:cubicBezTo>
                    <a:pt x="24774" y="33157"/>
                    <a:pt x="25548" y="33157"/>
                    <a:pt x="25548" y="33947"/>
                  </a:cubicBezTo>
                  <a:cubicBezTo>
                    <a:pt x="25548" y="34736"/>
                    <a:pt x="24774" y="35526"/>
                    <a:pt x="25548" y="35526"/>
                  </a:cubicBezTo>
                  <a:cubicBezTo>
                    <a:pt x="25548" y="35526"/>
                    <a:pt x="26322" y="37105"/>
                    <a:pt x="27096" y="37105"/>
                  </a:cubicBezTo>
                  <a:cubicBezTo>
                    <a:pt x="27870" y="37105"/>
                    <a:pt x="27870" y="37105"/>
                    <a:pt x="27870" y="37105"/>
                  </a:cubicBezTo>
                  <a:cubicBezTo>
                    <a:pt x="28645" y="37105"/>
                    <a:pt x="28645" y="38684"/>
                    <a:pt x="29419" y="38684"/>
                  </a:cubicBezTo>
                  <a:cubicBezTo>
                    <a:pt x="29419" y="39473"/>
                    <a:pt x="29419" y="39473"/>
                    <a:pt x="30193" y="39473"/>
                  </a:cubicBezTo>
                  <a:cubicBezTo>
                    <a:pt x="30967" y="39473"/>
                    <a:pt x="30967" y="39473"/>
                    <a:pt x="30967" y="39473"/>
                  </a:cubicBezTo>
                  <a:cubicBezTo>
                    <a:pt x="30967" y="39473"/>
                    <a:pt x="30967" y="39473"/>
                    <a:pt x="30967" y="40263"/>
                  </a:cubicBezTo>
                  <a:cubicBezTo>
                    <a:pt x="31741" y="40263"/>
                    <a:pt x="33290" y="41842"/>
                    <a:pt x="33290" y="41842"/>
                  </a:cubicBezTo>
                  <a:cubicBezTo>
                    <a:pt x="33290" y="41842"/>
                    <a:pt x="34064" y="42631"/>
                    <a:pt x="34064" y="42631"/>
                  </a:cubicBezTo>
                  <a:cubicBezTo>
                    <a:pt x="34064" y="42631"/>
                    <a:pt x="34838" y="42631"/>
                    <a:pt x="35612" y="42631"/>
                  </a:cubicBezTo>
                  <a:cubicBezTo>
                    <a:pt x="35612" y="42631"/>
                    <a:pt x="36387" y="42631"/>
                    <a:pt x="36387" y="43421"/>
                  </a:cubicBezTo>
                  <a:cubicBezTo>
                    <a:pt x="36387" y="44210"/>
                    <a:pt x="37161" y="44210"/>
                    <a:pt x="37161" y="45000"/>
                  </a:cubicBezTo>
                  <a:cubicBezTo>
                    <a:pt x="37161" y="45789"/>
                    <a:pt x="37935" y="45789"/>
                    <a:pt x="37935" y="46578"/>
                  </a:cubicBezTo>
                  <a:cubicBezTo>
                    <a:pt x="37935" y="46578"/>
                    <a:pt x="38709" y="48157"/>
                    <a:pt x="38709" y="48157"/>
                  </a:cubicBezTo>
                  <a:cubicBezTo>
                    <a:pt x="43354" y="49736"/>
                    <a:pt x="43354" y="49736"/>
                    <a:pt x="43354" y="49736"/>
                  </a:cubicBezTo>
                  <a:cubicBezTo>
                    <a:pt x="44129" y="51315"/>
                    <a:pt x="44129" y="51315"/>
                    <a:pt x="44129" y="51315"/>
                  </a:cubicBezTo>
                  <a:cubicBezTo>
                    <a:pt x="44129" y="51315"/>
                    <a:pt x="44903" y="52894"/>
                    <a:pt x="44903" y="52894"/>
                  </a:cubicBezTo>
                  <a:cubicBezTo>
                    <a:pt x="45677" y="53684"/>
                    <a:pt x="46451" y="53684"/>
                    <a:pt x="46451" y="53684"/>
                  </a:cubicBezTo>
                  <a:cubicBezTo>
                    <a:pt x="48774" y="56052"/>
                    <a:pt x="48774" y="56052"/>
                    <a:pt x="48774" y="56052"/>
                  </a:cubicBezTo>
                  <a:cubicBezTo>
                    <a:pt x="51096" y="56842"/>
                    <a:pt x="51096" y="56842"/>
                    <a:pt x="51096" y="56842"/>
                  </a:cubicBezTo>
                  <a:cubicBezTo>
                    <a:pt x="51096" y="56842"/>
                    <a:pt x="52645" y="57631"/>
                    <a:pt x="53419" y="57631"/>
                  </a:cubicBezTo>
                  <a:cubicBezTo>
                    <a:pt x="53419" y="57631"/>
                    <a:pt x="54967" y="58421"/>
                    <a:pt x="55741" y="58421"/>
                  </a:cubicBezTo>
                  <a:cubicBezTo>
                    <a:pt x="55741" y="59210"/>
                    <a:pt x="56516" y="61578"/>
                    <a:pt x="56516" y="61578"/>
                  </a:cubicBezTo>
                  <a:cubicBezTo>
                    <a:pt x="57290" y="61578"/>
                    <a:pt x="58838" y="63157"/>
                    <a:pt x="58838" y="64736"/>
                  </a:cubicBezTo>
                  <a:cubicBezTo>
                    <a:pt x="59612" y="65526"/>
                    <a:pt x="59612" y="65526"/>
                    <a:pt x="59612" y="67105"/>
                  </a:cubicBezTo>
                  <a:cubicBezTo>
                    <a:pt x="60387" y="67894"/>
                    <a:pt x="61935" y="69473"/>
                    <a:pt x="61935" y="69473"/>
                  </a:cubicBezTo>
                  <a:cubicBezTo>
                    <a:pt x="61935" y="69473"/>
                    <a:pt x="61935" y="69473"/>
                    <a:pt x="62709" y="71052"/>
                  </a:cubicBezTo>
                  <a:cubicBezTo>
                    <a:pt x="63483" y="71842"/>
                    <a:pt x="64258" y="72631"/>
                    <a:pt x="64258" y="73421"/>
                  </a:cubicBezTo>
                  <a:cubicBezTo>
                    <a:pt x="64258" y="73421"/>
                    <a:pt x="64258" y="73421"/>
                    <a:pt x="64258" y="74210"/>
                  </a:cubicBezTo>
                  <a:cubicBezTo>
                    <a:pt x="64258" y="74210"/>
                    <a:pt x="64258" y="75000"/>
                    <a:pt x="64258" y="75000"/>
                  </a:cubicBezTo>
                  <a:cubicBezTo>
                    <a:pt x="64258" y="75000"/>
                    <a:pt x="65032" y="76578"/>
                    <a:pt x="65032" y="77368"/>
                  </a:cubicBezTo>
                  <a:cubicBezTo>
                    <a:pt x="65032" y="77368"/>
                    <a:pt x="65806" y="78947"/>
                    <a:pt x="65806" y="78947"/>
                  </a:cubicBezTo>
                  <a:cubicBezTo>
                    <a:pt x="65806" y="79736"/>
                    <a:pt x="65806" y="79736"/>
                    <a:pt x="65806" y="79736"/>
                  </a:cubicBezTo>
                  <a:cubicBezTo>
                    <a:pt x="66580" y="82105"/>
                    <a:pt x="66580" y="82105"/>
                    <a:pt x="66580" y="82105"/>
                  </a:cubicBezTo>
                  <a:cubicBezTo>
                    <a:pt x="65806" y="83684"/>
                    <a:pt x="65806" y="83684"/>
                    <a:pt x="65806" y="83684"/>
                  </a:cubicBezTo>
                  <a:cubicBezTo>
                    <a:pt x="65806" y="83684"/>
                    <a:pt x="65032" y="84473"/>
                    <a:pt x="65806" y="84473"/>
                  </a:cubicBezTo>
                  <a:cubicBezTo>
                    <a:pt x="66580" y="84473"/>
                    <a:pt x="67354" y="85263"/>
                    <a:pt x="66580" y="86052"/>
                  </a:cubicBezTo>
                  <a:cubicBezTo>
                    <a:pt x="66580" y="86052"/>
                    <a:pt x="65806" y="87631"/>
                    <a:pt x="65806" y="87631"/>
                  </a:cubicBezTo>
                  <a:cubicBezTo>
                    <a:pt x="65806" y="88421"/>
                    <a:pt x="65806" y="88421"/>
                    <a:pt x="65806" y="88421"/>
                  </a:cubicBezTo>
                  <a:cubicBezTo>
                    <a:pt x="65032" y="90000"/>
                    <a:pt x="65032" y="90000"/>
                    <a:pt x="65032" y="90000"/>
                  </a:cubicBezTo>
                  <a:cubicBezTo>
                    <a:pt x="65032" y="90000"/>
                    <a:pt x="66580" y="90789"/>
                    <a:pt x="66580" y="90789"/>
                  </a:cubicBezTo>
                  <a:cubicBezTo>
                    <a:pt x="66580" y="91578"/>
                    <a:pt x="67354" y="92368"/>
                    <a:pt x="66580" y="93157"/>
                  </a:cubicBezTo>
                  <a:cubicBezTo>
                    <a:pt x="66580" y="93157"/>
                    <a:pt x="66580" y="94736"/>
                    <a:pt x="66580" y="94736"/>
                  </a:cubicBezTo>
                  <a:cubicBezTo>
                    <a:pt x="66580" y="94736"/>
                    <a:pt x="66580" y="96315"/>
                    <a:pt x="66580" y="96315"/>
                  </a:cubicBezTo>
                  <a:cubicBezTo>
                    <a:pt x="66580" y="96315"/>
                    <a:pt x="68129" y="97105"/>
                    <a:pt x="67354" y="97894"/>
                  </a:cubicBezTo>
                  <a:cubicBezTo>
                    <a:pt x="67354" y="97894"/>
                    <a:pt x="67354" y="98684"/>
                    <a:pt x="67354" y="99473"/>
                  </a:cubicBezTo>
                  <a:cubicBezTo>
                    <a:pt x="68129" y="101052"/>
                    <a:pt x="69677" y="103421"/>
                    <a:pt x="69677" y="103421"/>
                  </a:cubicBezTo>
                  <a:cubicBezTo>
                    <a:pt x="69677" y="103421"/>
                    <a:pt x="70451" y="105000"/>
                    <a:pt x="70451" y="105000"/>
                  </a:cubicBezTo>
                  <a:cubicBezTo>
                    <a:pt x="70451" y="105789"/>
                    <a:pt x="69677" y="105789"/>
                    <a:pt x="70451" y="106578"/>
                  </a:cubicBezTo>
                  <a:cubicBezTo>
                    <a:pt x="70451" y="106578"/>
                    <a:pt x="69677" y="107368"/>
                    <a:pt x="70451" y="107368"/>
                  </a:cubicBezTo>
                  <a:cubicBezTo>
                    <a:pt x="71225" y="108157"/>
                    <a:pt x="72000" y="109736"/>
                    <a:pt x="72000" y="109736"/>
                  </a:cubicBezTo>
                  <a:cubicBezTo>
                    <a:pt x="72000" y="109736"/>
                    <a:pt x="72000" y="109736"/>
                    <a:pt x="72774" y="110526"/>
                  </a:cubicBezTo>
                  <a:cubicBezTo>
                    <a:pt x="72774" y="111315"/>
                    <a:pt x="72774" y="112894"/>
                    <a:pt x="72774" y="112894"/>
                  </a:cubicBezTo>
                  <a:cubicBezTo>
                    <a:pt x="72774" y="113684"/>
                    <a:pt x="73548" y="113684"/>
                    <a:pt x="72774" y="113684"/>
                  </a:cubicBezTo>
                  <a:cubicBezTo>
                    <a:pt x="72774" y="113684"/>
                    <a:pt x="72000" y="114473"/>
                    <a:pt x="72000" y="114473"/>
                  </a:cubicBezTo>
                  <a:cubicBezTo>
                    <a:pt x="71225" y="116052"/>
                    <a:pt x="71225" y="116052"/>
                    <a:pt x="71225" y="116052"/>
                  </a:cubicBezTo>
                  <a:cubicBezTo>
                    <a:pt x="71225" y="116052"/>
                    <a:pt x="72000" y="116842"/>
                    <a:pt x="72774" y="116842"/>
                  </a:cubicBezTo>
                  <a:cubicBezTo>
                    <a:pt x="72774" y="116842"/>
                    <a:pt x="73548" y="116842"/>
                    <a:pt x="73548" y="116842"/>
                  </a:cubicBezTo>
                  <a:cubicBezTo>
                    <a:pt x="75096" y="118421"/>
                    <a:pt x="75096" y="118421"/>
                    <a:pt x="75096" y="118421"/>
                  </a:cubicBezTo>
                  <a:cubicBezTo>
                    <a:pt x="75096" y="120000"/>
                    <a:pt x="75096" y="120000"/>
                    <a:pt x="75096" y="120000"/>
                  </a:cubicBezTo>
                  <a:lnTo>
                    <a:pt x="76645" y="120000"/>
                  </a:lnTo>
                  <a:close/>
                </a:path>
              </a:pathLst>
            </a:custGeom>
            <a:solidFill>
              <a:srgbClr val="00B050"/>
            </a:solidFill>
            <a:ln w="3175" cap="flat" cmpd="sng">
              <a:solidFill>
                <a:schemeClr val="tx1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defTabSz="457200"/>
              <a:endParaRPr kern="0">
                <a:solidFill>
                  <a:srgbClr val="7F7F7F"/>
                </a:solidFill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39" name="Shape 2033">
              <a:extLst>
                <a:ext uri="{FF2B5EF4-FFF2-40B4-BE49-F238E27FC236}">
                  <a16:creationId xmlns:a16="http://schemas.microsoft.com/office/drawing/2014/main" id="{1D4F9492-D14A-AC97-560A-563DCA8DCBFB}"/>
                </a:ext>
              </a:extLst>
            </p:cNvPr>
            <p:cNvSpPr/>
            <p:nvPr/>
          </p:nvSpPr>
          <p:spPr>
            <a:xfrm>
              <a:off x="3622726" y="2877195"/>
              <a:ext cx="271436" cy="221875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930" y="19816"/>
                  </a:moveTo>
                  <a:cubicBezTo>
                    <a:pt x="930" y="19816"/>
                    <a:pt x="19534" y="6605"/>
                    <a:pt x="19534" y="6605"/>
                  </a:cubicBezTo>
                  <a:cubicBezTo>
                    <a:pt x="25116" y="5504"/>
                    <a:pt x="25116" y="5504"/>
                    <a:pt x="25116" y="5504"/>
                  </a:cubicBezTo>
                  <a:cubicBezTo>
                    <a:pt x="27906" y="5504"/>
                    <a:pt x="27906" y="5504"/>
                    <a:pt x="27906" y="5504"/>
                  </a:cubicBezTo>
                  <a:cubicBezTo>
                    <a:pt x="28837" y="4403"/>
                    <a:pt x="28837" y="4403"/>
                    <a:pt x="28837" y="4403"/>
                  </a:cubicBezTo>
                  <a:cubicBezTo>
                    <a:pt x="28837" y="4403"/>
                    <a:pt x="29767" y="7706"/>
                    <a:pt x="30697" y="7706"/>
                  </a:cubicBezTo>
                  <a:cubicBezTo>
                    <a:pt x="30697" y="7706"/>
                    <a:pt x="32558" y="9908"/>
                    <a:pt x="32558" y="8807"/>
                  </a:cubicBezTo>
                  <a:cubicBezTo>
                    <a:pt x="33488" y="7706"/>
                    <a:pt x="33488" y="6605"/>
                    <a:pt x="34418" y="6605"/>
                  </a:cubicBezTo>
                  <a:cubicBezTo>
                    <a:pt x="34418" y="5504"/>
                    <a:pt x="35348" y="4403"/>
                    <a:pt x="37209" y="5504"/>
                  </a:cubicBezTo>
                  <a:cubicBezTo>
                    <a:pt x="38139" y="6605"/>
                    <a:pt x="38139" y="11009"/>
                    <a:pt x="38139" y="11009"/>
                  </a:cubicBezTo>
                  <a:cubicBezTo>
                    <a:pt x="45581" y="13211"/>
                    <a:pt x="40930" y="14311"/>
                    <a:pt x="51162" y="11009"/>
                  </a:cubicBezTo>
                  <a:cubicBezTo>
                    <a:pt x="51162" y="11009"/>
                    <a:pt x="53023" y="8807"/>
                    <a:pt x="53023" y="8807"/>
                  </a:cubicBezTo>
                  <a:cubicBezTo>
                    <a:pt x="53023" y="7706"/>
                    <a:pt x="52093" y="5504"/>
                    <a:pt x="53953" y="6605"/>
                  </a:cubicBezTo>
                  <a:cubicBezTo>
                    <a:pt x="54883" y="7706"/>
                    <a:pt x="55813" y="7706"/>
                    <a:pt x="56744" y="7706"/>
                  </a:cubicBezTo>
                  <a:cubicBezTo>
                    <a:pt x="57674" y="7706"/>
                    <a:pt x="59534" y="7706"/>
                    <a:pt x="59534" y="7706"/>
                  </a:cubicBezTo>
                  <a:cubicBezTo>
                    <a:pt x="59534" y="7706"/>
                    <a:pt x="60465" y="6605"/>
                    <a:pt x="59534" y="5504"/>
                  </a:cubicBezTo>
                  <a:cubicBezTo>
                    <a:pt x="59534" y="4403"/>
                    <a:pt x="58604" y="3302"/>
                    <a:pt x="59534" y="3302"/>
                  </a:cubicBezTo>
                  <a:cubicBezTo>
                    <a:pt x="59534" y="2201"/>
                    <a:pt x="61395" y="1100"/>
                    <a:pt x="61395" y="1100"/>
                  </a:cubicBezTo>
                  <a:cubicBezTo>
                    <a:pt x="61395" y="1100"/>
                    <a:pt x="62325" y="1100"/>
                    <a:pt x="62325" y="2201"/>
                  </a:cubicBezTo>
                  <a:cubicBezTo>
                    <a:pt x="63255" y="3302"/>
                    <a:pt x="63255" y="3302"/>
                    <a:pt x="63255" y="4403"/>
                  </a:cubicBezTo>
                  <a:cubicBezTo>
                    <a:pt x="64186" y="4403"/>
                    <a:pt x="64186" y="5504"/>
                    <a:pt x="65116" y="5504"/>
                  </a:cubicBezTo>
                  <a:cubicBezTo>
                    <a:pt x="66976" y="5504"/>
                    <a:pt x="66976" y="5504"/>
                    <a:pt x="67906" y="4403"/>
                  </a:cubicBezTo>
                  <a:cubicBezTo>
                    <a:pt x="68837" y="3302"/>
                    <a:pt x="68837" y="3302"/>
                    <a:pt x="69767" y="2201"/>
                  </a:cubicBezTo>
                  <a:cubicBezTo>
                    <a:pt x="70697" y="0"/>
                    <a:pt x="70697" y="0"/>
                    <a:pt x="71627" y="1100"/>
                  </a:cubicBezTo>
                  <a:cubicBezTo>
                    <a:pt x="72558" y="1100"/>
                    <a:pt x="74418" y="2201"/>
                    <a:pt x="74418" y="2201"/>
                  </a:cubicBezTo>
                  <a:cubicBezTo>
                    <a:pt x="72558" y="4403"/>
                    <a:pt x="72558" y="4403"/>
                    <a:pt x="72558" y="4403"/>
                  </a:cubicBezTo>
                  <a:cubicBezTo>
                    <a:pt x="72558" y="4403"/>
                    <a:pt x="71627" y="4403"/>
                    <a:pt x="73488" y="5504"/>
                  </a:cubicBezTo>
                  <a:cubicBezTo>
                    <a:pt x="76279" y="6605"/>
                    <a:pt x="77209" y="6605"/>
                    <a:pt x="77209" y="6605"/>
                  </a:cubicBezTo>
                  <a:cubicBezTo>
                    <a:pt x="79069" y="3302"/>
                    <a:pt x="79069" y="3302"/>
                    <a:pt x="79069" y="3302"/>
                  </a:cubicBezTo>
                  <a:cubicBezTo>
                    <a:pt x="79069" y="3302"/>
                    <a:pt x="79069" y="1100"/>
                    <a:pt x="80000" y="3302"/>
                  </a:cubicBezTo>
                  <a:cubicBezTo>
                    <a:pt x="80000" y="4403"/>
                    <a:pt x="80930" y="6605"/>
                    <a:pt x="80930" y="6605"/>
                  </a:cubicBezTo>
                  <a:cubicBezTo>
                    <a:pt x="80930" y="6605"/>
                    <a:pt x="80930" y="9908"/>
                    <a:pt x="81860" y="9908"/>
                  </a:cubicBezTo>
                  <a:cubicBezTo>
                    <a:pt x="82790" y="9908"/>
                    <a:pt x="82790" y="8807"/>
                    <a:pt x="82790" y="9908"/>
                  </a:cubicBezTo>
                  <a:cubicBezTo>
                    <a:pt x="82790" y="11009"/>
                    <a:pt x="81860" y="11009"/>
                    <a:pt x="82790" y="11009"/>
                  </a:cubicBezTo>
                  <a:cubicBezTo>
                    <a:pt x="82790" y="12110"/>
                    <a:pt x="84651" y="12110"/>
                    <a:pt x="84651" y="12110"/>
                  </a:cubicBezTo>
                  <a:cubicBezTo>
                    <a:pt x="84651" y="12110"/>
                    <a:pt x="85581" y="12110"/>
                    <a:pt x="85581" y="13211"/>
                  </a:cubicBezTo>
                  <a:cubicBezTo>
                    <a:pt x="85581" y="14311"/>
                    <a:pt x="85581" y="15412"/>
                    <a:pt x="85581" y="15412"/>
                  </a:cubicBezTo>
                  <a:cubicBezTo>
                    <a:pt x="85581" y="15412"/>
                    <a:pt x="88372" y="15412"/>
                    <a:pt x="88372" y="15412"/>
                  </a:cubicBezTo>
                  <a:cubicBezTo>
                    <a:pt x="89302" y="15412"/>
                    <a:pt x="90232" y="16513"/>
                    <a:pt x="91162" y="16513"/>
                  </a:cubicBezTo>
                  <a:cubicBezTo>
                    <a:pt x="92093" y="15412"/>
                    <a:pt x="93023" y="14311"/>
                    <a:pt x="93023" y="14311"/>
                  </a:cubicBezTo>
                  <a:cubicBezTo>
                    <a:pt x="93023" y="15412"/>
                    <a:pt x="94883" y="15412"/>
                    <a:pt x="94883" y="16513"/>
                  </a:cubicBezTo>
                  <a:cubicBezTo>
                    <a:pt x="93953" y="18715"/>
                    <a:pt x="93023" y="18715"/>
                    <a:pt x="94883" y="19816"/>
                  </a:cubicBezTo>
                  <a:cubicBezTo>
                    <a:pt x="96744" y="19816"/>
                    <a:pt x="98604" y="20917"/>
                    <a:pt x="99534" y="20917"/>
                  </a:cubicBezTo>
                  <a:cubicBezTo>
                    <a:pt x="100465" y="22018"/>
                    <a:pt x="103255" y="23119"/>
                    <a:pt x="103255" y="23119"/>
                  </a:cubicBezTo>
                  <a:cubicBezTo>
                    <a:pt x="104186" y="23119"/>
                    <a:pt x="105116" y="23119"/>
                    <a:pt x="105116" y="24220"/>
                  </a:cubicBezTo>
                  <a:cubicBezTo>
                    <a:pt x="105116" y="25321"/>
                    <a:pt x="103255" y="27522"/>
                    <a:pt x="103255" y="27522"/>
                  </a:cubicBezTo>
                  <a:cubicBezTo>
                    <a:pt x="103255" y="27522"/>
                    <a:pt x="102325" y="28623"/>
                    <a:pt x="102325" y="29724"/>
                  </a:cubicBezTo>
                  <a:cubicBezTo>
                    <a:pt x="102325" y="29724"/>
                    <a:pt x="101395" y="33027"/>
                    <a:pt x="101395" y="33027"/>
                  </a:cubicBezTo>
                  <a:cubicBezTo>
                    <a:pt x="100465" y="34128"/>
                    <a:pt x="99534" y="36330"/>
                    <a:pt x="99534" y="36330"/>
                  </a:cubicBezTo>
                  <a:cubicBezTo>
                    <a:pt x="99534" y="36330"/>
                    <a:pt x="98604" y="38532"/>
                    <a:pt x="97674" y="38532"/>
                  </a:cubicBezTo>
                  <a:cubicBezTo>
                    <a:pt x="97674" y="38532"/>
                    <a:pt x="96744" y="39633"/>
                    <a:pt x="96744" y="39633"/>
                  </a:cubicBezTo>
                  <a:cubicBezTo>
                    <a:pt x="96744" y="40733"/>
                    <a:pt x="96744" y="42935"/>
                    <a:pt x="96744" y="42935"/>
                  </a:cubicBezTo>
                  <a:cubicBezTo>
                    <a:pt x="97674" y="45137"/>
                    <a:pt x="97674" y="45137"/>
                    <a:pt x="97674" y="45137"/>
                  </a:cubicBezTo>
                  <a:cubicBezTo>
                    <a:pt x="97674" y="47339"/>
                    <a:pt x="97674" y="47339"/>
                    <a:pt x="97674" y="47339"/>
                  </a:cubicBezTo>
                  <a:cubicBezTo>
                    <a:pt x="101395" y="46238"/>
                    <a:pt x="101395" y="46238"/>
                    <a:pt x="101395" y="46238"/>
                  </a:cubicBezTo>
                  <a:cubicBezTo>
                    <a:pt x="101395" y="46238"/>
                    <a:pt x="101395" y="46238"/>
                    <a:pt x="102325" y="47339"/>
                  </a:cubicBezTo>
                  <a:cubicBezTo>
                    <a:pt x="104186" y="47339"/>
                    <a:pt x="105116" y="46238"/>
                    <a:pt x="106046" y="46238"/>
                  </a:cubicBezTo>
                  <a:cubicBezTo>
                    <a:pt x="106046" y="46238"/>
                    <a:pt x="107906" y="48440"/>
                    <a:pt x="107906" y="48440"/>
                  </a:cubicBezTo>
                  <a:cubicBezTo>
                    <a:pt x="107906" y="48440"/>
                    <a:pt x="108837" y="49541"/>
                    <a:pt x="108837" y="49541"/>
                  </a:cubicBezTo>
                  <a:cubicBezTo>
                    <a:pt x="109767" y="49541"/>
                    <a:pt x="111627" y="50642"/>
                    <a:pt x="111627" y="50642"/>
                  </a:cubicBezTo>
                  <a:cubicBezTo>
                    <a:pt x="111627" y="53944"/>
                    <a:pt x="111627" y="53944"/>
                    <a:pt x="111627" y="53944"/>
                  </a:cubicBezTo>
                  <a:cubicBezTo>
                    <a:pt x="111627" y="53944"/>
                    <a:pt x="113488" y="53944"/>
                    <a:pt x="113488" y="53944"/>
                  </a:cubicBezTo>
                  <a:cubicBezTo>
                    <a:pt x="114418" y="53944"/>
                    <a:pt x="115348" y="55045"/>
                    <a:pt x="115348" y="55045"/>
                  </a:cubicBezTo>
                  <a:cubicBezTo>
                    <a:pt x="115348" y="55045"/>
                    <a:pt x="115348" y="58348"/>
                    <a:pt x="114418" y="58348"/>
                  </a:cubicBezTo>
                  <a:cubicBezTo>
                    <a:pt x="114418" y="59449"/>
                    <a:pt x="113488" y="60550"/>
                    <a:pt x="113488" y="60550"/>
                  </a:cubicBezTo>
                  <a:cubicBezTo>
                    <a:pt x="113488" y="60550"/>
                    <a:pt x="114418" y="62752"/>
                    <a:pt x="115348" y="62752"/>
                  </a:cubicBezTo>
                  <a:cubicBezTo>
                    <a:pt x="115348" y="62752"/>
                    <a:pt x="117209" y="62752"/>
                    <a:pt x="117209" y="62752"/>
                  </a:cubicBezTo>
                  <a:cubicBezTo>
                    <a:pt x="118139" y="62752"/>
                    <a:pt x="119069" y="64954"/>
                    <a:pt x="119069" y="64954"/>
                  </a:cubicBezTo>
                  <a:cubicBezTo>
                    <a:pt x="119069" y="64954"/>
                    <a:pt x="120000" y="66055"/>
                    <a:pt x="120000" y="67155"/>
                  </a:cubicBezTo>
                  <a:cubicBezTo>
                    <a:pt x="120000" y="68256"/>
                    <a:pt x="119069" y="70458"/>
                    <a:pt x="119069" y="70458"/>
                  </a:cubicBezTo>
                  <a:cubicBezTo>
                    <a:pt x="119069" y="70458"/>
                    <a:pt x="119069" y="71559"/>
                    <a:pt x="119069" y="72660"/>
                  </a:cubicBezTo>
                  <a:cubicBezTo>
                    <a:pt x="119069" y="72660"/>
                    <a:pt x="118139" y="73761"/>
                    <a:pt x="118139" y="73761"/>
                  </a:cubicBezTo>
                  <a:cubicBezTo>
                    <a:pt x="116279" y="73761"/>
                    <a:pt x="116279" y="73761"/>
                    <a:pt x="116279" y="73761"/>
                  </a:cubicBezTo>
                  <a:cubicBezTo>
                    <a:pt x="116279" y="73761"/>
                    <a:pt x="116279" y="77064"/>
                    <a:pt x="115348" y="77064"/>
                  </a:cubicBezTo>
                  <a:cubicBezTo>
                    <a:pt x="115348" y="77064"/>
                    <a:pt x="114418" y="77064"/>
                    <a:pt x="114418" y="77064"/>
                  </a:cubicBezTo>
                  <a:cubicBezTo>
                    <a:pt x="113488" y="77064"/>
                    <a:pt x="112558" y="78165"/>
                    <a:pt x="112558" y="78165"/>
                  </a:cubicBezTo>
                  <a:cubicBezTo>
                    <a:pt x="112558" y="79266"/>
                    <a:pt x="112558" y="79266"/>
                    <a:pt x="112558" y="79266"/>
                  </a:cubicBezTo>
                  <a:cubicBezTo>
                    <a:pt x="111627" y="81467"/>
                    <a:pt x="111627" y="81467"/>
                    <a:pt x="111627" y="81467"/>
                  </a:cubicBezTo>
                  <a:cubicBezTo>
                    <a:pt x="111627" y="81467"/>
                    <a:pt x="111627" y="81467"/>
                    <a:pt x="110697" y="81467"/>
                  </a:cubicBezTo>
                  <a:cubicBezTo>
                    <a:pt x="110697" y="81467"/>
                    <a:pt x="110697" y="81467"/>
                    <a:pt x="109767" y="81467"/>
                  </a:cubicBezTo>
                  <a:cubicBezTo>
                    <a:pt x="109767" y="82568"/>
                    <a:pt x="108837" y="82568"/>
                    <a:pt x="108837" y="82568"/>
                  </a:cubicBezTo>
                  <a:cubicBezTo>
                    <a:pt x="108837" y="82568"/>
                    <a:pt x="107906" y="81467"/>
                    <a:pt x="106976" y="81467"/>
                  </a:cubicBezTo>
                  <a:cubicBezTo>
                    <a:pt x="106976" y="81467"/>
                    <a:pt x="106046" y="81467"/>
                    <a:pt x="106046" y="82568"/>
                  </a:cubicBezTo>
                  <a:cubicBezTo>
                    <a:pt x="105116" y="83669"/>
                    <a:pt x="105116" y="84770"/>
                    <a:pt x="104186" y="84770"/>
                  </a:cubicBezTo>
                  <a:cubicBezTo>
                    <a:pt x="104186" y="84770"/>
                    <a:pt x="103255" y="85871"/>
                    <a:pt x="103255" y="85871"/>
                  </a:cubicBezTo>
                  <a:cubicBezTo>
                    <a:pt x="103255" y="85871"/>
                    <a:pt x="103255" y="88073"/>
                    <a:pt x="102325" y="88073"/>
                  </a:cubicBezTo>
                  <a:cubicBezTo>
                    <a:pt x="102325" y="89174"/>
                    <a:pt x="101395" y="90275"/>
                    <a:pt x="101395" y="90275"/>
                  </a:cubicBezTo>
                  <a:cubicBezTo>
                    <a:pt x="101395" y="90275"/>
                    <a:pt x="101395" y="91376"/>
                    <a:pt x="101395" y="91376"/>
                  </a:cubicBezTo>
                  <a:cubicBezTo>
                    <a:pt x="101395" y="92477"/>
                    <a:pt x="101395" y="93577"/>
                    <a:pt x="100465" y="94678"/>
                  </a:cubicBezTo>
                  <a:cubicBezTo>
                    <a:pt x="99534" y="94678"/>
                    <a:pt x="97674" y="96880"/>
                    <a:pt x="97674" y="96880"/>
                  </a:cubicBezTo>
                  <a:cubicBezTo>
                    <a:pt x="97674" y="96880"/>
                    <a:pt x="97674" y="96880"/>
                    <a:pt x="97674" y="97981"/>
                  </a:cubicBezTo>
                  <a:cubicBezTo>
                    <a:pt x="98604" y="97981"/>
                    <a:pt x="98604" y="99082"/>
                    <a:pt x="98604" y="99082"/>
                  </a:cubicBezTo>
                  <a:cubicBezTo>
                    <a:pt x="98604" y="101284"/>
                    <a:pt x="98604" y="101284"/>
                    <a:pt x="98604" y="101284"/>
                  </a:cubicBezTo>
                  <a:cubicBezTo>
                    <a:pt x="98604" y="101284"/>
                    <a:pt x="97674" y="102385"/>
                    <a:pt x="97674" y="103486"/>
                  </a:cubicBezTo>
                  <a:cubicBezTo>
                    <a:pt x="98604" y="103486"/>
                    <a:pt x="98604" y="103486"/>
                    <a:pt x="98604" y="103486"/>
                  </a:cubicBezTo>
                  <a:cubicBezTo>
                    <a:pt x="99534" y="105688"/>
                    <a:pt x="99534" y="105688"/>
                    <a:pt x="99534" y="105688"/>
                  </a:cubicBezTo>
                  <a:cubicBezTo>
                    <a:pt x="100465" y="107889"/>
                    <a:pt x="100465" y="107889"/>
                    <a:pt x="100465" y="107889"/>
                  </a:cubicBezTo>
                  <a:cubicBezTo>
                    <a:pt x="101395" y="107889"/>
                    <a:pt x="101395" y="107889"/>
                    <a:pt x="101395" y="107889"/>
                  </a:cubicBezTo>
                  <a:cubicBezTo>
                    <a:pt x="101395" y="107889"/>
                    <a:pt x="102325" y="110091"/>
                    <a:pt x="102325" y="111192"/>
                  </a:cubicBezTo>
                  <a:cubicBezTo>
                    <a:pt x="102325" y="111192"/>
                    <a:pt x="102325" y="113394"/>
                    <a:pt x="102325" y="113394"/>
                  </a:cubicBezTo>
                  <a:cubicBezTo>
                    <a:pt x="100465" y="115596"/>
                    <a:pt x="100465" y="115596"/>
                    <a:pt x="100465" y="115596"/>
                  </a:cubicBezTo>
                  <a:cubicBezTo>
                    <a:pt x="99534" y="117798"/>
                    <a:pt x="99534" y="117798"/>
                    <a:pt x="99534" y="117798"/>
                  </a:cubicBezTo>
                  <a:cubicBezTo>
                    <a:pt x="99534" y="117798"/>
                    <a:pt x="98604" y="117798"/>
                    <a:pt x="98604" y="117798"/>
                  </a:cubicBezTo>
                  <a:cubicBezTo>
                    <a:pt x="97674" y="117798"/>
                    <a:pt x="96744" y="117798"/>
                    <a:pt x="96744" y="117798"/>
                  </a:cubicBezTo>
                  <a:cubicBezTo>
                    <a:pt x="95813" y="118899"/>
                    <a:pt x="95813" y="118899"/>
                    <a:pt x="95813" y="118899"/>
                  </a:cubicBezTo>
                  <a:cubicBezTo>
                    <a:pt x="93953" y="118899"/>
                    <a:pt x="93953" y="118899"/>
                    <a:pt x="93953" y="118899"/>
                  </a:cubicBezTo>
                  <a:cubicBezTo>
                    <a:pt x="92093" y="120000"/>
                    <a:pt x="92093" y="120000"/>
                    <a:pt x="92093" y="120000"/>
                  </a:cubicBezTo>
                  <a:cubicBezTo>
                    <a:pt x="89302" y="120000"/>
                    <a:pt x="89302" y="120000"/>
                    <a:pt x="89302" y="120000"/>
                  </a:cubicBezTo>
                  <a:cubicBezTo>
                    <a:pt x="88372" y="117798"/>
                    <a:pt x="88372" y="117798"/>
                    <a:pt x="88372" y="117798"/>
                  </a:cubicBezTo>
                  <a:cubicBezTo>
                    <a:pt x="87441" y="115596"/>
                    <a:pt x="87441" y="115596"/>
                    <a:pt x="87441" y="115596"/>
                  </a:cubicBezTo>
                  <a:cubicBezTo>
                    <a:pt x="86511" y="114495"/>
                    <a:pt x="86511" y="114495"/>
                    <a:pt x="86511" y="114495"/>
                  </a:cubicBezTo>
                  <a:cubicBezTo>
                    <a:pt x="85581" y="114495"/>
                    <a:pt x="85581" y="114495"/>
                    <a:pt x="85581" y="114495"/>
                  </a:cubicBezTo>
                  <a:cubicBezTo>
                    <a:pt x="82790" y="113394"/>
                    <a:pt x="82790" y="113394"/>
                    <a:pt x="82790" y="113394"/>
                  </a:cubicBezTo>
                  <a:cubicBezTo>
                    <a:pt x="83720" y="111192"/>
                    <a:pt x="83720" y="111192"/>
                    <a:pt x="83720" y="111192"/>
                  </a:cubicBezTo>
                  <a:cubicBezTo>
                    <a:pt x="83720" y="111192"/>
                    <a:pt x="82790" y="108990"/>
                    <a:pt x="82790" y="108990"/>
                  </a:cubicBezTo>
                  <a:cubicBezTo>
                    <a:pt x="81860" y="108990"/>
                    <a:pt x="80930" y="108990"/>
                    <a:pt x="80930" y="108990"/>
                  </a:cubicBezTo>
                  <a:cubicBezTo>
                    <a:pt x="79069" y="106788"/>
                    <a:pt x="79069" y="106788"/>
                    <a:pt x="79069" y="106788"/>
                  </a:cubicBezTo>
                  <a:cubicBezTo>
                    <a:pt x="79069" y="106788"/>
                    <a:pt x="79069" y="105688"/>
                    <a:pt x="78139" y="104587"/>
                  </a:cubicBezTo>
                  <a:cubicBezTo>
                    <a:pt x="77209" y="104587"/>
                    <a:pt x="77209" y="103486"/>
                    <a:pt x="76279" y="103486"/>
                  </a:cubicBezTo>
                  <a:cubicBezTo>
                    <a:pt x="75348" y="103486"/>
                    <a:pt x="73488" y="103486"/>
                    <a:pt x="73488" y="103486"/>
                  </a:cubicBezTo>
                  <a:cubicBezTo>
                    <a:pt x="73488" y="103486"/>
                    <a:pt x="72558" y="101284"/>
                    <a:pt x="71627" y="101284"/>
                  </a:cubicBezTo>
                  <a:cubicBezTo>
                    <a:pt x="71627" y="101284"/>
                    <a:pt x="67906" y="101284"/>
                    <a:pt x="67906" y="101284"/>
                  </a:cubicBezTo>
                  <a:cubicBezTo>
                    <a:pt x="67906" y="101284"/>
                    <a:pt x="68837" y="97981"/>
                    <a:pt x="68837" y="97981"/>
                  </a:cubicBezTo>
                  <a:cubicBezTo>
                    <a:pt x="68837" y="96880"/>
                    <a:pt x="68837" y="93577"/>
                    <a:pt x="68837" y="93577"/>
                  </a:cubicBezTo>
                  <a:cubicBezTo>
                    <a:pt x="68837" y="92477"/>
                    <a:pt x="68837" y="92477"/>
                    <a:pt x="68837" y="92477"/>
                  </a:cubicBezTo>
                  <a:cubicBezTo>
                    <a:pt x="68837" y="92477"/>
                    <a:pt x="67906" y="91376"/>
                    <a:pt x="68837" y="89174"/>
                  </a:cubicBezTo>
                  <a:cubicBezTo>
                    <a:pt x="69767" y="86972"/>
                    <a:pt x="68837" y="88073"/>
                    <a:pt x="69767" y="85871"/>
                  </a:cubicBezTo>
                  <a:cubicBezTo>
                    <a:pt x="70697" y="82568"/>
                    <a:pt x="70697" y="81467"/>
                    <a:pt x="70697" y="81467"/>
                  </a:cubicBezTo>
                  <a:cubicBezTo>
                    <a:pt x="68837" y="80366"/>
                    <a:pt x="68837" y="80366"/>
                    <a:pt x="68837" y="80366"/>
                  </a:cubicBezTo>
                  <a:cubicBezTo>
                    <a:pt x="68837" y="80366"/>
                    <a:pt x="67906" y="79266"/>
                    <a:pt x="66976" y="80366"/>
                  </a:cubicBezTo>
                  <a:cubicBezTo>
                    <a:pt x="66976" y="82568"/>
                    <a:pt x="66046" y="82568"/>
                    <a:pt x="66046" y="82568"/>
                  </a:cubicBezTo>
                  <a:cubicBezTo>
                    <a:pt x="64186" y="85871"/>
                    <a:pt x="64186" y="85871"/>
                    <a:pt x="64186" y="85871"/>
                  </a:cubicBezTo>
                  <a:cubicBezTo>
                    <a:pt x="64186" y="89174"/>
                    <a:pt x="64186" y="89174"/>
                    <a:pt x="64186" y="89174"/>
                  </a:cubicBezTo>
                  <a:cubicBezTo>
                    <a:pt x="64186" y="89174"/>
                    <a:pt x="65116" y="90275"/>
                    <a:pt x="62325" y="90275"/>
                  </a:cubicBezTo>
                  <a:cubicBezTo>
                    <a:pt x="60465" y="90275"/>
                    <a:pt x="58604" y="90275"/>
                    <a:pt x="58604" y="90275"/>
                  </a:cubicBezTo>
                  <a:cubicBezTo>
                    <a:pt x="58604" y="90275"/>
                    <a:pt x="60465" y="92477"/>
                    <a:pt x="58604" y="92477"/>
                  </a:cubicBezTo>
                  <a:cubicBezTo>
                    <a:pt x="55813" y="92477"/>
                    <a:pt x="53023" y="92477"/>
                    <a:pt x="53023" y="92477"/>
                  </a:cubicBezTo>
                  <a:cubicBezTo>
                    <a:pt x="51162" y="90275"/>
                    <a:pt x="51162" y="90275"/>
                    <a:pt x="51162" y="90275"/>
                  </a:cubicBezTo>
                  <a:cubicBezTo>
                    <a:pt x="47441" y="91376"/>
                    <a:pt x="47441" y="91376"/>
                    <a:pt x="47441" y="91376"/>
                  </a:cubicBezTo>
                  <a:cubicBezTo>
                    <a:pt x="47441" y="91376"/>
                    <a:pt x="47441" y="90275"/>
                    <a:pt x="47441" y="88073"/>
                  </a:cubicBezTo>
                  <a:cubicBezTo>
                    <a:pt x="47441" y="86972"/>
                    <a:pt x="46511" y="84770"/>
                    <a:pt x="47441" y="84770"/>
                  </a:cubicBezTo>
                  <a:cubicBezTo>
                    <a:pt x="48372" y="84770"/>
                    <a:pt x="49302" y="83669"/>
                    <a:pt x="49302" y="83669"/>
                  </a:cubicBezTo>
                  <a:cubicBezTo>
                    <a:pt x="48372" y="80366"/>
                    <a:pt x="48372" y="80366"/>
                    <a:pt x="48372" y="80366"/>
                  </a:cubicBezTo>
                  <a:cubicBezTo>
                    <a:pt x="48372" y="80366"/>
                    <a:pt x="48372" y="80366"/>
                    <a:pt x="48372" y="80366"/>
                  </a:cubicBezTo>
                  <a:cubicBezTo>
                    <a:pt x="48372" y="80366"/>
                    <a:pt x="47441" y="80366"/>
                    <a:pt x="47441" y="79266"/>
                  </a:cubicBezTo>
                  <a:cubicBezTo>
                    <a:pt x="47441" y="78165"/>
                    <a:pt x="48372" y="75963"/>
                    <a:pt x="48372" y="75963"/>
                  </a:cubicBezTo>
                  <a:cubicBezTo>
                    <a:pt x="49302" y="74862"/>
                    <a:pt x="49302" y="72660"/>
                    <a:pt x="49302" y="72660"/>
                  </a:cubicBezTo>
                  <a:cubicBezTo>
                    <a:pt x="48372" y="72660"/>
                    <a:pt x="48372" y="72660"/>
                    <a:pt x="48372" y="72660"/>
                  </a:cubicBezTo>
                  <a:cubicBezTo>
                    <a:pt x="48372" y="72660"/>
                    <a:pt x="46511" y="73761"/>
                    <a:pt x="46511" y="71559"/>
                  </a:cubicBezTo>
                  <a:cubicBezTo>
                    <a:pt x="46511" y="70458"/>
                    <a:pt x="45581" y="68256"/>
                    <a:pt x="45581" y="68256"/>
                  </a:cubicBezTo>
                  <a:cubicBezTo>
                    <a:pt x="45581" y="68256"/>
                    <a:pt x="43720" y="67155"/>
                    <a:pt x="43720" y="67155"/>
                  </a:cubicBezTo>
                  <a:cubicBezTo>
                    <a:pt x="42790" y="67155"/>
                    <a:pt x="42790" y="67155"/>
                    <a:pt x="41860" y="68256"/>
                  </a:cubicBezTo>
                  <a:cubicBezTo>
                    <a:pt x="41860" y="68256"/>
                    <a:pt x="39069" y="67155"/>
                    <a:pt x="39069" y="67155"/>
                  </a:cubicBezTo>
                  <a:cubicBezTo>
                    <a:pt x="39069" y="67155"/>
                    <a:pt x="36279" y="67155"/>
                    <a:pt x="36279" y="67155"/>
                  </a:cubicBezTo>
                  <a:cubicBezTo>
                    <a:pt x="35348" y="67155"/>
                    <a:pt x="34418" y="69357"/>
                    <a:pt x="34418" y="69357"/>
                  </a:cubicBezTo>
                  <a:cubicBezTo>
                    <a:pt x="32558" y="66055"/>
                    <a:pt x="32558" y="66055"/>
                    <a:pt x="32558" y="66055"/>
                  </a:cubicBezTo>
                  <a:cubicBezTo>
                    <a:pt x="33488" y="62752"/>
                    <a:pt x="33488" y="62752"/>
                    <a:pt x="33488" y="62752"/>
                  </a:cubicBezTo>
                  <a:cubicBezTo>
                    <a:pt x="33488" y="62752"/>
                    <a:pt x="31627" y="60550"/>
                    <a:pt x="31627" y="59449"/>
                  </a:cubicBezTo>
                  <a:cubicBezTo>
                    <a:pt x="31627" y="59449"/>
                    <a:pt x="30697" y="57247"/>
                    <a:pt x="30697" y="57247"/>
                  </a:cubicBezTo>
                  <a:cubicBezTo>
                    <a:pt x="28837" y="57247"/>
                    <a:pt x="28837" y="57247"/>
                    <a:pt x="28837" y="57247"/>
                  </a:cubicBezTo>
                  <a:cubicBezTo>
                    <a:pt x="27906" y="56146"/>
                    <a:pt x="27906" y="56146"/>
                    <a:pt x="27906" y="56146"/>
                  </a:cubicBezTo>
                  <a:cubicBezTo>
                    <a:pt x="27906" y="56146"/>
                    <a:pt x="26046" y="56146"/>
                    <a:pt x="25116" y="56146"/>
                  </a:cubicBezTo>
                  <a:cubicBezTo>
                    <a:pt x="24186" y="56146"/>
                    <a:pt x="24186" y="56146"/>
                    <a:pt x="23255" y="56146"/>
                  </a:cubicBezTo>
                  <a:cubicBezTo>
                    <a:pt x="23255" y="56146"/>
                    <a:pt x="21395" y="53944"/>
                    <a:pt x="21395" y="53944"/>
                  </a:cubicBezTo>
                  <a:cubicBezTo>
                    <a:pt x="21395" y="52844"/>
                    <a:pt x="21395" y="51743"/>
                    <a:pt x="21395" y="50642"/>
                  </a:cubicBezTo>
                  <a:cubicBezTo>
                    <a:pt x="20465" y="49541"/>
                    <a:pt x="19534" y="47339"/>
                    <a:pt x="19534" y="46238"/>
                  </a:cubicBezTo>
                  <a:cubicBezTo>
                    <a:pt x="19534" y="46238"/>
                    <a:pt x="20465" y="44036"/>
                    <a:pt x="20465" y="44036"/>
                  </a:cubicBezTo>
                  <a:cubicBezTo>
                    <a:pt x="19534" y="42935"/>
                    <a:pt x="17674" y="40733"/>
                    <a:pt x="17674" y="40733"/>
                  </a:cubicBezTo>
                  <a:cubicBezTo>
                    <a:pt x="16744" y="38532"/>
                    <a:pt x="16744" y="38532"/>
                    <a:pt x="16744" y="38532"/>
                  </a:cubicBezTo>
                  <a:cubicBezTo>
                    <a:pt x="16744" y="38532"/>
                    <a:pt x="13953" y="40733"/>
                    <a:pt x="13023" y="40733"/>
                  </a:cubicBezTo>
                  <a:cubicBezTo>
                    <a:pt x="12093" y="40733"/>
                    <a:pt x="10232" y="39633"/>
                    <a:pt x="10232" y="40733"/>
                  </a:cubicBezTo>
                  <a:cubicBezTo>
                    <a:pt x="10232" y="40733"/>
                    <a:pt x="11162" y="42935"/>
                    <a:pt x="10232" y="42935"/>
                  </a:cubicBezTo>
                  <a:cubicBezTo>
                    <a:pt x="9302" y="42935"/>
                    <a:pt x="7441" y="42935"/>
                    <a:pt x="6511" y="41834"/>
                  </a:cubicBezTo>
                  <a:cubicBezTo>
                    <a:pt x="5581" y="40733"/>
                    <a:pt x="5581" y="39633"/>
                    <a:pt x="5581" y="38532"/>
                  </a:cubicBezTo>
                  <a:cubicBezTo>
                    <a:pt x="4651" y="38532"/>
                    <a:pt x="4651" y="36330"/>
                    <a:pt x="3720" y="36330"/>
                  </a:cubicBezTo>
                  <a:cubicBezTo>
                    <a:pt x="2790" y="36330"/>
                    <a:pt x="1860" y="36330"/>
                    <a:pt x="1860" y="35229"/>
                  </a:cubicBezTo>
                  <a:cubicBezTo>
                    <a:pt x="1860" y="35229"/>
                    <a:pt x="1860" y="31926"/>
                    <a:pt x="1860" y="31926"/>
                  </a:cubicBezTo>
                  <a:cubicBezTo>
                    <a:pt x="1860" y="29724"/>
                    <a:pt x="1860" y="29724"/>
                    <a:pt x="1860" y="29724"/>
                  </a:cubicBezTo>
                  <a:cubicBezTo>
                    <a:pt x="1860" y="29724"/>
                    <a:pt x="1860" y="26422"/>
                    <a:pt x="930" y="26422"/>
                  </a:cubicBezTo>
                  <a:cubicBezTo>
                    <a:pt x="930" y="25321"/>
                    <a:pt x="0" y="24220"/>
                    <a:pt x="0" y="24220"/>
                  </a:cubicBezTo>
                  <a:cubicBezTo>
                    <a:pt x="0" y="20917"/>
                    <a:pt x="0" y="20917"/>
                    <a:pt x="0" y="20917"/>
                  </a:cubicBezTo>
                  <a:lnTo>
                    <a:pt x="930" y="19816"/>
                  </a:lnTo>
                  <a:close/>
                </a:path>
              </a:pathLst>
            </a:custGeom>
            <a:pattFill prst="wdUpDiag">
              <a:fgClr>
                <a:srgbClr val="996633"/>
              </a:fgClr>
              <a:bgClr>
                <a:srgbClr val="00B050"/>
              </a:bgClr>
            </a:pattFill>
            <a:ln w="3175" cap="flat" cmpd="sng">
              <a:solidFill>
                <a:schemeClr val="tx1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endParaRPr kern="0">
                <a:solidFill>
                  <a:srgbClr val="7F7F7F"/>
                </a:solidFill>
                <a:latin typeface="Calibri" panose="020F0502020204030204" pitchFamily="34" charset="0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40" name="Shape 2034">
              <a:extLst>
                <a:ext uri="{FF2B5EF4-FFF2-40B4-BE49-F238E27FC236}">
                  <a16:creationId xmlns:a16="http://schemas.microsoft.com/office/drawing/2014/main" id="{C749DBA2-D322-0353-2E61-19E1A372B3A6}"/>
                </a:ext>
              </a:extLst>
            </p:cNvPr>
            <p:cNvSpPr/>
            <p:nvPr/>
          </p:nvSpPr>
          <p:spPr>
            <a:xfrm>
              <a:off x="4305368" y="2926281"/>
              <a:ext cx="504385" cy="27096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21500" y="24360"/>
                  </a:moveTo>
                  <a:cubicBezTo>
                    <a:pt x="22000" y="24360"/>
                    <a:pt x="25000" y="19849"/>
                    <a:pt x="25000" y="19849"/>
                  </a:cubicBezTo>
                  <a:cubicBezTo>
                    <a:pt x="28000" y="18045"/>
                    <a:pt x="28000" y="18045"/>
                    <a:pt x="28000" y="18045"/>
                  </a:cubicBezTo>
                  <a:cubicBezTo>
                    <a:pt x="29000" y="16240"/>
                    <a:pt x="29000" y="16240"/>
                    <a:pt x="29000" y="16240"/>
                  </a:cubicBezTo>
                  <a:cubicBezTo>
                    <a:pt x="30000" y="12631"/>
                    <a:pt x="30000" y="12631"/>
                    <a:pt x="30000" y="12631"/>
                  </a:cubicBezTo>
                  <a:cubicBezTo>
                    <a:pt x="30000" y="12631"/>
                    <a:pt x="29500" y="10827"/>
                    <a:pt x="31000" y="10827"/>
                  </a:cubicBezTo>
                  <a:cubicBezTo>
                    <a:pt x="32500" y="10827"/>
                    <a:pt x="37000" y="9022"/>
                    <a:pt x="37000" y="9022"/>
                  </a:cubicBezTo>
                  <a:cubicBezTo>
                    <a:pt x="37500" y="7218"/>
                    <a:pt x="37500" y="7218"/>
                    <a:pt x="37500" y="7218"/>
                  </a:cubicBezTo>
                  <a:cubicBezTo>
                    <a:pt x="36500" y="4511"/>
                    <a:pt x="36500" y="4511"/>
                    <a:pt x="36500" y="4511"/>
                  </a:cubicBezTo>
                  <a:cubicBezTo>
                    <a:pt x="36500" y="4511"/>
                    <a:pt x="36500" y="902"/>
                    <a:pt x="36500" y="902"/>
                  </a:cubicBezTo>
                  <a:cubicBezTo>
                    <a:pt x="37000" y="0"/>
                    <a:pt x="39000" y="0"/>
                    <a:pt x="40000" y="0"/>
                  </a:cubicBezTo>
                  <a:cubicBezTo>
                    <a:pt x="41000" y="902"/>
                    <a:pt x="42000" y="1804"/>
                    <a:pt x="42500" y="2706"/>
                  </a:cubicBezTo>
                  <a:cubicBezTo>
                    <a:pt x="42500" y="3609"/>
                    <a:pt x="42500" y="2706"/>
                    <a:pt x="42500" y="4511"/>
                  </a:cubicBezTo>
                  <a:cubicBezTo>
                    <a:pt x="42500" y="6315"/>
                    <a:pt x="42500" y="8120"/>
                    <a:pt x="42500" y="8120"/>
                  </a:cubicBezTo>
                  <a:cubicBezTo>
                    <a:pt x="42500" y="8120"/>
                    <a:pt x="43000" y="9022"/>
                    <a:pt x="43500" y="9924"/>
                  </a:cubicBezTo>
                  <a:cubicBezTo>
                    <a:pt x="44500" y="9924"/>
                    <a:pt x="45500" y="11729"/>
                    <a:pt x="45500" y="10827"/>
                  </a:cubicBezTo>
                  <a:cubicBezTo>
                    <a:pt x="45500" y="10827"/>
                    <a:pt x="46000" y="9924"/>
                    <a:pt x="46500" y="9022"/>
                  </a:cubicBezTo>
                  <a:cubicBezTo>
                    <a:pt x="46500" y="9022"/>
                    <a:pt x="46500" y="9022"/>
                    <a:pt x="46500" y="9022"/>
                  </a:cubicBezTo>
                  <a:cubicBezTo>
                    <a:pt x="46500" y="10827"/>
                    <a:pt x="47000" y="9924"/>
                    <a:pt x="47500" y="9924"/>
                  </a:cubicBezTo>
                  <a:cubicBezTo>
                    <a:pt x="48000" y="9924"/>
                    <a:pt x="50000" y="8120"/>
                    <a:pt x="50000" y="8120"/>
                  </a:cubicBezTo>
                  <a:cubicBezTo>
                    <a:pt x="50000" y="8120"/>
                    <a:pt x="49500" y="5413"/>
                    <a:pt x="49500" y="5413"/>
                  </a:cubicBezTo>
                  <a:cubicBezTo>
                    <a:pt x="49500" y="4511"/>
                    <a:pt x="49500" y="3609"/>
                    <a:pt x="49500" y="2706"/>
                  </a:cubicBezTo>
                  <a:cubicBezTo>
                    <a:pt x="50000" y="1804"/>
                    <a:pt x="50000" y="1804"/>
                    <a:pt x="50000" y="1804"/>
                  </a:cubicBezTo>
                  <a:cubicBezTo>
                    <a:pt x="50500" y="1804"/>
                    <a:pt x="51500" y="2706"/>
                    <a:pt x="51500" y="2706"/>
                  </a:cubicBezTo>
                  <a:cubicBezTo>
                    <a:pt x="51500" y="2706"/>
                    <a:pt x="52500" y="3609"/>
                    <a:pt x="53000" y="3609"/>
                  </a:cubicBezTo>
                  <a:cubicBezTo>
                    <a:pt x="54000" y="3609"/>
                    <a:pt x="53500" y="5413"/>
                    <a:pt x="53500" y="5413"/>
                  </a:cubicBezTo>
                  <a:cubicBezTo>
                    <a:pt x="53500" y="5413"/>
                    <a:pt x="54000" y="8120"/>
                    <a:pt x="55000" y="9022"/>
                  </a:cubicBezTo>
                  <a:cubicBezTo>
                    <a:pt x="56000" y="9924"/>
                    <a:pt x="56000" y="10827"/>
                    <a:pt x="56000" y="11729"/>
                  </a:cubicBezTo>
                  <a:cubicBezTo>
                    <a:pt x="56500" y="11729"/>
                    <a:pt x="57500" y="11729"/>
                    <a:pt x="57500" y="11729"/>
                  </a:cubicBezTo>
                  <a:cubicBezTo>
                    <a:pt x="59000" y="10827"/>
                    <a:pt x="59000" y="10827"/>
                    <a:pt x="59000" y="10827"/>
                  </a:cubicBezTo>
                  <a:cubicBezTo>
                    <a:pt x="59000" y="10827"/>
                    <a:pt x="60000" y="11729"/>
                    <a:pt x="60500" y="13533"/>
                  </a:cubicBezTo>
                  <a:cubicBezTo>
                    <a:pt x="60500" y="14436"/>
                    <a:pt x="62000" y="14436"/>
                    <a:pt x="62500" y="13533"/>
                  </a:cubicBezTo>
                  <a:cubicBezTo>
                    <a:pt x="63000" y="13533"/>
                    <a:pt x="63000" y="13533"/>
                    <a:pt x="63000" y="13533"/>
                  </a:cubicBezTo>
                  <a:cubicBezTo>
                    <a:pt x="63500" y="14436"/>
                    <a:pt x="63500" y="14436"/>
                    <a:pt x="63500" y="14436"/>
                  </a:cubicBezTo>
                  <a:cubicBezTo>
                    <a:pt x="63500" y="14436"/>
                    <a:pt x="64500" y="18045"/>
                    <a:pt x="66000" y="15338"/>
                  </a:cubicBezTo>
                  <a:cubicBezTo>
                    <a:pt x="67500" y="12631"/>
                    <a:pt x="66500" y="15338"/>
                    <a:pt x="66500" y="15338"/>
                  </a:cubicBezTo>
                  <a:cubicBezTo>
                    <a:pt x="66500" y="15338"/>
                    <a:pt x="67500" y="18045"/>
                    <a:pt x="68000" y="18045"/>
                  </a:cubicBezTo>
                  <a:cubicBezTo>
                    <a:pt x="69000" y="18045"/>
                    <a:pt x="69000" y="18045"/>
                    <a:pt x="69000" y="18045"/>
                  </a:cubicBezTo>
                  <a:cubicBezTo>
                    <a:pt x="71000" y="16240"/>
                    <a:pt x="71000" y="16240"/>
                    <a:pt x="71000" y="16240"/>
                  </a:cubicBezTo>
                  <a:cubicBezTo>
                    <a:pt x="72500" y="15338"/>
                    <a:pt x="72500" y="15338"/>
                    <a:pt x="72500" y="15338"/>
                  </a:cubicBezTo>
                  <a:cubicBezTo>
                    <a:pt x="72500" y="15338"/>
                    <a:pt x="74000" y="15338"/>
                    <a:pt x="73500" y="19849"/>
                  </a:cubicBezTo>
                  <a:cubicBezTo>
                    <a:pt x="73500" y="23458"/>
                    <a:pt x="73000" y="22556"/>
                    <a:pt x="73000" y="22556"/>
                  </a:cubicBezTo>
                  <a:cubicBezTo>
                    <a:pt x="72000" y="25263"/>
                    <a:pt x="72000" y="25263"/>
                    <a:pt x="72000" y="25263"/>
                  </a:cubicBezTo>
                  <a:cubicBezTo>
                    <a:pt x="72000" y="27969"/>
                    <a:pt x="72000" y="27969"/>
                    <a:pt x="72000" y="27969"/>
                  </a:cubicBezTo>
                  <a:cubicBezTo>
                    <a:pt x="72000" y="27969"/>
                    <a:pt x="72500" y="27969"/>
                    <a:pt x="73000" y="27969"/>
                  </a:cubicBezTo>
                  <a:cubicBezTo>
                    <a:pt x="73500" y="27969"/>
                    <a:pt x="74000" y="31578"/>
                    <a:pt x="74000" y="31578"/>
                  </a:cubicBezTo>
                  <a:cubicBezTo>
                    <a:pt x="75500" y="32481"/>
                    <a:pt x="75500" y="32481"/>
                    <a:pt x="75500" y="32481"/>
                  </a:cubicBezTo>
                  <a:cubicBezTo>
                    <a:pt x="75500" y="32481"/>
                    <a:pt x="76000" y="33383"/>
                    <a:pt x="77000" y="34285"/>
                  </a:cubicBezTo>
                  <a:cubicBezTo>
                    <a:pt x="77500" y="35187"/>
                    <a:pt x="78000" y="36992"/>
                    <a:pt x="78000" y="36992"/>
                  </a:cubicBezTo>
                  <a:cubicBezTo>
                    <a:pt x="78000" y="36992"/>
                    <a:pt x="78500" y="40601"/>
                    <a:pt x="79000" y="41503"/>
                  </a:cubicBezTo>
                  <a:cubicBezTo>
                    <a:pt x="79000" y="43308"/>
                    <a:pt x="82000" y="39699"/>
                    <a:pt x="82000" y="39699"/>
                  </a:cubicBezTo>
                  <a:cubicBezTo>
                    <a:pt x="82500" y="35187"/>
                    <a:pt x="82500" y="35187"/>
                    <a:pt x="82500" y="35187"/>
                  </a:cubicBezTo>
                  <a:cubicBezTo>
                    <a:pt x="85500" y="33383"/>
                    <a:pt x="85500" y="33383"/>
                    <a:pt x="85500" y="33383"/>
                  </a:cubicBezTo>
                  <a:cubicBezTo>
                    <a:pt x="84500" y="27969"/>
                    <a:pt x="84500" y="27969"/>
                    <a:pt x="84500" y="27969"/>
                  </a:cubicBezTo>
                  <a:cubicBezTo>
                    <a:pt x="83500" y="24360"/>
                    <a:pt x="83500" y="24360"/>
                    <a:pt x="83500" y="24360"/>
                  </a:cubicBezTo>
                  <a:cubicBezTo>
                    <a:pt x="83500" y="24360"/>
                    <a:pt x="85500" y="25263"/>
                    <a:pt x="86000" y="24360"/>
                  </a:cubicBezTo>
                  <a:cubicBezTo>
                    <a:pt x="86500" y="24360"/>
                    <a:pt x="88000" y="25263"/>
                    <a:pt x="88000" y="25263"/>
                  </a:cubicBezTo>
                  <a:cubicBezTo>
                    <a:pt x="93500" y="29774"/>
                    <a:pt x="93500" y="29774"/>
                    <a:pt x="93500" y="29774"/>
                  </a:cubicBezTo>
                  <a:cubicBezTo>
                    <a:pt x="93500" y="29774"/>
                    <a:pt x="95000" y="28872"/>
                    <a:pt x="96000" y="28872"/>
                  </a:cubicBezTo>
                  <a:cubicBezTo>
                    <a:pt x="97000" y="27969"/>
                    <a:pt x="97000" y="26165"/>
                    <a:pt x="97000" y="26165"/>
                  </a:cubicBezTo>
                  <a:cubicBezTo>
                    <a:pt x="97000" y="26165"/>
                    <a:pt x="97500" y="27067"/>
                    <a:pt x="98500" y="28872"/>
                  </a:cubicBezTo>
                  <a:cubicBezTo>
                    <a:pt x="99000" y="31578"/>
                    <a:pt x="98000" y="30676"/>
                    <a:pt x="98000" y="31578"/>
                  </a:cubicBezTo>
                  <a:cubicBezTo>
                    <a:pt x="97500" y="32481"/>
                    <a:pt x="96500" y="35187"/>
                    <a:pt x="96500" y="35187"/>
                  </a:cubicBezTo>
                  <a:cubicBezTo>
                    <a:pt x="96500" y="35187"/>
                    <a:pt x="97000" y="36992"/>
                    <a:pt x="98000" y="36992"/>
                  </a:cubicBezTo>
                  <a:cubicBezTo>
                    <a:pt x="98500" y="36992"/>
                    <a:pt x="98000" y="37894"/>
                    <a:pt x="99000" y="39699"/>
                  </a:cubicBezTo>
                  <a:cubicBezTo>
                    <a:pt x="99500" y="40601"/>
                    <a:pt x="101500" y="41503"/>
                    <a:pt x="101500" y="41503"/>
                  </a:cubicBezTo>
                  <a:cubicBezTo>
                    <a:pt x="103000" y="41503"/>
                    <a:pt x="103000" y="41503"/>
                    <a:pt x="103000" y="41503"/>
                  </a:cubicBezTo>
                  <a:cubicBezTo>
                    <a:pt x="104500" y="38796"/>
                    <a:pt x="104500" y="38796"/>
                    <a:pt x="104500" y="38796"/>
                  </a:cubicBezTo>
                  <a:cubicBezTo>
                    <a:pt x="104500" y="38796"/>
                    <a:pt x="106000" y="39699"/>
                    <a:pt x="106500" y="40601"/>
                  </a:cubicBezTo>
                  <a:cubicBezTo>
                    <a:pt x="107000" y="41503"/>
                    <a:pt x="109500" y="43308"/>
                    <a:pt x="109500" y="43308"/>
                  </a:cubicBezTo>
                  <a:cubicBezTo>
                    <a:pt x="113500" y="41503"/>
                    <a:pt x="113500" y="41503"/>
                    <a:pt x="113500" y="41503"/>
                  </a:cubicBezTo>
                  <a:cubicBezTo>
                    <a:pt x="114000" y="48721"/>
                    <a:pt x="114000" y="48721"/>
                    <a:pt x="114000" y="48721"/>
                  </a:cubicBezTo>
                  <a:cubicBezTo>
                    <a:pt x="114000" y="48721"/>
                    <a:pt x="115000" y="48721"/>
                    <a:pt x="116000" y="51428"/>
                  </a:cubicBezTo>
                  <a:cubicBezTo>
                    <a:pt x="117000" y="53233"/>
                    <a:pt x="116500" y="51428"/>
                    <a:pt x="116500" y="51428"/>
                  </a:cubicBezTo>
                  <a:cubicBezTo>
                    <a:pt x="116500" y="51428"/>
                    <a:pt x="118500" y="53233"/>
                    <a:pt x="118500" y="54135"/>
                  </a:cubicBezTo>
                  <a:cubicBezTo>
                    <a:pt x="118500" y="55939"/>
                    <a:pt x="119000" y="57744"/>
                    <a:pt x="119000" y="57744"/>
                  </a:cubicBezTo>
                  <a:cubicBezTo>
                    <a:pt x="120000" y="61353"/>
                    <a:pt x="120000" y="61353"/>
                    <a:pt x="120000" y="61353"/>
                  </a:cubicBezTo>
                  <a:cubicBezTo>
                    <a:pt x="119500" y="61353"/>
                    <a:pt x="118500" y="61353"/>
                    <a:pt x="118000" y="61353"/>
                  </a:cubicBezTo>
                  <a:cubicBezTo>
                    <a:pt x="118000" y="61353"/>
                    <a:pt x="117500" y="62255"/>
                    <a:pt x="117000" y="62255"/>
                  </a:cubicBezTo>
                  <a:cubicBezTo>
                    <a:pt x="116500" y="62255"/>
                    <a:pt x="116000" y="62255"/>
                    <a:pt x="116000" y="62255"/>
                  </a:cubicBezTo>
                  <a:cubicBezTo>
                    <a:pt x="114500" y="63157"/>
                    <a:pt x="114500" y="63157"/>
                    <a:pt x="114500" y="63157"/>
                  </a:cubicBezTo>
                  <a:cubicBezTo>
                    <a:pt x="113500" y="64962"/>
                    <a:pt x="113500" y="64962"/>
                    <a:pt x="113500" y="64962"/>
                  </a:cubicBezTo>
                  <a:cubicBezTo>
                    <a:pt x="112500" y="66766"/>
                    <a:pt x="112500" y="66766"/>
                    <a:pt x="112500" y="66766"/>
                  </a:cubicBezTo>
                  <a:cubicBezTo>
                    <a:pt x="111500" y="70375"/>
                    <a:pt x="111500" y="70375"/>
                    <a:pt x="111500" y="70375"/>
                  </a:cubicBezTo>
                  <a:cubicBezTo>
                    <a:pt x="111500" y="72180"/>
                    <a:pt x="111500" y="72180"/>
                    <a:pt x="111500" y="72180"/>
                  </a:cubicBezTo>
                  <a:cubicBezTo>
                    <a:pt x="110000" y="74887"/>
                    <a:pt x="110000" y="74887"/>
                    <a:pt x="110000" y="74887"/>
                  </a:cubicBezTo>
                  <a:cubicBezTo>
                    <a:pt x="110000" y="74887"/>
                    <a:pt x="108500" y="76691"/>
                    <a:pt x="108000" y="76691"/>
                  </a:cubicBezTo>
                  <a:cubicBezTo>
                    <a:pt x="107500" y="76691"/>
                    <a:pt x="107500" y="80300"/>
                    <a:pt x="107500" y="80300"/>
                  </a:cubicBezTo>
                  <a:cubicBezTo>
                    <a:pt x="108000" y="83007"/>
                    <a:pt x="108000" y="83007"/>
                    <a:pt x="108000" y="83007"/>
                  </a:cubicBezTo>
                  <a:cubicBezTo>
                    <a:pt x="107500" y="87518"/>
                    <a:pt x="107500" y="87518"/>
                    <a:pt x="107500" y="87518"/>
                  </a:cubicBezTo>
                  <a:cubicBezTo>
                    <a:pt x="105000" y="89323"/>
                    <a:pt x="105000" y="89323"/>
                    <a:pt x="105000" y="89323"/>
                  </a:cubicBezTo>
                  <a:cubicBezTo>
                    <a:pt x="104500" y="92030"/>
                    <a:pt x="104500" y="92030"/>
                    <a:pt x="104500" y="92030"/>
                  </a:cubicBezTo>
                  <a:cubicBezTo>
                    <a:pt x="104000" y="93834"/>
                    <a:pt x="104000" y="93834"/>
                    <a:pt x="104000" y="93834"/>
                  </a:cubicBezTo>
                  <a:cubicBezTo>
                    <a:pt x="104000" y="93834"/>
                    <a:pt x="103000" y="94736"/>
                    <a:pt x="103000" y="94736"/>
                  </a:cubicBezTo>
                  <a:cubicBezTo>
                    <a:pt x="102500" y="93834"/>
                    <a:pt x="102500" y="96541"/>
                    <a:pt x="102500" y="96541"/>
                  </a:cubicBezTo>
                  <a:cubicBezTo>
                    <a:pt x="101500" y="98345"/>
                    <a:pt x="101500" y="98345"/>
                    <a:pt x="101500" y="98345"/>
                  </a:cubicBezTo>
                  <a:cubicBezTo>
                    <a:pt x="101000" y="98345"/>
                    <a:pt x="101000" y="98345"/>
                    <a:pt x="101000" y="98345"/>
                  </a:cubicBezTo>
                  <a:cubicBezTo>
                    <a:pt x="100000" y="99248"/>
                    <a:pt x="100000" y="99248"/>
                    <a:pt x="100000" y="99248"/>
                  </a:cubicBezTo>
                  <a:cubicBezTo>
                    <a:pt x="100000" y="99248"/>
                    <a:pt x="99500" y="100150"/>
                    <a:pt x="99000" y="100150"/>
                  </a:cubicBezTo>
                  <a:cubicBezTo>
                    <a:pt x="99000" y="101052"/>
                    <a:pt x="98500" y="100150"/>
                    <a:pt x="98500" y="100150"/>
                  </a:cubicBezTo>
                  <a:cubicBezTo>
                    <a:pt x="98500" y="100150"/>
                    <a:pt x="97500" y="99248"/>
                    <a:pt x="97000" y="99248"/>
                  </a:cubicBezTo>
                  <a:cubicBezTo>
                    <a:pt x="97000" y="99248"/>
                    <a:pt x="97000" y="100150"/>
                    <a:pt x="96500" y="100150"/>
                  </a:cubicBezTo>
                  <a:cubicBezTo>
                    <a:pt x="96500" y="100150"/>
                    <a:pt x="96500" y="100150"/>
                    <a:pt x="96000" y="101052"/>
                  </a:cubicBezTo>
                  <a:cubicBezTo>
                    <a:pt x="96000" y="101052"/>
                    <a:pt x="95500" y="100150"/>
                    <a:pt x="95000" y="100150"/>
                  </a:cubicBezTo>
                  <a:cubicBezTo>
                    <a:pt x="94500" y="100150"/>
                    <a:pt x="94500" y="99248"/>
                    <a:pt x="94500" y="99248"/>
                  </a:cubicBezTo>
                  <a:cubicBezTo>
                    <a:pt x="94000" y="99248"/>
                    <a:pt x="93500" y="99248"/>
                    <a:pt x="93500" y="99248"/>
                  </a:cubicBezTo>
                  <a:cubicBezTo>
                    <a:pt x="93000" y="99248"/>
                    <a:pt x="92500" y="99248"/>
                    <a:pt x="92500" y="99248"/>
                  </a:cubicBezTo>
                  <a:cubicBezTo>
                    <a:pt x="92500" y="99248"/>
                    <a:pt x="92000" y="100150"/>
                    <a:pt x="92000" y="100150"/>
                  </a:cubicBezTo>
                  <a:cubicBezTo>
                    <a:pt x="91000" y="101052"/>
                    <a:pt x="91000" y="101052"/>
                    <a:pt x="91000" y="101052"/>
                  </a:cubicBezTo>
                  <a:cubicBezTo>
                    <a:pt x="91000" y="101052"/>
                    <a:pt x="91000" y="101954"/>
                    <a:pt x="91000" y="102857"/>
                  </a:cubicBezTo>
                  <a:cubicBezTo>
                    <a:pt x="91000" y="102857"/>
                    <a:pt x="91000" y="103759"/>
                    <a:pt x="90500" y="103759"/>
                  </a:cubicBezTo>
                  <a:cubicBezTo>
                    <a:pt x="90500" y="103759"/>
                    <a:pt x="90000" y="105563"/>
                    <a:pt x="90000" y="105563"/>
                  </a:cubicBezTo>
                  <a:cubicBezTo>
                    <a:pt x="90000" y="105563"/>
                    <a:pt x="90000" y="108270"/>
                    <a:pt x="89500" y="108270"/>
                  </a:cubicBezTo>
                  <a:cubicBezTo>
                    <a:pt x="89500" y="108270"/>
                    <a:pt x="89500" y="109172"/>
                    <a:pt x="89500" y="109172"/>
                  </a:cubicBezTo>
                  <a:cubicBezTo>
                    <a:pt x="89500" y="110977"/>
                    <a:pt x="89500" y="110977"/>
                    <a:pt x="89500" y="110977"/>
                  </a:cubicBezTo>
                  <a:cubicBezTo>
                    <a:pt x="89500" y="111879"/>
                    <a:pt x="89500" y="111879"/>
                    <a:pt x="89500" y="111879"/>
                  </a:cubicBezTo>
                  <a:cubicBezTo>
                    <a:pt x="88500" y="110977"/>
                    <a:pt x="88500" y="110977"/>
                    <a:pt x="88500" y="110977"/>
                  </a:cubicBezTo>
                  <a:cubicBezTo>
                    <a:pt x="87500" y="105563"/>
                    <a:pt x="87500" y="105563"/>
                    <a:pt x="87500" y="105563"/>
                  </a:cubicBezTo>
                  <a:cubicBezTo>
                    <a:pt x="87500" y="105563"/>
                    <a:pt x="86000" y="106466"/>
                    <a:pt x="84500" y="106466"/>
                  </a:cubicBezTo>
                  <a:cubicBezTo>
                    <a:pt x="83000" y="105563"/>
                    <a:pt x="82000" y="103759"/>
                    <a:pt x="81500" y="103759"/>
                  </a:cubicBezTo>
                  <a:cubicBezTo>
                    <a:pt x="81500" y="102857"/>
                    <a:pt x="79500" y="103759"/>
                    <a:pt x="79500" y="103759"/>
                  </a:cubicBezTo>
                  <a:cubicBezTo>
                    <a:pt x="79000" y="107368"/>
                    <a:pt x="79000" y="107368"/>
                    <a:pt x="79000" y="107368"/>
                  </a:cubicBezTo>
                  <a:cubicBezTo>
                    <a:pt x="73500" y="106466"/>
                    <a:pt x="73500" y="106466"/>
                    <a:pt x="73500" y="106466"/>
                  </a:cubicBezTo>
                  <a:cubicBezTo>
                    <a:pt x="71500" y="104661"/>
                    <a:pt x="71500" y="104661"/>
                    <a:pt x="71500" y="104661"/>
                  </a:cubicBezTo>
                  <a:cubicBezTo>
                    <a:pt x="68000" y="101954"/>
                    <a:pt x="68000" y="101954"/>
                    <a:pt x="68000" y="101954"/>
                  </a:cubicBezTo>
                  <a:cubicBezTo>
                    <a:pt x="67000" y="101052"/>
                    <a:pt x="67000" y="101052"/>
                    <a:pt x="67000" y="101052"/>
                  </a:cubicBezTo>
                  <a:cubicBezTo>
                    <a:pt x="67000" y="101052"/>
                    <a:pt x="65000" y="101052"/>
                    <a:pt x="64500" y="101052"/>
                  </a:cubicBezTo>
                  <a:cubicBezTo>
                    <a:pt x="64000" y="101052"/>
                    <a:pt x="62000" y="100150"/>
                    <a:pt x="62000" y="100150"/>
                  </a:cubicBezTo>
                  <a:cubicBezTo>
                    <a:pt x="62000" y="100150"/>
                    <a:pt x="60000" y="99248"/>
                    <a:pt x="59500" y="99248"/>
                  </a:cubicBezTo>
                  <a:cubicBezTo>
                    <a:pt x="59000" y="99248"/>
                    <a:pt x="58000" y="99248"/>
                    <a:pt x="58000" y="99248"/>
                  </a:cubicBezTo>
                  <a:cubicBezTo>
                    <a:pt x="55500" y="98345"/>
                    <a:pt x="55500" y="98345"/>
                    <a:pt x="55500" y="98345"/>
                  </a:cubicBezTo>
                  <a:cubicBezTo>
                    <a:pt x="55500" y="98345"/>
                    <a:pt x="54000" y="96541"/>
                    <a:pt x="53000" y="97443"/>
                  </a:cubicBezTo>
                  <a:cubicBezTo>
                    <a:pt x="52500" y="97443"/>
                    <a:pt x="53000" y="100150"/>
                    <a:pt x="53000" y="100150"/>
                  </a:cubicBezTo>
                  <a:cubicBezTo>
                    <a:pt x="53000" y="100150"/>
                    <a:pt x="52500" y="104661"/>
                    <a:pt x="53000" y="105563"/>
                  </a:cubicBezTo>
                  <a:cubicBezTo>
                    <a:pt x="53000" y="107368"/>
                    <a:pt x="52000" y="109172"/>
                    <a:pt x="52000" y="109172"/>
                  </a:cubicBezTo>
                  <a:cubicBezTo>
                    <a:pt x="50500" y="110075"/>
                    <a:pt x="50500" y="110075"/>
                    <a:pt x="50500" y="110075"/>
                  </a:cubicBezTo>
                  <a:cubicBezTo>
                    <a:pt x="50500" y="110075"/>
                    <a:pt x="49500" y="112781"/>
                    <a:pt x="49000" y="112781"/>
                  </a:cubicBezTo>
                  <a:cubicBezTo>
                    <a:pt x="48500" y="112781"/>
                    <a:pt x="48500" y="118195"/>
                    <a:pt x="48500" y="118195"/>
                  </a:cubicBezTo>
                  <a:cubicBezTo>
                    <a:pt x="46500" y="119097"/>
                    <a:pt x="46500" y="119097"/>
                    <a:pt x="46500" y="119097"/>
                  </a:cubicBezTo>
                  <a:cubicBezTo>
                    <a:pt x="44500" y="116390"/>
                    <a:pt x="44500" y="116390"/>
                    <a:pt x="44500" y="116390"/>
                  </a:cubicBezTo>
                  <a:cubicBezTo>
                    <a:pt x="43000" y="118195"/>
                    <a:pt x="43000" y="118195"/>
                    <a:pt x="43000" y="118195"/>
                  </a:cubicBezTo>
                  <a:cubicBezTo>
                    <a:pt x="42500" y="120000"/>
                    <a:pt x="42500" y="120000"/>
                    <a:pt x="42500" y="120000"/>
                  </a:cubicBezTo>
                  <a:cubicBezTo>
                    <a:pt x="42500" y="120000"/>
                    <a:pt x="40000" y="119097"/>
                    <a:pt x="40000" y="119097"/>
                  </a:cubicBezTo>
                  <a:cubicBezTo>
                    <a:pt x="39500" y="119097"/>
                    <a:pt x="37000" y="118195"/>
                    <a:pt x="37000" y="118195"/>
                  </a:cubicBezTo>
                  <a:cubicBezTo>
                    <a:pt x="37000" y="118195"/>
                    <a:pt x="35500" y="115488"/>
                    <a:pt x="35000" y="114586"/>
                  </a:cubicBezTo>
                  <a:cubicBezTo>
                    <a:pt x="34500" y="113684"/>
                    <a:pt x="32500" y="111879"/>
                    <a:pt x="32000" y="110977"/>
                  </a:cubicBezTo>
                  <a:cubicBezTo>
                    <a:pt x="31500" y="110977"/>
                    <a:pt x="31500" y="110075"/>
                    <a:pt x="31500" y="110075"/>
                  </a:cubicBezTo>
                  <a:cubicBezTo>
                    <a:pt x="30500" y="108270"/>
                    <a:pt x="31000" y="108270"/>
                    <a:pt x="30000" y="107368"/>
                  </a:cubicBezTo>
                  <a:cubicBezTo>
                    <a:pt x="29000" y="106466"/>
                    <a:pt x="28000" y="106466"/>
                    <a:pt x="28000" y="105563"/>
                  </a:cubicBezTo>
                  <a:cubicBezTo>
                    <a:pt x="28000" y="104661"/>
                    <a:pt x="28500" y="102857"/>
                    <a:pt x="27500" y="102857"/>
                  </a:cubicBezTo>
                  <a:cubicBezTo>
                    <a:pt x="26000" y="103759"/>
                    <a:pt x="25500" y="104661"/>
                    <a:pt x="25000" y="103759"/>
                  </a:cubicBezTo>
                  <a:cubicBezTo>
                    <a:pt x="24000" y="101954"/>
                    <a:pt x="24000" y="101954"/>
                    <a:pt x="23500" y="100150"/>
                  </a:cubicBezTo>
                  <a:cubicBezTo>
                    <a:pt x="23500" y="98345"/>
                    <a:pt x="23500" y="96541"/>
                    <a:pt x="22500" y="96541"/>
                  </a:cubicBezTo>
                  <a:cubicBezTo>
                    <a:pt x="21500" y="96541"/>
                    <a:pt x="21000" y="95639"/>
                    <a:pt x="21000" y="95639"/>
                  </a:cubicBezTo>
                  <a:cubicBezTo>
                    <a:pt x="21000" y="95639"/>
                    <a:pt x="20500" y="96541"/>
                    <a:pt x="20000" y="94736"/>
                  </a:cubicBezTo>
                  <a:cubicBezTo>
                    <a:pt x="19500" y="92030"/>
                    <a:pt x="21000" y="93834"/>
                    <a:pt x="19500" y="90225"/>
                  </a:cubicBezTo>
                  <a:cubicBezTo>
                    <a:pt x="17500" y="87518"/>
                    <a:pt x="18000" y="88421"/>
                    <a:pt x="17000" y="86616"/>
                  </a:cubicBezTo>
                  <a:cubicBezTo>
                    <a:pt x="16000" y="84812"/>
                    <a:pt x="13000" y="86616"/>
                    <a:pt x="13000" y="86616"/>
                  </a:cubicBezTo>
                  <a:cubicBezTo>
                    <a:pt x="13000" y="86616"/>
                    <a:pt x="13000" y="85714"/>
                    <a:pt x="12000" y="83909"/>
                  </a:cubicBezTo>
                  <a:cubicBezTo>
                    <a:pt x="11000" y="82105"/>
                    <a:pt x="11500" y="83007"/>
                    <a:pt x="10500" y="81203"/>
                  </a:cubicBezTo>
                  <a:cubicBezTo>
                    <a:pt x="9500" y="78496"/>
                    <a:pt x="9500" y="79398"/>
                    <a:pt x="9500" y="76691"/>
                  </a:cubicBezTo>
                  <a:cubicBezTo>
                    <a:pt x="9000" y="73984"/>
                    <a:pt x="9500" y="73082"/>
                    <a:pt x="8500" y="71278"/>
                  </a:cubicBezTo>
                  <a:cubicBezTo>
                    <a:pt x="7500" y="69473"/>
                    <a:pt x="7000" y="67669"/>
                    <a:pt x="7000" y="67669"/>
                  </a:cubicBezTo>
                  <a:cubicBezTo>
                    <a:pt x="7000" y="67669"/>
                    <a:pt x="6000" y="65864"/>
                    <a:pt x="7000" y="63157"/>
                  </a:cubicBezTo>
                  <a:cubicBezTo>
                    <a:pt x="8000" y="61353"/>
                    <a:pt x="8000" y="61353"/>
                    <a:pt x="8000" y="59548"/>
                  </a:cubicBezTo>
                  <a:cubicBezTo>
                    <a:pt x="8000" y="58646"/>
                    <a:pt x="8500" y="56842"/>
                    <a:pt x="7000" y="55037"/>
                  </a:cubicBezTo>
                  <a:cubicBezTo>
                    <a:pt x="5500" y="53233"/>
                    <a:pt x="5500" y="53233"/>
                    <a:pt x="4000" y="51428"/>
                  </a:cubicBezTo>
                  <a:cubicBezTo>
                    <a:pt x="3000" y="50526"/>
                    <a:pt x="2500" y="50526"/>
                    <a:pt x="2000" y="49624"/>
                  </a:cubicBezTo>
                  <a:cubicBezTo>
                    <a:pt x="1500" y="48721"/>
                    <a:pt x="500" y="42406"/>
                    <a:pt x="500" y="42406"/>
                  </a:cubicBezTo>
                  <a:cubicBezTo>
                    <a:pt x="0" y="39699"/>
                    <a:pt x="0" y="39699"/>
                    <a:pt x="0" y="39699"/>
                  </a:cubicBezTo>
                  <a:cubicBezTo>
                    <a:pt x="2500" y="39699"/>
                    <a:pt x="2500" y="39699"/>
                    <a:pt x="2500" y="39699"/>
                  </a:cubicBezTo>
                  <a:cubicBezTo>
                    <a:pt x="3000" y="43308"/>
                    <a:pt x="3000" y="43308"/>
                    <a:pt x="3000" y="43308"/>
                  </a:cubicBezTo>
                  <a:cubicBezTo>
                    <a:pt x="3500" y="46015"/>
                    <a:pt x="3500" y="46015"/>
                    <a:pt x="3500" y="46015"/>
                  </a:cubicBezTo>
                  <a:cubicBezTo>
                    <a:pt x="5000" y="40601"/>
                    <a:pt x="5000" y="40601"/>
                    <a:pt x="5000" y="40601"/>
                  </a:cubicBezTo>
                  <a:cubicBezTo>
                    <a:pt x="7000" y="36090"/>
                    <a:pt x="7000" y="36090"/>
                    <a:pt x="7000" y="36090"/>
                  </a:cubicBezTo>
                  <a:cubicBezTo>
                    <a:pt x="7000" y="36090"/>
                    <a:pt x="7000" y="36090"/>
                    <a:pt x="8500" y="36090"/>
                  </a:cubicBezTo>
                  <a:cubicBezTo>
                    <a:pt x="9500" y="36090"/>
                    <a:pt x="11000" y="34285"/>
                    <a:pt x="11500" y="34285"/>
                  </a:cubicBezTo>
                  <a:cubicBezTo>
                    <a:pt x="12500" y="34285"/>
                    <a:pt x="14000" y="35187"/>
                    <a:pt x="14500" y="35187"/>
                  </a:cubicBezTo>
                  <a:cubicBezTo>
                    <a:pt x="15500" y="34285"/>
                    <a:pt x="16000" y="34285"/>
                    <a:pt x="16000" y="32481"/>
                  </a:cubicBezTo>
                  <a:cubicBezTo>
                    <a:pt x="16500" y="31578"/>
                    <a:pt x="15500" y="29774"/>
                    <a:pt x="17500" y="28872"/>
                  </a:cubicBezTo>
                  <a:cubicBezTo>
                    <a:pt x="19000" y="27067"/>
                    <a:pt x="19500" y="27067"/>
                    <a:pt x="19500" y="27067"/>
                  </a:cubicBezTo>
                  <a:lnTo>
                    <a:pt x="21500" y="24360"/>
                  </a:lnTo>
                  <a:close/>
                </a:path>
              </a:pathLst>
            </a:custGeom>
            <a:solidFill>
              <a:srgbClr val="00B050"/>
            </a:solidFill>
            <a:ln w="3175" cap="flat" cmpd="sng">
              <a:solidFill>
                <a:schemeClr val="tx1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defTabSz="457200"/>
              <a:endParaRPr kern="0">
                <a:solidFill>
                  <a:srgbClr val="7F7F7F"/>
                </a:solidFill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41" name="Shape 2036">
              <a:extLst>
                <a:ext uri="{FF2B5EF4-FFF2-40B4-BE49-F238E27FC236}">
                  <a16:creationId xmlns:a16="http://schemas.microsoft.com/office/drawing/2014/main" id="{BC2A78E5-EAAA-0AB7-9D13-CCAF5757EBDD}"/>
                </a:ext>
              </a:extLst>
            </p:cNvPr>
            <p:cNvSpPr/>
            <p:nvPr/>
          </p:nvSpPr>
          <p:spPr>
            <a:xfrm>
              <a:off x="4841150" y="2245933"/>
              <a:ext cx="380820" cy="284706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933" y="22285"/>
                  </a:moveTo>
                  <a:cubicBezTo>
                    <a:pt x="15911" y="18857"/>
                    <a:pt x="15911" y="18857"/>
                    <a:pt x="15911" y="18857"/>
                  </a:cubicBezTo>
                  <a:cubicBezTo>
                    <a:pt x="17900" y="16285"/>
                    <a:pt x="17900" y="16285"/>
                    <a:pt x="17900" y="16285"/>
                  </a:cubicBezTo>
                  <a:cubicBezTo>
                    <a:pt x="22541" y="17142"/>
                    <a:pt x="22541" y="17142"/>
                    <a:pt x="22541" y="17142"/>
                  </a:cubicBezTo>
                  <a:cubicBezTo>
                    <a:pt x="22541" y="17142"/>
                    <a:pt x="25856" y="15428"/>
                    <a:pt x="26519" y="15428"/>
                  </a:cubicBezTo>
                  <a:cubicBezTo>
                    <a:pt x="27182" y="15428"/>
                    <a:pt x="31823" y="14571"/>
                    <a:pt x="31823" y="14571"/>
                  </a:cubicBezTo>
                  <a:cubicBezTo>
                    <a:pt x="34475" y="12000"/>
                    <a:pt x="34475" y="12000"/>
                    <a:pt x="34475" y="12000"/>
                  </a:cubicBezTo>
                  <a:cubicBezTo>
                    <a:pt x="34475" y="12000"/>
                    <a:pt x="36464" y="12857"/>
                    <a:pt x="36464" y="13714"/>
                  </a:cubicBezTo>
                  <a:cubicBezTo>
                    <a:pt x="37127" y="14571"/>
                    <a:pt x="39116" y="17142"/>
                    <a:pt x="39779" y="17142"/>
                  </a:cubicBezTo>
                  <a:cubicBezTo>
                    <a:pt x="40441" y="16285"/>
                    <a:pt x="41104" y="12857"/>
                    <a:pt x="41104" y="12857"/>
                  </a:cubicBezTo>
                  <a:cubicBezTo>
                    <a:pt x="45082" y="12000"/>
                    <a:pt x="45082" y="12000"/>
                    <a:pt x="45082" y="12000"/>
                  </a:cubicBezTo>
                  <a:cubicBezTo>
                    <a:pt x="48397" y="11142"/>
                    <a:pt x="48397" y="11142"/>
                    <a:pt x="48397" y="11142"/>
                  </a:cubicBezTo>
                  <a:cubicBezTo>
                    <a:pt x="48397" y="11142"/>
                    <a:pt x="48397" y="10285"/>
                    <a:pt x="49060" y="10285"/>
                  </a:cubicBezTo>
                  <a:cubicBezTo>
                    <a:pt x="49723" y="11142"/>
                    <a:pt x="53701" y="11142"/>
                    <a:pt x="53701" y="11142"/>
                  </a:cubicBezTo>
                  <a:cubicBezTo>
                    <a:pt x="57679" y="11142"/>
                    <a:pt x="57679" y="11142"/>
                    <a:pt x="57679" y="11142"/>
                  </a:cubicBezTo>
                  <a:cubicBezTo>
                    <a:pt x="57679" y="11142"/>
                    <a:pt x="60331" y="12857"/>
                    <a:pt x="60994" y="12857"/>
                  </a:cubicBezTo>
                  <a:cubicBezTo>
                    <a:pt x="60994" y="12000"/>
                    <a:pt x="62983" y="8571"/>
                    <a:pt x="62983" y="8571"/>
                  </a:cubicBezTo>
                  <a:cubicBezTo>
                    <a:pt x="66961" y="10285"/>
                    <a:pt x="66961" y="10285"/>
                    <a:pt x="66961" y="10285"/>
                  </a:cubicBezTo>
                  <a:cubicBezTo>
                    <a:pt x="67624" y="6857"/>
                    <a:pt x="67624" y="6857"/>
                    <a:pt x="67624" y="6857"/>
                  </a:cubicBezTo>
                  <a:cubicBezTo>
                    <a:pt x="67624" y="6857"/>
                    <a:pt x="69613" y="2571"/>
                    <a:pt x="69613" y="2571"/>
                  </a:cubicBezTo>
                  <a:cubicBezTo>
                    <a:pt x="70276" y="2571"/>
                    <a:pt x="72928" y="0"/>
                    <a:pt x="72928" y="0"/>
                  </a:cubicBezTo>
                  <a:cubicBezTo>
                    <a:pt x="74254" y="5142"/>
                    <a:pt x="74254" y="5142"/>
                    <a:pt x="74254" y="5142"/>
                  </a:cubicBezTo>
                  <a:cubicBezTo>
                    <a:pt x="76906" y="7714"/>
                    <a:pt x="76906" y="7714"/>
                    <a:pt x="76906" y="7714"/>
                  </a:cubicBezTo>
                  <a:cubicBezTo>
                    <a:pt x="77569" y="8571"/>
                    <a:pt x="77569" y="8571"/>
                    <a:pt x="77569" y="8571"/>
                  </a:cubicBezTo>
                  <a:cubicBezTo>
                    <a:pt x="80220" y="11142"/>
                    <a:pt x="80220" y="11142"/>
                    <a:pt x="80220" y="11142"/>
                  </a:cubicBezTo>
                  <a:cubicBezTo>
                    <a:pt x="84861" y="9428"/>
                    <a:pt x="84861" y="9428"/>
                    <a:pt x="84861" y="9428"/>
                  </a:cubicBezTo>
                  <a:cubicBezTo>
                    <a:pt x="87513" y="8571"/>
                    <a:pt x="87513" y="8571"/>
                    <a:pt x="87513" y="8571"/>
                  </a:cubicBezTo>
                  <a:cubicBezTo>
                    <a:pt x="89502" y="8571"/>
                    <a:pt x="89502" y="8571"/>
                    <a:pt x="89502" y="8571"/>
                  </a:cubicBezTo>
                  <a:cubicBezTo>
                    <a:pt x="90165" y="10285"/>
                    <a:pt x="90165" y="10285"/>
                    <a:pt x="90165" y="10285"/>
                  </a:cubicBezTo>
                  <a:cubicBezTo>
                    <a:pt x="92154" y="12000"/>
                    <a:pt x="92154" y="12000"/>
                    <a:pt x="92154" y="12000"/>
                  </a:cubicBezTo>
                  <a:cubicBezTo>
                    <a:pt x="95469" y="12000"/>
                    <a:pt x="95469" y="12000"/>
                    <a:pt x="95469" y="12000"/>
                  </a:cubicBezTo>
                  <a:cubicBezTo>
                    <a:pt x="96795" y="14571"/>
                    <a:pt x="96795" y="14571"/>
                    <a:pt x="96795" y="14571"/>
                  </a:cubicBezTo>
                  <a:cubicBezTo>
                    <a:pt x="99447" y="15428"/>
                    <a:pt x="99447" y="15428"/>
                    <a:pt x="99447" y="15428"/>
                  </a:cubicBezTo>
                  <a:cubicBezTo>
                    <a:pt x="101436" y="18857"/>
                    <a:pt x="101436" y="18857"/>
                    <a:pt x="101436" y="18857"/>
                  </a:cubicBezTo>
                  <a:cubicBezTo>
                    <a:pt x="103425" y="19714"/>
                    <a:pt x="103425" y="19714"/>
                    <a:pt x="103425" y="19714"/>
                  </a:cubicBezTo>
                  <a:cubicBezTo>
                    <a:pt x="104751" y="23142"/>
                    <a:pt x="104751" y="23142"/>
                    <a:pt x="104751" y="23142"/>
                  </a:cubicBezTo>
                  <a:cubicBezTo>
                    <a:pt x="107403" y="23142"/>
                    <a:pt x="107403" y="23142"/>
                    <a:pt x="107403" y="23142"/>
                  </a:cubicBezTo>
                  <a:cubicBezTo>
                    <a:pt x="110718" y="24000"/>
                    <a:pt x="110718" y="24000"/>
                    <a:pt x="110718" y="24000"/>
                  </a:cubicBezTo>
                  <a:cubicBezTo>
                    <a:pt x="112707" y="24000"/>
                    <a:pt x="112707" y="24000"/>
                    <a:pt x="112707" y="24000"/>
                  </a:cubicBezTo>
                  <a:cubicBezTo>
                    <a:pt x="112707" y="24000"/>
                    <a:pt x="112707" y="24000"/>
                    <a:pt x="112707" y="24000"/>
                  </a:cubicBezTo>
                  <a:cubicBezTo>
                    <a:pt x="113370" y="24000"/>
                    <a:pt x="113370" y="24000"/>
                    <a:pt x="113370" y="24000"/>
                  </a:cubicBezTo>
                  <a:cubicBezTo>
                    <a:pt x="114033" y="31714"/>
                    <a:pt x="114033" y="31714"/>
                    <a:pt x="114033" y="31714"/>
                  </a:cubicBezTo>
                  <a:cubicBezTo>
                    <a:pt x="112707" y="36000"/>
                    <a:pt x="112707" y="36000"/>
                    <a:pt x="112707" y="36000"/>
                  </a:cubicBezTo>
                  <a:cubicBezTo>
                    <a:pt x="112707" y="40285"/>
                    <a:pt x="112707" y="40285"/>
                    <a:pt x="112707" y="40285"/>
                  </a:cubicBezTo>
                  <a:cubicBezTo>
                    <a:pt x="114696" y="41142"/>
                    <a:pt x="114696" y="41142"/>
                    <a:pt x="114696" y="41142"/>
                  </a:cubicBezTo>
                  <a:cubicBezTo>
                    <a:pt x="119337" y="40285"/>
                    <a:pt x="119337" y="40285"/>
                    <a:pt x="119337" y="40285"/>
                  </a:cubicBezTo>
                  <a:cubicBezTo>
                    <a:pt x="120000" y="43714"/>
                    <a:pt x="120000" y="43714"/>
                    <a:pt x="120000" y="43714"/>
                  </a:cubicBezTo>
                  <a:cubicBezTo>
                    <a:pt x="117348" y="45428"/>
                    <a:pt x="117348" y="45428"/>
                    <a:pt x="117348" y="45428"/>
                  </a:cubicBezTo>
                  <a:cubicBezTo>
                    <a:pt x="118011" y="49714"/>
                    <a:pt x="118011" y="49714"/>
                    <a:pt x="118011" y="49714"/>
                  </a:cubicBezTo>
                  <a:cubicBezTo>
                    <a:pt x="112707" y="48857"/>
                    <a:pt x="112707" y="48857"/>
                    <a:pt x="112707" y="48857"/>
                  </a:cubicBezTo>
                  <a:cubicBezTo>
                    <a:pt x="110718" y="51428"/>
                    <a:pt x="110718" y="51428"/>
                    <a:pt x="110718" y="51428"/>
                  </a:cubicBezTo>
                  <a:cubicBezTo>
                    <a:pt x="110718" y="57428"/>
                    <a:pt x="110718" y="57428"/>
                    <a:pt x="110718" y="57428"/>
                  </a:cubicBezTo>
                  <a:cubicBezTo>
                    <a:pt x="105414" y="60000"/>
                    <a:pt x="105414" y="60000"/>
                    <a:pt x="105414" y="60000"/>
                  </a:cubicBezTo>
                  <a:cubicBezTo>
                    <a:pt x="104088" y="63428"/>
                    <a:pt x="104088" y="63428"/>
                    <a:pt x="104088" y="63428"/>
                  </a:cubicBezTo>
                  <a:cubicBezTo>
                    <a:pt x="104088" y="66857"/>
                    <a:pt x="104088" y="66857"/>
                    <a:pt x="104088" y="66857"/>
                  </a:cubicBezTo>
                  <a:cubicBezTo>
                    <a:pt x="103425" y="70285"/>
                    <a:pt x="103425" y="70285"/>
                    <a:pt x="103425" y="70285"/>
                  </a:cubicBezTo>
                  <a:cubicBezTo>
                    <a:pt x="104088" y="76285"/>
                    <a:pt x="104088" y="76285"/>
                    <a:pt x="104088" y="76285"/>
                  </a:cubicBezTo>
                  <a:cubicBezTo>
                    <a:pt x="104751" y="81428"/>
                    <a:pt x="104751" y="81428"/>
                    <a:pt x="104751" y="81428"/>
                  </a:cubicBezTo>
                  <a:cubicBezTo>
                    <a:pt x="104751" y="81428"/>
                    <a:pt x="103425" y="85714"/>
                    <a:pt x="102762" y="88285"/>
                  </a:cubicBezTo>
                  <a:cubicBezTo>
                    <a:pt x="102762" y="90000"/>
                    <a:pt x="104088" y="89142"/>
                    <a:pt x="104088" y="89142"/>
                  </a:cubicBezTo>
                  <a:cubicBezTo>
                    <a:pt x="107403" y="90857"/>
                    <a:pt x="107403" y="90857"/>
                    <a:pt x="107403" y="90857"/>
                  </a:cubicBezTo>
                  <a:cubicBezTo>
                    <a:pt x="108729" y="91714"/>
                    <a:pt x="108729" y="91714"/>
                    <a:pt x="108729" y="91714"/>
                  </a:cubicBezTo>
                  <a:cubicBezTo>
                    <a:pt x="107403" y="96857"/>
                    <a:pt x="107403" y="96857"/>
                    <a:pt x="107403" y="96857"/>
                  </a:cubicBezTo>
                  <a:cubicBezTo>
                    <a:pt x="104088" y="97714"/>
                    <a:pt x="104088" y="97714"/>
                    <a:pt x="104088" y="97714"/>
                  </a:cubicBezTo>
                  <a:cubicBezTo>
                    <a:pt x="104751" y="94285"/>
                    <a:pt x="104751" y="94285"/>
                    <a:pt x="104751" y="94285"/>
                  </a:cubicBezTo>
                  <a:cubicBezTo>
                    <a:pt x="103425" y="92571"/>
                    <a:pt x="103425" y="92571"/>
                    <a:pt x="103425" y="92571"/>
                  </a:cubicBezTo>
                  <a:cubicBezTo>
                    <a:pt x="101436" y="95142"/>
                    <a:pt x="101436" y="95142"/>
                    <a:pt x="101436" y="95142"/>
                  </a:cubicBezTo>
                  <a:cubicBezTo>
                    <a:pt x="96795" y="96857"/>
                    <a:pt x="96795" y="96857"/>
                    <a:pt x="96795" y="96857"/>
                  </a:cubicBezTo>
                  <a:cubicBezTo>
                    <a:pt x="96795" y="98571"/>
                    <a:pt x="96795" y="98571"/>
                    <a:pt x="96795" y="98571"/>
                  </a:cubicBezTo>
                  <a:cubicBezTo>
                    <a:pt x="95469" y="102000"/>
                    <a:pt x="95469" y="102000"/>
                    <a:pt x="95469" y="102000"/>
                  </a:cubicBezTo>
                  <a:cubicBezTo>
                    <a:pt x="95469" y="102000"/>
                    <a:pt x="92817" y="102000"/>
                    <a:pt x="91491" y="102000"/>
                  </a:cubicBezTo>
                  <a:cubicBezTo>
                    <a:pt x="90828" y="101142"/>
                    <a:pt x="90165" y="103714"/>
                    <a:pt x="90165" y="103714"/>
                  </a:cubicBezTo>
                  <a:cubicBezTo>
                    <a:pt x="91491" y="109714"/>
                    <a:pt x="91491" y="109714"/>
                    <a:pt x="91491" y="109714"/>
                  </a:cubicBezTo>
                  <a:cubicBezTo>
                    <a:pt x="88176" y="109714"/>
                    <a:pt x="88176" y="109714"/>
                    <a:pt x="88176" y="109714"/>
                  </a:cubicBezTo>
                  <a:cubicBezTo>
                    <a:pt x="85524" y="114000"/>
                    <a:pt x="85524" y="114000"/>
                    <a:pt x="85524" y="114000"/>
                  </a:cubicBezTo>
                  <a:cubicBezTo>
                    <a:pt x="80883" y="114857"/>
                    <a:pt x="80883" y="114857"/>
                    <a:pt x="80883" y="114857"/>
                  </a:cubicBezTo>
                  <a:cubicBezTo>
                    <a:pt x="76906" y="114000"/>
                    <a:pt x="76906" y="114000"/>
                    <a:pt x="76906" y="114000"/>
                  </a:cubicBezTo>
                  <a:cubicBezTo>
                    <a:pt x="70276" y="117428"/>
                    <a:pt x="70276" y="117428"/>
                    <a:pt x="70276" y="117428"/>
                  </a:cubicBezTo>
                  <a:cubicBezTo>
                    <a:pt x="64309" y="119142"/>
                    <a:pt x="64309" y="119142"/>
                    <a:pt x="64309" y="119142"/>
                  </a:cubicBezTo>
                  <a:cubicBezTo>
                    <a:pt x="64309" y="120000"/>
                    <a:pt x="64309" y="120000"/>
                    <a:pt x="64309" y="120000"/>
                  </a:cubicBezTo>
                  <a:cubicBezTo>
                    <a:pt x="63646" y="114857"/>
                    <a:pt x="63646" y="114857"/>
                    <a:pt x="63646" y="114857"/>
                  </a:cubicBezTo>
                  <a:cubicBezTo>
                    <a:pt x="61657" y="112285"/>
                    <a:pt x="61657" y="112285"/>
                    <a:pt x="61657" y="112285"/>
                  </a:cubicBezTo>
                  <a:cubicBezTo>
                    <a:pt x="61657" y="112285"/>
                    <a:pt x="59668" y="107142"/>
                    <a:pt x="59668" y="106285"/>
                  </a:cubicBezTo>
                  <a:cubicBezTo>
                    <a:pt x="59668" y="106285"/>
                    <a:pt x="52375" y="106285"/>
                    <a:pt x="52375" y="106285"/>
                  </a:cubicBezTo>
                  <a:cubicBezTo>
                    <a:pt x="52375" y="106285"/>
                    <a:pt x="51049" y="103714"/>
                    <a:pt x="50386" y="102000"/>
                  </a:cubicBezTo>
                  <a:cubicBezTo>
                    <a:pt x="50386" y="101142"/>
                    <a:pt x="48397" y="103714"/>
                    <a:pt x="48397" y="103714"/>
                  </a:cubicBezTo>
                  <a:cubicBezTo>
                    <a:pt x="45745" y="104571"/>
                    <a:pt x="45745" y="104571"/>
                    <a:pt x="45745" y="104571"/>
                  </a:cubicBezTo>
                  <a:cubicBezTo>
                    <a:pt x="45745" y="103714"/>
                    <a:pt x="45745" y="103714"/>
                    <a:pt x="45745" y="103714"/>
                  </a:cubicBezTo>
                  <a:cubicBezTo>
                    <a:pt x="43756" y="100285"/>
                    <a:pt x="43756" y="100285"/>
                    <a:pt x="43756" y="100285"/>
                  </a:cubicBezTo>
                  <a:cubicBezTo>
                    <a:pt x="43756" y="91714"/>
                    <a:pt x="43756" y="91714"/>
                    <a:pt x="43756" y="91714"/>
                  </a:cubicBezTo>
                  <a:cubicBezTo>
                    <a:pt x="43756" y="89142"/>
                    <a:pt x="43756" y="89142"/>
                    <a:pt x="43756" y="89142"/>
                  </a:cubicBezTo>
                  <a:cubicBezTo>
                    <a:pt x="45082" y="83142"/>
                    <a:pt x="45082" y="83142"/>
                    <a:pt x="45082" y="83142"/>
                  </a:cubicBezTo>
                  <a:cubicBezTo>
                    <a:pt x="45082" y="83142"/>
                    <a:pt x="43756" y="82285"/>
                    <a:pt x="43093" y="80571"/>
                  </a:cubicBezTo>
                  <a:cubicBezTo>
                    <a:pt x="41767" y="78857"/>
                    <a:pt x="40441" y="77142"/>
                    <a:pt x="40441" y="77142"/>
                  </a:cubicBezTo>
                  <a:cubicBezTo>
                    <a:pt x="39116" y="77142"/>
                    <a:pt x="39116" y="77142"/>
                    <a:pt x="39116" y="77142"/>
                  </a:cubicBezTo>
                  <a:cubicBezTo>
                    <a:pt x="37127" y="73714"/>
                    <a:pt x="37127" y="73714"/>
                    <a:pt x="37127" y="73714"/>
                  </a:cubicBezTo>
                  <a:cubicBezTo>
                    <a:pt x="32486" y="75428"/>
                    <a:pt x="32486" y="75428"/>
                    <a:pt x="32486" y="75428"/>
                  </a:cubicBezTo>
                  <a:cubicBezTo>
                    <a:pt x="29834" y="76285"/>
                    <a:pt x="29834" y="76285"/>
                    <a:pt x="29834" y="76285"/>
                  </a:cubicBezTo>
                  <a:cubicBezTo>
                    <a:pt x="28508" y="78000"/>
                    <a:pt x="28508" y="78000"/>
                    <a:pt x="28508" y="78000"/>
                  </a:cubicBezTo>
                  <a:cubicBezTo>
                    <a:pt x="20552" y="77142"/>
                    <a:pt x="20552" y="77142"/>
                    <a:pt x="20552" y="77142"/>
                  </a:cubicBezTo>
                  <a:cubicBezTo>
                    <a:pt x="16574" y="74571"/>
                    <a:pt x="16574" y="74571"/>
                    <a:pt x="16574" y="74571"/>
                  </a:cubicBezTo>
                  <a:cubicBezTo>
                    <a:pt x="14585" y="73714"/>
                    <a:pt x="14585" y="73714"/>
                    <a:pt x="14585" y="73714"/>
                  </a:cubicBezTo>
                  <a:cubicBezTo>
                    <a:pt x="11933" y="71142"/>
                    <a:pt x="11933" y="71142"/>
                    <a:pt x="11933" y="71142"/>
                  </a:cubicBezTo>
                  <a:cubicBezTo>
                    <a:pt x="8618" y="67714"/>
                    <a:pt x="8618" y="67714"/>
                    <a:pt x="8618" y="67714"/>
                  </a:cubicBezTo>
                  <a:cubicBezTo>
                    <a:pt x="7955" y="62571"/>
                    <a:pt x="7955" y="62571"/>
                    <a:pt x="7955" y="62571"/>
                  </a:cubicBezTo>
                  <a:cubicBezTo>
                    <a:pt x="7292" y="59142"/>
                    <a:pt x="7292" y="59142"/>
                    <a:pt x="7292" y="59142"/>
                  </a:cubicBezTo>
                  <a:cubicBezTo>
                    <a:pt x="3977" y="54857"/>
                    <a:pt x="3977" y="54857"/>
                    <a:pt x="3977" y="54857"/>
                  </a:cubicBezTo>
                  <a:cubicBezTo>
                    <a:pt x="2651" y="51428"/>
                    <a:pt x="2651" y="51428"/>
                    <a:pt x="2651" y="51428"/>
                  </a:cubicBezTo>
                  <a:cubicBezTo>
                    <a:pt x="2651" y="46285"/>
                    <a:pt x="2651" y="46285"/>
                    <a:pt x="2651" y="46285"/>
                  </a:cubicBezTo>
                  <a:cubicBezTo>
                    <a:pt x="662" y="42000"/>
                    <a:pt x="662" y="42000"/>
                    <a:pt x="662" y="42000"/>
                  </a:cubicBezTo>
                  <a:cubicBezTo>
                    <a:pt x="1325" y="37714"/>
                    <a:pt x="1325" y="37714"/>
                    <a:pt x="1325" y="37714"/>
                  </a:cubicBezTo>
                  <a:cubicBezTo>
                    <a:pt x="1325" y="37714"/>
                    <a:pt x="0" y="36857"/>
                    <a:pt x="662" y="36000"/>
                  </a:cubicBezTo>
                  <a:cubicBezTo>
                    <a:pt x="1988" y="36000"/>
                    <a:pt x="3977" y="35142"/>
                    <a:pt x="3977" y="35142"/>
                  </a:cubicBezTo>
                  <a:cubicBezTo>
                    <a:pt x="4640" y="30000"/>
                    <a:pt x="4640" y="30000"/>
                    <a:pt x="4640" y="30000"/>
                  </a:cubicBezTo>
                  <a:cubicBezTo>
                    <a:pt x="5303" y="28285"/>
                    <a:pt x="5303" y="28285"/>
                    <a:pt x="5303" y="28285"/>
                  </a:cubicBezTo>
                  <a:cubicBezTo>
                    <a:pt x="7955" y="26571"/>
                    <a:pt x="7955" y="26571"/>
                    <a:pt x="7955" y="26571"/>
                  </a:cubicBezTo>
                  <a:cubicBezTo>
                    <a:pt x="9281" y="22285"/>
                    <a:pt x="9281" y="22285"/>
                    <a:pt x="9281" y="22285"/>
                  </a:cubicBezTo>
                  <a:lnTo>
                    <a:pt x="11933" y="22285"/>
                  </a:lnTo>
                  <a:close/>
                </a:path>
              </a:pathLst>
            </a:custGeom>
            <a:pattFill prst="ltHorz">
              <a:fgClr>
                <a:srgbClr val="FF0000"/>
              </a:fgClr>
              <a:bgClr>
                <a:srgbClr val="FFC000"/>
              </a:bgClr>
            </a:pattFill>
            <a:ln w="3175" cap="flat" cmpd="sng">
              <a:solidFill>
                <a:schemeClr val="tx1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endParaRPr kern="0">
                <a:solidFill>
                  <a:srgbClr val="7F7F7F"/>
                </a:solidFill>
                <a:latin typeface="Calibri" panose="020F0502020204030204" pitchFamily="34" charset="0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42" name="Shape 2037">
              <a:extLst>
                <a:ext uri="{FF2B5EF4-FFF2-40B4-BE49-F238E27FC236}">
                  <a16:creationId xmlns:a16="http://schemas.microsoft.com/office/drawing/2014/main" id="{3667246E-4DF7-F130-5AC5-F508040EE758}"/>
                </a:ext>
              </a:extLst>
            </p:cNvPr>
            <p:cNvSpPr/>
            <p:nvPr/>
          </p:nvSpPr>
          <p:spPr>
            <a:xfrm>
              <a:off x="4839125" y="1880724"/>
              <a:ext cx="369679" cy="244454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26590" y="52000"/>
                  </a:moveTo>
                  <a:cubicBezTo>
                    <a:pt x="27272" y="50000"/>
                    <a:pt x="27272" y="50000"/>
                    <a:pt x="27272" y="50000"/>
                  </a:cubicBezTo>
                  <a:cubicBezTo>
                    <a:pt x="27954" y="48000"/>
                    <a:pt x="27954" y="48000"/>
                    <a:pt x="27954" y="48000"/>
                  </a:cubicBezTo>
                  <a:cubicBezTo>
                    <a:pt x="27954" y="45000"/>
                    <a:pt x="27954" y="45000"/>
                    <a:pt x="27954" y="45000"/>
                  </a:cubicBezTo>
                  <a:cubicBezTo>
                    <a:pt x="26590" y="45000"/>
                    <a:pt x="26590" y="45000"/>
                    <a:pt x="26590" y="45000"/>
                  </a:cubicBezTo>
                  <a:cubicBezTo>
                    <a:pt x="25909" y="42000"/>
                    <a:pt x="25909" y="42000"/>
                    <a:pt x="25909" y="42000"/>
                  </a:cubicBezTo>
                  <a:cubicBezTo>
                    <a:pt x="25909" y="42000"/>
                    <a:pt x="26590" y="41000"/>
                    <a:pt x="27272" y="41000"/>
                  </a:cubicBezTo>
                  <a:cubicBezTo>
                    <a:pt x="27272" y="40000"/>
                    <a:pt x="29318" y="40000"/>
                    <a:pt x="29318" y="40000"/>
                  </a:cubicBezTo>
                  <a:cubicBezTo>
                    <a:pt x="30681" y="38000"/>
                    <a:pt x="30681" y="38000"/>
                    <a:pt x="30681" y="38000"/>
                  </a:cubicBezTo>
                  <a:cubicBezTo>
                    <a:pt x="30681" y="38000"/>
                    <a:pt x="30000" y="36000"/>
                    <a:pt x="31363" y="36000"/>
                  </a:cubicBezTo>
                  <a:cubicBezTo>
                    <a:pt x="32045" y="36000"/>
                    <a:pt x="33409" y="36000"/>
                    <a:pt x="34090" y="36000"/>
                  </a:cubicBezTo>
                  <a:cubicBezTo>
                    <a:pt x="34772" y="36000"/>
                    <a:pt x="35454" y="35000"/>
                    <a:pt x="35454" y="35000"/>
                  </a:cubicBezTo>
                  <a:cubicBezTo>
                    <a:pt x="36818" y="35000"/>
                    <a:pt x="37500" y="36000"/>
                    <a:pt x="36818" y="35000"/>
                  </a:cubicBezTo>
                  <a:cubicBezTo>
                    <a:pt x="36818" y="35000"/>
                    <a:pt x="36818" y="34000"/>
                    <a:pt x="36136" y="33000"/>
                  </a:cubicBezTo>
                  <a:cubicBezTo>
                    <a:pt x="35454" y="32000"/>
                    <a:pt x="33409" y="30000"/>
                    <a:pt x="34772" y="29000"/>
                  </a:cubicBezTo>
                  <a:cubicBezTo>
                    <a:pt x="35454" y="28000"/>
                    <a:pt x="36136" y="28000"/>
                    <a:pt x="36818" y="29000"/>
                  </a:cubicBezTo>
                  <a:cubicBezTo>
                    <a:pt x="37500" y="29000"/>
                    <a:pt x="38181" y="31000"/>
                    <a:pt x="38181" y="31000"/>
                  </a:cubicBezTo>
                  <a:cubicBezTo>
                    <a:pt x="38181" y="27000"/>
                    <a:pt x="38181" y="27000"/>
                    <a:pt x="38181" y="27000"/>
                  </a:cubicBezTo>
                  <a:cubicBezTo>
                    <a:pt x="38181" y="27000"/>
                    <a:pt x="40227" y="27000"/>
                    <a:pt x="40909" y="26000"/>
                  </a:cubicBezTo>
                  <a:cubicBezTo>
                    <a:pt x="40909" y="25000"/>
                    <a:pt x="40227" y="23000"/>
                    <a:pt x="40227" y="23000"/>
                  </a:cubicBezTo>
                  <a:cubicBezTo>
                    <a:pt x="40227" y="23000"/>
                    <a:pt x="40227" y="23000"/>
                    <a:pt x="42272" y="23000"/>
                  </a:cubicBezTo>
                  <a:cubicBezTo>
                    <a:pt x="44318" y="22000"/>
                    <a:pt x="43636" y="22000"/>
                    <a:pt x="45000" y="22000"/>
                  </a:cubicBezTo>
                  <a:cubicBezTo>
                    <a:pt x="45681" y="22000"/>
                    <a:pt x="47727" y="22000"/>
                    <a:pt x="47727" y="22000"/>
                  </a:cubicBezTo>
                  <a:cubicBezTo>
                    <a:pt x="47727" y="22000"/>
                    <a:pt x="49090" y="21000"/>
                    <a:pt x="48409" y="20000"/>
                  </a:cubicBezTo>
                  <a:cubicBezTo>
                    <a:pt x="48409" y="19000"/>
                    <a:pt x="47045" y="17000"/>
                    <a:pt x="47045" y="17000"/>
                  </a:cubicBezTo>
                  <a:cubicBezTo>
                    <a:pt x="47045" y="17000"/>
                    <a:pt x="47727" y="14000"/>
                    <a:pt x="47727" y="15000"/>
                  </a:cubicBezTo>
                  <a:cubicBezTo>
                    <a:pt x="47727" y="17000"/>
                    <a:pt x="49772" y="19000"/>
                    <a:pt x="49772" y="19000"/>
                  </a:cubicBezTo>
                  <a:cubicBezTo>
                    <a:pt x="51136" y="17000"/>
                    <a:pt x="51136" y="17000"/>
                    <a:pt x="51136" y="17000"/>
                  </a:cubicBezTo>
                  <a:cubicBezTo>
                    <a:pt x="53181" y="16000"/>
                    <a:pt x="53181" y="16000"/>
                    <a:pt x="53181" y="16000"/>
                  </a:cubicBezTo>
                  <a:cubicBezTo>
                    <a:pt x="55227" y="15000"/>
                    <a:pt x="55227" y="15000"/>
                    <a:pt x="55227" y="15000"/>
                  </a:cubicBezTo>
                  <a:cubicBezTo>
                    <a:pt x="55227" y="15000"/>
                    <a:pt x="57272" y="15000"/>
                    <a:pt x="58636" y="15000"/>
                  </a:cubicBezTo>
                  <a:cubicBezTo>
                    <a:pt x="59318" y="15000"/>
                    <a:pt x="61363" y="14000"/>
                    <a:pt x="61363" y="14000"/>
                  </a:cubicBezTo>
                  <a:cubicBezTo>
                    <a:pt x="62045" y="12000"/>
                    <a:pt x="62045" y="12000"/>
                    <a:pt x="62045" y="12000"/>
                  </a:cubicBezTo>
                  <a:cubicBezTo>
                    <a:pt x="59318" y="8000"/>
                    <a:pt x="59318" y="8000"/>
                    <a:pt x="59318" y="8000"/>
                  </a:cubicBezTo>
                  <a:cubicBezTo>
                    <a:pt x="59318" y="8000"/>
                    <a:pt x="60681" y="5000"/>
                    <a:pt x="60681" y="6000"/>
                  </a:cubicBezTo>
                  <a:cubicBezTo>
                    <a:pt x="61363" y="7000"/>
                    <a:pt x="61363" y="9000"/>
                    <a:pt x="62045" y="9000"/>
                  </a:cubicBezTo>
                  <a:cubicBezTo>
                    <a:pt x="62727" y="9000"/>
                    <a:pt x="63409" y="10000"/>
                    <a:pt x="64090" y="9000"/>
                  </a:cubicBezTo>
                  <a:cubicBezTo>
                    <a:pt x="64090" y="8000"/>
                    <a:pt x="64090" y="5000"/>
                    <a:pt x="64090" y="5000"/>
                  </a:cubicBezTo>
                  <a:cubicBezTo>
                    <a:pt x="64090" y="5000"/>
                    <a:pt x="63409" y="4000"/>
                    <a:pt x="64090" y="4000"/>
                  </a:cubicBezTo>
                  <a:cubicBezTo>
                    <a:pt x="64772" y="5000"/>
                    <a:pt x="66136" y="7000"/>
                    <a:pt x="66136" y="7000"/>
                  </a:cubicBezTo>
                  <a:cubicBezTo>
                    <a:pt x="68181" y="7000"/>
                    <a:pt x="68181" y="7000"/>
                    <a:pt x="68181" y="7000"/>
                  </a:cubicBezTo>
                  <a:cubicBezTo>
                    <a:pt x="70227" y="4000"/>
                    <a:pt x="70227" y="4000"/>
                    <a:pt x="70227" y="4000"/>
                  </a:cubicBezTo>
                  <a:cubicBezTo>
                    <a:pt x="70909" y="6000"/>
                    <a:pt x="70909" y="6000"/>
                    <a:pt x="70909" y="6000"/>
                  </a:cubicBezTo>
                  <a:cubicBezTo>
                    <a:pt x="70909" y="6000"/>
                    <a:pt x="72272" y="5000"/>
                    <a:pt x="72954" y="5000"/>
                  </a:cubicBezTo>
                  <a:cubicBezTo>
                    <a:pt x="73636" y="5000"/>
                    <a:pt x="73636" y="4000"/>
                    <a:pt x="74318" y="4000"/>
                  </a:cubicBezTo>
                  <a:cubicBezTo>
                    <a:pt x="75000" y="4000"/>
                    <a:pt x="76363" y="5000"/>
                    <a:pt x="76363" y="5000"/>
                  </a:cubicBezTo>
                  <a:cubicBezTo>
                    <a:pt x="79772" y="6000"/>
                    <a:pt x="79772" y="6000"/>
                    <a:pt x="79772" y="6000"/>
                  </a:cubicBezTo>
                  <a:cubicBezTo>
                    <a:pt x="81136" y="3000"/>
                    <a:pt x="81136" y="3000"/>
                    <a:pt x="81136" y="3000"/>
                  </a:cubicBezTo>
                  <a:cubicBezTo>
                    <a:pt x="84545" y="5000"/>
                    <a:pt x="84545" y="5000"/>
                    <a:pt x="84545" y="5000"/>
                  </a:cubicBezTo>
                  <a:cubicBezTo>
                    <a:pt x="87272" y="7000"/>
                    <a:pt x="87272" y="7000"/>
                    <a:pt x="87272" y="7000"/>
                  </a:cubicBezTo>
                  <a:cubicBezTo>
                    <a:pt x="90681" y="7000"/>
                    <a:pt x="90681" y="7000"/>
                    <a:pt x="90681" y="7000"/>
                  </a:cubicBezTo>
                  <a:cubicBezTo>
                    <a:pt x="90681" y="7000"/>
                    <a:pt x="93409" y="5000"/>
                    <a:pt x="94090" y="5000"/>
                  </a:cubicBezTo>
                  <a:cubicBezTo>
                    <a:pt x="95454" y="4000"/>
                    <a:pt x="98181" y="4000"/>
                    <a:pt x="98181" y="4000"/>
                  </a:cubicBezTo>
                  <a:cubicBezTo>
                    <a:pt x="98181" y="4000"/>
                    <a:pt x="98863" y="4000"/>
                    <a:pt x="100227" y="4000"/>
                  </a:cubicBezTo>
                  <a:cubicBezTo>
                    <a:pt x="101590" y="3000"/>
                    <a:pt x="105000" y="3000"/>
                    <a:pt x="105000" y="3000"/>
                  </a:cubicBezTo>
                  <a:cubicBezTo>
                    <a:pt x="107045" y="0"/>
                    <a:pt x="107045" y="0"/>
                    <a:pt x="107045" y="0"/>
                  </a:cubicBezTo>
                  <a:cubicBezTo>
                    <a:pt x="110454" y="2000"/>
                    <a:pt x="110454" y="2000"/>
                    <a:pt x="110454" y="2000"/>
                  </a:cubicBezTo>
                  <a:cubicBezTo>
                    <a:pt x="110454" y="4000"/>
                    <a:pt x="110454" y="4000"/>
                    <a:pt x="110454" y="4000"/>
                  </a:cubicBezTo>
                  <a:cubicBezTo>
                    <a:pt x="107045" y="8000"/>
                    <a:pt x="107045" y="8000"/>
                    <a:pt x="107045" y="8000"/>
                  </a:cubicBezTo>
                  <a:cubicBezTo>
                    <a:pt x="107045" y="15000"/>
                    <a:pt x="107045" y="15000"/>
                    <a:pt x="107045" y="15000"/>
                  </a:cubicBezTo>
                  <a:cubicBezTo>
                    <a:pt x="106363" y="25000"/>
                    <a:pt x="104318" y="30000"/>
                    <a:pt x="103636" y="36000"/>
                  </a:cubicBezTo>
                  <a:cubicBezTo>
                    <a:pt x="102954" y="39000"/>
                    <a:pt x="101590" y="40000"/>
                    <a:pt x="103636" y="45000"/>
                  </a:cubicBezTo>
                  <a:cubicBezTo>
                    <a:pt x="105000" y="47000"/>
                    <a:pt x="105000" y="54000"/>
                    <a:pt x="107727" y="58000"/>
                  </a:cubicBezTo>
                  <a:cubicBezTo>
                    <a:pt x="109090" y="60000"/>
                    <a:pt x="107727" y="65000"/>
                    <a:pt x="109772" y="67000"/>
                  </a:cubicBezTo>
                  <a:cubicBezTo>
                    <a:pt x="109772" y="67000"/>
                    <a:pt x="109772" y="68000"/>
                    <a:pt x="110454" y="70000"/>
                  </a:cubicBezTo>
                  <a:cubicBezTo>
                    <a:pt x="111818" y="72000"/>
                    <a:pt x="111818" y="71000"/>
                    <a:pt x="112500" y="72000"/>
                  </a:cubicBezTo>
                  <a:cubicBezTo>
                    <a:pt x="112500" y="72000"/>
                    <a:pt x="113863" y="73000"/>
                    <a:pt x="114545" y="74000"/>
                  </a:cubicBezTo>
                  <a:cubicBezTo>
                    <a:pt x="115227" y="75000"/>
                    <a:pt x="115227" y="77000"/>
                    <a:pt x="115227" y="78000"/>
                  </a:cubicBezTo>
                  <a:cubicBezTo>
                    <a:pt x="115227" y="79000"/>
                    <a:pt x="115909" y="80000"/>
                    <a:pt x="115909" y="80000"/>
                  </a:cubicBezTo>
                  <a:cubicBezTo>
                    <a:pt x="115909" y="80000"/>
                    <a:pt x="116590" y="79000"/>
                    <a:pt x="116590" y="80000"/>
                  </a:cubicBezTo>
                  <a:cubicBezTo>
                    <a:pt x="116590" y="81000"/>
                    <a:pt x="115909" y="79000"/>
                    <a:pt x="116590" y="81000"/>
                  </a:cubicBezTo>
                  <a:cubicBezTo>
                    <a:pt x="117954" y="83000"/>
                    <a:pt x="120000" y="83000"/>
                    <a:pt x="120000" y="83000"/>
                  </a:cubicBezTo>
                  <a:cubicBezTo>
                    <a:pt x="119318" y="87000"/>
                    <a:pt x="119318" y="87000"/>
                    <a:pt x="119318" y="87000"/>
                  </a:cubicBezTo>
                  <a:cubicBezTo>
                    <a:pt x="117954" y="88000"/>
                    <a:pt x="117954" y="88000"/>
                    <a:pt x="117954" y="88000"/>
                  </a:cubicBezTo>
                  <a:cubicBezTo>
                    <a:pt x="117954" y="88000"/>
                    <a:pt x="114545" y="88000"/>
                    <a:pt x="114545" y="90000"/>
                  </a:cubicBezTo>
                  <a:cubicBezTo>
                    <a:pt x="114545" y="91000"/>
                    <a:pt x="114545" y="95000"/>
                    <a:pt x="114545" y="95000"/>
                  </a:cubicBezTo>
                  <a:cubicBezTo>
                    <a:pt x="112500" y="98000"/>
                    <a:pt x="112500" y="98000"/>
                    <a:pt x="112500" y="98000"/>
                  </a:cubicBezTo>
                  <a:cubicBezTo>
                    <a:pt x="112500" y="98000"/>
                    <a:pt x="113863" y="102000"/>
                    <a:pt x="113863" y="103000"/>
                  </a:cubicBezTo>
                  <a:cubicBezTo>
                    <a:pt x="113863" y="104000"/>
                    <a:pt x="114545" y="104000"/>
                    <a:pt x="114545" y="104000"/>
                  </a:cubicBezTo>
                  <a:cubicBezTo>
                    <a:pt x="112500" y="105000"/>
                    <a:pt x="112500" y="105000"/>
                    <a:pt x="112500" y="105000"/>
                  </a:cubicBezTo>
                  <a:cubicBezTo>
                    <a:pt x="109772" y="105000"/>
                    <a:pt x="109772" y="105000"/>
                    <a:pt x="109772" y="105000"/>
                  </a:cubicBezTo>
                  <a:cubicBezTo>
                    <a:pt x="104318" y="103000"/>
                    <a:pt x="104318" y="103000"/>
                    <a:pt x="104318" y="103000"/>
                  </a:cubicBezTo>
                  <a:cubicBezTo>
                    <a:pt x="102954" y="106000"/>
                    <a:pt x="102954" y="106000"/>
                    <a:pt x="102954" y="106000"/>
                  </a:cubicBezTo>
                  <a:cubicBezTo>
                    <a:pt x="101590" y="106000"/>
                    <a:pt x="101590" y="106000"/>
                    <a:pt x="101590" y="106000"/>
                  </a:cubicBezTo>
                  <a:cubicBezTo>
                    <a:pt x="101590" y="106000"/>
                    <a:pt x="100909" y="108000"/>
                    <a:pt x="99545" y="109000"/>
                  </a:cubicBezTo>
                  <a:cubicBezTo>
                    <a:pt x="98863" y="110000"/>
                    <a:pt x="98181" y="111000"/>
                    <a:pt x="97500" y="111000"/>
                  </a:cubicBezTo>
                  <a:cubicBezTo>
                    <a:pt x="96136" y="112000"/>
                    <a:pt x="94772" y="110000"/>
                    <a:pt x="94772" y="110000"/>
                  </a:cubicBezTo>
                  <a:cubicBezTo>
                    <a:pt x="92727" y="109000"/>
                    <a:pt x="92727" y="109000"/>
                    <a:pt x="92727" y="109000"/>
                  </a:cubicBezTo>
                  <a:cubicBezTo>
                    <a:pt x="90681" y="105000"/>
                    <a:pt x="90681" y="105000"/>
                    <a:pt x="90681" y="105000"/>
                  </a:cubicBezTo>
                  <a:cubicBezTo>
                    <a:pt x="84545" y="99000"/>
                    <a:pt x="84545" y="99000"/>
                    <a:pt x="84545" y="99000"/>
                  </a:cubicBezTo>
                  <a:cubicBezTo>
                    <a:pt x="81136" y="97000"/>
                    <a:pt x="81136" y="97000"/>
                    <a:pt x="81136" y="97000"/>
                  </a:cubicBezTo>
                  <a:cubicBezTo>
                    <a:pt x="78409" y="96000"/>
                    <a:pt x="78409" y="96000"/>
                    <a:pt x="78409" y="96000"/>
                  </a:cubicBezTo>
                  <a:cubicBezTo>
                    <a:pt x="75000" y="96000"/>
                    <a:pt x="75000" y="96000"/>
                    <a:pt x="75000" y="96000"/>
                  </a:cubicBezTo>
                  <a:cubicBezTo>
                    <a:pt x="72272" y="94000"/>
                    <a:pt x="72272" y="94000"/>
                    <a:pt x="72272" y="94000"/>
                  </a:cubicBezTo>
                  <a:cubicBezTo>
                    <a:pt x="69545" y="94000"/>
                    <a:pt x="69545" y="94000"/>
                    <a:pt x="69545" y="94000"/>
                  </a:cubicBezTo>
                  <a:cubicBezTo>
                    <a:pt x="66136" y="92000"/>
                    <a:pt x="66136" y="92000"/>
                    <a:pt x="66136" y="92000"/>
                  </a:cubicBezTo>
                  <a:cubicBezTo>
                    <a:pt x="63409" y="95000"/>
                    <a:pt x="63409" y="95000"/>
                    <a:pt x="63409" y="95000"/>
                  </a:cubicBezTo>
                  <a:cubicBezTo>
                    <a:pt x="60000" y="98000"/>
                    <a:pt x="60000" y="98000"/>
                    <a:pt x="60000" y="98000"/>
                  </a:cubicBezTo>
                  <a:cubicBezTo>
                    <a:pt x="56590" y="103000"/>
                    <a:pt x="56590" y="103000"/>
                    <a:pt x="56590" y="103000"/>
                  </a:cubicBezTo>
                  <a:cubicBezTo>
                    <a:pt x="56590" y="103000"/>
                    <a:pt x="54545" y="106000"/>
                    <a:pt x="53181" y="107000"/>
                  </a:cubicBezTo>
                  <a:cubicBezTo>
                    <a:pt x="52500" y="106000"/>
                    <a:pt x="52500" y="106000"/>
                    <a:pt x="52500" y="106000"/>
                  </a:cubicBezTo>
                  <a:cubicBezTo>
                    <a:pt x="52500" y="106000"/>
                    <a:pt x="52500" y="103000"/>
                    <a:pt x="53181" y="101000"/>
                  </a:cubicBezTo>
                  <a:cubicBezTo>
                    <a:pt x="53863" y="100000"/>
                    <a:pt x="53863" y="98000"/>
                    <a:pt x="53863" y="97000"/>
                  </a:cubicBezTo>
                  <a:cubicBezTo>
                    <a:pt x="53863" y="96000"/>
                    <a:pt x="53863" y="94000"/>
                    <a:pt x="53181" y="92000"/>
                  </a:cubicBezTo>
                  <a:cubicBezTo>
                    <a:pt x="53181" y="90000"/>
                    <a:pt x="52500" y="87000"/>
                    <a:pt x="52500" y="87000"/>
                  </a:cubicBezTo>
                  <a:cubicBezTo>
                    <a:pt x="54545" y="85000"/>
                    <a:pt x="54545" y="85000"/>
                    <a:pt x="54545" y="85000"/>
                  </a:cubicBezTo>
                  <a:cubicBezTo>
                    <a:pt x="53181" y="80000"/>
                    <a:pt x="53181" y="80000"/>
                    <a:pt x="53181" y="80000"/>
                  </a:cubicBezTo>
                  <a:cubicBezTo>
                    <a:pt x="51818" y="80000"/>
                    <a:pt x="51818" y="80000"/>
                    <a:pt x="51818" y="80000"/>
                  </a:cubicBezTo>
                  <a:cubicBezTo>
                    <a:pt x="49772" y="80000"/>
                    <a:pt x="49772" y="80000"/>
                    <a:pt x="49772" y="80000"/>
                  </a:cubicBezTo>
                  <a:cubicBezTo>
                    <a:pt x="48409" y="83000"/>
                    <a:pt x="48409" y="83000"/>
                    <a:pt x="48409" y="83000"/>
                  </a:cubicBezTo>
                  <a:cubicBezTo>
                    <a:pt x="48409" y="83000"/>
                    <a:pt x="49090" y="85000"/>
                    <a:pt x="49090" y="86000"/>
                  </a:cubicBezTo>
                  <a:cubicBezTo>
                    <a:pt x="48409" y="87000"/>
                    <a:pt x="47045" y="87000"/>
                    <a:pt x="47045" y="87000"/>
                  </a:cubicBezTo>
                  <a:cubicBezTo>
                    <a:pt x="46363" y="88000"/>
                    <a:pt x="46363" y="91000"/>
                    <a:pt x="46363" y="91000"/>
                  </a:cubicBezTo>
                  <a:cubicBezTo>
                    <a:pt x="43636" y="87000"/>
                    <a:pt x="43636" y="87000"/>
                    <a:pt x="43636" y="87000"/>
                  </a:cubicBezTo>
                  <a:cubicBezTo>
                    <a:pt x="43636" y="87000"/>
                    <a:pt x="42272" y="87000"/>
                    <a:pt x="41590" y="86000"/>
                  </a:cubicBezTo>
                  <a:cubicBezTo>
                    <a:pt x="40909" y="86000"/>
                    <a:pt x="39545" y="86000"/>
                    <a:pt x="39545" y="86000"/>
                  </a:cubicBezTo>
                  <a:cubicBezTo>
                    <a:pt x="39545" y="86000"/>
                    <a:pt x="39545" y="86000"/>
                    <a:pt x="38863" y="86000"/>
                  </a:cubicBezTo>
                  <a:cubicBezTo>
                    <a:pt x="37500" y="86000"/>
                    <a:pt x="37500" y="86000"/>
                    <a:pt x="36818" y="84000"/>
                  </a:cubicBezTo>
                  <a:cubicBezTo>
                    <a:pt x="36136" y="82000"/>
                    <a:pt x="34090" y="77000"/>
                    <a:pt x="34090" y="77000"/>
                  </a:cubicBezTo>
                  <a:cubicBezTo>
                    <a:pt x="34090" y="77000"/>
                    <a:pt x="33409" y="75000"/>
                    <a:pt x="32727" y="75000"/>
                  </a:cubicBezTo>
                  <a:cubicBezTo>
                    <a:pt x="32727" y="75000"/>
                    <a:pt x="32045" y="77000"/>
                    <a:pt x="32045" y="77000"/>
                  </a:cubicBezTo>
                  <a:cubicBezTo>
                    <a:pt x="31363" y="77000"/>
                    <a:pt x="31363" y="75000"/>
                    <a:pt x="31363" y="74000"/>
                  </a:cubicBezTo>
                  <a:cubicBezTo>
                    <a:pt x="31363" y="73000"/>
                    <a:pt x="31363" y="72000"/>
                    <a:pt x="31363" y="70000"/>
                  </a:cubicBezTo>
                  <a:cubicBezTo>
                    <a:pt x="31363" y="68000"/>
                    <a:pt x="30681" y="66000"/>
                    <a:pt x="31363" y="66000"/>
                  </a:cubicBezTo>
                  <a:cubicBezTo>
                    <a:pt x="31363" y="66000"/>
                    <a:pt x="32045" y="67000"/>
                    <a:pt x="32727" y="67000"/>
                  </a:cubicBezTo>
                  <a:cubicBezTo>
                    <a:pt x="33409" y="67000"/>
                    <a:pt x="33409" y="65000"/>
                    <a:pt x="33409" y="65000"/>
                  </a:cubicBezTo>
                  <a:cubicBezTo>
                    <a:pt x="34090" y="65000"/>
                    <a:pt x="34772" y="66000"/>
                    <a:pt x="34772" y="66000"/>
                  </a:cubicBezTo>
                  <a:cubicBezTo>
                    <a:pt x="35454" y="66000"/>
                    <a:pt x="36136" y="66000"/>
                    <a:pt x="36136" y="66000"/>
                  </a:cubicBezTo>
                  <a:cubicBezTo>
                    <a:pt x="36818" y="65000"/>
                    <a:pt x="36818" y="65000"/>
                    <a:pt x="36818" y="64000"/>
                  </a:cubicBezTo>
                  <a:cubicBezTo>
                    <a:pt x="36818" y="63000"/>
                    <a:pt x="36136" y="62000"/>
                    <a:pt x="36136" y="62000"/>
                  </a:cubicBezTo>
                  <a:cubicBezTo>
                    <a:pt x="35454" y="62000"/>
                    <a:pt x="31363" y="65000"/>
                    <a:pt x="31363" y="65000"/>
                  </a:cubicBezTo>
                  <a:cubicBezTo>
                    <a:pt x="28636" y="65000"/>
                    <a:pt x="28636" y="65000"/>
                    <a:pt x="28636" y="65000"/>
                  </a:cubicBezTo>
                  <a:cubicBezTo>
                    <a:pt x="30000" y="63000"/>
                    <a:pt x="30000" y="63000"/>
                    <a:pt x="30000" y="63000"/>
                  </a:cubicBezTo>
                  <a:cubicBezTo>
                    <a:pt x="28636" y="61000"/>
                    <a:pt x="28636" y="61000"/>
                    <a:pt x="28636" y="61000"/>
                  </a:cubicBezTo>
                  <a:cubicBezTo>
                    <a:pt x="28636" y="59000"/>
                    <a:pt x="28636" y="59000"/>
                    <a:pt x="28636" y="59000"/>
                  </a:cubicBezTo>
                  <a:cubicBezTo>
                    <a:pt x="27272" y="58000"/>
                    <a:pt x="27272" y="58000"/>
                    <a:pt x="27272" y="58000"/>
                  </a:cubicBezTo>
                  <a:cubicBezTo>
                    <a:pt x="27954" y="56000"/>
                    <a:pt x="27954" y="56000"/>
                    <a:pt x="27954" y="56000"/>
                  </a:cubicBezTo>
                  <a:cubicBezTo>
                    <a:pt x="29318" y="56000"/>
                    <a:pt x="29318" y="56000"/>
                    <a:pt x="29318" y="56000"/>
                  </a:cubicBezTo>
                  <a:cubicBezTo>
                    <a:pt x="30681" y="55000"/>
                    <a:pt x="30681" y="55000"/>
                    <a:pt x="30681" y="55000"/>
                  </a:cubicBezTo>
                  <a:cubicBezTo>
                    <a:pt x="30681" y="51000"/>
                    <a:pt x="30681" y="51000"/>
                    <a:pt x="30681" y="51000"/>
                  </a:cubicBezTo>
                  <a:cubicBezTo>
                    <a:pt x="29318" y="52000"/>
                    <a:pt x="29318" y="52000"/>
                    <a:pt x="29318" y="52000"/>
                  </a:cubicBezTo>
                  <a:cubicBezTo>
                    <a:pt x="30000" y="54000"/>
                    <a:pt x="30000" y="54000"/>
                    <a:pt x="30000" y="54000"/>
                  </a:cubicBezTo>
                  <a:cubicBezTo>
                    <a:pt x="27272" y="54000"/>
                    <a:pt x="27272" y="54000"/>
                    <a:pt x="27272" y="54000"/>
                  </a:cubicBezTo>
                  <a:cubicBezTo>
                    <a:pt x="26590" y="52000"/>
                    <a:pt x="26590" y="52000"/>
                    <a:pt x="26590" y="52000"/>
                  </a:cubicBezTo>
                  <a:close/>
                  <a:moveTo>
                    <a:pt x="15681" y="103000"/>
                  </a:moveTo>
                  <a:cubicBezTo>
                    <a:pt x="15681" y="103000"/>
                    <a:pt x="15681" y="103000"/>
                    <a:pt x="15681" y="103000"/>
                  </a:cubicBezTo>
                  <a:cubicBezTo>
                    <a:pt x="15681" y="103000"/>
                    <a:pt x="17045" y="103000"/>
                    <a:pt x="17045" y="103000"/>
                  </a:cubicBezTo>
                  <a:cubicBezTo>
                    <a:pt x="17045" y="103000"/>
                    <a:pt x="17727" y="104000"/>
                    <a:pt x="17045" y="104000"/>
                  </a:cubicBezTo>
                  <a:cubicBezTo>
                    <a:pt x="17045" y="105000"/>
                    <a:pt x="17727" y="105000"/>
                    <a:pt x="17045" y="105000"/>
                  </a:cubicBezTo>
                  <a:cubicBezTo>
                    <a:pt x="16363" y="105000"/>
                    <a:pt x="15000" y="106000"/>
                    <a:pt x="15000" y="105000"/>
                  </a:cubicBezTo>
                  <a:cubicBezTo>
                    <a:pt x="15000" y="105000"/>
                    <a:pt x="15681" y="104000"/>
                    <a:pt x="15681" y="104000"/>
                  </a:cubicBezTo>
                  <a:cubicBezTo>
                    <a:pt x="15681" y="103000"/>
                    <a:pt x="15681" y="103000"/>
                    <a:pt x="15681" y="103000"/>
                  </a:cubicBezTo>
                  <a:close/>
                  <a:moveTo>
                    <a:pt x="43636" y="95000"/>
                  </a:moveTo>
                  <a:cubicBezTo>
                    <a:pt x="43636" y="95000"/>
                    <a:pt x="43636" y="95000"/>
                    <a:pt x="43636" y="95000"/>
                  </a:cubicBezTo>
                  <a:cubicBezTo>
                    <a:pt x="43636" y="95000"/>
                    <a:pt x="42954" y="98000"/>
                    <a:pt x="43636" y="98000"/>
                  </a:cubicBezTo>
                  <a:cubicBezTo>
                    <a:pt x="43636" y="98000"/>
                    <a:pt x="44318" y="98000"/>
                    <a:pt x="45000" y="98000"/>
                  </a:cubicBezTo>
                  <a:cubicBezTo>
                    <a:pt x="45681" y="97000"/>
                    <a:pt x="45681" y="97000"/>
                    <a:pt x="45681" y="97000"/>
                  </a:cubicBezTo>
                  <a:cubicBezTo>
                    <a:pt x="45681" y="96000"/>
                    <a:pt x="45681" y="95000"/>
                    <a:pt x="45681" y="95000"/>
                  </a:cubicBezTo>
                  <a:cubicBezTo>
                    <a:pt x="43636" y="95000"/>
                    <a:pt x="43636" y="95000"/>
                    <a:pt x="43636" y="95000"/>
                  </a:cubicBezTo>
                  <a:close/>
                  <a:moveTo>
                    <a:pt x="6136" y="91000"/>
                  </a:moveTo>
                  <a:cubicBezTo>
                    <a:pt x="6136" y="91000"/>
                    <a:pt x="6136" y="91000"/>
                    <a:pt x="6136" y="91000"/>
                  </a:cubicBezTo>
                  <a:cubicBezTo>
                    <a:pt x="5454" y="92000"/>
                    <a:pt x="5454" y="92000"/>
                    <a:pt x="5454" y="92000"/>
                  </a:cubicBezTo>
                  <a:cubicBezTo>
                    <a:pt x="5454" y="92000"/>
                    <a:pt x="4772" y="89000"/>
                    <a:pt x="4772" y="88000"/>
                  </a:cubicBezTo>
                  <a:cubicBezTo>
                    <a:pt x="4772" y="88000"/>
                    <a:pt x="3409" y="87000"/>
                    <a:pt x="3409" y="87000"/>
                  </a:cubicBezTo>
                  <a:cubicBezTo>
                    <a:pt x="3409" y="87000"/>
                    <a:pt x="2727" y="87000"/>
                    <a:pt x="2727" y="87000"/>
                  </a:cubicBezTo>
                  <a:cubicBezTo>
                    <a:pt x="2045" y="87000"/>
                    <a:pt x="2045" y="88000"/>
                    <a:pt x="2045" y="88000"/>
                  </a:cubicBezTo>
                  <a:cubicBezTo>
                    <a:pt x="1363" y="88000"/>
                    <a:pt x="1363" y="88000"/>
                    <a:pt x="1363" y="88000"/>
                  </a:cubicBezTo>
                  <a:cubicBezTo>
                    <a:pt x="1363" y="88000"/>
                    <a:pt x="681" y="88000"/>
                    <a:pt x="681" y="88000"/>
                  </a:cubicBezTo>
                  <a:cubicBezTo>
                    <a:pt x="0" y="89000"/>
                    <a:pt x="681" y="90000"/>
                    <a:pt x="681" y="90000"/>
                  </a:cubicBezTo>
                  <a:cubicBezTo>
                    <a:pt x="681" y="90000"/>
                    <a:pt x="1363" y="90000"/>
                    <a:pt x="2045" y="91000"/>
                  </a:cubicBezTo>
                  <a:cubicBezTo>
                    <a:pt x="2727" y="91000"/>
                    <a:pt x="2727" y="91000"/>
                    <a:pt x="2727" y="91000"/>
                  </a:cubicBezTo>
                  <a:cubicBezTo>
                    <a:pt x="2727" y="91000"/>
                    <a:pt x="4090" y="93000"/>
                    <a:pt x="4772" y="94000"/>
                  </a:cubicBezTo>
                  <a:cubicBezTo>
                    <a:pt x="4772" y="94000"/>
                    <a:pt x="4772" y="95000"/>
                    <a:pt x="4772" y="95000"/>
                  </a:cubicBezTo>
                  <a:cubicBezTo>
                    <a:pt x="2727" y="97000"/>
                    <a:pt x="2727" y="97000"/>
                    <a:pt x="2727" y="97000"/>
                  </a:cubicBezTo>
                  <a:cubicBezTo>
                    <a:pt x="2727" y="97000"/>
                    <a:pt x="3409" y="98000"/>
                    <a:pt x="3409" y="98000"/>
                  </a:cubicBezTo>
                  <a:cubicBezTo>
                    <a:pt x="4090" y="98000"/>
                    <a:pt x="2727" y="99000"/>
                    <a:pt x="2727" y="99000"/>
                  </a:cubicBezTo>
                  <a:cubicBezTo>
                    <a:pt x="2727" y="99000"/>
                    <a:pt x="2727" y="101000"/>
                    <a:pt x="2727" y="101000"/>
                  </a:cubicBezTo>
                  <a:cubicBezTo>
                    <a:pt x="2727" y="101000"/>
                    <a:pt x="3409" y="102000"/>
                    <a:pt x="4772" y="102000"/>
                  </a:cubicBezTo>
                  <a:cubicBezTo>
                    <a:pt x="6136" y="103000"/>
                    <a:pt x="6136" y="102000"/>
                    <a:pt x="6136" y="102000"/>
                  </a:cubicBezTo>
                  <a:cubicBezTo>
                    <a:pt x="6818" y="103000"/>
                    <a:pt x="6818" y="103000"/>
                    <a:pt x="6818" y="103000"/>
                  </a:cubicBezTo>
                  <a:cubicBezTo>
                    <a:pt x="6818" y="104000"/>
                    <a:pt x="6818" y="104000"/>
                    <a:pt x="6818" y="104000"/>
                  </a:cubicBezTo>
                  <a:cubicBezTo>
                    <a:pt x="7500" y="105000"/>
                    <a:pt x="7500" y="105000"/>
                    <a:pt x="7500" y="105000"/>
                  </a:cubicBezTo>
                  <a:cubicBezTo>
                    <a:pt x="9545" y="106000"/>
                    <a:pt x="9545" y="106000"/>
                    <a:pt x="9545" y="106000"/>
                  </a:cubicBezTo>
                  <a:cubicBezTo>
                    <a:pt x="9545" y="107000"/>
                    <a:pt x="9545" y="107000"/>
                    <a:pt x="9545" y="107000"/>
                  </a:cubicBezTo>
                  <a:cubicBezTo>
                    <a:pt x="9545" y="110000"/>
                    <a:pt x="9545" y="110000"/>
                    <a:pt x="9545" y="110000"/>
                  </a:cubicBezTo>
                  <a:cubicBezTo>
                    <a:pt x="9545" y="110000"/>
                    <a:pt x="8863" y="110000"/>
                    <a:pt x="8181" y="110000"/>
                  </a:cubicBezTo>
                  <a:cubicBezTo>
                    <a:pt x="8181" y="111000"/>
                    <a:pt x="8181" y="112000"/>
                    <a:pt x="7500" y="112000"/>
                  </a:cubicBezTo>
                  <a:cubicBezTo>
                    <a:pt x="7500" y="112000"/>
                    <a:pt x="7500" y="114000"/>
                    <a:pt x="6818" y="115000"/>
                  </a:cubicBezTo>
                  <a:cubicBezTo>
                    <a:pt x="6818" y="116000"/>
                    <a:pt x="7500" y="117000"/>
                    <a:pt x="7500" y="118000"/>
                  </a:cubicBezTo>
                  <a:cubicBezTo>
                    <a:pt x="7500" y="120000"/>
                    <a:pt x="8181" y="119000"/>
                    <a:pt x="8863" y="119000"/>
                  </a:cubicBezTo>
                  <a:cubicBezTo>
                    <a:pt x="8863" y="119000"/>
                    <a:pt x="9545" y="118000"/>
                    <a:pt x="9545" y="118000"/>
                  </a:cubicBezTo>
                  <a:cubicBezTo>
                    <a:pt x="10227" y="118000"/>
                    <a:pt x="10909" y="116000"/>
                    <a:pt x="11590" y="115000"/>
                  </a:cubicBezTo>
                  <a:cubicBezTo>
                    <a:pt x="11590" y="114000"/>
                    <a:pt x="11590" y="113000"/>
                    <a:pt x="11590" y="113000"/>
                  </a:cubicBezTo>
                  <a:cubicBezTo>
                    <a:pt x="10909" y="112000"/>
                    <a:pt x="11590" y="110000"/>
                    <a:pt x="11590" y="110000"/>
                  </a:cubicBezTo>
                  <a:cubicBezTo>
                    <a:pt x="11590" y="109000"/>
                    <a:pt x="11590" y="109000"/>
                    <a:pt x="11590" y="109000"/>
                  </a:cubicBezTo>
                  <a:cubicBezTo>
                    <a:pt x="10909" y="105000"/>
                    <a:pt x="10909" y="105000"/>
                    <a:pt x="10909" y="105000"/>
                  </a:cubicBezTo>
                  <a:cubicBezTo>
                    <a:pt x="12272" y="101000"/>
                    <a:pt x="12272" y="101000"/>
                    <a:pt x="12272" y="101000"/>
                  </a:cubicBezTo>
                  <a:cubicBezTo>
                    <a:pt x="13636" y="101000"/>
                    <a:pt x="13636" y="101000"/>
                    <a:pt x="13636" y="101000"/>
                  </a:cubicBezTo>
                  <a:cubicBezTo>
                    <a:pt x="15681" y="99000"/>
                    <a:pt x="15681" y="99000"/>
                    <a:pt x="15681" y="99000"/>
                  </a:cubicBezTo>
                  <a:cubicBezTo>
                    <a:pt x="15681" y="99000"/>
                    <a:pt x="15681" y="99000"/>
                    <a:pt x="15681" y="99000"/>
                  </a:cubicBezTo>
                  <a:cubicBezTo>
                    <a:pt x="15681" y="99000"/>
                    <a:pt x="16363" y="99000"/>
                    <a:pt x="17045" y="98000"/>
                  </a:cubicBezTo>
                  <a:cubicBezTo>
                    <a:pt x="18409" y="98000"/>
                    <a:pt x="17727" y="99000"/>
                    <a:pt x="18409" y="99000"/>
                  </a:cubicBezTo>
                  <a:cubicBezTo>
                    <a:pt x="18409" y="100000"/>
                    <a:pt x="19090" y="100000"/>
                    <a:pt x="19772" y="100000"/>
                  </a:cubicBezTo>
                  <a:cubicBezTo>
                    <a:pt x="19772" y="100000"/>
                    <a:pt x="20454" y="98000"/>
                    <a:pt x="20454" y="98000"/>
                  </a:cubicBezTo>
                  <a:cubicBezTo>
                    <a:pt x="20454" y="97000"/>
                    <a:pt x="19772" y="97000"/>
                    <a:pt x="19772" y="97000"/>
                  </a:cubicBezTo>
                  <a:cubicBezTo>
                    <a:pt x="19090" y="95000"/>
                    <a:pt x="19090" y="95000"/>
                    <a:pt x="19090" y="95000"/>
                  </a:cubicBezTo>
                  <a:cubicBezTo>
                    <a:pt x="21136" y="94000"/>
                    <a:pt x="21136" y="94000"/>
                    <a:pt x="21136" y="94000"/>
                  </a:cubicBezTo>
                  <a:cubicBezTo>
                    <a:pt x="21818" y="93000"/>
                    <a:pt x="21818" y="93000"/>
                    <a:pt x="21818" y="93000"/>
                  </a:cubicBezTo>
                  <a:cubicBezTo>
                    <a:pt x="23181" y="91000"/>
                    <a:pt x="23181" y="91000"/>
                    <a:pt x="23181" y="91000"/>
                  </a:cubicBezTo>
                  <a:cubicBezTo>
                    <a:pt x="22500" y="89000"/>
                    <a:pt x="22500" y="89000"/>
                    <a:pt x="22500" y="89000"/>
                  </a:cubicBezTo>
                  <a:cubicBezTo>
                    <a:pt x="22500" y="89000"/>
                    <a:pt x="23863" y="89000"/>
                    <a:pt x="24545" y="89000"/>
                  </a:cubicBezTo>
                  <a:cubicBezTo>
                    <a:pt x="24545" y="89000"/>
                    <a:pt x="24545" y="88000"/>
                    <a:pt x="24545" y="88000"/>
                  </a:cubicBezTo>
                  <a:cubicBezTo>
                    <a:pt x="23863" y="86000"/>
                    <a:pt x="23863" y="86000"/>
                    <a:pt x="23863" y="86000"/>
                  </a:cubicBezTo>
                  <a:cubicBezTo>
                    <a:pt x="23863" y="86000"/>
                    <a:pt x="25227" y="86000"/>
                    <a:pt x="25909" y="85000"/>
                  </a:cubicBezTo>
                  <a:cubicBezTo>
                    <a:pt x="25909" y="85000"/>
                    <a:pt x="25227" y="84000"/>
                    <a:pt x="25227" y="84000"/>
                  </a:cubicBezTo>
                  <a:cubicBezTo>
                    <a:pt x="25227" y="83000"/>
                    <a:pt x="25909" y="82000"/>
                    <a:pt x="25909" y="82000"/>
                  </a:cubicBezTo>
                  <a:cubicBezTo>
                    <a:pt x="25909" y="82000"/>
                    <a:pt x="27272" y="84000"/>
                    <a:pt x="27954" y="84000"/>
                  </a:cubicBezTo>
                  <a:cubicBezTo>
                    <a:pt x="28636" y="85000"/>
                    <a:pt x="28636" y="84000"/>
                    <a:pt x="29318" y="84000"/>
                  </a:cubicBezTo>
                  <a:cubicBezTo>
                    <a:pt x="29318" y="83000"/>
                    <a:pt x="28636" y="82000"/>
                    <a:pt x="28636" y="82000"/>
                  </a:cubicBezTo>
                  <a:cubicBezTo>
                    <a:pt x="27954" y="81000"/>
                    <a:pt x="27954" y="81000"/>
                    <a:pt x="27954" y="81000"/>
                  </a:cubicBezTo>
                  <a:cubicBezTo>
                    <a:pt x="25909" y="80000"/>
                    <a:pt x="25909" y="80000"/>
                    <a:pt x="25909" y="80000"/>
                  </a:cubicBezTo>
                  <a:cubicBezTo>
                    <a:pt x="23181" y="78000"/>
                    <a:pt x="23181" y="78000"/>
                    <a:pt x="23181" y="78000"/>
                  </a:cubicBezTo>
                  <a:cubicBezTo>
                    <a:pt x="23181" y="78000"/>
                    <a:pt x="21136" y="78000"/>
                    <a:pt x="21136" y="77000"/>
                  </a:cubicBezTo>
                  <a:cubicBezTo>
                    <a:pt x="20454" y="77000"/>
                    <a:pt x="20454" y="77000"/>
                    <a:pt x="20454" y="77000"/>
                  </a:cubicBezTo>
                  <a:cubicBezTo>
                    <a:pt x="20454" y="77000"/>
                    <a:pt x="19090" y="77000"/>
                    <a:pt x="19090" y="77000"/>
                  </a:cubicBezTo>
                  <a:cubicBezTo>
                    <a:pt x="18409" y="77000"/>
                    <a:pt x="17727" y="78000"/>
                    <a:pt x="17045" y="79000"/>
                  </a:cubicBezTo>
                  <a:cubicBezTo>
                    <a:pt x="17045" y="79000"/>
                    <a:pt x="16363" y="80000"/>
                    <a:pt x="15681" y="80000"/>
                  </a:cubicBezTo>
                  <a:cubicBezTo>
                    <a:pt x="15681" y="80000"/>
                    <a:pt x="15000" y="78000"/>
                    <a:pt x="15000" y="78000"/>
                  </a:cubicBezTo>
                  <a:cubicBezTo>
                    <a:pt x="13636" y="78000"/>
                    <a:pt x="13636" y="78000"/>
                    <a:pt x="13636" y="78000"/>
                  </a:cubicBezTo>
                  <a:cubicBezTo>
                    <a:pt x="13636" y="78000"/>
                    <a:pt x="12954" y="80000"/>
                    <a:pt x="12954" y="81000"/>
                  </a:cubicBezTo>
                  <a:cubicBezTo>
                    <a:pt x="12954" y="81000"/>
                    <a:pt x="11590" y="81000"/>
                    <a:pt x="10909" y="81000"/>
                  </a:cubicBezTo>
                  <a:cubicBezTo>
                    <a:pt x="10227" y="82000"/>
                    <a:pt x="9545" y="82000"/>
                    <a:pt x="8863" y="83000"/>
                  </a:cubicBezTo>
                  <a:cubicBezTo>
                    <a:pt x="8181" y="83000"/>
                    <a:pt x="9545" y="84000"/>
                    <a:pt x="9545" y="84000"/>
                  </a:cubicBezTo>
                  <a:cubicBezTo>
                    <a:pt x="9545" y="86000"/>
                    <a:pt x="9545" y="86000"/>
                    <a:pt x="9545" y="86000"/>
                  </a:cubicBezTo>
                  <a:cubicBezTo>
                    <a:pt x="8181" y="86000"/>
                    <a:pt x="8181" y="86000"/>
                    <a:pt x="8181" y="86000"/>
                  </a:cubicBezTo>
                  <a:cubicBezTo>
                    <a:pt x="7500" y="85000"/>
                    <a:pt x="7500" y="85000"/>
                    <a:pt x="7500" y="85000"/>
                  </a:cubicBezTo>
                  <a:cubicBezTo>
                    <a:pt x="6136" y="87000"/>
                    <a:pt x="6136" y="87000"/>
                    <a:pt x="6136" y="87000"/>
                  </a:cubicBezTo>
                  <a:cubicBezTo>
                    <a:pt x="5454" y="89000"/>
                    <a:pt x="5454" y="89000"/>
                    <a:pt x="5454" y="89000"/>
                  </a:cubicBezTo>
                  <a:cubicBezTo>
                    <a:pt x="5454" y="89000"/>
                    <a:pt x="6136" y="91000"/>
                    <a:pt x="6136" y="91000"/>
                  </a:cubicBezTo>
                  <a:close/>
                  <a:moveTo>
                    <a:pt x="23863" y="76000"/>
                  </a:moveTo>
                  <a:cubicBezTo>
                    <a:pt x="23863" y="76000"/>
                    <a:pt x="23863" y="76000"/>
                    <a:pt x="23863" y="76000"/>
                  </a:cubicBezTo>
                  <a:cubicBezTo>
                    <a:pt x="24545" y="77000"/>
                    <a:pt x="24545" y="77000"/>
                    <a:pt x="24545" y="77000"/>
                  </a:cubicBezTo>
                  <a:cubicBezTo>
                    <a:pt x="24545" y="77000"/>
                    <a:pt x="25227" y="78000"/>
                    <a:pt x="26590" y="78000"/>
                  </a:cubicBezTo>
                  <a:cubicBezTo>
                    <a:pt x="28636" y="78000"/>
                    <a:pt x="28636" y="80000"/>
                    <a:pt x="30000" y="78000"/>
                  </a:cubicBezTo>
                  <a:cubicBezTo>
                    <a:pt x="30000" y="77000"/>
                    <a:pt x="30000" y="77000"/>
                    <a:pt x="29318" y="76000"/>
                  </a:cubicBezTo>
                  <a:cubicBezTo>
                    <a:pt x="29318" y="75000"/>
                    <a:pt x="28636" y="75000"/>
                    <a:pt x="28636" y="74000"/>
                  </a:cubicBezTo>
                  <a:cubicBezTo>
                    <a:pt x="28636" y="74000"/>
                    <a:pt x="28636" y="74000"/>
                    <a:pt x="27272" y="72000"/>
                  </a:cubicBezTo>
                  <a:cubicBezTo>
                    <a:pt x="26590" y="71000"/>
                    <a:pt x="26590" y="72000"/>
                    <a:pt x="25909" y="72000"/>
                  </a:cubicBezTo>
                  <a:cubicBezTo>
                    <a:pt x="25227" y="72000"/>
                    <a:pt x="24545" y="72000"/>
                    <a:pt x="23863" y="72000"/>
                  </a:cubicBezTo>
                  <a:cubicBezTo>
                    <a:pt x="23181" y="73000"/>
                    <a:pt x="24545" y="74000"/>
                    <a:pt x="24545" y="75000"/>
                  </a:cubicBezTo>
                  <a:cubicBezTo>
                    <a:pt x="24545" y="75000"/>
                    <a:pt x="23863" y="76000"/>
                    <a:pt x="23863" y="76000"/>
                  </a:cubicBezTo>
                  <a:close/>
                  <a:moveTo>
                    <a:pt x="15000" y="57000"/>
                  </a:moveTo>
                  <a:cubicBezTo>
                    <a:pt x="15000" y="57000"/>
                    <a:pt x="15000" y="57000"/>
                    <a:pt x="15000" y="57000"/>
                  </a:cubicBezTo>
                  <a:cubicBezTo>
                    <a:pt x="15000" y="56000"/>
                    <a:pt x="16363" y="56000"/>
                    <a:pt x="17045" y="57000"/>
                  </a:cubicBezTo>
                  <a:cubicBezTo>
                    <a:pt x="17045" y="57000"/>
                    <a:pt x="18409" y="58000"/>
                    <a:pt x="18409" y="59000"/>
                  </a:cubicBezTo>
                  <a:cubicBezTo>
                    <a:pt x="18409" y="59000"/>
                    <a:pt x="19090" y="59000"/>
                    <a:pt x="19090" y="60000"/>
                  </a:cubicBezTo>
                  <a:cubicBezTo>
                    <a:pt x="19090" y="60000"/>
                    <a:pt x="19772" y="61000"/>
                    <a:pt x="19772" y="62000"/>
                  </a:cubicBezTo>
                  <a:cubicBezTo>
                    <a:pt x="20454" y="63000"/>
                    <a:pt x="21136" y="64000"/>
                    <a:pt x="21136" y="64000"/>
                  </a:cubicBezTo>
                  <a:cubicBezTo>
                    <a:pt x="21136" y="64000"/>
                    <a:pt x="21818" y="65000"/>
                    <a:pt x="21136" y="65000"/>
                  </a:cubicBezTo>
                  <a:cubicBezTo>
                    <a:pt x="20454" y="65000"/>
                    <a:pt x="18409" y="65000"/>
                    <a:pt x="18409" y="65000"/>
                  </a:cubicBezTo>
                  <a:cubicBezTo>
                    <a:pt x="18409" y="65000"/>
                    <a:pt x="17727" y="66000"/>
                    <a:pt x="17727" y="66000"/>
                  </a:cubicBezTo>
                  <a:cubicBezTo>
                    <a:pt x="17727" y="67000"/>
                    <a:pt x="19090" y="68000"/>
                    <a:pt x="18409" y="68000"/>
                  </a:cubicBezTo>
                  <a:cubicBezTo>
                    <a:pt x="17727" y="69000"/>
                    <a:pt x="17727" y="69000"/>
                    <a:pt x="17045" y="69000"/>
                  </a:cubicBezTo>
                  <a:cubicBezTo>
                    <a:pt x="16363" y="68000"/>
                    <a:pt x="15681" y="66000"/>
                    <a:pt x="15681" y="66000"/>
                  </a:cubicBezTo>
                  <a:cubicBezTo>
                    <a:pt x="15000" y="67000"/>
                    <a:pt x="15000" y="70000"/>
                    <a:pt x="15000" y="70000"/>
                  </a:cubicBezTo>
                  <a:cubicBezTo>
                    <a:pt x="15000" y="71000"/>
                    <a:pt x="15681" y="72000"/>
                    <a:pt x="15000" y="73000"/>
                  </a:cubicBezTo>
                  <a:cubicBezTo>
                    <a:pt x="15000" y="73000"/>
                    <a:pt x="12954" y="74000"/>
                    <a:pt x="12954" y="74000"/>
                  </a:cubicBezTo>
                  <a:cubicBezTo>
                    <a:pt x="12954" y="74000"/>
                    <a:pt x="12272" y="74000"/>
                    <a:pt x="12272" y="74000"/>
                  </a:cubicBezTo>
                  <a:cubicBezTo>
                    <a:pt x="11590" y="74000"/>
                    <a:pt x="10227" y="72000"/>
                    <a:pt x="9545" y="71000"/>
                  </a:cubicBezTo>
                  <a:cubicBezTo>
                    <a:pt x="9545" y="70000"/>
                    <a:pt x="9545" y="68000"/>
                    <a:pt x="9545" y="68000"/>
                  </a:cubicBezTo>
                  <a:cubicBezTo>
                    <a:pt x="8863" y="67000"/>
                    <a:pt x="8181" y="66000"/>
                    <a:pt x="8181" y="66000"/>
                  </a:cubicBezTo>
                  <a:cubicBezTo>
                    <a:pt x="8181" y="66000"/>
                    <a:pt x="8863" y="65000"/>
                    <a:pt x="7500" y="66000"/>
                  </a:cubicBezTo>
                  <a:cubicBezTo>
                    <a:pt x="5454" y="66000"/>
                    <a:pt x="6136" y="67000"/>
                    <a:pt x="5454" y="67000"/>
                  </a:cubicBezTo>
                  <a:cubicBezTo>
                    <a:pt x="4772" y="66000"/>
                    <a:pt x="4772" y="65000"/>
                    <a:pt x="3409" y="65000"/>
                  </a:cubicBezTo>
                  <a:cubicBezTo>
                    <a:pt x="2727" y="65000"/>
                    <a:pt x="2045" y="64000"/>
                    <a:pt x="2045" y="64000"/>
                  </a:cubicBezTo>
                  <a:cubicBezTo>
                    <a:pt x="2045" y="64000"/>
                    <a:pt x="4090" y="62000"/>
                    <a:pt x="4772" y="62000"/>
                  </a:cubicBezTo>
                  <a:cubicBezTo>
                    <a:pt x="5454" y="62000"/>
                    <a:pt x="4772" y="62000"/>
                    <a:pt x="6136" y="62000"/>
                  </a:cubicBezTo>
                  <a:cubicBezTo>
                    <a:pt x="8181" y="61000"/>
                    <a:pt x="8863" y="63000"/>
                    <a:pt x="8863" y="61000"/>
                  </a:cubicBezTo>
                  <a:cubicBezTo>
                    <a:pt x="9545" y="59000"/>
                    <a:pt x="9545" y="58000"/>
                    <a:pt x="10227" y="57000"/>
                  </a:cubicBezTo>
                  <a:cubicBezTo>
                    <a:pt x="10227" y="56000"/>
                    <a:pt x="10909" y="54000"/>
                    <a:pt x="10909" y="54000"/>
                  </a:cubicBezTo>
                  <a:cubicBezTo>
                    <a:pt x="10909" y="53000"/>
                    <a:pt x="12954" y="53000"/>
                    <a:pt x="12954" y="53000"/>
                  </a:cubicBezTo>
                  <a:cubicBezTo>
                    <a:pt x="13636" y="56000"/>
                    <a:pt x="13636" y="56000"/>
                    <a:pt x="13636" y="56000"/>
                  </a:cubicBezTo>
                  <a:cubicBezTo>
                    <a:pt x="13636" y="56000"/>
                    <a:pt x="13636" y="57000"/>
                    <a:pt x="14318" y="57000"/>
                  </a:cubicBezTo>
                  <a:cubicBezTo>
                    <a:pt x="15000" y="57000"/>
                    <a:pt x="15000" y="57000"/>
                    <a:pt x="15000" y="57000"/>
                  </a:cubicBezTo>
                  <a:close/>
                  <a:moveTo>
                    <a:pt x="24545" y="52000"/>
                  </a:moveTo>
                  <a:cubicBezTo>
                    <a:pt x="24545" y="52000"/>
                    <a:pt x="24545" y="52000"/>
                    <a:pt x="24545" y="52000"/>
                  </a:cubicBezTo>
                  <a:cubicBezTo>
                    <a:pt x="23863" y="53000"/>
                    <a:pt x="23863" y="53000"/>
                    <a:pt x="23863" y="53000"/>
                  </a:cubicBezTo>
                  <a:cubicBezTo>
                    <a:pt x="21136" y="53000"/>
                    <a:pt x="21136" y="53000"/>
                    <a:pt x="21136" y="53000"/>
                  </a:cubicBezTo>
                  <a:cubicBezTo>
                    <a:pt x="21136" y="55000"/>
                    <a:pt x="21136" y="55000"/>
                    <a:pt x="21136" y="55000"/>
                  </a:cubicBezTo>
                  <a:cubicBezTo>
                    <a:pt x="22500" y="57000"/>
                    <a:pt x="22500" y="57000"/>
                    <a:pt x="22500" y="57000"/>
                  </a:cubicBezTo>
                  <a:cubicBezTo>
                    <a:pt x="22500" y="57000"/>
                    <a:pt x="23181" y="56000"/>
                    <a:pt x="23863" y="56000"/>
                  </a:cubicBezTo>
                  <a:cubicBezTo>
                    <a:pt x="24545" y="56000"/>
                    <a:pt x="25909" y="56000"/>
                    <a:pt x="25909" y="56000"/>
                  </a:cubicBezTo>
                  <a:cubicBezTo>
                    <a:pt x="26590" y="55000"/>
                    <a:pt x="26590" y="55000"/>
                    <a:pt x="26590" y="55000"/>
                  </a:cubicBezTo>
                  <a:cubicBezTo>
                    <a:pt x="25909" y="52000"/>
                    <a:pt x="25909" y="52000"/>
                    <a:pt x="25909" y="52000"/>
                  </a:cubicBezTo>
                  <a:lnTo>
                    <a:pt x="24545" y="5200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 cmpd="sng">
              <a:solidFill>
                <a:schemeClr val="tx1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endParaRPr kern="0">
                <a:solidFill>
                  <a:srgbClr val="7F7F7F"/>
                </a:solidFill>
                <a:latin typeface="Calibri" panose="020F0502020204030204" pitchFamily="34" charset="0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43" name="Shape 2038">
              <a:extLst>
                <a:ext uri="{FF2B5EF4-FFF2-40B4-BE49-F238E27FC236}">
                  <a16:creationId xmlns:a16="http://schemas.microsoft.com/office/drawing/2014/main" id="{791BA03C-7324-073E-A866-30A09C5348CD}"/>
                </a:ext>
              </a:extLst>
            </p:cNvPr>
            <p:cNvSpPr/>
            <p:nvPr/>
          </p:nvSpPr>
          <p:spPr>
            <a:xfrm>
              <a:off x="5186521" y="3523183"/>
              <a:ext cx="512488" cy="374043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3442" y="24782"/>
                  </a:moveTo>
                  <a:cubicBezTo>
                    <a:pt x="3442" y="23478"/>
                    <a:pt x="3442" y="23478"/>
                    <a:pt x="3442" y="23478"/>
                  </a:cubicBezTo>
                  <a:cubicBezTo>
                    <a:pt x="3442" y="23478"/>
                    <a:pt x="3442" y="23478"/>
                    <a:pt x="3442" y="23478"/>
                  </a:cubicBezTo>
                  <a:cubicBezTo>
                    <a:pt x="6885" y="22173"/>
                    <a:pt x="9836" y="24782"/>
                    <a:pt x="11311" y="24782"/>
                  </a:cubicBezTo>
                  <a:cubicBezTo>
                    <a:pt x="14262" y="25434"/>
                    <a:pt x="7868" y="30000"/>
                    <a:pt x="8852" y="30000"/>
                  </a:cubicBezTo>
                  <a:cubicBezTo>
                    <a:pt x="9836" y="29347"/>
                    <a:pt x="8852" y="33260"/>
                    <a:pt x="10327" y="33913"/>
                  </a:cubicBezTo>
                  <a:cubicBezTo>
                    <a:pt x="12786" y="34565"/>
                    <a:pt x="14754" y="31956"/>
                    <a:pt x="17704" y="31956"/>
                  </a:cubicBezTo>
                  <a:cubicBezTo>
                    <a:pt x="20163" y="31304"/>
                    <a:pt x="23114" y="33260"/>
                    <a:pt x="24098" y="31956"/>
                  </a:cubicBezTo>
                  <a:cubicBezTo>
                    <a:pt x="26065" y="28695"/>
                    <a:pt x="33934" y="35217"/>
                    <a:pt x="37868" y="31956"/>
                  </a:cubicBezTo>
                  <a:cubicBezTo>
                    <a:pt x="40327" y="29347"/>
                    <a:pt x="50163" y="28043"/>
                    <a:pt x="53606" y="28043"/>
                  </a:cubicBezTo>
                  <a:cubicBezTo>
                    <a:pt x="62459" y="27391"/>
                    <a:pt x="62950" y="27391"/>
                    <a:pt x="66885" y="24130"/>
                  </a:cubicBezTo>
                  <a:cubicBezTo>
                    <a:pt x="66885" y="24130"/>
                    <a:pt x="69344" y="16956"/>
                    <a:pt x="70819" y="13695"/>
                  </a:cubicBezTo>
                  <a:cubicBezTo>
                    <a:pt x="71803" y="11086"/>
                    <a:pt x="74754" y="9782"/>
                    <a:pt x="77704" y="7173"/>
                  </a:cubicBezTo>
                  <a:cubicBezTo>
                    <a:pt x="80163" y="4565"/>
                    <a:pt x="86557" y="1956"/>
                    <a:pt x="88032" y="1304"/>
                  </a:cubicBezTo>
                  <a:cubicBezTo>
                    <a:pt x="89508" y="1304"/>
                    <a:pt x="99836" y="1956"/>
                    <a:pt x="99836" y="1956"/>
                  </a:cubicBezTo>
                  <a:cubicBezTo>
                    <a:pt x="105245" y="0"/>
                    <a:pt x="105245" y="0"/>
                    <a:pt x="105245" y="0"/>
                  </a:cubicBezTo>
                  <a:cubicBezTo>
                    <a:pt x="105245" y="0"/>
                    <a:pt x="106229" y="5217"/>
                    <a:pt x="107704" y="5869"/>
                  </a:cubicBezTo>
                  <a:cubicBezTo>
                    <a:pt x="112131" y="6521"/>
                    <a:pt x="115573" y="6521"/>
                    <a:pt x="117049" y="5217"/>
                  </a:cubicBezTo>
                  <a:cubicBezTo>
                    <a:pt x="117540" y="5217"/>
                    <a:pt x="117540" y="6521"/>
                    <a:pt x="118032" y="7173"/>
                  </a:cubicBezTo>
                  <a:cubicBezTo>
                    <a:pt x="118524" y="8478"/>
                    <a:pt x="119016" y="11086"/>
                    <a:pt x="119016" y="11086"/>
                  </a:cubicBezTo>
                  <a:cubicBezTo>
                    <a:pt x="118524" y="14347"/>
                    <a:pt x="118524" y="14347"/>
                    <a:pt x="118524" y="14347"/>
                  </a:cubicBezTo>
                  <a:cubicBezTo>
                    <a:pt x="118032" y="15000"/>
                    <a:pt x="118032" y="15000"/>
                    <a:pt x="118032" y="15000"/>
                  </a:cubicBezTo>
                  <a:cubicBezTo>
                    <a:pt x="115573" y="16956"/>
                    <a:pt x="115573" y="16956"/>
                    <a:pt x="115573" y="16956"/>
                  </a:cubicBezTo>
                  <a:cubicBezTo>
                    <a:pt x="115573" y="16956"/>
                    <a:pt x="114590" y="16956"/>
                    <a:pt x="114098" y="17608"/>
                  </a:cubicBezTo>
                  <a:cubicBezTo>
                    <a:pt x="113606" y="17608"/>
                    <a:pt x="112622" y="18260"/>
                    <a:pt x="112622" y="18260"/>
                  </a:cubicBezTo>
                  <a:cubicBezTo>
                    <a:pt x="112622" y="18260"/>
                    <a:pt x="111639" y="19565"/>
                    <a:pt x="111639" y="20217"/>
                  </a:cubicBezTo>
                  <a:cubicBezTo>
                    <a:pt x="111147" y="21521"/>
                    <a:pt x="110655" y="23478"/>
                    <a:pt x="110655" y="23478"/>
                  </a:cubicBezTo>
                  <a:cubicBezTo>
                    <a:pt x="109672" y="26739"/>
                    <a:pt x="109672" y="26739"/>
                    <a:pt x="109672" y="26739"/>
                  </a:cubicBezTo>
                  <a:cubicBezTo>
                    <a:pt x="109672" y="31304"/>
                    <a:pt x="109672" y="31304"/>
                    <a:pt x="109672" y="31304"/>
                  </a:cubicBezTo>
                  <a:cubicBezTo>
                    <a:pt x="110655" y="36521"/>
                    <a:pt x="110655" y="36521"/>
                    <a:pt x="110655" y="36521"/>
                  </a:cubicBezTo>
                  <a:cubicBezTo>
                    <a:pt x="111639" y="42391"/>
                    <a:pt x="111639" y="42391"/>
                    <a:pt x="111639" y="42391"/>
                  </a:cubicBezTo>
                  <a:cubicBezTo>
                    <a:pt x="111639" y="42391"/>
                    <a:pt x="110163" y="44347"/>
                    <a:pt x="109672" y="44347"/>
                  </a:cubicBezTo>
                  <a:cubicBezTo>
                    <a:pt x="109672" y="44347"/>
                    <a:pt x="109180" y="45000"/>
                    <a:pt x="109180" y="45000"/>
                  </a:cubicBezTo>
                  <a:cubicBezTo>
                    <a:pt x="109180" y="46304"/>
                    <a:pt x="109180" y="46304"/>
                    <a:pt x="109180" y="46304"/>
                  </a:cubicBezTo>
                  <a:cubicBezTo>
                    <a:pt x="108688" y="48260"/>
                    <a:pt x="108688" y="48260"/>
                    <a:pt x="108688" y="48260"/>
                  </a:cubicBezTo>
                  <a:cubicBezTo>
                    <a:pt x="108196" y="49565"/>
                    <a:pt x="108196" y="49565"/>
                    <a:pt x="108196" y="49565"/>
                  </a:cubicBezTo>
                  <a:cubicBezTo>
                    <a:pt x="108196" y="49565"/>
                    <a:pt x="107704" y="50869"/>
                    <a:pt x="107213" y="50869"/>
                  </a:cubicBezTo>
                  <a:cubicBezTo>
                    <a:pt x="106721" y="51521"/>
                    <a:pt x="105737" y="52826"/>
                    <a:pt x="105737" y="52826"/>
                  </a:cubicBezTo>
                  <a:cubicBezTo>
                    <a:pt x="106229" y="54130"/>
                    <a:pt x="106229" y="54130"/>
                    <a:pt x="106229" y="54130"/>
                  </a:cubicBezTo>
                  <a:cubicBezTo>
                    <a:pt x="111639" y="55434"/>
                    <a:pt x="111639" y="55434"/>
                    <a:pt x="111639" y="55434"/>
                  </a:cubicBezTo>
                  <a:cubicBezTo>
                    <a:pt x="111639" y="56739"/>
                    <a:pt x="111639" y="56739"/>
                    <a:pt x="111639" y="56739"/>
                  </a:cubicBezTo>
                  <a:cubicBezTo>
                    <a:pt x="114098" y="60000"/>
                    <a:pt x="114098" y="60000"/>
                    <a:pt x="114098" y="60000"/>
                  </a:cubicBezTo>
                  <a:cubicBezTo>
                    <a:pt x="115573" y="63260"/>
                    <a:pt x="115573" y="63260"/>
                    <a:pt x="115573" y="63260"/>
                  </a:cubicBezTo>
                  <a:cubicBezTo>
                    <a:pt x="118032" y="64565"/>
                    <a:pt x="118032" y="64565"/>
                    <a:pt x="118032" y="64565"/>
                  </a:cubicBezTo>
                  <a:cubicBezTo>
                    <a:pt x="118032" y="64565"/>
                    <a:pt x="120000" y="66521"/>
                    <a:pt x="120000" y="66521"/>
                  </a:cubicBezTo>
                  <a:cubicBezTo>
                    <a:pt x="119508" y="67173"/>
                    <a:pt x="117049" y="68478"/>
                    <a:pt x="117049" y="68478"/>
                  </a:cubicBezTo>
                  <a:cubicBezTo>
                    <a:pt x="115573" y="69782"/>
                    <a:pt x="115573" y="69782"/>
                    <a:pt x="115573" y="69782"/>
                  </a:cubicBezTo>
                  <a:cubicBezTo>
                    <a:pt x="115573" y="69782"/>
                    <a:pt x="114590" y="69782"/>
                    <a:pt x="113606" y="70434"/>
                  </a:cubicBezTo>
                  <a:cubicBezTo>
                    <a:pt x="113114" y="71086"/>
                    <a:pt x="110163" y="73043"/>
                    <a:pt x="110163" y="73043"/>
                  </a:cubicBezTo>
                  <a:cubicBezTo>
                    <a:pt x="106229" y="69782"/>
                    <a:pt x="106229" y="69782"/>
                    <a:pt x="106229" y="69782"/>
                  </a:cubicBezTo>
                  <a:cubicBezTo>
                    <a:pt x="103770" y="69130"/>
                    <a:pt x="103770" y="69130"/>
                    <a:pt x="103770" y="69130"/>
                  </a:cubicBezTo>
                  <a:cubicBezTo>
                    <a:pt x="102786" y="71086"/>
                    <a:pt x="102786" y="71086"/>
                    <a:pt x="102786" y="71086"/>
                  </a:cubicBezTo>
                  <a:cubicBezTo>
                    <a:pt x="100327" y="71739"/>
                    <a:pt x="100327" y="71739"/>
                    <a:pt x="100327" y="71739"/>
                  </a:cubicBezTo>
                  <a:cubicBezTo>
                    <a:pt x="98852" y="75000"/>
                    <a:pt x="98852" y="75000"/>
                    <a:pt x="98852" y="75000"/>
                  </a:cubicBezTo>
                  <a:cubicBezTo>
                    <a:pt x="98852" y="75000"/>
                    <a:pt x="95409" y="76304"/>
                    <a:pt x="94426" y="76956"/>
                  </a:cubicBezTo>
                  <a:cubicBezTo>
                    <a:pt x="93934" y="77608"/>
                    <a:pt x="91967" y="79565"/>
                    <a:pt x="91967" y="79565"/>
                  </a:cubicBezTo>
                  <a:cubicBezTo>
                    <a:pt x="92459" y="82173"/>
                    <a:pt x="92459" y="82173"/>
                    <a:pt x="92459" y="82173"/>
                  </a:cubicBezTo>
                  <a:cubicBezTo>
                    <a:pt x="90491" y="84130"/>
                    <a:pt x="90491" y="84130"/>
                    <a:pt x="90491" y="84130"/>
                  </a:cubicBezTo>
                  <a:cubicBezTo>
                    <a:pt x="90491" y="84130"/>
                    <a:pt x="89016" y="84782"/>
                    <a:pt x="88524" y="86086"/>
                  </a:cubicBezTo>
                  <a:cubicBezTo>
                    <a:pt x="88524" y="87391"/>
                    <a:pt x="89016" y="88043"/>
                    <a:pt x="89016" y="88043"/>
                  </a:cubicBezTo>
                  <a:cubicBezTo>
                    <a:pt x="88032" y="88043"/>
                    <a:pt x="86557" y="88695"/>
                    <a:pt x="86065" y="89347"/>
                  </a:cubicBezTo>
                  <a:cubicBezTo>
                    <a:pt x="85573" y="89347"/>
                    <a:pt x="85573" y="90652"/>
                    <a:pt x="86065" y="91956"/>
                  </a:cubicBezTo>
                  <a:cubicBezTo>
                    <a:pt x="86065" y="92608"/>
                    <a:pt x="87049" y="93913"/>
                    <a:pt x="88032" y="95869"/>
                  </a:cubicBezTo>
                  <a:cubicBezTo>
                    <a:pt x="88524" y="97826"/>
                    <a:pt x="89016" y="97826"/>
                    <a:pt x="89016" y="98478"/>
                  </a:cubicBezTo>
                  <a:cubicBezTo>
                    <a:pt x="89016" y="99130"/>
                    <a:pt x="88524" y="101086"/>
                    <a:pt x="88032" y="101739"/>
                  </a:cubicBezTo>
                  <a:cubicBezTo>
                    <a:pt x="87049" y="103043"/>
                    <a:pt x="86065" y="103043"/>
                    <a:pt x="85573" y="103043"/>
                  </a:cubicBezTo>
                  <a:cubicBezTo>
                    <a:pt x="85081" y="103695"/>
                    <a:pt x="83606" y="105000"/>
                    <a:pt x="83114" y="105000"/>
                  </a:cubicBezTo>
                  <a:cubicBezTo>
                    <a:pt x="82622" y="105652"/>
                    <a:pt x="80163" y="106304"/>
                    <a:pt x="79672" y="106304"/>
                  </a:cubicBezTo>
                  <a:cubicBezTo>
                    <a:pt x="79180" y="106304"/>
                    <a:pt x="76229" y="107608"/>
                    <a:pt x="76229" y="107608"/>
                  </a:cubicBezTo>
                  <a:cubicBezTo>
                    <a:pt x="73770" y="108913"/>
                    <a:pt x="73770" y="108913"/>
                    <a:pt x="73770" y="108913"/>
                  </a:cubicBezTo>
                  <a:cubicBezTo>
                    <a:pt x="72295" y="110217"/>
                    <a:pt x="72295" y="110217"/>
                    <a:pt x="72295" y="110217"/>
                  </a:cubicBezTo>
                  <a:cubicBezTo>
                    <a:pt x="68360" y="108913"/>
                    <a:pt x="68360" y="108913"/>
                    <a:pt x="68360" y="108913"/>
                  </a:cubicBezTo>
                  <a:cubicBezTo>
                    <a:pt x="63442" y="106956"/>
                    <a:pt x="63442" y="106956"/>
                    <a:pt x="63442" y="106956"/>
                  </a:cubicBezTo>
                  <a:cubicBezTo>
                    <a:pt x="63442" y="106956"/>
                    <a:pt x="60983" y="109565"/>
                    <a:pt x="60491" y="109565"/>
                  </a:cubicBezTo>
                  <a:cubicBezTo>
                    <a:pt x="60000" y="109565"/>
                    <a:pt x="57049" y="106956"/>
                    <a:pt x="57049" y="106956"/>
                  </a:cubicBezTo>
                  <a:cubicBezTo>
                    <a:pt x="55573" y="103695"/>
                    <a:pt x="55573" y="103695"/>
                    <a:pt x="55573" y="103695"/>
                  </a:cubicBezTo>
                  <a:cubicBezTo>
                    <a:pt x="55573" y="103695"/>
                    <a:pt x="52622" y="104347"/>
                    <a:pt x="52131" y="104347"/>
                  </a:cubicBezTo>
                  <a:cubicBezTo>
                    <a:pt x="51639" y="104347"/>
                    <a:pt x="51147" y="105652"/>
                    <a:pt x="51147" y="106304"/>
                  </a:cubicBezTo>
                  <a:cubicBezTo>
                    <a:pt x="50655" y="106304"/>
                    <a:pt x="49672" y="106304"/>
                    <a:pt x="48688" y="106304"/>
                  </a:cubicBezTo>
                  <a:cubicBezTo>
                    <a:pt x="47213" y="106304"/>
                    <a:pt x="46229" y="107608"/>
                    <a:pt x="46229" y="107608"/>
                  </a:cubicBezTo>
                  <a:cubicBezTo>
                    <a:pt x="45245" y="110217"/>
                    <a:pt x="45245" y="110217"/>
                    <a:pt x="45245" y="110217"/>
                  </a:cubicBezTo>
                  <a:cubicBezTo>
                    <a:pt x="45245" y="110217"/>
                    <a:pt x="42786" y="111521"/>
                    <a:pt x="42786" y="111521"/>
                  </a:cubicBezTo>
                  <a:cubicBezTo>
                    <a:pt x="42295" y="112173"/>
                    <a:pt x="37868" y="114130"/>
                    <a:pt x="37868" y="114130"/>
                  </a:cubicBezTo>
                  <a:cubicBezTo>
                    <a:pt x="34426" y="115434"/>
                    <a:pt x="34426" y="115434"/>
                    <a:pt x="34426" y="115434"/>
                  </a:cubicBezTo>
                  <a:cubicBezTo>
                    <a:pt x="34426" y="115434"/>
                    <a:pt x="33442" y="116086"/>
                    <a:pt x="32950" y="115434"/>
                  </a:cubicBezTo>
                  <a:cubicBezTo>
                    <a:pt x="32459" y="115434"/>
                    <a:pt x="30983" y="117391"/>
                    <a:pt x="30983" y="117391"/>
                  </a:cubicBezTo>
                  <a:cubicBezTo>
                    <a:pt x="28032" y="120000"/>
                    <a:pt x="28032" y="120000"/>
                    <a:pt x="28032" y="120000"/>
                  </a:cubicBezTo>
                  <a:cubicBezTo>
                    <a:pt x="25081" y="120000"/>
                    <a:pt x="25081" y="120000"/>
                    <a:pt x="25081" y="120000"/>
                  </a:cubicBezTo>
                  <a:cubicBezTo>
                    <a:pt x="25081" y="120000"/>
                    <a:pt x="25081" y="119347"/>
                    <a:pt x="25081" y="119347"/>
                  </a:cubicBezTo>
                  <a:cubicBezTo>
                    <a:pt x="25081" y="119347"/>
                    <a:pt x="25081" y="119347"/>
                    <a:pt x="25081" y="119347"/>
                  </a:cubicBezTo>
                  <a:cubicBezTo>
                    <a:pt x="25081" y="118695"/>
                    <a:pt x="25081" y="118695"/>
                    <a:pt x="25081" y="118695"/>
                  </a:cubicBezTo>
                  <a:cubicBezTo>
                    <a:pt x="25081" y="118043"/>
                    <a:pt x="24590" y="117391"/>
                    <a:pt x="24590" y="116086"/>
                  </a:cubicBezTo>
                  <a:cubicBezTo>
                    <a:pt x="24098" y="114782"/>
                    <a:pt x="23606" y="113478"/>
                    <a:pt x="23606" y="112173"/>
                  </a:cubicBezTo>
                  <a:cubicBezTo>
                    <a:pt x="23606" y="111521"/>
                    <a:pt x="24098" y="110869"/>
                    <a:pt x="24098" y="110217"/>
                  </a:cubicBezTo>
                  <a:cubicBezTo>
                    <a:pt x="24098" y="110217"/>
                    <a:pt x="24098" y="110217"/>
                    <a:pt x="24098" y="110217"/>
                  </a:cubicBezTo>
                  <a:cubicBezTo>
                    <a:pt x="24590" y="109565"/>
                    <a:pt x="24590" y="108913"/>
                    <a:pt x="24590" y="107608"/>
                  </a:cubicBezTo>
                  <a:cubicBezTo>
                    <a:pt x="24098" y="105000"/>
                    <a:pt x="22131" y="105000"/>
                    <a:pt x="21639" y="102391"/>
                  </a:cubicBezTo>
                  <a:cubicBezTo>
                    <a:pt x="21147" y="100434"/>
                    <a:pt x="19180" y="98478"/>
                    <a:pt x="19180" y="97826"/>
                  </a:cubicBezTo>
                  <a:cubicBezTo>
                    <a:pt x="15737" y="95217"/>
                    <a:pt x="13770" y="95869"/>
                    <a:pt x="11803" y="93260"/>
                  </a:cubicBezTo>
                  <a:cubicBezTo>
                    <a:pt x="11311" y="92608"/>
                    <a:pt x="10819" y="91956"/>
                    <a:pt x="10819" y="91304"/>
                  </a:cubicBezTo>
                  <a:cubicBezTo>
                    <a:pt x="11311" y="90652"/>
                    <a:pt x="11311" y="90652"/>
                    <a:pt x="11311" y="90652"/>
                  </a:cubicBezTo>
                  <a:cubicBezTo>
                    <a:pt x="11311" y="90652"/>
                    <a:pt x="10819" y="90652"/>
                    <a:pt x="10327" y="90000"/>
                  </a:cubicBezTo>
                  <a:cubicBezTo>
                    <a:pt x="9836" y="89347"/>
                    <a:pt x="9344" y="88695"/>
                    <a:pt x="8852" y="88043"/>
                  </a:cubicBezTo>
                  <a:cubicBezTo>
                    <a:pt x="8852" y="88043"/>
                    <a:pt x="8852" y="88043"/>
                    <a:pt x="8852" y="88043"/>
                  </a:cubicBezTo>
                  <a:cubicBezTo>
                    <a:pt x="9344" y="88043"/>
                    <a:pt x="9836" y="86739"/>
                    <a:pt x="9836" y="86739"/>
                  </a:cubicBezTo>
                  <a:cubicBezTo>
                    <a:pt x="10327" y="84782"/>
                    <a:pt x="10327" y="84782"/>
                    <a:pt x="10327" y="84782"/>
                  </a:cubicBezTo>
                  <a:cubicBezTo>
                    <a:pt x="10819" y="83478"/>
                    <a:pt x="10819" y="83478"/>
                    <a:pt x="10819" y="83478"/>
                  </a:cubicBezTo>
                  <a:cubicBezTo>
                    <a:pt x="10819" y="83478"/>
                    <a:pt x="10327" y="81521"/>
                    <a:pt x="9836" y="81521"/>
                  </a:cubicBezTo>
                  <a:cubicBezTo>
                    <a:pt x="9836" y="80869"/>
                    <a:pt x="8360" y="80217"/>
                    <a:pt x="8360" y="80217"/>
                  </a:cubicBezTo>
                  <a:cubicBezTo>
                    <a:pt x="8360" y="76956"/>
                    <a:pt x="8360" y="76956"/>
                    <a:pt x="8360" y="76956"/>
                  </a:cubicBezTo>
                  <a:cubicBezTo>
                    <a:pt x="7868" y="73695"/>
                    <a:pt x="7868" y="73695"/>
                    <a:pt x="7868" y="73695"/>
                  </a:cubicBezTo>
                  <a:cubicBezTo>
                    <a:pt x="6885" y="71739"/>
                    <a:pt x="6885" y="71739"/>
                    <a:pt x="6885" y="71739"/>
                  </a:cubicBezTo>
                  <a:cubicBezTo>
                    <a:pt x="6885" y="71739"/>
                    <a:pt x="7868" y="70434"/>
                    <a:pt x="8360" y="69782"/>
                  </a:cubicBezTo>
                  <a:cubicBezTo>
                    <a:pt x="8360" y="69782"/>
                    <a:pt x="8852" y="69130"/>
                    <a:pt x="9344" y="69130"/>
                  </a:cubicBezTo>
                  <a:cubicBezTo>
                    <a:pt x="9836" y="68478"/>
                    <a:pt x="10819" y="68478"/>
                    <a:pt x="11311" y="68478"/>
                  </a:cubicBezTo>
                  <a:cubicBezTo>
                    <a:pt x="11803" y="68478"/>
                    <a:pt x="12786" y="67173"/>
                    <a:pt x="12786" y="67173"/>
                  </a:cubicBezTo>
                  <a:cubicBezTo>
                    <a:pt x="12786" y="67173"/>
                    <a:pt x="12786" y="65217"/>
                    <a:pt x="12295" y="64565"/>
                  </a:cubicBezTo>
                  <a:cubicBezTo>
                    <a:pt x="12295" y="63260"/>
                    <a:pt x="13278" y="61956"/>
                    <a:pt x="13278" y="61956"/>
                  </a:cubicBezTo>
                  <a:cubicBezTo>
                    <a:pt x="13278" y="61956"/>
                    <a:pt x="14754" y="59347"/>
                    <a:pt x="15245" y="58695"/>
                  </a:cubicBezTo>
                  <a:cubicBezTo>
                    <a:pt x="15737" y="58043"/>
                    <a:pt x="16229" y="54782"/>
                    <a:pt x="16229" y="54782"/>
                  </a:cubicBezTo>
                  <a:cubicBezTo>
                    <a:pt x="14262" y="54782"/>
                    <a:pt x="14262" y="54782"/>
                    <a:pt x="14262" y="54782"/>
                  </a:cubicBezTo>
                  <a:cubicBezTo>
                    <a:pt x="12295" y="54130"/>
                    <a:pt x="12295" y="54130"/>
                    <a:pt x="12295" y="54130"/>
                  </a:cubicBezTo>
                  <a:cubicBezTo>
                    <a:pt x="12295" y="54130"/>
                    <a:pt x="10327" y="50217"/>
                    <a:pt x="10327" y="50217"/>
                  </a:cubicBezTo>
                  <a:cubicBezTo>
                    <a:pt x="10327" y="49565"/>
                    <a:pt x="9344" y="49565"/>
                    <a:pt x="9344" y="49565"/>
                  </a:cubicBezTo>
                  <a:cubicBezTo>
                    <a:pt x="9344" y="49565"/>
                    <a:pt x="7377" y="48260"/>
                    <a:pt x="7377" y="48260"/>
                  </a:cubicBezTo>
                  <a:cubicBezTo>
                    <a:pt x="6885" y="48260"/>
                    <a:pt x="5409" y="47608"/>
                    <a:pt x="5409" y="47608"/>
                  </a:cubicBezTo>
                  <a:cubicBezTo>
                    <a:pt x="5409" y="47608"/>
                    <a:pt x="3442" y="44347"/>
                    <a:pt x="2950" y="43043"/>
                  </a:cubicBezTo>
                  <a:cubicBezTo>
                    <a:pt x="2459" y="41739"/>
                    <a:pt x="1967" y="41086"/>
                    <a:pt x="1967" y="41086"/>
                  </a:cubicBezTo>
                  <a:cubicBezTo>
                    <a:pt x="1967" y="41086"/>
                    <a:pt x="1475" y="39782"/>
                    <a:pt x="983" y="39130"/>
                  </a:cubicBezTo>
                  <a:cubicBezTo>
                    <a:pt x="491" y="38478"/>
                    <a:pt x="491" y="37173"/>
                    <a:pt x="491" y="37173"/>
                  </a:cubicBezTo>
                  <a:cubicBezTo>
                    <a:pt x="491" y="37173"/>
                    <a:pt x="983" y="35217"/>
                    <a:pt x="491" y="33913"/>
                  </a:cubicBezTo>
                  <a:cubicBezTo>
                    <a:pt x="491" y="33260"/>
                    <a:pt x="0" y="30652"/>
                    <a:pt x="491" y="30652"/>
                  </a:cubicBezTo>
                  <a:cubicBezTo>
                    <a:pt x="983" y="29347"/>
                    <a:pt x="1475" y="28043"/>
                    <a:pt x="2459" y="27391"/>
                  </a:cubicBezTo>
                  <a:cubicBezTo>
                    <a:pt x="2950" y="27391"/>
                    <a:pt x="2950" y="27391"/>
                    <a:pt x="3442" y="27391"/>
                  </a:cubicBezTo>
                  <a:cubicBezTo>
                    <a:pt x="3934" y="27391"/>
                    <a:pt x="3442" y="25434"/>
                    <a:pt x="3442" y="25434"/>
                  </a:cubicBezTo>
                  <a:lnTo>
                    <a:pt x="3442" y="24782"/>
                  </a:lnTo>
                  <a:close/>
                </a:path>
              </a:pathLst>
            </a:custGeom>
            <a:solidFill>
              <a:srgbClr val="00B050"/>
            </a:solidFill>
            <a:ln w="3175" cap="flat" cmpd="sng">
              <a:solidFill>
                <a:schemeClr val="tx1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defTabSz="457200"/>
              <a:endParaRPr kern="0">
                <a:solidFill>
                  <a:srgbClr val="7F7F7F"/>
                </a:solidFill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44" name="Shape 2040">
              <a:extLst>
                <a:ext uri="{FF2B5EF4-FFF2-40B4-BE49-F238E27FC236}">
                  <a16:creationId xmlns:a16="http://schemas.microsoft.com/office/drawing/2014/main" id="{DD812FCB-5AE7-CBB1-A45D-E1D65686A160}"/>
                </a:ext>
              </a:extLst>
            </p:cNvPr>
            <p:cNvSpPr/>
            <p:nvPr/>
          </p:nvSpPr>
          <p:spPr>
            <a:xfrm>
              <a:off x="4116982" y="3144230"/>
              <a:ext cx="585411" cy="288632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80430" y="20281"/>
                  </a:moveTo>
                  <a:cubicBezTo>
                    <a:pt x="80430" y="20281"/>
                    <a:pt x="80430" y="15211"/>
                    <a:pt x="80860" y="15211"/>
                  </a:cubicBezTo>
                  <a:cubicBezTo>
                    <a:pt x="81290" y="15211"/>
                    <a:pt x="82150" y="12676"/>
                    <a:pt x="82150" y="12676"/>
                  </a:cubicBezTo>
                  <a:cubicBezTo>
                    <a:pt x="83440" y="11830"/>
                    <a:pt x="83440" y="11830"/>
                    <a:pt x="83440" y="11830"/>
                  </a:cubicBezTo>
                  <a:cubicBezTo>
                    <a:pt x="83440" y="11830"/>
                    <a:pt x="84301" y="10140"/>
                    <a:pt x="84301" y="8450"/>
                  </a:cubicBezTo>
                  <a:cubicBezTo>
                    <a:pt x="83870" y="7605"/>
                    <a:pt x="84301" y="3380"/>
                    <a:pt x="84301" y="3380"/>
                  </a:cubicBezTo>
                  <a:cubicBezTo>
                    <a:pt x="84301" y="3380"/>
                    <a:pt x="83870" y="845"/>
                    <a:pt x="84301" y="845"/>
                  </a:cubicBezTo>
                  <a:cubicBezTo>
                    <a:pt x="85161" y="0"/>
                    <a:pt x="86451" y="1690"/>
                    <a:pt x="86451" y="1690"/>
                  </a:cubicBezTo>
                  <a:cubicBezTo>
                    <a:pt x="88602" y="2535"/>
                    <a:pt x="88602" y="2535"/>
                    <a:pt x="88602" y="2535"/>
                  </a:cubicBezTo>
                  <a:cubicBezTo>
                    <a:pt x="88602" y="2535"/>
                    <a:pt x="89462" y="2535"/>
                    <a:pt x="89892" y="2535"/>
                  </a:cubicBezTo>
                  <a:cubicBezTo>
                    <a:pt x="90322" y="2535"/>
                    <a:pt x="92043" y="3380"/>
                    <a:pt x="92043" y="3380"/>
                  </a:cubicBezTo>
                  <a:cubicBezTo>
                    <a:pt x="92043" y="3380"/>
                    <a:pt x="93763" y="4225"/>
                    <a:pt x="94193" y="4225"/>
                  </a:cubicBezTo>
                  <a:cubicBezTo>
                    <a:pt x="94623" y="4225"/>
                    <a:pt x="96344" y="4225"/>
                    <a:pt x="96344" y="4225"/>
                  </a:cubicBezTo>
                  <a:cubicBezTo>
                    <a:pt x="97204" y="5070"/>
                    <a:pt x="97204" y="5070"/>
                    <a:pt x="97204" y="5070"/>
                  </a:cubicBezTo>
                  <a:cubicBezTo>
                    <a:pt x="100215" y="7605"/>
                    <a:pt x="100215" y="7605"/>
                    <a:pt x="100215" y="7605"/>
                  </a:cubicBezTo>
                  <a:cubicBezTo>
                    <a:pt x="101935" y="9295"/>
                    <a:pt x="101935" y="9295"/>
                    <a:pt x="101935" y="9295"/>
                  </a:cubicBezTo>
                  <a:cubicBezTo>
                    <a:pt x="106666" y="10140"/>
                    <a:pt x="106666" y="10140"/>
                    <a:pt x="106666" y="10140"/>
                  </a:cubicBezTo>
                  <a:cubicBezTo>
                    <a:pt x="107096" y="6760"/>
                    <a:pt x="107096" y="6760"/>
                    <a:pt x="107096" y="6760"/>
                  </a:cubicBezTo>
                  <a:cubicBezTo>
                    <a:pt x="107096" y="6760"/>
                    <a:pt x="108817" y="5915"/>
                    <a:pt x="108817" y="6760"/>
                  </a:cubicBezTo>
                  <a:cubicBezTo>
                    <a:pt x="109247" y="6760"/>
                    <a:pt x="110107" y="8450"/>
                    <a:pt x="111397" y="9295"/>
                  </a:cubicBezTo>
                  <a:cubicBezTo>
                    <a:pt x="112688" y="9295"/>
                    <a:pt x="113978" y="8450"/>
                    <a:pt x="113978" y="8450"/>
                  </a:cubicBezTo>
                  <a:cubicBezTo>
                    <a:pt x="114838" y="13521"/>
                    <a:pt x="114838" y="13521"/>
                    <a:pt x="114838" y="13521"/>
                  </a:cubicBezTo>
                  <a:cubicBezTo>
                    <a:pt x="115698" y="14366"/>
                    <a:pt x="115698" y="14366"/>
                    <a:pt x="115698" y="14366"/>
                  </a:cubicBezTo>
                  <a:cubicBezTo>
                    <a:pt x="115268" y="14366"/>
                    <a:pt x="115268" y="14366"/>
                    <a:pt x="115268" y="14366"/>
                  </a:cubicBezTo>
                  <a:cubicBezTo>
                    <a:pt x="115268" y="16901"/>
                    <a:pt x="115268" y="16901"/>
                    <a:pt x="115268" y="16901"/>
                  </a:cubicBezTo>
                  <a:cubicBezTo>
                    <a:pt x="115698" y="17746"/>
                    <a:pt x="115698" y="17746"/>
                    <a:pt x="115698" y="17746"/>
                  </a:cubicBezTo>
                  <a:cubicBezTo>
                    <a:pt x="115698" y="17746"/>
                    <a:pt x="115268" y="19436"/>
                    <a:pt x="115268" y="19436"/>
                  </a:cubicBezTo>
                  <a:cubicBezTo>
                    <a:pt x="115268" y="19436"/>
                    <a:pt x="115268" y="21126"/>
                    <a:pt x="115268" y="21126"/>
                  </a:cubicBezTo>
                  <a:cubicBezTo>
                    <a:pt x="114408" y="22816"/>
                    <a:pt x="114408" y="22816"/>
                    <a:pt x="114408" y="22816"/>
                  </a:cubicBezTo>
                  <a:cubicBezTo>
                    <a:pt x="114408" y="24507"/>
                    <a:pt x="114408" y="24507"/>
                    <a:pt x="114408" y="24507"/>
                  </a:cubicBezTo>
                  <a:cubicBezTo>
                    <a:pt x="114408" y="24507"/>
                    <a:pt x="114408" y="27042"/>
                    <a:pt x="114408" y="27042"/>
                  </a:cubicBezTo>
                  <a:cubicBezTo>
                    <a:pt x="114408" y="27042"/>
                    <a:pt x="114838" y="27887"/>
                    <a:pt x="115268" y="27887"/>
                  </a:cubicBezTo>
                  <a:cubicBezTo>
                    <a:pt x="115268" y="27887"/>
                    <a:pt x="115268" y="28732"/>
                    <a:pt x="115268" y="28732"/>
                  </a:cubicBezTo>
                  <a:cubicBezTo>
                    <a:pt x="115268" y="28732"/>
                    <a:pt x="115698" y="29577"/>
                    <a:pt x="116129" y="30422"/>
                  </a:cubicBezTo>
                  <a:cubicBezTo>
                    <a:pt x="116129" y="30422"/>
                    <a:pt x="116129" y="30422"/>
                    <a:pt x="116129" y="30422"/>
                  </a:cubicBezTo>
                  <a:cubicBezTo>
                    <a:pt x="116129" y="30422"/>
                    <a:pt x="116559" y="32112"/>
                    <a:pt x="116559" y="32957"/>
                  </a:cubicBezTo>
                  <a:cubicBezTo>
                    <a:pt x="116989" y="33802"/>
                    <a:pt x="116989" y="34647"/>
                    <a:pt x="116989" y="34647"/>
                  </a:cubicBezTo>
                  <a:cubicBezTo>
                    <a:pt x="116989" y="34647"/>
                    <a:pt x="117419" y="36338"/>
                    <a:pt x="117849" y="36338"/>
                  </a:cubicBezTo>
                  <a:cubicBezTo>
                    <a:pt x="117849" y="36338"/>
                    <a:pt x="118279" y="36338"/>
                    <a:pt x="118709" y="36338"/>
                  </a:cubicBezTo>
                  <a:cubicBezTo>
                    <a:pt x="118709" y="36338"/>
                    <a:pt x="119139" y="36338"/>
                    <a:pt x="119139" y="36338"/>
                  </a:cubicBezTo>
                  <a:cubicBezTo>
                    <a:pt x="119139" y="37183"/>
                    <a:pt x="118709" y="42253"/>
                    <a:pt x="118709" y="42253"/>
                  </a:cubicBezTo>
                  <a:cubicBezTo>
                    <a:pt x="119139" y="47323"/>
                    <a:pt x="119139" y="47323"/>
                    <a:pt x="119139" y="47323"/>
                  </a:cubicBezTo>
                  <a:cubicBezTo>
                    <a:pt x="119139" y="47323"/>
                    <a:pt x="118709" y="49859"/>
                    <a:pt x="118709" y="50704"/>
                  </a:cubicBezTo>
                  <a:cubicBezTo>
                    <a:pt x="119139" y="52394"/>
                    <a:pt x="120000" y="54084"/>
                    <a:pt x="118709" y="54929"/>
                  </a:cubicBezTo>
                  <a:cubicBezTo>
                    <a:pt x="117849" y="54929"/>
                    <a:pt x="116559" y="56619"/>
                    <a:pt x="116129" y="54929"/>
                  </a:cubicBezTo>
                  <a:cubicBezTo>
                    <a:pt x="116129" y="54929"/>
                    <a:pt x="115698" y="53239"/>
                    <a:pt x="115698" y="55774"/>
                  </a:cubicBezTo>
                  <a:cubicBezTo>
                    <a:pt x="116129" y="56619"/>
                    <a:pt x="114838" y="55774"/>
                    <a:pt x="114838" y="55774"/>
                  </a:cubicBezTo>
                  <a:cubicBezTo>
                    <a:pt x="111397" y="53239"/>
                    <a:pt x="111397" y="53239"/>
                    <a:pt x="111397" y="53239"/>
                  </a:cubicBezTo>
                  <a:cubicBezTo>
                    <a:pt x="110537" y="54929"/>
                    <a:pt x="110537" y="54929"/>
                    <a:pt x="110537" y="54929"/>
                  </a:cubicBezTo>
                  <a:cubicBezTo>
                    <a:pt x="108817" y="57464"/>
                    <a:pt x="108817" y="57464"/>
                    <a:pt x="108817" y="57464"/>
                  </a:cubicBezTo>
                  <a:cubicBezTo>
                    <a:pt x="111397" y="59154"/>
                    <a:pt x="111397" y="59154"/>
                    <a:pt x="111397" y="59154"/>
                  </a:cubicBezTo>
                  <a:cubicBezTo>
                    <a:pt x="112258" y="59154"/>
                    <a:pt x="112258" y="59154"/>
                    <a:pt x="112258" y="59154"/>
                  </a:cubicBezTo>
                  <a:cubicBezTo>
                    <a:pt x="114408" y="65915"/>
                    <a:pt x="114408" y="65915"/>
                    <a:pt x="114408" y="65915"/>
                  </a:cubicBezTo>
                  <a:cubicBezTo>
                    <a:pt x="111827" y="69295"/>
                    <a:pt x="111827" y="69295"/>
                    <a:pt x="111827" y="69295"/>
                  </a:cubicBezTo>
                  <a:cubicBezTo>
                    <a:pt x="111827" y="69295"/>
                    <a:pt x="110537" y="70985"/>
                    <a:pt x="110107" y="70985"/>
                  </a:cubicBezTo>
                  <a:cubicBezTo>
                    <a:pt x="109677" y="70985"/>
                    <a:pt x="109247" y="71830"/>
                    <a:pt x="109247" y="71830"/>
                  </a:cubicBezTo>
                  <a:cubicBezTo>
                    <a:pt x="110537" y="76901"/>
                    <a:pt x="110537" y="76901"/>
                    <a:pt x="110537" y="76901"/>
                  </a:cubicBezTo>
                  <a:cubicBezTo>
                    <a:pt x="110537" y="78591"/>
                    <a:pt x="110537" y="78591"/>
                    <a:pt x="110537" y="78591"/>
                  </a:cubicBezTo>
                  <a:cubicBezTo>
                    <a:pt x="110967" y="83661"/>
                    <a:pt x="110967" y="83661"/>
                    <a:pt x="110967" y="83661"/>
                  </a:cubicBezTo>
                  <a:cubicBezTo>
                    <a:pt x="109677" y="87887"/>
                    <a:pt x="109677" y="87887"/>
                    <a:pt x="109677" y="87887"/>
                  </a:cubicBezTo>
                  <a:cubicBezTo>
                    <a:pt x="108387" y="88732"/>
                    <a:pt x="108387" y="88732"/>
                    <a:pt x="108387" y="88732"/>
                  </a:cubicBezTo>
                  <a:cubicBezTo>
                    <a:pt x="107096" y="94647"/>
                    <a:pt x="107096" y="94647"/>
                    <a:pt x="107096" y="94647"/>
                  </a:cubicBezTo>
                  <a:cubicBezTo>
                    <a:pt x="104946" y="97183"/>
                    <a:pt x="104946" y="97183"/>
                    <a:pt x="104946" y="97183"/>
                  </a:cubicBezTo>
                  <a:cubicBezTo>
                    <a:pt x="104516" y="100563"/>
                    <a:pt x="104516" y="100563"/>
                    <a:pt x="104516" y="100563"/>
                  </a:cubicBezTo>
                  <a:cubicBezTo>
                    <a:pt x="104946" y="105633"/>
                    <a:pt x="104946" y="105633"/>
                    <a:pt x="104946" y="105633"/>
                  </a:cubicBezTo>
                  <a:cubicBezTo>
                    <a:pt x="102365" y="102253"/>
                    <a:pt x="102365" y="102253"/>
                    <a:pt x="102365" y="102253"/>
                  </a:cubicBezTo>
                  <a:cubicBezTo>
                    <a:pt x="100215" y="103943"/>
                    <a:pt x="100215" y="103943"/>
                    <a:pt x="100215" y="103943"/>
                  </a:cubicBezTo>
                  <a:cubicBezTo>
                    <a:pt x="98924" y="104788"/>
                    <a:pt x="98924" y="104788"/>
                    <a:pt x="98924" y="104788"/>
                  </a:cubicBezTo>
                  <a:cubicBezTo>
                    <a:pt x="96344" y="108169"/>
                    <a:pt x="96344" y="108169"/>
                    <a:pt x="96344" y="108169"/>
                  </a:cubicBezTo>
                  <a:cubicBezTo>
                    <a:pt x="94193" y="106478"/>
                    <a:pt x="94193" y="106478"/>
                    <a:pt x="94193" y="106478"/>
                  </a:cubicBezTo>
                  <a:cubicBezTo>
                    <a:pt x="91182" y="108169"/>
                    <a:pt x="91182" y="108169"/>
                    <a:pt x="91182" y="108169"/>
                  </a:cubicBezTo>
                  <a:cubicBezTo>
                    <a:pt x="88602" y="108169"/>
                    <a:pt x="88602" y="108169"/>
                    <a:pt x="88602" y="108169"/>
                  </a:cubicBezTo>
                  <a:cubicBezTo>
                    <a:pt x="87311" y="109859"/>
                    <a:pt x="87311" y="109859"/>
                    <a:pt x="87311" y="109859"/>
                  </a:cubicBezTo>
                  <a:cubicBezTo>
                    <a:pt x="86451" y="113239"/>
                    <a:pt x="86451" y="113239"/>
                    <a:pt x="86451" y="113239"/>
                  </a:cubicBezTo>
                  <a:cubicBezTo>
                    <a:pt x="86021" y="114929"/>
                    <a:pt x="86021" y="114929"/>
                    <a:pt x="86021" y="114929"/>
                  </a:cubicBezTo>
                  <a:cubicBezTo>
                    <a:pt x="84301" y="115774"/>
                    <a:pt x="84301" y="115774"/>
                    <a:pt x="84301" y="115774"/>
                  </a:cubicBezTo>
                  <a:cubicBezTo>
                    <a:pt x="83440" y="118309"/>
                    <a:pt x="83440" y="118309"/>
                    <a:pt x="83440" y="118309"/>
                  </a:cubicBezTo>
                  <a:cubicBezTo>
                    <a:pt x="82150" y="120000"/>
                    <a:pt x="82150" y="120000"/>
                    <a:pt x="82150" y="120000"/>
                  </a:cubicBezTo>
                  <a:cubicBezTo>
                    <a:pt x="81290" y="120000"/>
                    <a:pt x="81290" y="120000"/>
                    <a:pt x="81290" y="120000"/>
                  </a:cubicBezTo>
                  <a:cubicBezTo>
                    <a:pt x="77419" y="120000"/>
                    <a:pt x="77419" y="120000"/>
                    <a:pt x="77419" y="120000"/>
                  </a:cubicBezTo>
                  <a:cubicBezTo>
                    <a:pt x="73118" y="119154"/>
                    <a:pt x="73118" y="119154"/>
                    <a:pt x="73118" y="119154"/>
                  </a:cubicBezTo>
                  <a:cubicBezTo>
                    <a:pt x="69247" y="116619"/>
                    <a:pt x="69247" y="116619"/>
                    <a:pt x="69247" y="116619"/>
                  </a:cubicBezTo>
                  <a:cubicBezTo>
                    <a:pt x="66236" y="117464"/>
                    <a:pt x="66236" y="117464"/>
                    <a:pt x="66236" y="117464"/>
                  </a:cubicBezTo>
                  <a:cubicBezTo>
                    <a:pt x="66236" y="117464"/>
                    <a:pt x="64086" y="116619"/>
                    <a:pt x="62795" y="116619"/>
                  </a:cubicBezTo>
                  <a:cubicBezTo>
                    <a:pt x="61075" y="116619"/>
                    <a:pt x="57634" y="114929"/>
                    <a:pt x="57634" y="114929"/>
                  </a:cubicBezTo>
                  <a:cubicBezTo>
                    <a:pt x="53333" y="112394"/>
                    <a:pt x="53333" y="112394"/>
                    <a:pt x="53333" y="112394"/>
                  </a:cubicBezTo>
                  <a:cubicBezTo>
                    <a:pt x="50752" y="112394"/>
                    <a:pt x="50752" y="112394"/>
                    <a:pt x="50752" y="112394"/>
                  </a:cubicBezTo>
                  <a:cubicBezTo>
                    <a:pt x="46881" y="111549"/>
                    <a:pt x="46881" y="111549"/>
                    <a:pt x="46881" y="111549"/>
                  </a:cubicBezTo>
                  <a:cubicBezTo>
                    <a:pt x="46881" y="111549"/>
                    <a:pt x="46451" y="109859"/>
                    <a:pt x="46021" y="109014"/>
                  </a:cubicBezTo>
                  <a:cubicBezTo>
                    <a:pt x="46021" y="108169"/>
                    <a:pt x="44731" y="106478"/>
                    <a:pt x="44731" y="106478"/>
                  </a:cubicBezTo>
                  <a:cubicBezTo>
                    <a:pt x="44731" y="104788"/>
                    <a:pt x="44731" y="104788"/>
                    <a:pt x="44731" y="104788"/>
                  </a:cubicBezTo>
                  <a:cubicBezTo>
                    <a:pt x="43870" y="100563"/>
                    <a:pt x="43870" y="100563"/>
                    <a:pt x="43870" y="100563"/>
                  </a:cubicBezTo>
                  <a:cubicBezTo>
                    <a:pt x="43010" y="97183"/>
                    <a:pt x="43010" y="97183"/>
                    <a:pt x="43010" y="97183"/>
                  </a:cubicBezTo>
                  <a:cubicBezTo>
                    <a:pt x="43870" y="94647"/>
                    <a:pt x="43870" y="94647"/>
                    <a:pt x="43870" y="94647"/>
                  </a:cubicBezTo>
                  <a:cubicBezTo>
                    <a:pt x="43010" y="93802"/>
                    <a:pt x="43010" y="93802"/>
                    <a:pt x="43010" y="93802"/>
                  </a:cubicBezTo>
                  <a:cubicBezTo>
                    <a:pt x="43010" y="93802"/>
                    <a:pt x="41290" y="94647"/>
                    <a:pt x="40430" y="94647"/>
                  </a:cubicBezTo>
                  <a:cubicBezTo>
                    <a:pt x="40000" y="95492"/>
                    <a:pt x="37419" y="96338"/>
                    <a:pt x="37419" y="96338"/>
                  </a:cubicBezTo>
                  <a:cubicBezTo>
                    <a:pt x="36559" y="97183"/>
                    <a:pt x="36559" y="97183"/>
                    <a:pt x="36559" y="97183"/>
                  </a:cubicBezTo>
                  <a:cubicBezTo>
                    <a:pt x="33118" y="97183"/>
                    <a:pt x="33118" y="97183"/>
                    <a:pt x="33118" y="97183"/>
                  </a:cubicBezTo>
                  <a:cubicBezTo>
                    <a:pt x="29677" y="98028"/>
                    <a:pt x="29677" y="98028"/>
                    <a:pt x="29677" y="98028"/>
                  </a:cubicBezTo>
                  <a:cubicBezTo>
                    <a:pt x="28387" y="99718"/>
                    <a:pt x="28387" y="99718"/>
                    <a:pt x="28387" y="99718"/>
                  </a:cubicBezTo>
                  <a:cubicBezTo>
                    <a:pt x="25806" y="102253"/>
                    <a:pt x="25806" y="102253"/>
                    <a:pt x="25806" y="102253"/>
                  </a:cubicBezTo>
                  <a:cubicBezTo>
                    <a:pt x="25806" y="105633"/>
                    <a:pt x="25806" y="105633"/>
                    <a:pt x="25806" y="105633"/>
                  </a:cubicBezTo>
                  <a:cubicBezTo>
                    <a:pt x="24516" y="109014"/>
                    <a:pt x="24516" y="109014"/>
                    <a:pt x="24516" y="109014"/>
                  </a:cubicBezTo>
                  <a:cubicBezTo>
                    <a:pt x="22365" y="109014"/>
                    <a:pt x="22365" y="109014"/>
                    <a:pt x="22365" y="109014"/>
                  </a:cubicBezTo>
                  <a:cubicBezTo>
                    <a:pt x="20215" y="105633"/>
                    <a:pt x="20215" y="105633"/>
                    <a:pt x="20215" y="105633"/>
                  </a:cubicBezTo>
                  <a:cubicBezTo>
                    <a:pt x="19354" y="107323"/>
                    <a:pt x="19354" y="107323"/>
                    <a:pt x="19354" y="107323"/>
                  </a:cubicBezTo>
                  <a:cubicBezTo>
                    <a:pt x="16774" y="106478"/>
                    <a:pt x="16774" y="106478"/>
                    <a:pt x="16774" y="106478"/>
                  </a:cubicBezTo>
                  <a:cubicBezTo>
                    <a:pt x="16344" y="107323"/>
                    <a:pt x="16344" y="107323"/>
                    <a:pt x="16344" y="107323"/>
                  </a:cubicBezTo>
                  <a:cubicBezTo>
                    <a:pt x="16344" y="107323"/>
                    <a:pt x="16344" y="106478"/>
                    <a:pt x="16344" y="106478"/>
                  </a:cubicBezTo>
                  <a:cubicBezTo>
                    <a:pt x="16344" y="105633"/>
                    <a:pt x="16774" y="103098"/>
                    <a:pt x="16774" y="103098"/>
                  </a:cubicBezTo>
                  <a:cubicBezTo>
                    <a:pt x="16774" y="103098"/>
                    <a:pt x="16774" y="102253"/>
                    <a:pt x="16774" y="101408"/>
                  </a:cubicBezTo>
                  <a:cubicBezTo>
                    <a:pt x="16774" y="101408"/>
                    <a:pt x="16344" y="100563"/>
                    <a:pt x="16344" y="100563"/>
                  </a:cubicBezTo>
                  <a:cubicBezTo>
                    <a:pt x="15913" y="99718"/>
                    <a:pt x="15913" y="99718"/>
                    <a:pt x="15913" y="99718"/>
                  </a:cubicBezTo>
                  <a:cubicBezTo>
                    <a:pt x="15913" y="99718"/>
                    <a:pt x="15483" y="98028"/>
                    <a:pt x="15483" y="98028"/>
                  </a:cubicBezTo>
                  <a:cubicBezTo>
                    <a:pt x="15053" y="98873"/>
                    <a:pt x="14623" y="98873"/>
                    <a:pt x="14623" y="98873"/>
                  </a:cubicBezTo>
                  <a:cubicBezTo>
                    <a:pt x="14623" y="98873"/>
                    <a:pt x="14623" y="100563"/>
                    <a:pt x="14623" y="100563"/>
                  </a:cubicBezTo>
                  <a:cubicBezTo>
                    <a:pt x="14193" y="101408"/>
                    <a:pt x="13763" y="101408"/>
                    <a:pt x="13763" y="101408"/>
                  </a:cubicBezTo>
                  <a:cubicBezTo>
                    <a:pt x="13763" y="101408"/>
                    <a:pt x="13763" y="101408"/>
                    <a:pt x="13763" y="101408"/>
                  </a:cubicBezTo>
                  <a:cubicBezTo>
                    <a:pt x="13333" y="101408"/>
                    <a:pt x="13333" y="101408"/>
                    <a:pt x="13333" y="101408"/>
                  </a:cubicBezTo>
                  <a:cubicBezTo>
                    <a:pt x="12903" y="103098"/>
                    <a:pt x="12903" y="103098"/>
                    <a:pt x="12903" y="103098"/>
                  </a:cubicBezTo>
                  <a:cubicBezTo>
                    <a:pt x="12473" y="103943"/>
                    <a:pt x="12473" y="103943"/>
                    <a:pt x="12473" y="103943"/>
                  </a:cubicBezTo>
                  <a:cubicBezTo>
                    <a:pt x="12473" y="103943"/>
                    <a:pt x="12473" y="103943"/>
                    <a:pt x="12473" y="103943"/>
                  </a:cubicBezTo>
                  <a:cubicBezTo>
                    <a:pt x="12473" y="103943"/>
                    <a:pt x="12473" y="103943"/>
                    <a:pt x="12473" y="103943"/>
                  </a:cubicBezTo>
                  <a:cubicBezTo>
                    <a:pt x="12473" y="103943"/>
                    <a:pt x="12043" y="103943"/>
                    <a:pt x="12043" y="104788"/>
                  </a:cubicBezTo>
                  <a:cubicBezTo>
                    <a:pt x="12043" y="104788"/>
                    <a:pt x="11612" y="104788"/>
                    <a:pt x="11182" y="104788"/>
                  </a:cubicBezTo>
                  <a:cubicBezTo>
                    <a:pt x="11182" y="104788"/>
                    <a:pt x="10322" y="104788"/>
                    <a:pt x="10322" y="104788"/>
                  </a:cubicBezTo>
                  <a:cubicBezTo>
                    <a:pt x="9892" y="103943"/>
                    <a:pt x="9892" y="103943"/>
                    <a:pt x="9892" y="103943"/>
                  </a:cubicBezTo>
                  <a:cubicBezTo>
                    <a:pt x="8602" y="103098"/>
                    <a:pt x="8602" y="103098"/>
                    <a:pt x="8602" y="103098"/>
                  </a:cubicBezTo>
                  <a:cubicBezTo>
                    <a:pt x="8602" y="103098"/>
                    <a:pt x="8602" y="103098"/>
                    <a:pt x="8602" y="103098"/>
                  </a:cubicBezTo>
                  <a:cubicBezTo>
                    <a:pt x="7741" y="102253"/>
                    <a:pt x="7741" y="102253"/>
                    <a:pt x="7741" y="102253"/>
                  </a:cubicBezTo>
                  <a:cubicBezTo>
                    <a:pt x="7311" y="101408"/>
                    <a:pt x="7311" y="101408"/>
                    <a:pt x="7311" y="101408"/>
                  </a:cubicBezTo>
                  <a:cubicBezTo>
                    <a:pt x="7311" y="99718"/>
                    <a:pt x="7311" y="99718"/>
                    <a:pt x="7311" y="99718"/>
                  </a:cubicBezTo>
                  <a:cubicBezTo>
                    <a:pt x="6451" y="98028"/>
                    <a:pt x="6451" y="98028"/>
                    <a:pt x="6451" y="98028"/>
                  </a:cubicBezTo>
                  <a:cubicBezTo>
                    <a:pt x="4731" y="97183"/>
                    <a:pt x="4731" y="97183"/>
                    <a:pt x="4731" y="97183"/>
                  </a:cubicBezTo>
                  <a:cubicBezTo>
                    <a:pt x="3440" y="96338"/>
                    <a:pt x="3440" y="96338"/>
                    <a:pt x="3440" y="96338"/>
                  </a:cubicBezTo>
                  <a:cubicBezTo>
                    <a:pt x="2580" y="96338"/>
                    <a:pt x="2580" y="96338"/>
                    <a:pt x="2580" y="96338"/>
                  </a:cubicBezTo>
                  <a:cubicBezTo>
                    <a:pt x="2580" y="96338"/>
                    <a:pt x="860" y="96338"/>
                    <a:pt x="860" y="96338"/>
                  </a:cubicBezTo>
                  <a:cubicBezTo>
                    <a:pt x="860" y="96338"/>
                    <a:pt x="430" y="96338"/>
                    <a:pt x="430" y="96338"/>
                  </a:cubicBezTo>
                  <a:cubicBezTo>
                    <a:pt x="430" y="96338"/>
                    <a:pt x="430" y="96338"/>
                    <a:pt x="430" y="96338"/>
                  </a:cubicBezTo>
                  <a:cubicBezTo>
                    <a:pt x="430" y="96338"/>
                    <a:pt x="430" y="96338"/>
                    <a:pt x="430" y="96338"/>
                  </a:cubicBezTo>
                  <a:cubicBezTo>
                    <a:pt x="430" y="96338"/>
                    <a:pt x="430" y="96338"/>
                    <a:pt x="430" y="96338"/>
                  </a:cubicBezTo>
                  <a:cubicBezTo>
                    <a:pt x="860" y="96338"/>
                    <a:pt x="860" y="96338"/>
                    <a:pt x="860" y="96338"/>
                  </a:cubicBezTo>
                  <a:cubicBezTo>
                    <a:pt x="860" y="96338"/>
                    <a:pt x="860" y="95492"/>
                    <a:pt x="860" y="95492"/>
                  </a:cubicBezTo>
                  <a:cubicBezTo>
                    <a:pt x="860" y="95492"/>
                    <a:pt x="860" y="95492"/>
                    <a:pt x="860" y="95492"/>
                  </a:cubicBezTo>
                  <a:cubicBezTo>
                    <a:pt x="860" y="95492"/>
                    <a:pt x="1290" y="96338"/>
                    <a:pt x="1290" y="96338"/>
                  </a:cubicBezTo>
                  <a:cubicBezTo>
                    <a:pt x="1290" y="96338"/>
                    <a:pt x="1290" y="96338"/>
                    <a:pt x="1290" y="96338"/>
                  </a:cubicBezTo>
                  <a:cubicBezTo>
                    <a:pt x="1290" y="96338"/>
                    <a:pt x="1290" y="96338"/>
                    <a:pt x="1290" y="96338"/>
                  </a:cubicBezTo>
                  <a:cubicBezTo>
                    <a:pt x="1290" y="96338"/>
                    <a:pt x="1720" y="95492"/>
                    <a:pt x="1720" y="95492"/>
                  </a:cubicBezTo>
                  <a:cubicBezTo>
                    <a:pt x="1720" y="95492"/>
                    <a:pt x="1720" y="95492"/>
                    <a:pt x="1720" y="95492"/>
                  </a:cubicBezTo>
                  <a:cubicBezTo>
                    <a:pt x="1720" y="95492"/>
                    <a:pt x="1720" y="95492"/>
                    <a:pt x="1720" y="95492"/>
                  </a:cubicBezTo>
                  <a:cubicBezTo>
                    <a:pt x="1720" y="95492"/>
                    <a:pt x="1720" y="95492"/>
                    <a:pt x="1720" y="95492"/>
                  </a:cubicBezTo>
                  <a:cubicBezTo>
                    <a:pt x="1720" y="95492"/>
                    <a:pt x="1720" y="95492"/>
                    <a:pt x="1720" y="95492"/>
                  </a:cubicBezTo>
                  <a:cubicBezTo>
                    <a:pt x="1720" y="95492"/>
                    <a:pt x="1720" y="95492"/>
                    <a:pt x="1720" y="95492"/>
                  </a:cubicBezTo>
                  <a:cubicBezTo>
                    <a:pt x="1720" y="95492"/>
                    <a:pt x="1720" y="95492"/>
                    <a:pt x="2150" y="95492"/>
                  </a:cubicBezTo>
                  <a:cubicBezTo>
                    <a:pt x="2150" y="95492"/>
                    <a:pt x="2150" y="95492"/>
                    <a:pt x="2150" y="94647"/>
                  </a:cubicBezTo>
                  <a:cubicBezTo>
                    <a:pt x="2150" y="94647"/>
                    <a:pt x="2150" y="94647"/>
                    <a:pt x="2150" y="94647"/>
                  </a:cubicBezTo>
                  <a:cubicBezTo>
                    <a:pt x="2150" y="94647"/>
                    <a:pt x="2150" y="94647"/>
                    <a:pt x="1720" y="94647"/>
                  </a:cubicBezTo>
                  <a:cubicBezTo>
                    <a:pt x="1720" y="94647"/>
                    <a:pt x="1720" y="94647"/>
                    <a:pt x="1720" y="94647"/>
                  </a:cubicBezTo>
                  <a:cubicBezTo>
                    <a:pt x="1720" y="94647"/>
                    <a:pt x="1720" y="94647"/>
                    <a:pt x="1720" y="93802"/>
                  </a:cubicBezTo>
                  <a:cubicBezTo>
                    <a:pt x="1720" y="93802"/>
                    <a:pt x="2150" y="93802"/>
                    <a:pt x="2150" y="93802"/>
                  </a:cubicBezTo>
                  <a:cubicBezTo>
                    <a:pt x="2150" y="93802"/>
                    <a:pt x="2150" y="93802"/>
                    <a:pt x="1720" y="93802"/>
                  </a:cubicBezTo>
                  <a:cubicBezTo>
                    <a:pt x="1720" y="93802"/>
                    <a:pt x="1720" y="93802"/>
                    <a:pt x="1720" y="93802"/>
                  </a:cubicBezTo>
                  <a:cubicBezTo>
                    <a:pt x="1720" y="92957"/>
                    <a:pt x="1720" y="93802"/>
                    <a:pt x="1720" y="93802"/>
                  </a:cubicBezTo>
                  <a:cubicBezTo>
                    <a:pt x="1720" y="92957"/>
                    <a:pt x="1720" y="92957"/>
                    <a:pt x="1720" y="92957"/>
                  </a:cubicBezTo>
                  <a:cubicBezTo>
                    <a:pt x="1720" y="92957"/>
                    <a:pt x="1720" y="92957"/>
                    <a:pt x="1720" y="92957"/>
                  </a:cubicBezTo>
                  <a:cubicBezTo>
                    <a:pt x="1720" y="92957"/>
                    <a:pt x="1720" y="92957"/>
                    <a:pt x="1720" y="92957"/>
                  </a:cubicBezTo>
                  <a:cubicBezTo>
                    <a:pt x="1720" y="92957"/>
                    <a:pt x="1720" y="92957"/>
                    <a:pt x="1720" y="92957"/>
                  </a:cubicBezTo>
                  <a:cubicBezTo>
                    <a:pt x="1720" y="92957"/>
                    <a:pt x="1720" y="92957"/>
                    <a:pt x="1720" y="92957"/>
                  </a:cubicBezTo>
                  <a:cubicBezTo>
                    <a:pt x="1290" y="92957"/>
                    <a:pt x="1290" y="92957"/>
                    <a:pt x="1290" y="92957"/>
                  </a:cubicBezTo>
                  <a:cubicBezTo>
                    <a:pt x="1290" y="92957"/>
                    <a:pt x="1290" y="92957"/>
                    <a:pt x="1290" y="92957"/>
                  </a:cubicBezTo>
                  <a:cubicBezTo>
                    <a:pt x="1290" y="92112"/>
                    <a:pt x="1290" y="92112"/>
                    <a:pt x="1290" y="92112"/>
                  </a:cubicBezTo>
                  <a:cubicBezTo>
                    <a:pt x="1290" y="92112"/>
                    <a:pt x="1290" y="92112"/>
                    <a:pt x="1290" y="92112"/>
                  </a:cubicBezTo>
                  <a:cubicBezTo>
                    <a:pt x="1290" y="92112"/>
                    <a:pt x="1290" y="92112"/>
                    <a:pt x="1290" y="92112"/>
                  </a:cubicBezTo>
                  <a:cubicBezTo>
                    <a:pt x="1290" y="92112"/>
                    <a:pt x="1290" y="91267"/>
                    <a:pt x="1290" y="91267"/>
                  </a:cubicBezTo>
                  <a:cubicBezTo>
                    <a:pt x="1290" y="91267"/>
                    <a:pt x="1290" y="91267"/>
                    <a:pt x="1290" y="91267"/>
                  </a:cubicBezTo>
                  <a:cubicBezTo>
                    <a:pt x="1290" y="91267"/>
                    <a:pt x="1290" y="91267"/>
                    <a:pt x="1290" y="91267"/>
                  </a:cubicBezTo>
                  <a:cubicBezTo>
                    <a:pt x="1290" y="91267"/>
                    <a:pt x="1290" y="91267"/>
                    <a:pt x="1290" y="91267"/>
                  </a:cubicBezTo>
                  <a:cubicBezTo>
                    <a:pt x="1290" y="91267"/>
                    <a:pt x="1290" y="91267"/>
                    <a:pt x="1290" y="91267"/>
                  </a:cubicBezTo>
                  <a:cubicBezTo>
                    <a:pt x="1290" y="91267"/>
                    <a:pt x="1290" y="91267"/>
                    <a:pt x="1290" y="91267"/>
                  </a:cubicBezTo>
                  <a:cubicBezTo>
                    <a:pt x="1290" y="90422"/>
                    <a:pt x="1290" y="91267"/>
                    <a:pt x="1290" y="90422"/>
                  </a:cubicBezTo>
                  <a:cubicBezTo>
                    <a:pt x="1290" y="90422"/>
                    <a:pt x="1290" y="90422"/>
                    <a:pt x="1290" y="90422"/>
                  </a:cubicBezTo>
                  <a:cubicBezTo>
                    <a:pt x="1290" y="90422"/>
                    <a:pt x="1290" y="90422"/>
                    <a:pt x="1290" y="90422"/>
                  </a:cubicBezTo>
                  <a:cubicBezTo>
                    <a:pt x="1290" y="90422"/>
                    <a:pt x="860" y="90422"/>
                    <a:pt x="860" y="89577"/>
                  </a:cubicBezTo>
                  <a:cubicBezTo>
                    <a:pt x="860" y="89577"/>
                    <a:pt x="860" y="89577"/>
                    <a:pt x="860" y="89577"/>
                  </a:cubicBezTo>
                  <a:cubicBezTo>
                    <a:pt x="860" y="89577"/>
                    <a:pt x="860" y="89577"/>
                    <a:pt x="860" y="89577"/>
                  </a:cubicBezTo>
                  <a:cubicBezTo>
                    <a:pt x="860" y="89577"/>
                    <a:pt x="860" y="89577"/>
                    <a:pt x="860" y="89577"/>
                  </a:cubicBezTo>
                  <a:cubicBezTo>
                    <a:pt x="860" y="90422"/>
                    <a:pt x="860" y="90422"/>
                    <a:pt x="860" y="90422"/>
                  </a:cubicBezTo>
                  <a:cubicBezTo>
                    <a:pt x="860" y="91267"/>
                    <a:pt x="860" y="91267"/>
                    <a:pt x="860" y="91267"/>
                  </a:cubicBezTo>
                  <a:cubicBezTo>
                    <a:pt x="430" y="91267"/>
                    <a:pt x="430" y="91267"/>
                    <a:pt x="430" y="91267"/>
                  </a:cubicBezTo>
                  <a:cubicBezTo>
                    <a:pt x="430" y="90422"/>
                    <a:pt x="430" y="90422"/>
                    <a:pt x="430" y="90422"/>
                  </a:cubicBezTo>
                  <a:cubicBezTo>
                    <a:pt x="860" y="87887"/>
                    <a:pt x="860" y="87887"/>
                    <a:pt x="860" y="87887"/>
                  </a:cubicBezTo>
                  <a:cubicBezTo>
                    <a:pt x="1720" y="86197"/>
                    <a:pt x="1720" y="86197"/>
                    <a:pt x="1720" y="86197"/>
                  </a:cubicBezTo>
                  <a:cubicBezTo>
                    <a:pt x="1720" y="86197"/>
                    <a:pt x="1720" y="84507"/>
                    <a:pt x="2150" y="84507"/>
                  </a:cubicBezTo>
                  <a:cubicBezTo>
                    <a:pt x="2150" y="83661"/>
                    <a:pt x="2150" y="82816"/>
                    <a:pt x="2150" y="82816"/>
                  </a:cubicBezTo>
                  <a:cubicBezTo>
                    <a:pt x="3010" y="81971"/>
                    <a:pt x="3010" y="81971"/>
                    <a:pt x="3010" y="81971"/>
                  </a:cubicBezTo>
                  <a:cubicBezTo>
                    <a:pt x="3010" y="81971"/>
                    <a:pt x="3440" y="81126"/>
                    <a:pt x="3440" y="81126"/>
                  </a:cubicBezTo>
                  <a:cubicBezTo>
                    <a:pt x="3440" y="80281"/>
                    <a:pt x="3010" y="79436"/>
                    <a:pt x="3010" y="79436"/>
                  </a:cubicBezTo>
                  <a:cubicBezTo>
                    <a:pt x="3010" y="78591"/>
                    <a:pt x="3440" y="77746"/>
                    <a:pt x="3440" y="77746"/>
                  </a:cubicBezTo>
                  <a:cubicBezTo>
                    <a:pt x="3010" y="77746"/>
                    <a:pt x="3010" y="76901"/>
                    <a:pt x="2580" y="76901"/>
                  </a:cubicBezTo>
                  <a:cubicBezTo>
                    <a:pt x="2580" y="76901"/>
                    <a:pt x="2580" y="76901"/>
                    <a:pt x="2580" y="76901"/>
                  </a:cubicBezTo>
                  <a:cubicBezTo>
                    <a:pt x="2580" y="76901"/>
                    <a:pt x="2580" y="76901"/>
                    <a:pt x="2580" y="76901"/>
                  </a:cubicBezTo>
                  <a:cubicBezTo>
                    <a:pt x="2580" y="76901"/>
                    <a:pt x="2580" y="76901"/>
                    <a:pt x="2580" y="76901"/>
                  </a:cubicBezTo>
                  <a:cubicBezTo>
                    <a:pt x="2580" y="76901"/>
                    <a:pt x="2580" y="76901"/>
                    <a:pt x="2580" y="76901"/>
                  </a:cubicBezTo>
                  <a:cubicBezTo>
                    <a:pt x="2580" y="76901"/>
                    <a:pt x="2580" y="76901"/>
                    <a:pt x="2580" y="76901"/>
                  </a:cubicBezTo>
                  <a:cubicBezTo>
                    <a:pt x="2580" y="76901"/>
                    <a:pt x="2580" y="76901"/>
                    <a:pt x="2580" y="76901"/>
                  </a:cubicBezTo>
                  <a:cubicBezTo>
                    <a:pt x="2580" y="76901"/>
                    <a:pt x="2580" y="76901"/>
                    <a:pt x="2580" y="76901"/>
                  </a:cubicBezTo>
                  <a:cubicBezTo>
                    <a:pt x="2580" y="76901"/>
                    <a:pt x="2580" y="76901"/>
                    <a:pt x="2580" y="76901"/>
                  </a:cubicBezTo>
                  <a:cubicBezTo>
                    <a:pt x="2580" y="76901"/>
                    <a:pt x="2580" y="76901"/>
                    <a:pt x="2580" y="76901"/>
                  </a:cubicBezTo>
                  <a:cubicBezTo>
                    <a:pt x="2580" y="76901"/>
                    <a:pt x="2580" y="76901"/>
                    <a:pt x="2580" y="76901"/>
                  </a:cubicBezTo>
                  <a:cubicBezTo>
                    <a:pt x="2580" y="76901"/>
                    <a:pt x="2580" y="76901"/>
                    <a:pt x="2580" y="76901"/>
                  </a:cubicBezTo>
                  <a:cubicBezTo>
                    <a:pt x="2580" y="76901"/>
                    <a:pt x="2580" y="76901"/>
                    <a:pt x="2580" y="76901"/>
                  </a:cubicBezTo>
                  <a:cubicBezTo>
                    <a:pt x="2580" y="76901"/>
                    <a:pt x="2580" y="76901"/>
                    <a:pt x="2580" y="76901"/>
                  </a:cubicBezTo>
                  <a:cubicBezTo>
                    <a:pt x="2580" y="76901"/>
                    <a:pt x="2580" y="76901"/>
                    <a:pt x="2580" y="76901"/>
                  </a:cubicBezTo>
                  <a:cubicBezTo>
                    <a:pt x="2580" y="76901"/>
                    <a:pt x="2580" y="76901"/>
                    <a:pt x="2580" y="76056"/>
                  </a:cubicBezTo>
                  <a:cubicBezTo>
                    <a:pt x="2580" y="76056"/>
                    <a:pt x="2580" y="76056"/>
                    <a:pt x="2580" y="76056"/>
                  </a:cubicBezTo>
                  <a:cubicBezTo>
                    <a:pt x="2580" y="76056"/>
                    <a:pt x="2580" y="76056"/>
                    <a:pt x="2580" y="76056"/>
                  </a:cubicBezTo>
                  <a:cubicBezTo>
                    <a:pt x="2580" y="76056"/>
                    <a:pt x="2580" y="76056"/>
                    <a:pt x="2580" y="76056"/>
                  </a:cubicBezTo>
                  <a:cubicBezTo>
                    <a:pt x="2580" y="76056"/>
                    <a:pt x="2580" y="76056"/>
                    <a:pt x="2580" y="76056"/>
                  </a:cubicBezTo>
                  <a:cubicBezTo>
                    <a:pt x="2580" y="76056"/>
                    <a:pt x="2580" y="76056"/>
                    <a:pt x="2580" y="76056"/>
                  </a:cubicBezTo>
                  <a:cubicBezTo>
                    <a:pt x="2580" y="76056"/>
                    <a:pt x="2580" y="76056"/>
                    <a:pt x="2580" y="76056"/>
                  </a:cubicBezTo>
                  <a:cubicBezTo>
                    <a:pt x="2580" y="76056"/>
                    <a:pt x="2580" y="76056"/>
                    <a:pt x="2580" y="76056"/>
                  </a:cubicBezTo>
                  <a:cubicBezTo>
                    <a:pt x="3440" y="74366"/>
                    <a:pt x="4301" y="72676"/>
                    <a:pt x="4301" y="72676"/>
                  </a:cubicBezTo>
                  <a:cubicBezTo>
                    <a:pt x="4301" y="72676"/>
                    <a:pt x="5161" y="71830"/>
                    <a:pt x="6021" y="72676"/>
                  </a:cubicBezTo>
                  <a:cubicBezTo>
                    <a:pt x="6451" y="73521"/>
                    <a:pt x="7311" y="75211"/>
                    <a:pt x="7741" y="76056"/>
                  </a:cubicBezTo>
                  <a:cubicBezTo>
                    <a:pt x="7741" y="76056"/>
                    <a:pt x="8172" y="76901"/>
                    <a:pt x="8602" y="76901"/>
                  </a:cubicBezTo>
                  <a:cubicBezTo>
                    <a:pt x="9032" y="76901"/>
                    <a:pt x="9462" y="77746"/>
                    <a:pt x="9462" y="77746"/>
                  </a:cubicBezTo>
                  <a:cubicBezTo>
                    <a:pt x="9462" y="78591"/>
                    <a:pt x="9892" y="77746"/>
                    <a:pt x="9892" y="79436"/>
                  </a:cubicBezTo>
                  <a:cubicBezTo>
                    <a:pt x="9462" y="81126"/>
                    <a:pt x="9462" y="82816"/>
                    <a:pt x="9892" y="82816"/>
                  </a:cubicBezTo>
                  <a:cubicBezTo>
                    <a:pt x="10752" y="81971"/>
                    <a:pt x="11182" y="81126"/>
                    <a:pt x="11182" y="81971"/>
                  </a:cubicBezTo>
                  <a:cubicBezTo>
                    <a:pt x="11182" y="82816"/>
                    <a:pt x="11612" y="81971"/>
                    <a:pt x="11182" y="83661"/>
                  </a:cubicBezTo>
                  <a:cubicBezTo>
                    <a:pt x="11182" y="85352"/>
                    <a:pt x="10752" y="86197"/>
                    <a:pt x="11182" y="86197"/>
                  </a:cubicBezTo>
                  <a:cubicBezTo>
                    <a:pt x="12043" y="87042"/>
                    <a:pt x="12903" y="87887"/>
                    <a:pt x="13333" y="87042"/>
                  </a:cubicBezTo>
                  <a:cubicBezTo>
                    <a:pt x="13763" y="85352"/>
                    <a:pt x="13333" y="87042"/>
                    <a:pt x="13763" y="85352"/>
                  </a:cubicBezTo>
                  <a:cubicBezTo>
                    <a:pt x="14193" y="82816"/>
                    <a:pt x="14193" y="83661"/>
                    <a:pt x="14623" y="82816"/>
                  </a:cubicBezTo>
                  <a:cubicBezTo>
                    <a:pt x="14623" y="81126"/>
                    <a:pt x="14623" y="81971"/>
                    <a:pt x="15053" y="80281"/>
                  </a:cubicBezTo>
                  <a:cubicBezTo>
                    <a:pt x="15053" y="78591"/>
                    <a:pt x="15483" y="79436"/>
                    <a:pt x="15053" y="78591"/>
                  </a:cubicBezTo>
                  <a:cubicBezTo>
                    <a:pt x="15053" y="78591"/>
                    <a:pt x="15053" y="77746"/>
                    <a:pt x="14623" y="76901"/>
                  </a:cubicBezTo>
                  <a:cubicBezTo>
                    <a:pt x="14623" y="75211"/>
                    <a:pt x="13763" y="76056"/>
                    <a:pt x="15053" y="75211"/>
                  </a:cubicBezTo>
                  <a:cubicBezTo>
                    <a:pt x="15913" y="74366"/>
                    <a:pt x="16344" y="74366"/>
                    <a:pt x="16344" y="74366"/>
                  </a:cubicBezTo>
                  <a:cubicBezTo>
                    <a:pt x="16344" y="73521"/>
                    <a:pt x="17634" y="73521"/>
                    <a:pt x="17634" y="73521"/>
                  </a:cubicBezTo>
                  <a:cubicBezTo>
                    <a:pt x="17634" y="73521"/>
                    <a:pt x="18924" y="73521"/>
                    <a:pt x="18924" y="73521"/>
                  </a:cubicBezTo>
                  <a:cubicBezTo>
                    <a:pt x="19354" y="73521"/>
                    <a:pt x="21075" y="73521"/>
                    <a:pt x="21075" y="74366"/>
                  </a:cubicBezTo>
                  <a:cubicBezTo>
                    <a:pt x="21075" y="75211"/>
                    <a:pt x="21935" y="75211"/>
                    <a:pt x="21935" y="75211"/>
                  </a:cubicBezTo>
                  <a:cubicBezTo>
                    <a:pt x="21935" y="75211"/>
                    <a:pt x="22795" y="75211"/>
                    <a:pt x="23225" y="76901"/>
                  </a:cubicBezTo>
                  <a:cubicBezTo>
                    <a:pt x="23225" y="79436"/>
                    <a:pt x="23225" y="81126"/>
                    <a:pt x="23655" y="80281"/>
                  </a:cubicBezTo>
                  <a:cubicBezTo>
                    <a:pt x="24086" y="80281"/>
                    <a:pt x="24946" y="81971"/>
                    <a:pt x="24946" y="81126"/>
                  </a:cubicBezTo>
                  <a:cubicBezTo>
                    <a:pt x="25376" y="80281"/>
                    <a:pt x="25806" y="79436"/>
                    <a:pt x="26236" y="79436"/>
                  </a:cubicBezTo>
                  <a:cubicBezTo>
                    <a:pt x="26666" y="79436"/>
                    <a:pt x="25806" y="78591"/>
                    <a:pt x="27096" y="78591"/>
                  </a:cubicBezTo>
                  <a:cubicBezTo>
                    <a:pt x="28817" y="79436"/>
                    <a:pt x="28387" y="80281"/>
                    <a:pt x="29247" y="78591"/>
                  </a:cubicBezTo>
                  <a:cubicBezTo>
                    <a:pt x="29677" y="76901"/>
                    <a:pt x="29677" y="76901"/>
                    <a:pt x="30537" y="76056"/>
                  </a:cubicBezTo>
                  <a:cubicBezTo>
                    <a:pt x="30967" y="75211"/>
                    <a:pt x="30967" y="75211"/>
                    <a:pt x="31397" y="74366"/>
                  </a:cubicBezTo>
                  <a:cubicBezTo>
                    <a:pt x="31397" y="74366"/>
                    <a:pt x="33118" y="74366"/>
                    <a:pt x="33118" y="74366"/>
                  </a:cubicBezTo>
                  <a:cubicBezTo>
                    <a:pt x="33548" y="73521"/>
                    <a:pt x="33978" y="71830"/>
                    <a:pt x="34408" y="71830"/>
                  </a:cubicBezTo>
                  <a:cubicBezTo>
                    <a:pt x="34408" y="71830"/>
                    <a:pt x="36129" y="71830"/>
                    <a:pt x="36559" y="71830"/>
                  </a:cubicBezTo>
                  <a:cubicBezTo>
                    <a:pt x="36989" y="71830"/>
                    <a:pt x="37849" y="71830"/>
                    <a:pt x="38279" y="70985"/>
                  </a:cubicBezTo>
                  <a:cubicBezTo>
                    <a:pt x="38279" y="70140"/>
                    <a:pt x="38279" y="70140"/>
                    <a:pt x="38709" y="69295"/>
                  </a:cubicBezTo>
                  <a:cubicBezTo>
                    <a:pt x="39569" y="69295"/>
                    <a:pt x="40000" y="69295"/>
                    <a:pt x="40860" y="69295"/>
                  </a:cubicBezTo>
                  <a:cubicBezTo>
                    <a:pt x="41720" y="69295"/>
                    <a:pt x="41720" y="69295"/>
                    <a:pt x="42150" y="69295"/>
                  </a:cubicBezTo>
                  <a:cubicBezTo>
                    <a:pt x="42580" y="69295"/>
                    <a:pt x="43010" y="70985"/>
                    <a:pt x="43010" y="68450"/>
                  </a:cubicBezTo>
                  <a:cubicBezTo>
                    <a:pt x="42580" y="65915"/>
                    <a:pt x="42150" y="65915"/>
                    <a:pt x="42580" y="65070"/>
                  </a:cubicBezTo>
                  <a:cubicBezTo>
                    <a:pt x="43440" y="65070"/>
                    <a:pt x="44301" y="65070"/>
                    <a:pt x="44301" y="65070"/>
                  </a:cubicBezTo>
                  <a:cubicBezTo>
                    <a:pt x="44731" y="65070"/>
                    <a:pt x="46451" y="65915"/>
                    <a:pt x="46881" y="65915"/>
                  </a:cubicBezTo>
                  <a:cubicBezTo>
                    <a:pt x="46881" y="65915"/>
                    <a:pt x="47311" y="67605"/>
                    <a:pt x="47311" y="67605"/>
                  </a:cubicBezTo>
                  <a:cubicBezTo>
                    <a:pt x="47741" y="67605"/>
                    <a:pt x="48172" y="68450"/>
                    <a:pt x="48602" y="67605"/>
                  </a:cubicBezTo>
                  <a:cubicBezTo>
                    <a:pt x="48602" y="67605"/>
                    <a:pt x="49032" y="65915"/>
                    <a:pt x="49462" y="65915"/>
                  </a:cubicBezTo>
                  <a:cubicBezTo>
                    <a:pt x="49892" y="65915"/>
                    <a:pt x="51182" y="65915"/>
                    <a:pt x="51182" y="65915"/>
                  </a:cubicBezTo>
                  <a:cubicBezTo>
                    <a:pt x="51182" y="65915"/>
                    <a:pt x="52903" y="66760"/>
                    <a:pt x="52903" y="66760"/>
                  </a:cubicBezTo>
                  <a:cubicBezTo>
                    <a:pt x="52903" y="66760"/>
                    <a:pt x="52473" y="68450"/>
                    <a:pt x="52473" y="69295"/>
                  </a:cubicBezTo>
                  <a:cubicBezTo>
                    <a:pt x="52473" y="70140"/>
                    <a:pt x="52473" y="70985"/>
                    <a:pt x="52903" y="71830"/>
                  </a:cubicBezTo>
                  <a:cubicBezTo>
                    <a:pt x="52903" y="71830"/>
                    <a:pt x="53763" y="73521"/>
                    <a:pt x="53763" y="73521"/>
                  </a:cubicBezTo>
                  <a:cubicBezTo>
                    <a:pt x="53763" y="73521"/>
                    <a:pt x="55913" y="75211"/>
                    <a:pt x="55913" y="75211"/>
                  </a:cubicBezTo>
                  <a:cubicBezTo>
                    <a:pt x="55913" y="75211"/>
                    <a:pt x="56344" y="76056"/>
                    <a:pt x="56344" y="72676"/>
                  </a:cubicBezTo>
                  <a:cubicBezTo>
                    <a:pt x="56344" y="69295"/>
                    <a:pt x="56344" y="68450"/>
                    <a:pt x="56344" y="68450"/>
                  </a:cubicBezTo>
                  <a:cubicBezTo>
                    <a:pt x="56344" y="65070"/>
                    <a:pt x="56344" y="65070"/>
                    <a:pt x="56344" y="65070"/>
                  </a:cubicBezTo>
                  <a:cubicBezTo>
                    <a:pt x="56344" y="65070"/>
                    <a:pt x="56344" y="64225"/>
                    <a:pt x="55913" y="64225"/>
                  </a:cubicBezTo>
                  <a:cubicBezTo>
                    <a:pt x="55913" y="64225"/>
                    <a:pt x="55483" y="64225"/>
                    <a:pt x="55483" y="64225"/>
                  </a:cubicBezTo>
                  <a:cubicBezTo>
                    <a:pt x="55483" y="64225"/>
                    <a:pt x="53763" y="63380"/>
                    <a:pt x="53333" y="63380"/>
                  </a:cubicBezTo>
                  <a:cubicBezTo>
                    <a:pt x="52903" y="63380"/>
                    <a:pt x="53333" y="61690"/>
                    <a:pt x="53333" y="60845"/>
                  </a:cubicBezTo>
                  <a:cubicBezTo>
                    <a:pt x="53333" y="60845"/>
                    <a:pt x="54193" y="59154"/>
                    <a:pt x="54193" y="59154"/>
                  </a:cubicBezTo>
                  <a:cubicBezTo>
                    <a:pt x="54193" y="56619"/>
                    <a:pt x="54193" y="56619"/>
                    <a:pt x="54193" y="56619"/>
                  </a:cubicBezTo>
                  <a:cubicBezTo>
                    <a:pt x="52903" y="52394"/>
                    <a:pt x="52903" y="52394"/>
                    <a:pt x="52903" y="52394"/>
                  </a:cubicBezTo>
                  <a:cubicBezTo>
                    <a:pt x="51612" y="49859"/>
                    <a:pt x="51612" y="49859"/>
                    <a:pt x="51612" y="49859"/>
                  </a:cubicBezTo>
                  <a:cubicBezTo>
                    <a:pt x="50752" y="45633"/>
                    <a:pt x="50752" y="45633"/>
                    <a:pt x="50752" y="45633"/>
                  </a:cubicBezTo>
                  <a:cubicBezTo>
                    <a:pt x="50752" y="45633"/>
                    <a:pt x="50752" y="45633"/>
                    <a:pt x="50752" y="45633"/>
                  </a:cubicBezTo>
                  <a:cubicBezTo>
                    <a:pt x="50752" y="45633"/>
                    <a:pt x="50752" y="45633"/>
                    <a:pt x="50752" y="45633"/>
                  </a:cubicBezTo>
                  <a:cubicBezTo>
                    <a:pt x="52043" y="43943"/>
                    <a:pt x="52043" y="43943"/>
                    <a:pt x="52043" y="43943"/>
                  </a:cubicBezTo>
                  <a:cubicBezTo>
                    <a:pt x="52903" y="42253"/>
                    <a:pt x="54193" y="40563"/>
                    <a:pt x="54193" y="40563"/>
                  </a:cubicBezTo>
                  <a:cubicBezTo>
                    <a:pt x="54193" y="40563"/>
                    <a:pt x="54193" y="40563"/>
                    <a:pt x="54623" y="40563"/>
                  </a:cubicBezTo>
                  <a:cubicBezTo>
                    <a:pt x="55483" y="38873"/>
                    <a:pt x="55483" y="38873"/>
                    <a:pt x="55483" y="38873"/>
                  </a:cubicBezTo>
                  <a:cubicBezTo>
                    <a:pt x="55483" y="38873"/>
                    <a:pt x="57634" y="37183"/>
                    <a:pt x="57634" y="37183"/>
                  </a:cubicBezTo>
                  <a:cubicBezTo>
                    <a:pt x="57634" y="37183"/>
                    <a:pt x="58064" y="36338"/>
                    <a:pt x="58064" y="36338"/>
                  </a:cubicBezTo>
                  <a:cubicBezTo>
                    <a:pt x="58494" y="36338"/>
                    <a:pt x="58494" y="36338"/>
                    <a:pt x="58494" y="36338"/>
                  </a:cubicBezTo>
                  <a:cubicBezTo>
                    <a:pt x="60645" y="32112"/>
                    <a:pt x="60645" y="32112"/>
                    <a:pt x="60645" y="32112"/>
                  </a:cubicBezTo>
                  <a:cubicBezTo>
                    <a:pt x="60645" y="27887"/>
                    <a:pt x="60645" y="27887"/>
                    <a:pt x="60645" y="27887"/>
                  </a:cubicBezTo>
                  <a:cubicBezTo>
                    <a:pt x="61075" y="26197"/>
                    <a:pt x="61075" y="26197"/>
                    <a:pt x="61075" y="26197"/>
                  </a:cubicBezTo>
                  <a:cubicBezTo>
                    <a:pt x="61075" y="25352"/>
                    <a:pt x="61075" y="23661"/>
                    <a:pt x="61075" y="23661"/>
                  </a:cubicBezTo>
                  <a:cubicBezTo>
                    <a:pt x="63655" y="23661"/>
                    <a:pt x="63655" y="23661"/>
                    <a:pt x="63655" y="23661"/>
                  </a:cubicBezTo>
                  <a:cubicBezTo>
                    <a:pt x="63655" y="23661"/>
                    <a:pt x="64086" y="24507"/>
                    <a:pt x="64516" y="25352"/>
                  </a:cubicBezTo>
                  <a:cubicBezTo>
                    <a:pt x="64946" y="25352"/>
                    <a:pt x="65376" y="24507"/>
                    <a:pt x="65376" y="24507"/>
                  </a:cubicBezTo>
                  <a:cubicBezTo>
                    <a:pt x="65806" y="24507"/>
                    <a:pt x="66236" y="22816"/>
                    <a:pt x="66236" y="22816"/>
                  </a:cubicBezTo>
                  <a:cubicBezTo>
                    <a:pt x="66236" y="20281"/>
                    <a:pt x="66236" y="20281"/>
                    <a:pt x="66236" y="20281"/>
                  </a:cubicBezTo>
                  <a:cubicBezTo>
                    <a:pt x="65806" y="16056"/>
                    <a:pt x="65806" y="16056"/>
                    <a:pt x="65806" y="16056"/>
                  </a:cubicBezTo>
                  <a:cubicBezTo>
                    <a:pt x="65806" y="13521"/>
                    <a:pt x="65806" y="13521"/>
                    <a:pt x="65806" y="13521"/>
                  </a:cubicBezTo>
                  <a:cubicBezTo>
                    <a:pt x="65806" y="13521"/>
                    <a:pt x="65806" y="13521"/>
                    <a:pt x="65806" y="13521"/>
                  </a:cubicBezTo>
                  <a:cubicBezTo>
                    <a:pt x="66236" y="13521"/>
                    <a:pt x="67956" y="16056"/>
                    <a:pt x="68817" y="16901"/>
                  </a:cubicBezTo>
                  <a:cubicBezTo>
                    <a:pt x="69247" y="17746"/>
                    <a:pt x="70537" y="20281"/>
                    <a:pt x="70537" y="20281"/>
                  </a:cubicBezTo>
                  <a:cubicBezTo>
                    <a:pt x="70537" y="20281"/>
                    <a:pt x="72688" y="21126"/>
                    <a:pt x="73118" y="21126"/>
                  </a:cubicBezTo>
                  <a:cubicBezTo>
                    <a:pt x="73118" y="21126"/>
                    <a:pt x="75268" y="21971"/>
                    <a:pt x="75268" y="21971"/>
                  </a:cubicBezTo>
                  <a:cubicBezTo>
                    <a:pt x="75698" y="20281"/>
                    <a:pt x="75698" y="20281"/>
                    <a:pt x="75698" y="20281"/>
                  </a:cubicBezTo>
                  <a:cubicBezTo>
                    <a:pt x="76989" y="18591"/>
                    <a:pt x="76989" y="18591"/>
                    <a:pt x="76989" y="18591"/>
                  </a:cubicBezTo>
                  <a:cubicBezTo>
                    <a:pt x="78709" y="21126"/>
                    <a:pt x="78709" y="21126"/>
                    <a:pt x="78709" y="21126"/>
                  </a:cubicBezTo>
                  <a:cubicBezTo>
                    <a:pt x="80430" y="20281"/>
                    <a:pt x="80430" y="20281"/>
                    <a:pt x="80430" y="20281"/>
                  </a:cubicBezTo>
                  <a:close/>
                  <a:moveTo>
                    <a:pt x="2150" y="76901"/>
                  </a:moveTo>
                  <a:cubicBezTo>
                    <a:pt x="2150" y="76901"/>
                    <a:pt x="2150" y="76901"/>
                    <a:pt x="2150" y="76901"/>
                  </a:cubicBezTo>
                  <a:cubicBezTo>
                    <a:pt x="2150" y="76901"/>
                    <a:pt x="2150" y="76901"/>
                    <a:pt x="2150" y="76901"/>
                  </a:cubicBezTo>
                  <a:cubicBezTo>
                    <a:pt x="2150" y="76901"/>
                    <a:pt x="2150" y="76901"/>
                    <a:pt x="2150" y="76901"/>
                  </a:cubicBezTo>
                  <a:close/>
                  <a:moveTo>
                    <a:pt x="430" y="96338"/>
                  </a:moveTo>
                  <a:cubicBezTo>
                    <a:pt x="430" y="96338"/>
                    <a:pt x="430" y="96338"/>
                    <a:pt x="430" y="96338"/>
                  </a:cubicBezTo>
                  <a:cubicBezTo>
                    <a:pt x="430" y="96338"/>
                    <a:pt x="430" y="96338"/>
                    <a:pt x="430" y="96338"/>
                  </a:cubicBezTo>
                  <a:cubicBezTo>
                    <a:pt x="430" y="96338"/>
                    <a:pt x="430" y="96338"/>
                    <a:pt x="430" y="96338"/>
                  </a:cubicBezTo>
                  <a:cubicBezTo>
                    <a:pt x="430" y="96338"/>
                    <a:pt x="430" y="96338"/>
                    <a:pt x="430" y="96338"/>
                  </a:cubicBezTo>
                  <a:close/>
                  <a:moveTo>
                    <a:pt x="430" y="96338"/>
                  </a:moveTo>
                  <a:cubicBezTo>
                    <a:pt x="430" y="96338"/>
                    <a:pt x="430" y="96338"/>
                    <a:pt x="430" y="96338"/>
                  </a:cubicBezTo>
                  <a:cubicBezTo>
                    <a:pt x="430" y="96338"/>
                    <a:pt x="430" y="95492"/>
                    <a:pt x="430" y="95492"/>
                  </a:cubicBezTo>
                  <a:cubicBezTo>
                    <a:pt x="430" y="95492"/>
                    <a:pt x="430" y="95492"/>
                    <a:pt x="430" y="95492"/>
                  </a:cubicBezTo>
                  <a:cubicBezTo>
                    <a:pt x="430" y="95492"/>
                    <a:pt x="860" y="95492"/>
                    <a:pt x="860" y="94647"/>
                  </a:cubicBezTo>
                  <a:cubicBezTo>
                    <a:pt x="860" y="94647"/>
                    <a:pt x="860" y="94647"/>
                    <a:pt x="860" y="94647"/>
                  </a:cubicBezTo>
                  <a:cubicBezTo>
                    <a:pt x="860" y="94647"/>
                    <a:pt x="860" y="94647"/>
                    <a:pt x="860" y="94647"/>
                  </a:cubicBezTo>
                  <a:cubicBezTo>
                    <a:pt x="860" y="94647"/>
                    <a:pt x="860" y="94647"/>
                    <a:pt x="860" y="94647"/>
                  </a:cubicBezTo>
                  <a:cubicBezTo>
                    <a:pt x="430" y="94647"/>
                    <a:pt x="430" y="94647"/>
                    <a:pt x="430" y="94647"/>
                  </a:cubicBezTo>
                  <a:cubicBezTo>
                    <a:pt x="0" y="96338"/>
                    <a:pt x="0" y="96338"/>
                    <a:pt x="0" y="96338"/>
                  </a:cubicBezTo>
                  <a:lnTo>
                    <a:pt x="430" y="96338"/>
                  </a:lnTo>
                  <a:close/>
                </a:path>
              </a:pathLst>
            </a:custGeom>
            <a:solidFill>
              <a:srgbClr val="00B050"/>
            </a:solidFill>
            <a:ln w="3175" cap="flat" cmpd="sng">
              <a:solidFill>
                <a:schemeClr val="tx1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defTabSz="457200"/>
              <a:endParaRPr kern="0">
                <a:solidFill>
                  <a:srgbClr val="7F7F7F"/>
                </a:solidFill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45" name="Shape 2041">
              <a:extLst>
                <a:ext uri="{FF2B5EF4-FFF2-40B4-BE49-F238E27FC236}">
                  <a16:creationId xmlns:a16="http://schemas.microsoft.com/office/drawing/2014/main" id="{14AE1D5C-C1ED-7A68-76B4-18CBD98C0B96}"/>
                </a:ext>
              </a:extLst>
            </p:cNvPr>
            <p:cNvSpPr/>
            <p:nvPr/>
          </p:nvSpPr>
          <p:spPr>
            <a:xfrm>
              <a:off x="3035290" y="2911555"/>
              <a:ext cx="1091820" cy="109660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59769" y="105055"/>
                  </a:moveTo>
                  <a:cubicBezTo>
                    <a:pt x="60230" y="104386"/>
                    <a:pt x="60230" y="104386"/>
                    <a:pt x="60230" y="104386"/>
                  </a:cubicBezTo>
                  <a:cubicBezTo>
                    <a:pt x="60230" y="104386"/>
                    <a:pt x="60230" y="103048"/>
                    <a:pt x="59769" y="102825"/>
                  </a:cubicBezTo>
                  <a:cubicBezTo>
                    <a:pt x="59538" y="102602"/>
                    <a:pt x="59307" y="102379"/>
                    <a:pt x="59307" y="102379"/>
                  </a:cubicBezTo>
                  <a:cubicBezTo>
                    <a:pt x="59307" y="102379"/>
                    <a:pt x="59307" y="101486"/>
                    <a:pt x="59307" y="101040"/>
                  </a:cubicBezTo>
                  <a:cubicBezTo>
                    <a:pt x="59307" y="100817"/>
                    <a:pt x="59307" y="99925"/>
                    <a:pt x="59307" y="99702"/>
                  </a:cubicBezTo>
                  <a:cubicBezTo>
                    <a:pt x="59307" y="99479"/>
                    <a:pt x="59538" y="98587"/>
                    <a:pt x="59538" y="98364"/>
                  </a:cubicBezTo>
                  <a:cubicBezTo>
                    <a:pt x="59538" y="98364"/>
                    <a:pt x="59307" y="98364"/>
                    <a:pt x="59769" y="97918"/>
                  </a:cubicBezTo>
                  <a:cubicBezTo>
                    <a:pt x="60230" y="97249"/>
                    <a:pt x="60230" y="96802"/>
                    <a:pt x="60230" y="96802"/>
                  </a:cubicBezTo>
                  <a:cubicBezTo>
                    <a:pt x="61153" y="95687"/>
                    <a:pt x="61153" y="95687"/>
                    <a:pt x="61153" y="95687"/>
                  </a:cubicBezTo>
                  <a:cubicBezTo>
                    <a:pt x="61153" y="95687"/>
                    <a:pt x="61846" y="94572"/>
                    <a:pt x="62076" y="94572"/>
                  </a:cubicBezTo>
                  <a:cubicBezTo>
                    <a:pt x="62307" y="94795"/>
                    <a:pt x="63230" y="94572"/>
                    <a:pt x="63461" y="94572"/>
                  </a:cubicBezTo>
                  <a:cubicBezTo>
                    <a:pt x="63692" y="94572"/>
                    <a:pt x="64615" y="95464"/>
                    <a:pt x="65076" y="94572"/>
                  </a:cubicBezTo>
                  <a:cubicBezTo>
                    <a:pt x="65538" y="93903"/>
                    <a:pt x="65769" y="93457"/>
                    <a:pt x="65769" y="93234"/>
                  </a:cubicBezTo>
                  <a:cubicBezTo>
                    <a:pt x="66000" y="93011"/>
                    <a:pt x="66230" y="92342"/>
                    <a:pt x="66923" y="92342"/>
                  </a:cubicBezTo>
                  <a:cubicBezTo>
                    <a:pt x="67615" y="92118"/>
                    <a:pt x="69230" y="92118"/>
                    <a:pt x="69230" y="92118"/>
                  </a:cubicBezTo>
                  <a:cubicBezTo>
                    <a:pt x="69923" y="92342"/>
                    <a:pt x="69923" y="92342"/>
                    <a:pt x="69923" y="92342"/>
                  </a:cubicBezTo>
                  <a:cubicBezTo>
                    <a:pt x="71769" y="93011"/>
                    <a:pt x="71769" y="93011"/>
                    <a:pt x="71769" y="93011"/>
                  </a:cubicBezTo>
                  <a:cubicBezTo>
                    <a:pt x="71769" y="93011"/>
                    <a:pt x="72461" y="93011"/>
                    <a:pt x="72923" y="93011"/>
                  </a:cubicBezTo>
                  <a:cubicBezTo>
                    <a:pt x="73153" y="93011"/>
                    <a:pt x="73384" y="93011"/>
                    <a:pt x="73384" y="93011"/>
                  </a:cubicBezTo>
                  <a:cubicBezTo>
                    <a:pt x="74076" y="93903"/>
                    <a:pt x="74076" y="93903"/>
                    <a:pt x="74076" y="93903"/>
                  </a:cubicBezTo>
                  <a:cubicBezTo>
                    <a:pt x="74076" y="93903"/>
                    <a:pt x="75000" y="94349"/>
                    <a:pt x="75230" y="94349"/>
                  </a:cubicBezTo>
                  <a:cubicBezTo>
                    <a:pt x="75461" y="94349"/>
                    <a:pt x="77307" y="93903"/>
                    <a:pt x="77307" y="93903"/>
                  </a:cubicBezTo>
                  <a:cubicBezTo>
                    <a:pt x="77307" y="93903"/>
                    <a:pt x="78000" y="93680"/>
                    <a:pt x="78230" y="93903"/>
                  </a:cubicBezTo>
                  <a:cubicBezTo>
                    <a:pt x="78461" y="94126"/>
                    <a:pt x="79153" y="94349"/>
                    <a:pt x="79384" y="94572"/>
                  </a:cubicBezTo>
                  <a:cubicBezTo>
                    <a:pt x="79384" y="94795"/>
                    <a:pt x="81230" y="95687"/>
                    <a:pt x="81692" y="95910"/>
                  </a:cubicBezTo>
                  <a:cubicBezTo>
                    <a:pt x="81923" y="96133"/>
                    <a:pt x="82846" y="95910"/>
                    <a:pt x="82846" y="95910"/>
                  </a:cubicBezTo>
                  <a:cubicBezTo>
                    <a:pt x="83307" y="97026"/>
                    <a:pt x="83307" y="97026"/>
                    <a:pt x="83307" y="97026"/>
                  </a:cubicBezTo>
                  <a:cubicBezTo>
                    <a:pt x="85615" y="97695"/>
                    <a:pt x="85615" y="97695"/>
                    <a:pt x="85615" y="97695"/>
                  </a:cubicBezTo>
                  <a:cubicBezTo>
                    <a:pt x="86538" y="97695"/>
                    <a:pt x="86538" y="97695"/>
                    <a:pt x="86538" y="97695"/>
                  </a:cubicBezTo>
                  <a:cubicBezTo>
                    <a:pt x="89769" y="98810"/>
                    <a:pt x="89769" y="98810"/>
                    <a:pt x="89769" y="98810"/>
                  </a:cubicBezTo>
                  <a:cubicBezTo>
                    <a:pt x="91846" y="97249"/>
                    <a:pt x="91846" y="97249"/>
                    <a:pt x="91846" y="97249"/>
                  </a:cubicBezTo>
                  <a:cubicBezTo>
                    <a:pt x="91846" y="97249"/>
                    <a:pt x="92307" y="97472"/>
                    <a:pt x="92538" y="97472"/>
                  </a:cubicBezTo>
                  <a:cubicBezTo>
                    <a:pt x="92769" y="97472"/>
                    <a:pt x="93230" y="95687"/>
                    <a:pt x="93230" y="95687"/>
                  </a:cubicBezTo>
                  <a:cubicBezTo>
                    <a:pt x="93230" y="95687"/>
                    <a:pt x="93230" y="95241"/>
                    <a:pt x="93461" y="95241"/>
                  </a:cubicBezTo>
                  <a:cubicBezTo>
                    <a:pt x="93923" y="95241"/>
                    <a:pt x="95538" y="94572"/>
                    <a:pt x="95538" y="94572"/>
                  </a:cubicBezTo>
                  <a:cubicBezTo>
                    <a:pt x="95538" y="94349"/>
                    <a:pt x="95307" y="93457"/>
                    <a:pt x="96000" y="93234"/>
                  </a:cubicBezTo>
                  <a:cubicBezTo>
                    <a:pt x="96461" y="93011"/>
                    <a:pt x="97384" y="92342"/>
                    <a:pt x="97384" y="92342"/>
                  </a:cubicBezTo>
                  <a:cubicBezTo>
                    <a:pt x="97615" y="92118"/>
                    <a:pt x="97153" y="91672"/>
                    <a:pt x="97846" y="91449"/>
                  </a:cubicBezTo>
                  <a:cubicBezTo>
                    <a:pt x="98307" y="91449"/>
                    <a:pt x="99000" y="91226"/>
                    <a:pt x="99461" y="91226"/>
                  </a:cubicBezTo>
                  <a:cubicBezTo>
                    <a:pt x="99461" y="91226"/>
                    <a:pt x="99461" y="91226"/>
                    <a:pt x="99461" y="91226"/>
                  </a:cubicBezTo>
                  <a:cubicBezTo>
                    <a:pt x="99461" y="91003"/>
                    <a:pt x="99461" y="91003"/>
                    <a:pt x="99461" y="91003"/>
                  </a:cubicBezTo>
                  <a:cubicBezTo>
                    <a:pt x="99461" y="91003"/>
                    <a:pt x="99461" y="91003"/>
                    <a:pt x="99461" y="91003"/>
                  </a:cubicBezTo>
                  <a:cubicBezTo>
                    <a:pt x="99692" y="91003"/>
                    <a:pt x="99692" y="91003"/>
                    <a:pt x="99692" y="91003"/>
                  </a:cubicBezTo>
                  <a:cubicBezTo>
                    <a:pt x="99692" y="91003"/>
                    <a:pt x="99692" y="91003"/>
                    <a:pt x="99692" y="91003"/>
                  </a:cubicBezTo>
                  <a:cubicBezTo>
                    <a:pt x="99692" y="91003"/>
                    <a:pt x="99692" y="91003"/>
                    <a:pt x="99692" y="91003"/>
                  </a:cubicBezTo>
                  <a:cubicBezTo>
                    <a:pt x="99692" y="91003"/>
                    <a:pt x="99692" y="91003"/>
                    <a:pt x="99692" y="91003"/>
                  </a:cubicBezTo>
                  <a:cubicBezTo>
                    <a:pt x="99692" y="91003"/>
                    <a:pt x="99692" y="91003"/>
                    <a:pt x="99692" y="91003"/>
                  </a:cubicBezTo>
                  <a:cubicBezTo>
                    <a:pt x="99692" y="91003"/>
                    <a:pt x="99692" y="91003"/>
                    <a:pt x="99692" y="91003"/>
                  </a:cubicBezTo>
                  <a:cubicBezTo>
                    <a:pt x="99923" y="90780"/>
                    <a:pt x="99923" y="90780"/>
                    <a:pt x="99923" y="90780"/>
                  </a:cubicBezTo>
                  <a:cubicBezTo>
                    <a:pt x="99923" y="90780"/>
                    <a:pt x="99923" y="90780"/>
                    <a:pt x="99923" y="90780"/>
                  </a:cubicBezTo>
                  <a:cubicBezTo>
                    <a:pt x="99923" y="90780"/>
                    <a:pt x="99923" y="90780"/>
                    <a:pt x="99923" y="90780"/>
                  </a:cubicBezTo>
                  <a:cubicBezTo>
                    <a:pt x="100153" y="90780"/>
                    <a:pt x="100153" y="90780"/>
                    <a:pt x="100153" y="90780"/>
                  </a:cubicBezTo>
                  <a:cubicBezTo>
                    <a:pt x="100153" y="90780"/>
                    <a:pt x="100153" y="90780"/>
                    <a:pt x="100153" y="90780"/>
                  </a:cubicBezTo>
                  <a:cubicBezTo>
                    <a:pt x="100153" y="90780"/>
                    <a:pt x="100153" y="90780"/>
                    <a:pt x="100153" y="90780"/>
                  </a:cubicBezTo>
                  <a:cubicBezTo>
                    <a:pt x="100153" y="90780"/>
                    <a:pt x="100153" y="90780"/>
                    <a:pt x="100153" y="90780"/>
                  </a:cubicBezTo>
                  <a:cubicBezTo>
                    <a:pt x="100153" y="90780"/>
                    <a:pt x="100153" y="90780"/>
                    <a:pt x="100153" y="90780"/>
                  </a:cubicBezTo>
                  <a:cubicBezTo>
                    <a:pt x="100153" y="90780"/>
                    <a:pt x="100153" y="90780"/>
                    <a:pt x="100153" y="90780"/>
                  </a:cubicBezTo>
                  <a:cubicBezTo>
                    <a:pt x="100153" y="90780"/>
                    <a:pt x="100153" y="90780"/>
                    <a:pt x="100153" y="90780"/>
                  </a:cubicBezTo>
                  <a:cubicBezTo>
                    <a:pt x="100153" y="90780"/>
                    <a:pt x="100153" y="90780"/>
                    <a:pt x="100153" y="90780"/>
                  </a:cubicBezTo>
                  <a:cubicBezTo>
                    <a:pt x="100384" y="90780"/>
                    <a:pt x="100384" y="90780"/>
                    <a:pt x="100384" y="90780"/>
                  </a:cubicBezTo>
                  <a:cubicBezTo>
                    <a:pt x="100384" y="90780"/>
                    <a:pt x="100384" y="90780"/>
                    <a:pt x="100384" y="90780"/>
                  </a:cubicBezTo>
                  <a:cubicBezTo>
                    <a:pt x="100384" y="90780"/>
                    <a:pt x="100384" y="90780"/>
                    <a:pt x="100384" y="90780"/>
                  </a:cubicBezTo>
                  <a:cubicBezTo>
                    <a:pt x="100384" y="90780"/>
                    <a:pt x="100384" y="90780"/>
                    <a:pt x="100384" y="90780"/>
                  </a:cubicBezTo>
                  <a:cubicBezTo>
                    <a:pt x="100384" y="90557"/>
                    <a:pt x="100384" y="90557"/>
                    <a:pt x="100384" y="90557"/>
                  </a:cubicBezTo>
                  <a:cubicBezTo>
                    <a:pt x="100384" y="90557"/>
                    <a:pt x="100384" y="90557"/>
                    <a:pt x="100384" y="90557"/>
                  </a:cubicBezTo>
                  <a:cubicBezTo>
                    <a:pt x="100384" y="90557"/>
                    <a:pt x="100384" y="90557"/>
                    <a:pt x="100384" y="90557"/>
                  </a:cubicBezTo>
                  <a:cubicBezTo>
                    <a:pt x="100384" y="90557"/>
                    <a:pt x="100384" y="90557"/>
                    <a:pt x="100384" y="90557"/>
                  </a:cubicBezTo>
                  <a:cubicBezTo>
                    <a:pt x="100384" y="90557"/>
                    <a:pt x="100384" y="90557"/>
                    <a:pt x="100384" y="90557"/>
                  </a:cubicBezTo>
                  <a:cubicBezTo>
                    <a:pt x="100384" y="90557"/>
                    <a:pt x="100384" y="90557"/>
                    <a:pt x="100384" y="90557"/>
                  </a:cubicBezTo>
                  <a:cubicBezTo>
                    <a:pt x="100615" y="90557"/>
                    <a:pt x="100615" y="90557"/>
                    <a:pt x="100615" y="90557"/>
                  </a:cubicBezTo>
                  <a:cubicBezTo>
                    <a:pt x="100615" y="90557"/>
                    <a:pt x="100615" y="90557"/>
                    <a:pt x="100615" y="90557"/>
                  </a:cubicBezTo>
                  <a:cubicBezTo>
                    <a:pt x="100615" y="90557"/>
                    <a:pt x="100615" y="90557"/>
                    <a:pt x="100615" y="90557"/>
                  </a:cubicBezTo>
                  <a:cubicBezTo>
                    <a:pt x="100615" y="90557"/>
                    <a:pt x="100615" y="90557"/>
                    <a:pt x="100615" y="90557"/>
                  </a:cubicBezTo>
                  <a:cubicBezTo>
                    <a:pt x="100615" y="90557"/>
                    <a:pt x="100615" y="90557"/>
                    <a:pt x="100615" y="90557"/>
                  </a:cubicBezTo>
                  <a:cubicBezTo>
                    <a:pt x="100615" y="90557"/>
                    <a:pt x="100615" y="90557"/>
                    <a:pt x="100615" y="90557"/>
                  </a:cubicBezTo>
                  <a:cubicBezTo>
                    <a:pt x="100615" y="90557"/>
                    <a:pt x="100615" y="90557"/>
                    <a:pt x="100615" y="90557"/>
                  </a:cubicBezTo>
                  <a:cubicBezTo>
                    <a:pt x="100615" y="90557"/>
                    <a:pt x="100615" y="90557"/>
                    <a:pt x="100615" y="90557"/>
                  </a:cubicBezTo>
                  <a:cubicBezTo>
                    <a:pt x="100846" y="90334"/>
                    <a:pt x="101076" y="90334"/>
                    <a:pt x="101076" y="90334"/>
                  </a:cubicBezTo>
                  <a:cubicBezTo>
                    <a:pt x="102461" y="89219"/>
                    <a:pt x="102461" y="89219"/>
                    <a:pt x="102461" y="89219"/>
                  </a:cubicBezTo>
                  <a:cubicBezTo>
                    <a:pt x="103153" y="86765"/>
                    <a:pt x="103153" y="86765"/>
                    <a:pt x="103153" y="86765"/>
                  </a:cubicBezTo>
                  <a:cubicBezTo>
                    <a:pt x="102230" y="86096"/>
                    <a:pt x="102230" y="86096"/>
                    <a:pt x="102230" y="86096"/>
                  </a:cubicBezTo>
                  <a:cubicBezTo>
                    <a:pt x="100153" y="86096"/>
                    <a:pt x="100153" y="86096"/>
                    <a:pt x="100153" y="86096"/>
                  </a:cubicBezTo>
                  <a:cubicBezTo>
                    <a:pt x="97846" y="85204"/>
                    <a:pt x="97846" y="85204"/>
                    <a:pt x="97846" y="85204"/>
                  </a:cubicBezTo>
                  <a:cubicBezTo>
                    <a:pt x="96692" y="83420"/>
                    <a:pt x="96692" y="83420"/>
                    <a:pt x="96692" y="83420"/>
                  </a:cubicBezTo>
                  <a:cubicBezTo>
                    <a:pt x="96000" y="83420"/>
                    <a:pt x="96000" y="83420"/>
                    <a:pt x="96000" y="83420"/>
                  </a:cubicBezTo>
                  <a:cubicBezTo>
                    <a:pt x="95769" y="81858"/>
                    <a:pt x="95307" y="82527"/>
                    <a:pt x="96230" y="81412"/>
                  </a:cubicBezTo>
                  <a:cubicBezTo>
                    <a:pt x="97153" y="80074"/>
                    <a:pt x="97153" y="80074"/>
                    <a:pt x="97153" y="80074"/>
                  </a:cubicBezTo>
                  <a:cubicBezTo>
                    <a:pt x="96923" y="77843"/>
                    <a:pt x="96923" y="77843"/>
                    <a:pt x="96923" y="77843"/>
                  </a:cubicBezTo>
                  <a:cubicBezTo>
                    <a:pt x="96230" y="77174"/>
                    <a:pt x="96230" y="77174"/>
                    <a:pt x="96230" y="77174"/>
                  </a:cubicBezTo>
                  <a:cubicBezTo>
                    <a:pt x="95076" y="76505"/>
                    <a:pt x="95076" y="76505"/>
                    <a:pt x="95076" y="76505"/>
                  </a:cubicBezTo>
                  <a:cubicBezTo>
                    <a:pt x="95076" y="76505"/>
                    <a:pt x="94384" y="75613"/>
                    <a:pt x="94153" y="75390"/>
                  </a:cubicBezTo>
                  <a:cubicBezTo>
                    <a:pt x="94153" y="75390"/>
                    <a:pt x="94153" y="74944"/>
                    <a:pt x="94153" y="74944"/>
                  </a:cubicBezTo>
                  <a:cubicBezTo>
                    <a:pt x="93923" y="74721"/>
                    <a:pt x="94846" y="74721"/>
                    <a:pt x="94846" y="74721"/>
                  </a:cubicBezTo>
                  <a:cubicBezTo>
                    <a:pt x="95076" y="74721"/>
                    <a:pt x="95769" y="74498"/>
                    <a:pt x="96000" y="74498"/>
                  </a:cubicBezTo>
                  <a:cubicBezTo>
                    <a:pt x="96230" y="74498"/>
                    <a:pt x="97153" y="73605"/>
                    <a:pt x="97153" y="73605"/>
                  </a:cubicBezTo>
                  <a:cubicBezTo>
                    <a:pt x="97153" y="73605"/>
                    <a:pt x="97615" y="72713"/>
                    <a:pt x="98076" y="72490"/>
                  </a:cubicBezTo>
                  <a:cubicBezTo>
                    <a:pt x="98307" y="72267"/>
                    <a:pt x="98769" y="70483"/>
                    <a:pt x="98769" y="70260"/>
                  </a:cubicBezTo>
                  <a:cubicBezTo>
                    <a:pt x="98769" y="70260"/>
                    <a:pt x="98307" y="69144"/>
                    <a:pt x="98076" y="69144"/>
                  </a:cubicBezTo>
                  <a:cubicBezTo>
                    <a:pt x="96000" y="68252"/>
                    <a:pt x="96461" y="67806"/>
                    <a:pt x="95538" y="67360"/>
                  </a:cubicBezTo>
                  <a:cubicBezTo>
                    <a:pt x="95538" y="66245"/>
                    <a:pt x="95538" y="66245"/>
                    <a:pt x="95538" y="66245"/>
                  </a:cubicBezTo>
                  <a:cubicBezTo>
                    <a:pt x="96692" y="65353"/>
                    <a:pt x="96692" y="65353"/>
                    <a:pt x="96692" y="65353"/>
                  </a:cubicBezTo>
                  <a:cubicBezTo>
                    <a:pt x="96923" y="65130"/>
                    <a:pt x="97384" y="64907"/>
                    <a:pt x="97615" y="64907"/>
                  </a:cubicBezTo>
                  <a:cubicBezTo>
                    <a:pt x="97846" y="64460"/>
                    <a:pt x="97846" y="64460"/>
                    <a:pt x="97846" y="64460"/>
                  </a:cubicBezTo>
                  <a:cubicBezTo>
                    <a:pt x="97846" y="64460"/>
                    <a:pt x="97384" y="64014"/>
                    <a:pt x="97384" y="64014"/>
                  </a:cubicBezTo>
                  <a:cubicBezTo>
                    <a:pt x="97384" y="64014"/>
                    <a:pt x="97153" y="63791"/>
                    <a:pt x="96923" y="63791"/>
                  </a:cubicBezTo>
                  <a:cubicBezTo>
                    <a:pt x="96923" y="63791"/>
                    <a:pt x="96692" y="63568"/>
                    <a:pt x="96692" y="63568"/>
                  </a:cubicBezTo>
                  <a:cubicBezTo>
                    <a:pt x="96692" y="63568"/>
                    <a:pt x="96461" y="63345"/>
                    <a:pt x="96230" y="63345"/>
                  </a:cubicBezTo>
                  <a:cubicBezTo>
                    <a:pt x="96000" y="63345"/>
                    <a:pt x="96230" y="62899"/>
                    <a:pt x="96461" y="62899"/>
                  </a:cubicBezTo>
                  <a:cubicBezTo>
                    <a:pt x="96461" y="62676"/>
                    <a:pt x="96461" y="62230"/>
                    <a:pt x="96461" y="62230"/>
                  </a:cubicBezTo>
                  <a:cubicBezTo>
                    <a:pt x="96461" y="62230"/>
                    <a:pt x="95769" y="62230"/>
                    <a:pt x="95538" y="62230"/>
                  </a:cubicBezTo>
                  <a:cubicBezTo>
                    <a:pt x="95538" y="62007"/>
                    <a:pt x="95538" y="62007"/>
                    <a:pt x="95538" y="62007"/>
                  </a:cubicBezTo>
                  <a:cubicBezTo>
                    <a:pt x="95538" y="62007"/>
                    <a:pt x="95769" y="61338"/>
                    <a:pt x="96000" y="61338"/>
                  </a:cubicBezTo>
                  <a:cubicBezTo>
                    <a:pt x="96000" y="61115"/>
                    <a:pt x="96000" y="60892"/>
                    <a:pt x="96000" y="60892"/>
                  </a:cubicBezTo>
                  <a:cubicBezTo>
                    <a:pt x="96000" y="60892"/>
                    <a:pt x="96000" y="60669"/>
                    <a:pt x="96000" y="60223"/>
                  </a:cubicBezTo>
                  <a:cubicBezTo>
                    <a:pt x="96230" y="60000"/>
                    <a:pt x="96000" y="60000"/>
                    <a:pt x="96000" y="60000"/>
                  </a:cubicBezTo>
                  <a:cubicBezTo>
                    <a:pt x="96000" y="60000"/>
                    <a:pt x="95769" y="59776"/>
                    <a:pt x="95538" y="59776"/>
                  </a:cubicBezTo>
                  <a:cubicBezTo>
                    <a:pt x="95538" y="59776"/>
                    <a:pt x="95538" y="59776"/>
                    <a:pt x="95769" y="59553"/>
                  </a:cubicBezTo>
                  <a:cubicBezTo>
                    <a:pt x="96000" y="59107"/>
                    <a:pt x="96000" y="59330"/>
                    <a:pt x="96000" y="59330"/>
                  </a:cubicBezTo>
                  <a:cubicBezTo>
                    <a:pt x="96000" y="58884"/>
                    <a:pt x="96000" y="58884"/>
                    <a:pt x="96000" y="58884"/>
                  </a:cubicBezTo>
                  <a:cubicBezTo>
                    <a:pt x="95538" y="58661"/>
                    <a:pt x="95538" y="58661"/>
                    <a:pt x="95538" y="58661"/>
                  </a:cubicBezTo>
                  <a:cubicBezTo>
                    <a:pt x="94846" y="58215"/>
                    <a:pt x="94846" y="58215"/>
                    <a:pt x="94846" y="58215"/>
                  </a:cubicBezTo>
                  <a:cubicBezTo>
                    <a:pt x="94846" y="58215"/>
                    <a:pt x="93923" y="58215"/>
                    <a:pt x="93923" y="58215"/>
                  </a:cubicBezTo>
                  <a:cubicBezTo>
                    <a:pt x="93923" y="58215"/>
                    <a:pt x="93230" y="58215"/>
                    <a:pt x="93230" y="58215"/>
                  </a:cubicBezTo>
                  <a:cubicBezTo>
                    <a:pt x="92769" y="58438"/>
                    <a:pt x="92769" y="58438"/>
                    <a:pt x="92769" y="58438"/>
                  </a:cubicBezTo>
                  <a:cubicBezTo>
                    <a:pt x="92538" y="58661"/>
                    <a:pt x="92538" y="58661"/>
                    <a:pt x="92538" y="58661"/>
                  </a:cubicBezTo>
                  <a:cubicBezTo>
                    <a:pt x="91846" y="58884"/>
                    <a:pt x="91846" y="58884"/>
                    <a:pt x="91846" y="58884"/>
                  </a:cubicBezTo>
                  <a:cubicBezTo>
                    <a:pt x="91153" y="59107"/>
                    <a:pt x="91153" y="59107"/>
                    <a:pt x="91153" y="59107"/>
                  </a:cubicBezTo>
                  <a:cubicBezTo>
                    <a:pt x="91153" y="59107"/>
                    <a:pt x="90923" y="59553"/>
                    <a:pt x="90692" y="59776"/>
                  </a:cubicBezTo>
                  <a:cubicBezTo>
                    <a:pt x="90692" y="59776"/>
                    <a:pt x="90692" y="60000"/>
                    <a:pt x="90692" y="60000"/>
                  </a:cubicBezTo>
                  <a:cubicBezTo>
                    <a:pt x="91153" y="60223"/>
                    <a:pt x="91153" y="60223"/>
                    <a:pt x="91153" y="60223"/>
                  </a:cubicBezTo>
                  <a:cubicBezTo>
                    <a:pt x="91153" y="60669"/>
                    <a:pt x="91153" y="60669"/>
                    <a:pt x="91153" y="60669"/>
                  </a:cubicBezTo>
                  <a:cubicBezTo>
                    <a:pt x="91384" y="60669"/>
                    <a:pt x="91384" y="60669"/>
                    <a:pt x="91384" y="60669"/>
                  </a:cubicBezTo>
                  <a:cubicBezTo>
                    <a:pt x="91153" y="61115"/>
                    <a:pt x="91153" y="61115"/>
                    <a:pt x="91153" y="61115"/>
                  </a:cubicBezTo>
                  <a:cubicBezTo>
                    <a:pt x="91153" y="61115"/>
                    <a:pt x="90923" y="61115"/>
                    <a:pt x="90692" y="61338"/>
                  </a:cubicBezTo>
                  <a:cubicBezTo>
                    <a:pt x="90461" y="61561"/>
                    <a:pt x="90461" y="61784"/>
                    <a:pt x="90461" y="61784"/>
                  </a:cubicBezTo>
                  <a:cubicBezTo>
                    <a:pt x="89769" y="62007"/>
                    <a:pt x="89769" y="62007"/>
                    <a:pt x="89769" y="62007"/>
                  </a:cubicBezTo>
                  <a:cubicBezTo>
                    <a:pt x="89307" y="61784"/>
                    <a:pt x="89307" y="61784"/>
                    <a:pt x="89307" y="61784"/>
                  </a:cubicBezTo>
                  <a:cubicBezTo>
                    <a:pt x="88846" y="62007"/>
                    <a:pt x="88846" y="62007"/>
                    <a:pt x="88846" y="62007"/>
                  </a:cubicBezTo>
                  <a:cubicBezTo>
                    <a:pt x="88615" y="62007"/>
                    <a:pt x="88615" y="62007"/>
                    <a:pt x="88615" y="62007"/>
                  </a:cubicBezTo>
                  <a:cubicBezTo>
                    <a:pt x="88615" y="61561"/>
                    <a:pt x="88615" y="61561"/>
                    <a:pt x="88615" y="61561"/>
                  </a:cubicBezTo>
                  <a:cubicBezTo>
                    <a:pt x="88384" y="61338"/>
                    <a:pt x="88384" y="61338"/>
                    <a:pt x="88384" y="61338"/>
                  </a:cubicBezTo>
                  <a:cubicBezTo>
                    <a:pt x="88615" y="61115"/>
                    <a:pt x="88615" y="61115"/>
                    <a:pt x="88615" y="61115"/>
                  </a:cubicBezTo>
                  <a:cubicBezTo>
                    <a:pt x="88615" y="61115"/>
                    <a:pt x="88846" y="60892"/>
                    <a:pt x="88846" y="60892"/>
                  </a:cubicBezTo>
                  <a:cubicBezTo>
                    <a:pt x="89076" y="60892"/>
                    <a:pt x="89307" y="60669"/>
                    <a:pt x="89307" y="60669"/>
                  </a:cubicBezTo>
                  <a:cubicBezTo>
                    <a:pt x="89769" y="60669"/>
                    <a:pt x="89769" y="60669"/>
                    <a:pt x="89769" y="60669"/>
                  </a:cubicBezTo>
                  <a:cubicBezTo>
                    <a:pt x="89769" y="60223"/>
                    <a:pt x="89769" y="60223"/>
                    <a:pt x="89769" y="60223"/>
                  </a:cubicBezTo>
                  <a:cubicBezTo>
                    <a:pt x="90000" y="59776"/>
                    <a:pt x="90000" y="59776"/>
                    <a:pt x="90000" y="59776"/>
                  </a:cubicBezTo>
                  <a:cubicBezTo>
                    <a:pt x="90000" y="59107"/>
                    <a:pt x="90000" y="59107"/>
                    <a:pt x="90000" y="59107"/>
                  </a:cubicBezTo>
                  <a:cubicBezTo>
                    <a:pt x="89769" y="58884"/>
                    <a:pt x="89769" y="58884"/>
                    <a:pt x="89769" y="58884"/>
                  </a:cubicBezTo>
                  <a:cubicBezTo>
                    <a:pt x="89538" y="58661"/>
                    <a:pt x="89538" y="58661"/>
                    <a:pt x="89538" y="58661"/>
                  </a:cubicBezTo>
                  <a:cubicBezTo>
                    <a:pt x="89538" y="58438"/>
                    <a:pt x="89538" y="58438"/>
                    <a:pt x="89538" y="58438"/>
                  </a:cubicBezTo>
                  <a:cubicBezTo>
                    <a:pt x="89538" y="57992"/>
                    <a:pt x="89538" y="57992"/>
                    <a:pt x="89538" y="57992"/>
                  </a:cubicBezTo>
                  <a:cubicBezTo>
                    <a:pt x="89769" y="57769"/>
                    <a:pt x="89769" y="57769"/>
                    <a:pt x="89769" y="57769"/>
                  </a:cubicBezTo>
                  <a:cubicBezTo>
                    <a:pt x="89769" y="57769"/>
                    <a:pt x="90000" y="57546"/>
                    <a:pt x="90000" y="57323"/>
                  </a:cubicBezTo>
                  <a:cubicBezTo>
                    <a:pt x="90000" y="57323"/>
                    <a:pt x="90000" y="56877"/>
                    <a:pt x="90000" y="56877"/>
                  </a:cubicBezTo>
                  <a:cubicBezTo>
                    <a:pt x="90000" y="56877"/>
                    <a:pt x="90000" y="56654"/>
                    <a:pt x="90000" y="56654"/>
                  </a:cubicBezTo>
                  <a:cubicBezTo>
                    <a:pt x="90923" y="55762"/>
                    <a:pt x="90923" y="55762"/>
                    <a:pt x="90923" y="55762"/>
                  </a:cubicBezTo>
                  <a:cubicBezTo>
                    <a:pt x="91384" y="55315"/>
                    <a:pt x="91384" y="55315"/>
                    <a:pt x="91384" y="55315"/>
                  </a:cubicBezTo>
                  <a:cubicBezTo>
                    <a:pt x="91384" y="55315"/>
                    <a:pt x="91846" y="55315"/>
                    <a:pt x="91846" y="55092"/>
                  </a:cubicBezTo>
                  <a:cubicBezTo>
                    <a:pt x="91846" y="55092"/>
                    <a:pt x="92307" y="55092"/>
                    <a:pt x="92307" y="55092"/>
                  </a:cubicBezTo>
                  <a:cubicBezTo>
                    <a:pt x="92307" y="55092"/>
                    <a:pt x="92538" y="54869"/>
                    <a:pt x="92538" y="54869"/>
                  </a:cubicBezTo>
                  <a:cubicBezTo>
                    <a:pt x="92769" y="54646"/>
                    <a:pt x="92769" y="54423"/>
                    <a:pt x="92769" y="54423"/>
                  </a:cubicBezTo>
                  <a:cubicBezTo>
                    <a:pt x="92769" y="54423"/>
                    <a:pt x="92769" y="54200"/>
                    <a:pt x="92769" y="54200"/>
                  </a:cubicBezTo>
                  <a:cubicBezTo>
                    <a:pt x="92769" y="54200"/>
                    <a:pt x="92769" y="53977"/>
                    <a:pt x="92769" y="53977"/>
                  </a:cubicBezTo>
                  <a:cubicBezTo>
                    <a:pt x="92769" y="53977"/>
                    <a:pt x="92769" y="53754"/>
                    <a:pt x="92769" y="53754"/>
                  </a:cubicBezTo>
                  <a:cubicBezTo>
                    <a:pt x="92769" y="53531"/>
                    <a:pt x="93000" y="53531"/>
                    <a:pt x="93000" y="53531"/>
                  </a:cubicBezTo>
                  <a:cubicBezTo>
                    <a:pt x="93000" y="53085"/>
                    <a:pt x="93000" y="53085"/>
                    <a:pt x="93000" y="53085"/>
                  </a:cubicBezTo>
                  <a:cubicBezTo>
                    <a:pt x="93000" y="53085"/>
                    <a:pt x="92769" y="52862"/>
                    <a:pt x="92769" y="52639"/>
                  </a:cubicBezTo>
                  <a:cubicBezTo>
                    <a:pt x="92769" y="52639"/>
                    <a:pt x="92769" y="52639"/>
                    <a:pt x="92769" y="52416"/>
                  </a:cubicBezTo>
                  <a:cubicBezTo>
                    <a:pt x="93000" y="52193"/>
                    <a:pt x="93230" y="52193"/>
                    <a:pt x="93230" y="52193"/>
                  </a:cubicBezTo>
                  <a:cubicBezTo>
                    <a:pt x="93692" y="52193"/>
                    <a:pt x="93692" y="52193"/>
                    <a:pt x="93692" y="52193"/>
                  </a:cubicBezTo>
                  <a:cubicBezTo>
                    <a:pt x="93692" y="52193"/>
                    <a:pt x="93923" y="51970"/>
                    <a:pt x="94153" y="51970"/>
                  </a:cubicBezTo>
                  <a:cubicBezTo>
                    <a:pt x="94153" y="51970"/>
                    <a:pt x="94384" y="51747"/>
                    <a:pt x="94384" y="51747"/>
                  </a:cubicBezTo>
                  <a:cubicBezTo>
                    <a:pt x="94615" y="51301"/>
                    <a:pt x="94615" y="51301"/>
                    <a:pt x="94615" y="51301"/>
                  </a:cubicBezTo>
                  <a:cubicBezTo>
                    <a:pt x="94846" y="51301"/>
                    <a:pt x="94846" y="51301"/>
                    <a:pt x="94846" y="51301"/>
                  </a:cubicBezTo>
                  <a:cubicBezTo>
                    <a:pt x="95076" y="51078"/>
                    <a:pt x="95076" y="51078"/>
                    <a:pt x="95076" y="51078"/>
                  </a:cubicBezTo>
                  <a:cubicBezTo>
                    <a:pt x="95076" y="50631"/>
                    <a:pt x="95076" y="50631"/>
                    <a:pt x="95076" y="50631"/>
                  </a:cubicBezTo>
                  <a:cubicBezTo>
                    <a:pt x="95538" y="50408"/>
                    <a:pt x="95538" y="50408"/>
                    <a:pt x="95538" y="50408"/>
                  </a:cubicBezTo>
                  <a:cubicBezTo>
                    <a:pt x="95538" y="50185"/>
                    <a:pt x="95538" y="50185"/>
                    <a:pt x="95538" y="50185"/>
                  </a:cubicBezTo>
                  <a:cubicBezTo>
                    <a:pt x="95769" y="49962"/>
                    <a:pt x="95769" y="49962"/>
                    <a:pt x="95769" y="49962"/>
                  </a:cubicBezTo>
                  <a:cubicBezTo>
                    <a:pt x="96000" y="49962"/>
                    <a:pt x="96000" y="49962"/>
                    <a:pt x="96000" y="49962"/>
                  </a:cubicBezTo>
                  <a:cubicBezTo>
                    <a:pt x="96461" y="49516"/>
                    <a:pt x="96461" y="49516"/>
                    <a:pt x="96461" y="49516"/>
                  </a:cubicBezTo>
                  <a:cubicBezTo>
                    <a:pt x="96923" y="49293"/>
                    <a:pt x="96923" y="49293"/>
                    <a:pt x="96923" y="49293"/>
                  </a:cubicBezTo>
                  <a:cubicBezTo>
                    <a:pt x="96923" y="49293"/>
                    <a:pt x="97153" y="48847"/>
                    <a:pt x="97153" y="48624"/>
                  </a:cubicBezTo>
                  <a:cubicBezTo>
                    <a:pt x="97153" y="48401"/>
                    <a:pt x="97153" y="48401"/>
                    <a:pt x="97384" y="48178"/>
                  </a:cubicBezTo>
                  <a:cubicBezTo>
                    <a:pt x="97384" y="48178"/>
                    <a:pt x="97615" y="48178"/>
                    <a:pt x="97846" y="47955"/>
                  </a:cubicBezTo>
                  <a:cubicBezTo>
                    <a:pt x="97846" y="47955"/>
                    <a:pt x="97846" y="47732"/>
                    <a:pt x="97846" y="47732"/>
                  </a:cubicBezTo>
                  <a:cubicBezTo>
                    <a:pt x="98076" y="47732"/>
                    <a:pt x="98076" y="47732"/>
                    <a:pt x="98076" y="47732"/>
                  </a:cubicBezTo>
                  <a:cubicBezTo>
                    <a:pt x="98076" y="47286"/>
                    <a:pt x="98076" y="47286"/>
                    <a:pt x="98076" y="47286"/>
                  </a:cubicBezTo>
                  <a:cubicBezTo>
                    <a:pt x="98076" y="47063"/>
                    <a:pt x="98076" y="47063"/>
                    <a:pt x="98076" y="47063"/>
                  </a:cubicBezTo>
                  <a:cubicBezTo>
                    <a:pt x="98076" y="47063"/>
                    <a:pt x="97615" y="47286"/>
                    <a:pt x="97615" y="47286"/>
                  </a:cubicBezTo>
                  <a:cubicBezTo>
                    <a:pt x="97615" y="47286"/>
                    <a:pt x="97384" y="47286"/>
                    <a:pt x="97153" y="47286"/>
                  </a:cubicBezTo>
                  <a:cubicBezTo>
                    <a:pt x="97153" y="47286"/>
                    <a:pt x="96923" y="47286"/>
                    <a:pt x="96692" y="47286"/>
                  </a:cubicBezTo>
                  <a:cubicBezTo>
                    <a:pt x="96461" y="47063"/>
                    <a:pt x="96692" y="47063"/>
                    <a:pt x="96692" y="47063"/>
                  </a:cubicBezTo>
                  <a:cubicBezTo>
                    <a:pt x="96692" y="47063"/>
                    <a:pt x="96923" y="47063"/>
                    <a:pt x="96923" y="46840"/>
                  </a:cubicBezTo>
                  <a:cubicBezTo>
                    <a:pt x="96923" y="46840"/>
                    <a:pt x="97153" y="46394"/>
                    <a:pt x="97153" y="46394"/>
                  </a:cubicBezTo>
                  <a:cubicBezTo>
                    <a:pt x="97384" y="46394"/>
                    <a:pt x="97384" y="46394"/>
                    <a:pt x="97384" y="46394"/>
                  </a:cubicBezTo>
                  <a:cubicBezTo>
                    <a:pt x="97615" y="46171"/>
                    <a:pt x="97615" y="46171"/>
                    <a:pt x="97615" y="46171"/>
                  </a:cubicBezTo>
                  <a:cubicBezTo>
                    <a:pt x="97615" y="46171"/>
                    <a:pt x="97846" y="46171"/>
                    <a:pt x="97846" y="46171"/>
                  </a:cubicBezTo>
                  <a:cubicBezTo>
                    <a:pt x="97846" y="46171"/>
                    <a:pt x="97615" y="45947"/>
                    <a:pt x="97615" y="45947"/>
                  </a:cubicBezTo>
                  <a:cubicBezTo>
                    <a:pt x="97615" y="45501"/>
                    <a:pt x="97615" y="45501"/>
                    <a:pt x="97615" y="45501"/>
                  </a:cubicBezTo>
                  <a:cubicBezTo>
                    <a:pt x="98076" y="45724"/>
                    <a:pt x="98076" y="45724"/>
                    <a:pt x="98076" y="45724"/>
                  </a:cubicBezTo>
                  <a:cubicBezTo>
                    <a:pt x="98769" y="45724"/>
                    <a:pt x="98769" y="45724"/>
                    <a:pt x="98769" y="45724"/>
                  </a:cubicBezTo>
                  <a:cubicBezTo>
                    <a:pt x="99000" y="45501"/>
                    <a:pt x="99000" y="45501"/>
                    <a:pt x="99000" y="45501"/>
                  </a:cubicBezTo>
                  <a:cubicBezTo>
                    <a:pt x="99000" y="45501"/>
                    <a:pt x="99230" y="45947"/>
                    <a:pt x="99230" y="45947"/>
                  </a:cubicBezTo>
                  <a:cubicBezTo>
                    <a:pt x="99230" y="46171"/>
                    <a:pt x="99230" y="46394"/>
                    <a:pt x="99461" y="46394"/>
                  </a:cubicBezTo>
                  <a:cubicBezTo>
                    <a:pt x="99461" y="46394"/>
                    <a:pt x="99923" y="46617"/>
                    <a:pt x="99923" y="46617"/>
                  </a:cubicBezTo>
                  <a:cubicBezTo>
                    <a:pt x="99923" y="46617"/>
                    <a:pt x="99923" y="46394"/>
                    <a:pt x="100153" y="46394"/>
                  </a:cubicBezTo>
                  <a:cubicBezTo>
                    <a:pt x="100153" y="46394"/>
                    <a:pt x="100384" y="46394"/>
                    <a:pt x="100384" y="46394"/>
                  </a:cubicBezTo>
                  <a:cubicBezTo>
                    <a:pt x="100615" y="46394"/>
                    <a:pt x="100846" y="46394"/>
                    <a:pt x="100846" y="46394"/>
                  </a:cubicBezTo>
                  <a:cubicBezTo>
                    <a:pt x="100846" y="46394"/>
                    <a:pt x="101076" y="46394"/>
                    <a:pt x="101307" y="46394"/>
                  </a:cubicBezTo>
                  <a:cubicBezTo>
                    <a:pt x="101307" y="46171"/>
                    <a:pt x="101307" y="46171"/>
                    <a:pt x="101307" y="46171"/>
                  </a:cubicBezTo>
                  <a:cubicBezTo>
                    <a:pt x="101307" y="46171"/>
                    <a:pt x="101307" y="45947"/>
                    <a:pt x="101307" y="45947"/>
                  </a:cubicBezTo>
                  <a:cubicBezTo>
                    <a:pt x="101307" y="45947"/>
                    <a:pt x="101538" y="45501"/>
                    <a:pt x="101538" y="45501"/>
                  </a:cubicBezTo>
                  <a:cubicBezTo>
                    <a:pt x="101538" y="45501"/>
                    <a:pt x="101769" y="45501"/>
                    <a:pt x="101769" y="45501"/>
                  </a:cubicBezTo>
                  <a:cubicBezTo>
                    <a:pt x="101769" y="45501"/>
                    <a:pt x="102000" y="45501"/>
                    <a:pt x="102000" y="45501"/>
                  </a:cubicBezTo>
                  <a:cubicBezTo>
                    <a:pt x="102000" y="45501"/>
                    <a:pt x="102000" y="45278"/>
                    <a:pt x="102000" y="45278"/>
                  </a:cubicBezTo>
                  <a:cubicBezTo>
                    <a:pt x="102000" y="45278"/>
                    <a:pt x="102000" y="45055"/>
                    <a:pt x="102000" y="45055"/>
                  </a:cubicBezTo>
                  <a:cubicBezTo>
                    <a:pt x="102000" y="45055"/>
                    <a:pt x="102230" y="45055"/>
                    <a:pt x="102230" y="45055"/>
                  </a:cubicBezTo>
                  <a:cubicBezTo>
                    <a:pt x="102230" y="44609"/>
                    <a:pt x="102230" y="44609"/>
                    <a:pt x="102230" y="44609"/>
                  </a:cubicBezTo>
                  <a:cubicBezTo>
                    <a:pt x="102230" y="44609"/>
                    <a:pt x="102692" y="44609"/>
                    <a:pt x="102692" y="44609"/>
                  </a:cubicBezTo>
                  <a:cubicBezTo>
                    <a:pt x="102923" y="44609"/>
                    <a:pt x="102692" y="44609"/>
                    <a:pt x="102692" y="44609"/>
                  </a:cubicBezTo>
                  <a:cubicBezTo>
                    <a:pt x="103384" y="44386"/>
                    <a:pt x="103384" y="44386"/>
                    <a:pt x="103384" y="44386"/>
                  </a:cubicBezTo>
                  <a:cubicBezTo>
                    <a:pt x="103384" y="44386"/>
                    <a:pt x="103384" y="44386"/>
                    <a:pt x="103384" y="44609"/>
                  </a:cubicBezTo>
                  <a:cubicBezTo>
                    <a:pt x="102923" y="43940"/>
                    <a:pt x="102230" y="43048"/>
                    <a:pt x="102230" y="43048"/>
                  </a:cubicBezTo>
                  <a:cubicBezTo>
                    <a:pt x="102692" y="42156"/>
                    <a:pt x="102692" y="42156"/>
                    <a:pt x="102692" y="42156"/>
                  </a:cubicBezTo>
                  <a:cubicBezTo>
                    <a:pt x="102692" y="42156"/>
                    <a:pt x="102923" y="40594"/>
                    <a:pt x="102923" y="40148"/>
                  </a:cubicBezTo>
                  <a:cubicBezTo>
                    <a:pt x="102923" y="39925"/>
                    <a:pt x="102923" y="38587"/>
                    <a:pt x="102923" y="38587"/>
                  </a:cubicBezTo>
                  <a:cubicBezTo>
                    <a:pt x="102923" y="38587"/>
                    <a:pt x="102000" y="38364"/>
                    <a:pt x="102692" y="37695"/>
                  </a:cubicBezTo>
                  <a:cubicBezTo>
                    <a:pt x="103384" y="36802"/>
                    <a:pt x="104076" y="35687"/>
                    <a:pt x="104076" y="35687"/>
                  </a:cubicBezTo>
                  <a:cubicBezTo>
                    <a:pt x="104076" y="33457"/>
                    <a:pt x="104076" y="33457"/>
                    <a:pt x="104076" y="33457"/>
                  </a:cubicBezTo>
                  <a:cubicBezTo>
                    <a:pt x="104076" y="33457"/>
                    <a:pt x="103384" y="32788"/>
                    <a:pt x="104307" y="32342"/>
                  </a:cubicBezTo>
                  <a:cubicBezTo>
                    <a:pt x="105230" y="31672"/>
                    <a:pt x="106846" y="29665"/>
                    <a:pt x="106846" y="29665"/>
                  </a:cubicBezTo>
                  <a:cubicBezTo>
                    <a:pt x="108461" y="27881"/>
                    <a:pt x="108461" y="27881"/>
                    <a:pt x="108461" y="27881"/>
                  </a:cubicBezTo>
                  <a:cubicBezTo>
                    <a:pt x="105692" y="27211"/>
                    <a:pt x="105692" y="27211"/>
                    <a:pt x="105692" y="27211"/>
                  </a:cubicBezTo>
                  <a:cubicBezTo>
                    <a:pt x="104076" y="26988"/>
                    <a:pt x="104076" y="26988"/>
                    <a:pt x="104076" y="26988"/>
                  </a:cubicBezTo>
                  <a:cubicBezTo>
                    <a:pt x="102923" y="26319"/>
                    <a:pt x="102923" y="26319"/>
                    <a:pt x="102923" y="26319"/>
                  </a:cubicBezTo>
                  <a:cubicBezTo>
                    <a:pt x="102230" y="25204"/>
                    <a:pt x="102230" y="25204"/>
                    <a:pt x="102230" y="25204"/>
                  </a:cubicBezTo>
                  <a:cubicBezTo>
                    <a:pt x="101538" y="25650"/>
                    <a:pt x="101538" y="25650"/>
                    <a:pt x="101538" y="25650"/>
                  </a:cubicBezTo>
                  <a:cubicBezTo>
                    <a:pt x="100846" y="26096"/>
                    <a:pt x="100846" y="26096"/>
                    <a:pt x="100846" y="26096"/>
                  </a:cubicBezTo>
                  <a:cubicBezTo>
                    <a:pt x="99230" y="25873"/>
                    <a:pt x="99230" y="25873"/>
                    <a:pt x="99230" y="25873"/>
                  </a:cubicBezTo>
                  <a:cubicBezTo>
                    <a:pt x="98076" y="24758"/>
                    <a:pt x="98076" y="24758"/>
                    <a:pt x="98076" y="24758"/>
                  </a:cubicBezTo>
                  <a:cubicBezTo>
                    <a:pt x="97153" y="25427"/>
                    <a:pt x="97153" y="25427"/>
                    <a:pt x="97153" y="25427"/>
                  </a:cubicBezTo>
                  <a:cubicBezTo>
                    <a:pt x="96230" y="24758"/>
                    <a:pt x="96230" y="24758"/>
                    <a:pt x="96230" y="24758"/>
                  </a:cubicBezTo>
                  <a:cubicBezTo>
                    <a:pt x="95538" y="23643"/>
                    <a:pt x="95538" y="23643"/>
                    <a:pt x="95538" y="23643"/>
                  </a:cubicBezTo>
                  <a:cubicBezTo>
                    <a:pt x="95307" y="22750"/>
                    <a:pt x="95307" y="22750"/>
                    <a:pt x="95307" y="22750"/>
                  </a:cubicBezTo>
                  <a:cubicBezTo>
                    <a:pt x="94153" y="21635"/>
                    <a:pt x="94153" y="21635"/>
                    <a:pt x="94153" y="21635"/>
                  </a:cubicBezTo>
                  <a:cubicBezTo>
                    <a:pt x="93692" y="21635"/>
                    <a:pt x="93692" y="21635"/>
                    <a:pt x="93692" y="21635"/>
                  </a:cubicBezTo>
                  <a:cubicBezTo>
                    <a:pt x="93692" y="21858"/>
                    <a:pt x="93461" y="21858"/>
                    <a:pt x="93461" y="21858"/>
                  </a:cubicBezTo>
                  <a:cubicBezTo>
                    <a:pt x="93461" y="21858"/>
                    <a:pt x="92769" y="21635"/>
                    <a:pt x="92769" y="21635"/>
                  </a:cubicBezTo>
                  <a:cubicBezTo>
                    <a:pt x="92769" y="21189"/>
                    <a:pt x="92769" y="21189"/>
                    <a:pt x="92769" y="21189"/>
                  </a:cubicBezTo>
                  <a:cubicBezTo>
                    <a:pt x="92538" y="20966"/>
                    <a:pt x="92538" y="20966"/>
                    <a:pt x="92538" y="20966"/>
                  </a:cubicBezTo>
                  <a:cubicBezTo>
                    <a:pt x="92076" y="20966"/>
                    <a:pt x="92076" y="20966"/>
                    <a:pt x="92076" y="20966"/>
                  </a:cubicBezTo>
                  <a:cubicBezTo>
                    <a:pt x="91615" y="21189"/>
                    <a:pt x="91615" y="21189"/>
                    <a:pt x="91615" y="21189"/>
                  </a:cubicBezTo>
                  <a:cubicBezTo>
                    <a:pt x="91384" y="21412"/>
                    <a:pt x="91384" y="21412"/>
                    <a:pt x="91384" y="21412"/>
                  </a:cubicBezTo>
                  <a:cubicBezTo>
                    <a:pt x="91384" y="21412"/>
                    <a:pt x="91384" y="21412"/>
                    <a:pt x="91384" y="21412"/>
                  </a:cubicBezTo>
                  <a:cubicBezTo>
                    <a:pt x="91153" y="21635"/>
                    <a:pt x="91153" y="21635"/>
                    <a:pt x="91153" y="21635"/>
                  </a:cubicBezTo>
                  <a:cubicBezTo>
                    <a:pt x="90923" y="21635"/>
                    <a:pt x="90923" y="21635"/>
                    <a:pt x="90923" y="21635"/>
                  </a:cubicBezTo>
                  <a:cubicBezTo>
                    <a:pt x="90923" y="21635"/>
                    <a:pt x="90923" y="21635"/>
                    <a:pt x="90923" y="21635"/>
                  </a:cubicBezTo>
                  <a:cubicBezTo>
                    <a:pt x="90923" y="21635"/>
                    <a:pt x="90692" y="21635"/>
                    <a:pt x="90692" y="21635"/>
                  </a:cubicBezTo>
                  <a:cubicBezTo>
                    <a:pt x="90230" y="21635"/>
                    <a:pt x="90230" y="21635"/>
                    <a:pt x="90230" y="21635"/>
                  </a:cubicBezTo>
                  <a:cubicBezTo>
                    <a:pt x="90230" y="21412"/>
                    <a:pt x="90230" y="21412"/>
                    <a:pt x="90230" y="21412"/>
                  </a:cubicBezTo>
                  <a:cubicBezTo>
                    <a:pt x="90230" y="21189"/>
                    <a:pt x="90230" y="21189"/>
                    <a:pt x="90230" y="21189"/>
                  </a:cubicBezTo>
                  <a:cubicBezTo>
                    <a:pt x="89769" y="20966"/>
                    <a:pt x="89769" y="20966"/>
                    <a:pt x="89769" y="20966"/>
                  </a:cubicBezTo>
                  <a:cubicBezTo>
                    <a:pt x="89538" y="20966"/>
                    <a:pt x="89538" y="20966"/>
                    <a:pt x="89538" y="20966"/>
                  </a:cubicBezTo>
                  <a:cubicBezTo>
                    <a:pt x="89538" y="20966"/>
                    <a:pt x="89307" y="20743"/>
                    <a:pt x="89307" y="20743"/>
                  </a:cubicBezTo>
                  <a:cubicBezTo>
                    <a:pt x="89076" y="20743"/>
                    <a:pt x="89076" y="20520"/>
                    <a:pt x="89076" y="20520"/>
                  </a:cubicBezTo>
                  <a:cubicBezTo>
                    <a:pt x="88846" y="20297"/>
                    <a:pt x="88846" y="20297"/>
                    <a:pt x="88846" y="20297"/>
                  </a:cubicBezTo>
                  <a:cubicBezTo>
                    <a:pt x="89307" y="20297"/>
                    <a:pt x="89307" y="20297"/>
                    <a:pt x="89307" y="20297"/>
                  </a:cubicBezTo>
                  <a:cubicBezTo>
                    <a:pt x="89307" y="20297"/>
                    <a:pt x="89307" y="20074"/>
                    <a:pt x="89307" y="20074"/>
                  </a:cubicBezTo>
                  <a:cubicBezTo>
                    <a:pt x="89307" y="20074"/>
                    <a:pt x="89307" y="20074"/>
                    <a:pt x="89307" y="20074"/>
                  </a:cubicBezTo>
                  <a:cubicBezTo>
                    <a:pt x="89307" y="20074"/>
                    <a:pt x="89076" y="20074"/>
                    <a:pt x="89076" y="20074"/>
                  </a:cubicBezTo>
                  <a:cubicBezTo>
                    <a:pt x="88615" y="20074"/>
                    <a:pt x="88615" y="20074"/>
                    <a:pt x="88615" y="20074"/>
                  </a:cubicBezTo>
                  <a:cubicBezTo>
                    <a:pt x="88384" y="20297"/>
                    <a:pt x="88384" y="20297"/>
                    <a:pt x="88384" y="20297"/>
                  </a:cubicBezTo>
                  <a:cubicBezTo>
                    <a:pt x="87923" y="20297"/>
                    <a:pt x="87923" y="20297"/>
                    <a:pt x="87923" y="20297"/>
                  </a:cubicBezTo>
                  <a:cubicBezTo>
                    <a:pt x="87461" y="20520"/>
                    <a:pt x="87461" y="20520"/>
                    <a:pt x="87461" y="20520"/>
                  </a:cubicBezTo>
                  <a:cubicBezTo>
                    <a:pt x="86769" y="20520"/>
                    <a:pt x="86769" y="20520"/>
                    <a:pt x="86769" y="20520"/>
                  </a:cubicBezTo>
                  <a:cubicBezTo>
                    <a:pt x="86538" y="20074"/>
                    <a:pt x="86538" y="20074"/>
                    <a:pt x="86538" y="20074"/>
                  </a:cubicBezTo>
                  <a:cubicBezTo>
                    <a:pt x="86307" y="19628"/>
                    <a:pt x="86307" y="19628"/>
                    <a:pt x="86307" y="19628"/>
                  </a:cubicBezTo>
                  <a:cubicBezTo>
                    <a:pt x="86076" y="19405"/>
                    <a:pt x="86076" y="19405"/>
                    <a:pt x="86076" y="19405"/>
                  </a:cubicBezTo>
                  <a:cubicBezTo>
                    <a:pt x="85846" y="19405"/>
                    <a:pt x="85846" y="19405"/>
                    <a:pt x="85846" y="19405"/>
                  </a:cubicBezTo>
                  <a:cubicBezTo>
                    <a:pt x="85153" y="19182"/>
                    <a:pt x="85153" y="19182"/>
                    <a:pt x="85153" y="19182"/>
                  </a:cubicBezTo>
                  <a:cubicBezTo>
                    <a:pt x="85384" y="18736"/>
                    <a:pt x="85384" y="18736"/>
                    <a:pt x="85384" y="18736"/>
                  </a:cubicBezTo>
                  <a:cubicBezTo>
                    <a:pt x="85384" y="18736"/>
                    <a:pt x="85153" y="18289"/>
                    <a:pt x="85153" y="18289"/>
                  </a:cubicBezTo>
                  <a:cubicBezTo>
                    <a:pt x="84923" y="18289"/>
                    <a:pt x="84692" y="18289"/>
                    <a:pt x="84692" y="18289"/>
                  </a:cubicBezTo>
                  <a:cubicBezTo>
                    <a:pt x="84230" y="17843"/>
                    <a:pt x="84230" y="17843"/>
                    <a:pt x="84230" y="17843"/>
                  </a:cubicBezTo>
                  <a:cubicBezTo>
                    <a:pt x="84230" y="17843"/>
                    <a:pt x="84230" y="17620"/>
                    <a:pt x="84000" y="17397"/>
                  </a:cubicBezTo>
                  <a:cubicBezTo>
                    <a:pt x="83769" y="17397"/>
                    <a:pt x="83769" y="17174"/>
                    <a:pt x="83538" y="17174"/>
                  </a:cubicBezTo>
                  <a:cubicBezTo>
                    <a:pt x="83307" y="17174"/>
                    <a:pt x="82846" y="17174"/>
                    <a:pt x="82846" y="17174"/>
                  </a:cubicBezTo>
                  <a:cubicBezTo>
                    <a:pt x="82846" y="17174"/>
                    <a:pt x="82615" y="16728"/>
                    <a:pt x="82384" y="16728"/>
                  </a:cubicBezTo>
                  <a:cubicBezTo>
                    <a:pt x="82384" y="16728"/>
                    <a:pt x="81461" y="16728"/>
                    <a:pt x="81461" y="16728"/>
                  </a:cubicBezTo>
                  <a:cubicBezTo>
                    <a:pt x="81461" y="16728"/>
                    <a:pt x="81692" y="16059"/>
                    <a:pt x="81692" y="16059"/>
                  </a:cubicBezTo>
                  <a:cubicBezTo>
                    <a:pt x="81692" y="15836"/>
                    <a:pt x="81692" y="15167"/>
                    <a:pt x="81692" y="15167"/>
                  </a:cubicBezTo>
                  <a:cubicBezTo>
                    <a:pt x="81692" y="14944"/>
                    <a:pt x="81692" y="14944"/>
                    <a:pt x="81692" y="14944"/>
                  </a:cubicBezTo>
                  <a:cubicBezTo>
                    <a:pt x="81692" y="14944"/>
                    <a:pt x="81461" y="14721"/>
                    <a:pt x="81692" y="14275"/>
                  </a:cubicBezTo>
                  <a:cubicBezTo>
                    <a:pt x="81923" y="13828"/>
                    <a:pt x="81692" y="14052"/>
                    <a:pt x="81923" y="13605"/>
                  </a:cubicBezTo>
                  <a:cubicBezTo>
                    <a:pt x="82153" y="12936"/>
                    <a:pt x="82153" y="12713"/>
                    <a:pt x="82153" y="12713"/>
                  </a:cubicBezTo>
                  <a:cubicBezTo>
                    <a:pt x="81692" y="12490"/>
                    <a:pt x="81692" y="12490"/>
                    <a:pt x="81692" y="12490"/>
                  </a:cubicBezTo>
                  <a:cubicBezTo>
                    <a:pt x="81692" y="12490"/>
                    <a:pt x="81461" y="12267"/>
                    <a:pt x="81230" y="12490"/>
                  </a:cubicBezTo>
                  <a:cubicBezTo>
                    <a:pt x="81230" y="12936"/>
                    <a:pt x="81000" y="12936"/>
                    <a:pt x="81000" y="12936"/>
                  </a:cubicBezTo>
                  <a:cubicBezTo>
                    <a:pt x="80538" y="13605"/>
                    <a:pt x="80538" y="13605"/>
                    <a:pt x="80538" y="13605"/>
                  </a:cubicBezTo>
                  <a:cubicBezTo>
                    <a:pt x="80538" y="14275"/>
                    <a:pt x="80538" y="14275"/>
                    <a:pt x="80538" y="14275"/>
                  </a:cubicBezTo>
                  <a:cubicBezTo>
                    <a:pt x="80538" y="14275"/>
                    <a:pt x="80769" y="14498"/>
                    <a:pt x="80076" y="14498"/>
                  </a:cubicBezTo>
                  <a:cubicBezTo>
                    <a:pt x="79615" y="14498"/>
                    <a:pt x="79153" y="14498"/>
                    <a:pt x="79153" y="14498"/>
                  </a:cubicBezTo>
                  <a:cubicBezTo>
                    <a:pt x="79153" y="14498"/>
                    <a:pt x="79615" y="14944"/>
                    <a:pt x="78923" y="14944"/>
                  </a:cubicBezTo>
                  <a:cubicBezTo>
                    <a:pt x="78461" y="14944"/>
                    <a:pt x="77769" y="14944"/>
                    <a:pt x="77769" y="14944"/>
                  </a:cubicBezTo>
                  <a:cubicBezTo>
                    <a:pt x="77307" y="14498"/>
                    <a:pt x="77307" y="14498"/>
                    <a:pt x="77307" y="14498"/>
                  </a:cubicBezTo>
                  <a:cubicBezTo>
                    <a:pt x="76384" y="14721"/>
                    <a:pt x="76384" y="14721"/>
                    <a:pt x="76384" y="14721"/>
                  </a:cubicBezTo>
                  <a:cubicBezTo>
                    <a:pt x="76384" y="14721"/>
                    <a:pt x="76384" y="14498"/>
                    <a:pt x="76384" y="14052"/>
                  </a:cubicBezTo>
                  <a:cubicBezTo>
                    <a:pt x="76384" y="13828"/>
                    <a:pt x="76153" y="13382"/>
                    <a:pt x="76384" y="13382"/>
                  </a:cubicBezTo>
                  <a:cubicBezTo>
                    <a:pt x="76615" y="13382"/>
                    <a:pt x="76846" y="13159"/>
                    <a:pt x="76846" y="13159"/>
                  </a:cubicBezTo>
                  <a:cubicBezTo>
                    <a:pt x="76615" y="12490"/>
                    <a:pt x="76615" y="12490"/>
                    <a:pt x="76615" y="12490"/>
                  </a:cubicBezTo>
                  <a:cubicBezTo>
                    <a:pt x="76615" y="12490"/>
                    <a:pt x="76615" y="12490"/>
                    <a:pt x="76615" y="12490"/>
                  </a:cubicBezTo>
                  <a:cubicBezTo>
                    <a:pt x="76615" y="12490"/>
                    <a:pt x="76384" y="12490"/>
                    <a:pt x="76384" y="12267"/>
                  </a:cubicBezTo>
                  <a:cubicBezTo>
                    <a:pt x="76384" y="12044"/>
                    <a:pt x="76615" y="11598"/>
                    <a:pt x="76615" y="11598"/>
                  </a:cubicBezTo>
                  <a:cubicBezTo>
                    <a:pt x="76846" y="11375"/>
                    <a:pt x="76846" y="10929"/>
                    <a:pt x="76846" y="10929"/>
                  </a:cubicBezTo>
                  <a:cubicBezTo>
                    <a:pt x="76615" y="10929"/>
                    <a:pt x="76615" y="10929"/>
                    <a:pt x="76615" y="10929"/>
                  </a:cubicBezTo>
                  <a:cubicBezTo>
                    <a:pt x="76615" y="10929"/>
                    <a:pt x="76153" y="11152"/>
                    <a:pt x="76153" y="10706"/>
                  </a:cubicBezTo>
                  <a:cubicBezTo>
                    <a:pt x="76153" y="10483"/>
                    <a:pt x="75923" y="10037"/>
                    <a:pt x="75923" y="10037"/>
                  </a:cubicBezTo>
                  <a:cubicBezTo>
                    <a:pt x="75923" y="10037"/>
                    <a:pt x="75461" y="9814"/>
                    <a:pt x="75461" y="9814"/>
                  </a:cubicBezTo>
                  <a:cubicBezTo>
                    <a:pt x="75230" y="9814"/>
                    <a:pt x="75230" y="9814"/>
                    <a:pt x="75000" y="10037"/>
                  </a:cubicBezTo>
                  <a:cubicBezTo>
                    <a:pt x="75000" y="10037"/>
                    <a:pt x="74307" y="9814"/>
                    <a:pt x="74307" y="9814"/>
                  </a:cubicBezTo>
                  <a:cubicBezTo>
                    <a:pt x="74307" y="9814"/>
                    <a:pt x="73615" y="9814"/>
                    <a:pt x="73615" y="9814"/>
                  </a:cubicBezTo>
                  <a:cubicBezTo>
                    <a:pt x="73384" y="9814"/>
                    <a:pt x="73153" y="10260"/>
                    <a:pt x="73153" y="10260"/>
                  </a:cubicBezTo>
                  <a:cubicBezTo>
                    <a:pt x="72692" y="9591"/>
                    <a:pt x="72692" y="9591"/>
                    <a:pt x="72692" y="9591"/>
                  </a:cubicBezTo>
                  <a:cubicBezTo>
                    <a:pt x="72923" y="8921"/>
                    <a:pt x="72923" y="8921"/>
                    <a:pt x="72923" y="8921"/>
                  </a:cubicBezTo>
                  <a:cubicBezTo>
                    <a:pt x="72923" y="8921"/>
                    <a:pt x="72461" y="8475"/>
                    <a:pt x="72461" y="8252"/>
                  </a:cubicBezTo>
                  <a:cubicBezTo>
                    <a:pt x="72461" y="8252"/>
                    <a:pt x="72230" y="7806"/>
                    <a:pt x="72230" y="7806"/>
                  </a:cubicBezTo>
                  <a:cubicBezTo>
                    <a:pt x="71769" y="7806"/>
                    <a:pt x="71769" y="7806"/>
                    <a:pt x="71769" y="7806"/>
                  </a:cubicBezTo>
                  <a:cubicBezTo>
                    <a:pt x="71538" y="7583"/>
                    <a:pt x="71538" y="7583"/>
                    <a:pt x="71538" y="7583"/>
                  </a:cubicBezTo>
                  <a:cubicBezTo>
                    <a:pt x="71538" y="7583"/>
                    <a:pt x="71076" y="7583"/>
                    <a:pt x="70846" y="7583"/>
                  </a:cubicBezTo>
                  <a:cubicBezTo>
                    <a:pt x="70615" y="7583"/>
                    <a:pt x="70615" y="7583"/>
                    <a:pt x="70384" y="7583"/>
                  </a:cubicBezTo>
                  <a:cubicBezTo>
                    <a:pt x="70384" y="7583"/>
                    <a:pt x="69923" y="7137"/>
                    <a:pt x="69923" y="7137"/>
                  </a:cubicBezTo>
                  <a:cubicBezTo>
                    <a:pt x="69923" y="6914"/>
                    <a:pt x="69923" y="6691"/>
                    <a:pt x="69923" y="6468"/>
                  </a:cubicBezTo>
                  <a:cubicBezTo>
                    <a:pt x="69692" y="6245"/>
                    <a:pt x="69461" y="5799"/>
                    <a:pt x="69461" y="5576"/>
                  </a:cubicBezTo>
                  <a:cubicBezTo>
                    <a:pt x="69461" y="5576"/>
                    <a:pt x="69692" y="5130"/>
                    <a:pt x="69692" y="5130"/>
                  </a:cubicBezTo>
                  <a:cubicBezTo>
                    <a:pt x="69461" y="4907"/>
                    <a:pt x="69000" y="4460"/>
                    <a:pt x="69000" y="4460"/>
                  </a:cubicBezTo>
                  <a:cubicBezTo>
                    <a:pt x="68769" y="4014"/>
                    <a:pt x="68769" y="4014"/>
                    <a:pt x="68769" y="4014"/>
                  </a:cubicBezTo>
                  <a:cubicBezTo>
                    <a:pt x="68769" y="4014"/>
                    <a:pt x="68076" y="4460"/>
                    <a:pt x="67846" y="4460"/>
                  </a:cubicBezTo>
                  <a:cubicBezTo>
                    <a:pt x="67615" y="4460"/>
                    <a:pt x="67153" y="4237"/>
                    <a:pt x="67153" y="4460"/>
                  </a:cubicBezTo>
                  <a:cubicBezTo>
                    <a:pt x="67153" y="4460"/>
                    <a:pt x="67384" y="4907"/>
                    <a:pt x="67153" y="4907"/>
                  </a:cubicBezTo>
                  <a:cubicBezTo>
                    <a:pt x="66923" y="4907"/>
                    <a:pt x="66461" y="4907"/>
                    <a:pt x="66230" y="4684"/>
                  </a:cubicBezTo>
                  <a:cubicBezTo>
                    <a:pt x="66000" y="4460"/>
                    <a:pt x="66000" y="4237"/>
                    <a:pt x="66000" y="4014"/>
                  </a:cubicBezTo>
                  <a:cubicBezTo>
                    <a:pt x="65769" y="4014"/>
                    <a:pt x="65769" y="3568"/>
                    <a:pt x="65538" y="3568"/>
                  </a:cubicBezTo>
                  <a:cubicBezTo>
                    <a:pt x="65307" y="3568"/>
                    <a:pt x="65076" y="3568"/>
                    <a:pt x="65076" y="3345"/>
                  </a:cubicBezTo>
                  <a:cubicBezTo>
                    <a:pt x="65076" y="3345"/>
                    <a:pt x="65076" y="2676"/>
                    <a:pt x="65076" y="2676"/>
                  </a:cubicBezTo>
                  <a:cubicBezTo>
                    <a:pt x="65076" y="2230"/>
                    <a:pt x="65076" y="2230"/>
                    <a:pt x="65076" y="2230"/>
                  </a:cubicBezTo>
                  <a:cubicBezTo>
                    <a:pt x="65076" y="2230"/>
                    <a:pt x="65076" y="1561"/>
                    <a:pt x="64846" y="1561"/>
                  </a:cubicBezTo>
                  <a:cubicBezTo>
                    <a:pt x="64846" y="1338"/>
                    <a:pt x="64615" y="1115"/>
                    <a:pt x="64615" y="1115"/>
                  </a:cubicBezTo>
                  <a:cubicBezTo>
                    <a:pt x="64615" y="446"/>
                    <a:pt x="64615" y="446"/>
                    <a:pt x="64615" y="446"/>
                  </a:cubicBezTo>
                  <a:cubicBezTo>
                    <a:pt x="64846" y="223"/>
                    <a:pt x="64846" y="223"/>
                    <a:pt x="64846" y="223"/>
                  </a:cubicBezTo>
                  <a:cubicBezTo>
                    <a:pt x="64846" y="223"/>
                    <a:pt x="64846" y="0"/>
                    <a:pt x="65076" y="0"/>
                  </a:cubicBezTo>
                  <a:cubicBezTo>
                    <a:pt x="59769" y="892"/>
                    <a:pt x="59769" y="892"/>
                    <a:pt x="59769" y="892"/>
                  </a:cubicBezTo>
                  <a:cubicBezTo>
                    <a:pt x="57461" y="1115"/>
                    <a:pt x="57461" y="1115"/>
                    <a:pt x="57461" y="1115"/>
                  </a:cubicBezTo>
                  <a:cubicBezTo>
                    <a:pt x="56538" y="2230"/>
                    <a:pt x="56538" y="2230"/>
                    <a:pt x="56538" y="2230"/>
                  </a:cubicBezTo>
                  <a:cubicBezTo>
                    <a:pt x="56076" y="3345"/>
                    <a:pt x="56076" y="3345"/>
                    <a:pt x="56076" y="3345"/>
                  </a:cubicBezTo>
                  <a:cubicBezTo>
                    <a:pt x="56307" y="5130"/>
                    <a:pt x="56307" y="5130"/>
                    <a:pt x="56307" y="5130"/>
                  </a:cubicBezTo>
                  <a:cubicBezTo>
                    <a:pt x="55615" y="6245"/>
                    <a:pt x="55615" y="6245"/>
                    <a:pt x="55615" y="6245"/>
                  </a:cubicBezTo>
                  <a:cubicBezTo>
                    <a:pt x="55615" y="7583"/>
                    <a:pt x="55615" y="7583"/>
                    <a:pt x="55615" y="7583"/>
                  </a:cubicBezTo>
                  <a:cubicBezTo>
                    <a:pt x="55615" y="9591"/>
                    <a:pt x="55615" y="9591"/>
                    <a:pt x="55615" y="9591"/>
                  </a:cubicBezTo>
                  <a:cubicBezTo>
                    <a:pt x="54461" y="10260"/>
                    <a:pt x="54461" y="10260"/>
                    <a:pt x="54461" y="10260"/>
                  </a:cubicBezTo>
                  <a:cubicBezTo>
                    <a:pt x="52846" y="11821"/>
                    <a:pt x="52846" y="11821"/>
                    <a:pt x="52846" y="11821"/>
                  </a:cubicBezTo>
                  <a:cubicBezTo>
                    <a:pt x="50538" y="12713"/>
                    <a:pt x="50538" y="12713"/>
                    <a:pt x="50538" y="12713"/>
                  </a:cubicBezTo>
                  <a:cubicBezTo>
                    <a:pt x="47538" y="13382"/>
                    <a:pt x="47538" y="13382"/>
                    <a:pt x="47538" y="13382"/>
                  </a:cubicBezTo>
                  <a:cubicBezTo>
                    <a:pt x="45230" y="14052"/>
                    <a:pt x="45230" y="14052"/>
                    <a:pt x="45230" y="14052"/>
                  </a:cubicBezTo>
                  <a:cubicBezTo>
                    <a:pt x="43153" y="15167"/>
                    <a:pt x="43153" y="15167"/>
                    <a:pt x="43153" y="15167"/>
                  </a:cubicBezTo>
                  <a:cubicBezTo>
                    <a:pt x="42692" y="16728"/>
                    <a:pt x="42692" y="16728"/>
                    <a:pt x="42692" y="16728"/>
                  </a:cubicBezTo>
                  <a:cubicBezTo>
                    <a:pt x="42461" y="18736"/>
                    <a:pt x="42461" y="18736"/>
                    <a:pt x="42461" y="18736"/>
                  </a:cubicBezTo>
                  <a:cubicBezTo>
                    <a:pt x="40846" y="19405"/>
                    <a:pt x="40846" y="19405"/>
                    <a:pt x="40846" y="19405"/>
                  </a:cubicBezTo>
                  <a:cubicBezTo>
                    <a:pt x="40846" y="19405"/>
                    <a:pt x="40153" y="19851"/>
                    <a:pt x="39692" y="19628"/>
                  </a:cubicBezTo>
                  <a:cubicBezTo>
                    <a:pt x="39000" y="19628"/>
                    <a:pt x="37615" y="19182"/>
                    <a:pt x="37615" y="19182"/>
                  </a:cubicBezTo>
                  <a:cubicBezTo>
                    <a:pt x="37615" y="19182"/>
                    <a:pt x="36000" y="18289"/>
                    <a:pt x="35307" y="18289"/>
                  </a:cubicBezTo>
                  <a:cubicBezTo>
                    <a:pt x="34615" y="18066"/>
                    <a:pt x="33461" y="16951"/>
                    <a:pt x="33461" y="16951"/>
                  </a:cubicBezTo>
                  <a:cubicBezTo>
                    <a:pt x="32307" y="17843"/>
                    <a:pt x="32307" y="17843"/>
                    <a:pt x="32307" y="17843"/>
                  </a:cubicBezTo>
                  <a:cubicBezTo>
                    <a:pt x="32307" y="17843"/>
                    <a:pt x="31615" y="17174"/>
                    <a:pt x="31615" y="16728"/>
                  </a:cubicBezTo>
                  <a:cubicBezTo>
                    <a:pt x="31615" y="16505"/>
                    <a:pt x="31615" y="16505"/>
                    <a:pt x="31615" y="16059"/>
                  </a:cubicBezTo>
                  <a:cubicBezTo>
                    <a:pt x="31615" y="15390"/>
                    <a:pt x="31615" y="14275"/>
                    <a:pt x="31615" y="14275"/>
                  </a:cubicBezTo>
                  <a:cubicBezTo>
                    <a:pt x="30000" y="13605"/>
                    <a:pt x="30000" y="13605"/>
                    <a:pt x="30000" y="13605"/>
                  </a:cubicBezTo>
                  <a:cubicBezTo>
                    <a:pt x="28384" y="13382"/>
                    <a:pt x="28384" y="13382"/>
                    <a:pt x="28384" y="13382"/>
                  </a:cubicBezTo>
                  <a:cubicBezTo>
                    <a:pt x="28384" y="13382"/>
                    <a:pt x="28384" y="13828"/>
                    <a:pt x="27923" y="13382"/>
                  </a:cubicBezTo>
                  <a:cubicBezTo>
                    <a:pt x="27230" y="12936"/>
                    <a:pt x="27230" y="12044"/>
                    <a:pt x="27230" y="12044"/>
                  </a:cubicBezTo>
                  <a:cubicBezTo>
                    <a:pt x="25846" y="11375"/>
                    <a:pt x="25846" y="11375"/>
                    <a:pt x="25846" y="11375"/>
                  </a:cubicBezTo>
                  <a:cubicBezTo>
                    <a:pt x="25384" y="13159"/>
                    <a:pt x="25384" y="13159"/>
                    <a:pt x="25384" y="13159"/>
                  </a:cubicBezTo>
                  <a:cubicBezTo>
                    <a:pt x="27000" y="14498"/>
                    <a:pt x="27000" y="14498"/>
                    <a:pt x="27000" y="14498"/>
                  </a:cubicBezTo>
                  <a:cubicBezTo>
                    <a:pt x="27461" y="15390"/>
                    <a:pt x="27461" y="15390"/>
                    <a:pt x="27461" y="15390"/>
                  </a:cubicBezTo>
                  <a:cubicBezTo>
                    <a:pt x="27000" y="16728"/>
                    <a:pt x="27000" y="16728"/>
                    <a:pt x="27000" y="16728"/>
                  </a:cubicBezTo>
                  <a:cubicBezTo>
                    <a:pt x="27461" y="17843"/>
                    <a:pt x="27461" y="17843"/>
                    <a:pt x="27461" y="17843"/>
                  </a:cubicBezTo>
                  <a:cubicBezTo>
                    <a:pt x="27692" y="18736"/>
                    <a:pt x="27692" y="18736"/>
                    <a:pt x="27692" y="18736"/>
                  </a:cubicBezTo>
                  <a:cubicBezTo>
                    <a:pt x="27692" y="18736"/>
                    <a:pt x="27923" y="18736"/>
                    <a:pt x="27923" y="19405"/>
                  </a:cubicBezTo>
                  <a:cubicBezTo>
                    <a:pt x="27923" y="19851"/>
                    <a:pt x="27692" y="22081"/>
                    <a:pt x="27692" y="22081"/>
                  </a:cubicBezTo>
                  <a:cubicBezTo>
                    <a:pt x="27692" y="23866"/>
                    <a:pt x="27692" y="23866"/>
                    <a:pt x="27692" y="23866"/>
                  </a:cubicBezTo>
                  <a:cubicBezTo>
                    <a:pt x="28384" y="25650"/>
                    <a:pt x="28384" y="25650"/>
                    <a:pt x="28384" y="25650"/>
                  </a:cubicBezTo>
                  <a:cubicBezTo>
                    <a:pt x="28384" y="25650"/>
                    <a:pt x="27230" y="26319"/>
                    <a:pt x="26769" y="26319"/>
                  </a:cubicBezTo>
                  <a:cubicBezTo>
                    <a:pt x="26307" y="26319"/>
                    <a:pt x="25153" y="25873"/>
                    <a:pt x="25153" y="25873"/>
                  </a:cubicBezTo>
                  <a:cubicBezTo>
                    <a:pt x="24692" y="24758"/>
                    <a:pt x="24692" y="24758"/>
                    <a:pt x="24692" y="24758"/>
                  </a:cubicBezTo>
                  <a:cubicBezTo>
                    <a:pt x="21923" y="24981"/>
                    <a:pt x="21923" y="24981"/>
                    <a:pt x="21923" y="24981"/>
                  </a:cubicBezTo>
                  <a:cubicBezTo>
                    <a:pt x="20307" y="24758"/>
                    <a:pt x="20307" y="24758"/>
                    <a:pt x="20307" y="24758"/>
                  </a:cubicBezTo>
                  <a:cubicBezTo>
                    <a:pt x="18923" y="25650"/>
                    <a:pt x="18923" y="25650"/>
                    <a:pt x="18923" y="25650"/>
                  </a:cubicBezTo>
                  <a:cubicBezTo>
                    <a:pt x="18000" y="25427"/>
                    <a:pt x="18000" y="25427"/>
                    <a:pt x="18000" y="25427"/>
                  </a:cubicBezTo>
                  <a:cubicBezTo>
                    <a:pt x="17076" y="24535"/>
                    <a:pt x="17076" y="24535"/>
                    <a:pt x="17076" y="24535"/>
                  </a:cubicBezTo>
                  <a:cubicBezTo>
                    <a:pt x="16846" y="23197"/>
                    <a:pt x="16846" y="23197"/>
                    <a:pt x="16846" y="23197"/>
                  </a:cubicBezTo>
                  <a:cubicBezTo>
                    <a:pt x="16384" y="22081"/>
                    <a:pt x="16384" y="22081"/>
                    <a:pt x="16384" y="22081"/>
                  </a:cubicBezTo>
                  <a:cubicBezTo>
                    <a:pt x="15461" y="20966"/>
                    <a:pt x="15461" y="20966"/>
                    <a:pt x="15461" y="20966"/>
                  </a:cubicBezTo>
                  <a:cubicBezTo>
                    <a:pt x="12461" y="21189"/>
                    <a:pt x="12461" y="21189"/>
                    <a:pt x="12461" y="21189"/>
                  </a:cubicBezTo>
                  <a:cubicBezTo>
                    <a:pt x="11307" y="21412"/>
                    <a:pt x="11307" y="21412"/>
                    <a:pt x="11307" y="21412"/>
                  </a:cubicBezTo>
                  <a:cubicBezTo>
                    <a:pt x="10615" y="22081"/>
                    <a:pt x="10615" y="22081"/>
                    <a:pt x="10615" y="22081"/>
                  </a:cubicBezTo>
                  <a:cubicBezTo>
                    <a:pt x="9230" y="21858"/>
                    <a:pt x="9230" y="21858"/>
                    <a:pt x="9230" y="21858"/>
                  </a:cubicBezTo>
                  <a:cubicBezTo>
                    <a:pt x="8769" y="22527"/>
                    <a:pt x="8769" y="22527"/>
                    <a:pt x="8769" y="22527"/>
                  </a:cubicBezTo>
                  <a:cubicBezTo>
                    <a:pt x="7153" y="22081"/>
                    <a:pt x="7153" y="22081"/>
                    <a:pt x="7153" y="22081"/>
                  </a:cubicBezTo>
                  <a:cubicBezTo>
                    <a:pt x="5538" y="22304"/>
                    <a:pt x="5538" y="22304"/>
                    <a:pt x="5538" y="22304"/>
                  </a:cubicBezTo>
                  <a:cubicBezTo>
                    <a:pt x="4384" y="22081"/>
                    <a:pt x="4384" y="22081"/>
                    <a:pt x="4384" y="22081"/>
                  </a:cubicBezTo>
                  <a:cubicBezTo>
                    <a:pt x="2307" y="22527"/>
                    <a:pt x="2307" y="22527"/>
                    <a:pt x="2307" y="22527"/>
                  </a:cubicBezTo>
                  <a:cubicBezTo>
                    <a:pt x="1153" y="23420"/>
                    <a:pt x="1153" y="23420"/>
                    <a:pt x="1153" y="23420"/>
                  </a:cubicBezTo>
                  <a:cubicBezTo>
                    <a:pt x="0" y="25204"/>
                    <a:pt x="0" y="25204"/>
                    <a:pt x="0" y="25204"/>
                  </a:cubicBezTo>
                  <a:cubicBezTo>
                    <a:pt x="0" y="25204"/>
                    <a:pt x="461" y="25204"/>
                    <a:pt x="923" y="25204"/>
                  </a:cubicBezTo>
                  <a:cubicBezTo>
                    <a:pt x="1153" y="25204"/>
                    <a:pt x="3230" y="25427"/>
                    <a:pt x="3230" y="25427"/>
                  </a:cubicBezTo>
                  <a:cubicBezTo>
                    <a:pt x="3692" y="26096"/>
                    <a:pt x="3692" y="26096"/>
                    <a:pt x="3692" y="26096"/>
                  </a:cubicBezTo>
                  <a:cubicBezTo>
                    <a:pt x="2307" y="26765"/>
                    <a:pt x="2307" y="26765"/>
                    <a:pt x="2307" y="26765"/>
                  </a:cubicBezTo>
                  <a:cubicBezTo>
                    <a:pt x="3461" y="27211"/>
                    <a:pt x="3461" y="27211"/>
                    <a:pt x="3461" y="27211"/>
                  </a:cubicBezTo>
                  <a:cubicBezTo>
                    <a:pt x="3692" y="27657"/>
                    <a:pt x="3692" y="27657"/>
                    <a:pt x="3692" y="27657"/>
                  </a:cubicBezTo>
                  <a:cubicBezTo>
                    <a:pt x="3692" y="28327"/>
                    <a:pt x="3692" y="28327"/>
                    <a:pt x="3692" y="28327"/>
                  </a:cubicBezTo>
                  <a:cubicBezTo>
                    <a:pt x="1153" y="28550"/>
                    <a:pt x="1153" y="28550"/>
                    <a:pt x="1153" y="28550"/>
                  </a:cubicBezTo>
                  <a:cubicBezTo>
                    <a:pt x="1153" y="28550"/>
                    <a:pt x="461" y="28327"/>
                    <a:pt x="461" y="28773"/>
                  </a:cubicBezTo>
                  <a:cubicBezTo>
                    <a:pt x="230" y="29219"/>
                    <a:pt x="1153" y="29442"/>
                    <a:pt x="1153" y="29442"/>
                  </a:cubicBezTo>
                  <a:cubicBezTo>
                    <a:pt x="2307" y="30111"/>
                    <a:pt x="2307" y="30111"/>
                    <a:pt x="2307" y="30111"/>
                  </a:cubicBezTo>
                  <a:cubicBezTo>
                    <a:pt x="2076" y="32342"/>
                    <a:pt x="2076" y="32342"/>
                    <a:pt x="2076" y="32342"/>
                  </a:cubicBezTo>
                  <a:cubicBezTo>
                    <a:pt x="3000" y="32342"/>
                    <a:pt x="3000" y="32342"/>
                    <a:pt x="3000" y="32342"/>
                  </a:cubicBezTo>
                  <a:cubicBezTo>
                    <a:pt x="4384" y="32342"/>
                    <a:pt x="4384" y="32342"/>
                    <a:pt x="4384" y="32342"/>
                  </a:cubicBezTo>
                  <a:cubicBezTo>
                    <a:pt x="4384" y="32342"/>
                    <a:pt x="4615" y="31895"/>
                    <a:pt x="5307" y="31672"/>
                  </a:cubicBezTo>
                  <a:cubicBezTo>
                    <a:pt x="5769" y="31672"/>
                    <a:pt x="6461" y="31672"/>
                    <a:pt x="6461" y="31672"/>
                  </a:cubicBezTo>
                  <a:cubicBezTo>
                    <a:pt x="6461" y="31672"/>
                    <a:pt x="6461" y="31449"/>
                    <a:pt x="6923" y="32565"/>
                  </a:cubicBezTo>
                  <a:cubicBezTo>
                    <a:pt x="7153" y="33457"/>
                    <a:pt x="7153" y="33457"/>
                    <a:pt x="7153" y="33457"/>
                  </a:cubicBezTo>
                  <a:cubicBezTo>
                    <a:pt x="8076" y="33680"/>
                    <a:pt x="8076" y="33680"/>
                    <a:pt x="8076" y="33680"/>
                  </a:cubicBezTo>
                  <a:cubicBezTo>
                    <a:pt x="8538" y="33903"/>
                    <a:pt x="8538" y="33903"/>
                    <a:pt x="8538" y="33903"/>
                  </a:cubicBezTo>
                  <a:cubicBezTo>
                    <a:pt x="8538" y="33903"/>
                    <a:pt x="9461" y="34349"/>
                    <a:pt x="9923" y="34572"/>
                  </a:cubicBezTo>
                  <a:cubicBezTo>
                    <a:pt x="10384" y="34795"/>
                    <a:pt x="11307" y="35687"/>
                    <a:pt x="11307" y="35687"/>
                  </a:cubicBezTo>
                  <a:cubicBezTo>
                    <a:pt x="11769" y="35910"/>
                    <a:pt x="11769" y="35910"/>
                    <a:pt x="11769" y="35910"/>
                  </a:cubicBezTo>
                  <a:cubicBezTo>
                    <a:pt x="11769" y="37026"/>
                    <a:pt x="11769" y="37026"/>
                    <a:pt x="11769" y="37026"/>
                  </a:cubicBezTo>
                  <a:cubicBezTo>
                    <a:pt x="11769" y="37026"/>
                    <a:pt x="12692" y="37249"/>
                    <a:pt x="13384" y="37249"/>
                  </a:cubicBezTo>
                  <a:cubicBezTo>
                    <a:pt x="14076" y="37249"/>
                    <a:pt x="15692" y="37026"/>
                    <a:pt x="15692" y="37026"/>
                  </a:cubicBezTo>
                  <a:cubicBezTo>
                    <a:pt x="16153" y="37918"/>
                    <a:pt x="16153" y="37918"/>
                    <a:pt x="16153" y="37918"/>
                  </a:cubicBezTo>
                  <a:cubicBezTo>
                    <a:pt x="16615" y="37918"/>
                    <a:pt x="18692" y="38587"/>
                    <a:pt x="18692" y="38587"/>
                  </a:cubicBezTo>
                  <a:cubicBezTo>
                    <a:pt x="18000" y="39479"/>
                    <a:pt x="18000" y="39479"/>
                    <a:pt x="18000" y="39479"/>
                  </a:cubicBezTo>
                  <a:cubicBezTo>
                    <a:pt x="17307" y="40148"/>
                    <a:pt x="17307" y="40148"/>
                    <a:pt x="17307" y="40148"/>
                  </a:cubicBezTo>
                  <a:cubicBezTo>
                    <a:pt x="17076" y="40817"/>
                    <a:pt x="17076" y="40817"/>
                    <a:pt x="17076" y="40817"/>
                  </a:cubicBezTo>
                  <a:cubicBezTo>
                    <a:pt x="17076" y="40817"/>
                    <a:pt x="17307" y="40817"/>
                    <a:pt x="18230" y="41040"/>
                  </a:cubicBezTo>
                  <a:cubicBezTo>
                    <a:pt x="19153" y="41263"/>
                    <a:pt x="19846" y="41710"/>
                    <a:pt x="19846" y="41710"/>
                  </a:cubicBezTo>
                  <a:cubicBezTo>
                    <a:pt x="19384" y="42825"/>
                    <a:pt x="19384" y="42825"/>
                    <a:pt x="19384" y="42825"/>
                  </a:cubicBezTo>
                  <a:cubicBezTo>
                    <a:pt x="20538" y="43717"/>
                    <a:pt x="20538" y="43717"/>
                    <a:pt x="20538" y="43717"/>
                  </a:cubicBezTo>
                  <a:cubicBezTo>
                    <a:pt x="20538" y="43717"/>
                    <a:pt x="21000" y="44386"/>
                    <a:pt x="21000" y="44609"/>
                  </a:cubicBezTo>
                  <a:cubicBezTo>
                    <a:pt x="20769" y="44832"/>
                    <a:pt x="20769" y="45278"/>
                    <a:pt x="20769" y="45278"/>
                  </a:cubicBezTo>
                  <a:cubicBezTo>
                    <a:pt x="20076" y="45055"/>
                    <a:pt x="20076" y="45055"/>
                    <a:pt x="20076" y="45055"/>
                  </a:cubicBezTo>
                  <a:cubicBezTo>
                    <a:pt x="20076" y="45055"/>
                    <a:pt x="20076" y="45501"/>
                    <a:pt x="19846" y="45055"/>
                  </a:cubicBezTo>
                  <a:cubicBezTo>
                    <a:pt x="19384" y="44609"/>
                    <a:pt x="19153" y="44163"/>
                    <a:pt x="19153" y="44163"/>
                  </a:cubicBezTo>
                  <a:cubicBezTo>
                    <a:pt x="18923" y="45055"/>
                    <a:pt x="18923" y="45055"/>
                    <a:pt x="18923" y="45055"/>
                  </a:cubicBezTo>
                  <a:cubicBezTo>
                    <a:pt x="18923" y="45055"/>
                    <a:pt x="19153" y="45947"/>
                    <a:pt x="19384" y="46171"/>
                  </a:cubicBezTo>
                  <a:cubicBezTo>
                    <a:pt x="19846" y="46171"/>
                    <a:pt x="19846" y="45947"/>
                    <a:pt x="19846" y="46617"/>
                  </a:cubicBezTo>
                  <a:cubicBezTo>
                    <a:pt x="19846" y="47063"/>
                    <a:pt x="20076" y="48178"/>
                    <a:pt x="20307" y="48401"/>
                  </a:cubicBezTo>
                  <a:cubicBezTo>
                    <a:pt x="20538" y="48847"/>
                    <a:pt x="20538" y="49962"/>
                    <a:pt x="20769" y="50185"/>
                  </a:cubicBezTo>
                  <a:cubicBezTo>
                    <a:pt x="21230" y="50185"/>
                    <a:pt x="21461" y="50408"/>
                    <a:pt x="21461" y="50408"/>
                  </a:cubicBezTo>
                  <a:cubicBezTo>
                    <a:pt x="21923" y="50855"/>
                    <a:pt x="21923" y="50855"/>
                    <a:pt x="21923" y="50855"/>
                  </a:cubicBezTo>
                  <a:cubicBezTo>
                    <a:pt x="23307" y="51970"/>
                    <a:pt x="23307" y="51970"/>
                    <a:pt x="23307" y="51970"/>
                  </a:cubicBezTo>
                  <a:cubicBezTo>
                    <a:pt x="23307" y="51970"/>
                    <a:pt x="24230" y="52639"/>
                    <a:pt x="24692" y="52862"/>
                  </a:cubicBezTo>
                  <a:cubicBezTo>
                    <a:pt x="25153" y="53085"/>
                    <a:pt x="25384" y="53085"/>
                    <a:pt x="25384" y="53085"/>
                  </a:cubicBezTo>
                  <a:cubicBezTo>
                    <a:pt x="26538" y="54200"/>
                    <a:pt x="26538" y="54200"/>
                    <a:pt x="26538" y="54200"/>
                  </a:cubicBezTo>
                  <a:cubicBezTo>
                    <a:pt x="26538" y="54200"/>
                    <a:pt x="27230" y="55315"/>
                    <a:pt x="27000" y="55315"/>
                  </a:cubicBezTo>
                  <a:cubicBezTo>
                    <a:pt x="26769" y="55315"/>
                    <a:pt x="27000" y="55539"/>
                    <a:pt x="26538" y="55539"/>
                  </a:cubicBezTo>
                  <a:cubicBezTo>
                    <a:pt x="25846" y="55539"/>
                    <a:pt x="26076" y="55985"/>
                    <a:pt x="25615" y="55539"/>
                  </a:cubicBezTo>
                  <a:cubicBezTo>
                    <a:pt x="24923" y="55092"/>
                    <a:pt x="24461" y="54423"/>
                    <a:pt x="23769" y="54423"/>
                  </a:cubicBezTo>
                  <a:cubicBezTo>
                    <a:pt x="23076" y="54423"/>
                    <a:pt x="23076" y="54423"/>
                    <a:pt x="23076" y="54423"/>
                  </a:cubicBezTo>
                  <a:cubicBezTo>
                    <a:pt x="24461" y="55539"/>
                    <a:pt x="24461" y="55539"/>
                    <a:pt x="24461" y="55539"/>
                  </a:cubicBezTo>
                  <a:cubicBezTo>
                    <a:pt x="25153" y="55762"/>
                    <a:pt x="25153" y="55762"/>
                    <a:pt x="25153" y="55762"/>
                  </a:cubicBezTo>
                  <a:cubicBezTo>
                    <a:pt x="26076" y="56654"/>
                    <a:pt x="26076" y="56654"/>
                    <a:pt x="26076" y="56654"/>
                  </a:cubicBezTo>
                  <a:cubicBezTo>
                    <a:pt x="26307" y="56654"/>
                    <a:pt x="26307" y="56654"/>
                    <a:pt x="26307" y="56654"/>
                  </a:cubicBezTo>
                  <a:cubicBezTo>
                    <a:pt x="26307" y="56654"/>
                    <a:pt x="26538" y="57100"/>
                    <a:pt x="26538" y="57323"/>
                  </a:cubicBezTo>
                  <a:cubicBezTo>
                    <a:pt x="26538" y="57546"/>
                    <a:pt x="26307" y="58215"/>
                    <a:pt x="26076" y="58438"/>
                  </a:cubicBezTo>
                  <a:cubicBezTo>
                    <a:pt x="26076" y="58884"/>
                    <a:pt x="26076" y="59330"/>
                    <a:pt x="26076" y="59330"/>
                  </a:cubicBezTo>
                  <a:cubicBezTo>
                    <a:pt x="25384" y="57769"/>
                    <a:pt x="25384" y="57769"/>
                    <a:pt x="25384" y="57769"/>
                  </a:cubicBezTo>
                  <a:cubicBezTo>
                    <a:pt x="25384" y="57769"/>
                    <a:pt x="25615" y="57323"/>
                    <a:pt x="25153" y="57100"/>
                  </a:cubicBezTo>
                  <a:cubicBezTo>
                    <a:pt x="24692" y="57100"/>
                    <a:pt x="24230" y="57323"/>
                    <a:pt x="24230" y="57323"/>
                  </a:cubicBezTo>
                  <a:cubicBezTo>
                    <a:pt x="24230" y="57323"/>
                    <a:pt x="24000" y="57769"/>
                    <a:pt x="24230" y="57992"/>
                  </a:cubicBezTo>
                  <a:cubicBezTo>
                    <a:pt x="24692" y="58215"/>
                    <a:pt x="24923" y="58438"/>
                    <a:pt x="24923" y="58661"/>
                  </a:cubicBezTo>
                  <a:cubicBezTo>
                    <a:pt x="25153" y="58884"/>
                    <a:pt x="25153" y="59107"/>
                    <a:pt x="25153" y="59107"/>
                  </a:cubicBezTo>
                  <a:cubicBezTo>
                    <a:pt x="25153" y="59107"/>
                    <a:pt x="25615" y="59107"/>
                    <a:pt x="25615" y="59553"/>
                  </a:cubicBezTo>
                  <a:cubicBezTo>
                    <a:pt x="25615" y="60223"/>
                    <a:pt x="25384" y="60892"/>
                    <a:pt x="25384" y="60892"/>
                  </a:cubicBezTo>
                  <a:cubicBezTo>
                    <a:pt x="25384" y="60892"/>
                    <a:pt x="24923" y="60892"/>
                    <a:pt x="25615" y="61338"/>
                  </a:cubicBezTo>
                  <a:cubicBezTo>
                    <a:pt x="26307" y="61784"/>
                    <a:pt x="26538" y="62007"/>
                    <a:pt x="26769" y="62230"/>
                  </a:cubicBezTo>
                  <a:cubicBezTo>
                    <a:pt x="27000" y="62453"/>
                    <a:pt x="27923" y="63568"/>
                    <a:pt x="27923" y="63568"/>
                  </a:cubicBezTo>
                  <a:cubicBezTo>
                    <a:pt x="28615" y="64460"/>
                    <a:pt x="28615" y="64460"/>
                    <a:pt x="28615" y="64460"/>
                  </a:cubicBezTo>
                  <a:cubicBezTo>
                    <a:pt x="28615" y="64460"/>
                    <a:pt x="28615" y="64907"/>
                    <a:pt x="28615" y="64907"/>
                  </a:cubicBezTo>
                  <a:cubicBezTo>
                    <a:pt x="28384" y="64907"/>
                    <a:pt x="27923" y="64907"/>
                    <a:pt x="27923" y="64907"/>
                  </a:cubicBezTo>
                  <a:cubicBezTo>
                    <a:pt x="27923" y="64907"/>
                    <a:pt x="27692" y="64907"/>
                    <a:pt x="27461" y="64684"/>
                  </a:cubicBezTo>
                  <a:cubicBezTo>
                    <a:pt x="27230" y="64237"/>
                    <a:pt x="26769" y="63568"/>
                    <a:pt x="26769" y="63568"/>
                  </a:cubicBezTo>
                  <a:cubicBezTo>
                    <a:pt x="26307" y="63345"/>
                    <a:pt x="26307" y="63345"/>
                    <a:pt x="26307" y="63345"/>
                  </a:cubicBezTo>
                  <a:cubicBezTo>
                    <a:pt x="25846" y="63568"/>
                    <a:pt x="25846" y="63568"/>
                    <a:pt x="25846" y="63568"/>
                  </a:cubicBezTo>
                  <a:cubicBezTo>
                    <a:pt x="25846" y="63568"/>
                    <a:pt x="25384" y="64460"/>
                    <a:pt x="25384" y="64460"/>
                  </a:cubicBezTo>
                  <a:cubicBezTo>
                    <a:pt x="25384" y="64684"/>
                    <a:pt x="24692" y="66022"/>
                    <a:pt x="24692" y="66022"/>
                  </a:cubicBezTo>
                  <a:cubicBezTo>
                    <a:pt x="24230" y="68698"/>
                    <a:pt x="24230" y="68698"/>
                    <a:pt x="24230" y="68698"/>
                  </a:cubicBezTo>
                  <a:cubicBezTo>
                    <a:pt x="24230" y="68698"/>
                    <a:pt x="24230" y="71821"/>
                    <a:pt x="24000" y="72044"/>
                  </a:cubicBezTo>
                  <a:cubicBezTo>
                    <a:pt x="24000" y="72267"/>
                    <a:pt x="23076" y="74498"/>
                    <a:pt x="23076" y="74498"/>
                  </a:cubicBezTo>
                  <a:cubicBezTo>
                    <a:pt x="23076" y="74498"/>
                    <a:pt x="23076" y="74721"/>
                    <a:pt x="23076" y="75390"/>
                  </a:cubicBezTo>
                  <a:cubicBezTo>
                    <a:pt x="22846" y="76059"/>
                    <a:pt x="22615" y="77174"/>
                    <a:pt x="22615" y="77174"/>
                  </a:cubicBezTo>
                  <a:cubicBezTo>
                    <a:pt x="22615" y="77174"/>
                    <a:pt x="22384" y="78066"/>
                    <a:pt x="22384" y="78513"/>
                  </a:cubicBezTo>
                  <a:cubicBezTo>
                    <a:pt x="22153" y="78959"/>
                    <a:pt x="21461" y="80743"/>
                    <a:pt x="21461" y="80743"/>
                  </a:cubicBezTo>
                  <a:cubicBezTo>
                    <a:pt x="21230" y="82750"/>
                    <a:pt x="21230" y="82750"/>
                    <a:pt x="21230" y="82750"/>
                  </a:cubicBezTo>
                  <a:cubicBezTo>
                    <a:pt x="19384" y="86542"/>
                    <a:pt x="19384" y="86542"/>
                    <a:pt x="19384" y="86542"/>
                  </a:cubicBezTo>
                  <a:cubicBezTo>
                    <a:pt x="18000" y="87657"/>
                    <a:pt x="18000" y="87657"/>
                    <a:pt x="18000" y="87657"/>
                  </a:cubicBezTo>
                  <a:cubicBezTo>
                    <a:pt x="17307" y="88104"/>
                    <a:pt x="17307" y="88104"/>
                    <a:pt x="17307" y="88104"/>
                  </a:cubicBezTo>
                  <a:cubicBezTo>
                    <a:pt x="18000" y="88327"/>
                    <a:pt x="18461" y="88550"/>
                    <a:pt x="18692" y="89219"/>
                  </a:cubicBezTo>
                  <a:cubicBezTo>
                    <a:pt x="19153" y="90334"/>
                    <a:pt x="20076" y="92118"/>
                    <a:pt x="20076" y="92118"/>
                  </a:cubicBezTo>
                  <a:cubicBezTo>
                    <a:pt x="23076" y="93234"/>
                    <a:pt x="23076" y="93234"/>
                    <a:pt x="23076" y="93234"/>
                  </a:cubicBezTo>
                  <a:cubicBezTo>
                    <a:pt x="23076" y="93234"/>
                    <a:pt x="24692" y="94572"/>
                    <a:pt x="24923" y="95018"/>
                  </a:cubicBezTo>
                  <a:cubicBezTo>
                    <a:pt x="25153" y="95241"/>
                    <a:pt x="28615" y="96356"/>
                    <a:pt x="28615" y="96356"/>
                  </a:cubicBezTo>
                  <a:cubicBezTo>
                    <a:pt x="30923" y="98364"/>
                    <a:pt x="30923" y="98364"/>
                    <a:pt x="30923" y="98364"/>
                  </a:cubicBezTo>
                  <a:cubicBezTo>
                    <a:pt x="34384" y="98364"/>
                    <a:pt x="34384" y="98364"/>
                    <a:pt x="34384" y="98364"/>
                  </a:cubicBezTo>
                  <a:cubicBezTo>
                    <a:pt x="36692" y="98810"/>
                    <a:pt x="36692" y="98810"/>
                    <a:pt x="36692" y="98810"/>
                  </a:cubicBezTo>
                  <a:cubicBezTo>
                    <a:pt x="37846" y="97472"/>
                    <a:pt x="37846" y="97472"/>
                    <a:pt x="37846" y="97472"/>
                  </a:cubicBezTo>
                  <a:cubicBezTo>
                    <a:pt x="37846" y="97472"/>
                    <a:pt x="43615" y="100148"/>
                    <a:pt x="43846" y="100148"/>
                  </a:cubicBezTo>
                  <a:cubicBezTo>
                    <a:pt x="44076" y="100148"/>
                    <a:pt x="44076" y="100817"/>
                    <a:pt x="44307" y="101486"/>
                  </a:cubicBezTo>
                  <a:cubicBezTo>
                    <a:pt x="44307" y="101486"/>
                    <a:pt x="44307" y="101486"/>
                    <a:pt x="44307" y="101486"/>
                  </a:cubicBezTo>
                  <a:cubicBezTo>
                    <a:pt x="44307" y="101486"/>
                    <a:pt x="44307" y="101486"/>
                    <a:pt x="44307" y="101486"/>
                  </a:cubicBezTo>
                  <a:cubicBezTo>
                    <a:pt x="44538" y="101486"/>
                    <a:pt x="44538" y="101486"/>
                    <a:pt x="44538" y="101486"/>
                  </a:cubicBezTo>
                  <a:cubicBezTo>
                    <a:pt x="44538" y="101486"/>
                    <a:pt x="44307" y="101263"/>
                    <a:pt x="44307" y="101263"/>
                  </a:cubicBezTo>
                  <a:cubicBezTo>
                    <a:pt x="44307" y="101040"/>
                    <a:pt x="44307" y="101040"/>
                    <a:pt x="44307" y="101040"/>
                  </a:cubicBezTo>
                  <a:cubicBezTo>
                    <a:pt x="44538" y="101040"/>
                    <a:pt x="44538" y="101040"/>
                    <a:pt x="44538" y="101040"/>
                  </a:cubicBezTo>
                  <a:cubicBezTo>
                    <a:pt x="44538" y="101040"/>
                    <a:pt x="44538" y="101040"/>
                    <a:pt x="44538" y="101040"/>
                  </a:cubicBezTo>
                  <a:cubicBezTo>
                    <a:pt x="44538" y="101040"/>
                    <a:pt x="44538" y="101040"/>
                    <a:pt x="44538" y="101040"/>
                  </a:cubicBezTo>
                  <a:cubicBezTo>
                    <a:pt x="44769" y="101040"/>
                    <a:pt x="44769" y="101040"/>
                    <a:pt x="44769" y="101040"/>
                  </a:cubicBezTo>
                  <a:cubicBezTo>
                    <a:pt x="45000" y="100817"/>
                    <a:pt x="45000" y="100817"/>
                    <a:pt x="45000" y="100817"/>
                  </a:cubicBezTo>
                  <a:cubicBezTo>
                    <a:pt x="45000" y="100817"/>
                    <a:pt x="45000" y="100817"/>
                    <a:pt x="45000" y="100817"/>
                  </a:cubicBezTo>
                  <a:cubicBezTo>
                    <a:pt x="45000" y="100594"/>
                    <a:pt x="44769" y="100594"/>
                    <a:pt x="44769" y="100594"/>
                  </a:cubicBezTo>
                  <a:cubicBezTo>
                    <a:pt x="44769" y="100594"/>
                    <a:pt x="45000" y="100594"/>
                    <a:pt x="45000" y="100371"/>
                  </a:cubicBezTo>
                  <a:cubicBezTo>
                    <a:pt x="45000" y="100371"/>
                    <a:pt x="45000" y="100371"/>
                    <a:pt x="45000" y="100371"/>
                  </a:cubicBezTo>
                  <a:cubicBezTo>
                    <a:pt x="45230" y="100371"/>
                    <a:pt x="45230" y="100371"/>
                    <a:pt x="45230" y="100371"/>
                  </a:cubicBezTo>
                  <a:cubicBezTo>
                    <a:pt x="45230" y="100371"/>
                    <a:pt x="45230" y="100371"/>
                    <a:pt x="45230" y="100371"/>
                  </a:cubicBezTo>
                  <a:cubicBezTo>
                    <a:pt x="45230" y="100371"/>
                    <a:pt x="45230" y="100371"/>
                    <a:pt x="45230" y="100371"/>
                  </a:cubicBezTo>
                  <a:cubicBezTo>
                    <a:pt x="45461" y="100371"/>
                    <a:pt x="45461" y="100371"/>
                    <a:pt x="45461" y="100371"/>
                  </a:cubicBezTo>
                  <a:cubicBezTo>
                    <a:pt x="45461" y="100371"/>
                    <a:pt x="45461" y="100371"/>
                    <a:pt x="45461" y="100371"/>
                  </a:cubicBezTo>
                  <a:cubicBezTo>
                    <a:pt x="45692" y="100371"/>
                    <a:pt x="45692" y="100371"/>
                    <a:pt x="45692" y="100371"/>
                  </a:cubicBezTo>
                  <a:cubicBezTo>
                    <a:pt x="45692" y="100371"/>
                    <a:pt x="45692" y="100371"/>
                    <a:pt x="45692" y="100371"/>
                  </a:cubicBezTo>
                  <a:cubicBezTo>
                    <a:pt x="45692" y="100371"/>
                    <a:pt x="45923" y="100371"/>
                    <a:pt x="45923" y="100371"/>
                  </a:cubicBezTo>
                  <a:cubicBezTo>
                    <a:pt x="45923" y="100371"/>
                    <a:pt x="45923" y="100594"/>
                    <a:pt x="45923" y="100594"/>
                  </a:cubicBezTo>
                  <a:cubicBezTo>
                    <a:pt x="45923" y="100594"/>
                    <a:pt x="45923" y="100594"/>
                    <a:pt x="45923" y="100594"/>
                  </a:cubicBezTo>
                  <a:cubicBezTo>
                    <a:pt x="45923" y="100594"/>
                    <a:pt x="46153" y="100594"/>
                    <a:pt x="46153" y="100594"/>
                  </a:cubicBezTo>
                  <a:cubicBezTo>
                    <a:pt x="46153" y="100594"/>
                    <a:pt x="46153" y="100817"/>
                    <a:pt x="46153" y="100817"/>
                  </a:cubicBezTo>
                  <a:cubicBezTo>
                    <a:pt x="46153" y="100817"/>
                    <a:pt x="46384" y="100817"/>
                    <a:pt x="46384" y="100817"/>
                  </a:cubicBezTo>
                  <a:cubicBezTo>
                    <a:pt x="46384" y="100817"/>
                    <a:pt x="46615" y="100817"/>
                    <a:pt x="46615" y="100817"/>
                  </a:cubicBezTo>
                  <a:cubicBezTo>
                    <a:pt x="46615" y="100817"/>
                    <a:pt x="46615" y="100817"/>
                    <a:pt x="46615" y="101040"/>
                  </a:cubicBezTo>
                  <a:cubicBezTo>
                    <a:pt x="46846" y="101040"/>
                    <a:pt x="46846" y="101040"/>
                    <a:pt x="46846" y="101040"/>
                  </a:cubicBezTo>
                  <a:cubicBezTo>
                    <a:pt x="46846" y="100817"/>
                    <a:pt x="47076" y="100817"/>
                    <a:pt x="47076" y="100817"/>
                  </a:cubicBezTo>
                  <a:cubicBezTo>
                    <a:pt x="47076" y="101040"/>
                    <a:pt x="47076" y="101040"/>
                    <a:pt x="47076" y="101040"/>
                  </a:cubicBezTo>
                  <a:cubicBezTo>
                    <a:pt x="47307" y="101040"/>
                    <a:pt x="47307" y="101040"/>
                    <a:pt x="47307" y="101040"/>
                  </a:cubicBezTo>
                  <a:cubicBezTo>
                    <a:pt x="47538" y="101040"/>
                    <a:pt x="47538" y="101040"/>
                    <a:pt x="47538" y="101040"/>
                  </a:cubicBezTo>
                  <a:cubicBezTo>
                    <a:pt x="47538" y="101263"/>
                    <a:pt x="47538" y="101263"/>
                    <a:pt x="47538" y="101263"/>
                  </a:cubicBezTo>
                  <a:cubicBezTo>
                    <a:pt x="47307" y="101263"/>
                    <a:pt x="47307" y="101263"/>
                    <a:pt x="47307" y="101263"/>
                  </a:cubicBezTo>
                  <a:cubicBezTo>
                    <a:pt x="47307" y="101263"/>
                    <a:pt x="47307" y="101263"/>
                    <a:pt x="47307" y="101263"/>
                  </a:cubicBezTo>
                  <a:cubicBezTo>
                    <a:pt x="47307" y="101486"/>
                    <a:pt x="47307" y="101486"/>
                    <a:pt x="47307" y="101486"/>
                  </a:cubicBezTo>
                  <a:cubicBezTo>
                    <a:pt x="47538" y="101486"/>
                    <a:pt x="47538" y="101486"/>
                    <a:pt x="47538" y="101486"/>
                  </a:cubicBezTo>
                  <a:cubicBezTo>
                    <a:pt x="47538" y="101486"/>
                    <a:pt x="47538" y="101486"/>
                    <a:pt x="47538" y="101486"/>
                  </a:cubicBezTo>
                  <a:cubicBezTo>
                    <a:pt x="48000" y="101710"/>
                    <a:pt x="48000" y="101710"/>
                    <a:pt x="48000" y="101710"/>
                  </a:cubicBezTo>
                  <a:cubicBezTo>
                    <a:pt x="47769" y="101710"/>
                    <a:pt x="47769" y="101710"/>
                    <a:pt x="47769" y="101710"/>
                  </a:cubicBezTo>
                  <a:cubicBezTo>
                    <a:pt x="47769" y="101710"/>
                    <a:pt x="47769" y="101710"/>
                    <a:pt x="47769" y="101710"/>
                  </a:cubicBezTo>
                  <a:cubicBezTo>
                    <a:pt x="47769" y="101710"/>
                    <a:pt x="47538" y="101710"/>
                    <a:pt x="47538" y="101710"/>
                  </a:cubicBezTo>
                  <a:cubicBezTo>
                    <a:pt x="47538" y="101710"/>
                    <a:pt x="47307" y="101710"/>
                    <a:pt x="47307" y="101710"/>
                  </a:cubicBezTo>
                  <a:cubicBezTo>
                    <a:pt x="47307" y="101933"/>
                    <a:pt x="47307" y="101933"/>
                    <a:pt x="47307" y="101933"/>
                  </a:cubicBezTo>
                  <a:cubicBezTo>
                    <a:pt x="47307" y="102379"/>
                    <a:pt x="47307" y="102379"/>
                    <a:pt x="47307" y="102379"/>
                  </a:cubicBezTo>
                  <a:cubicBezTo>
                    <a:pt x="47076" y="102379"/>
                    <a:pt x="47076" y="102379"/>
                    <a:pt x="47076" y="102379"/>
                  </a:cubicBezTo>
                  <a:cubicBezTo>
                    <a:pt x="47076" y="102602"/>
                    <a:pt x="47076" y="102602"/>
                    <a:pt x="47076" y="102602"/>
                  </a:cubicBezTo>
                  <a:cubicBezTo>
                    <a:pt x="47076" y="102602"/>
                    <a:pt x="47076" y="102602"/>
                    <a:pt x="47076" y="102602"/>
                  </a:cubicBezTo>
                  <a:cubicBezTo>
                    <a:pt x="47076" y="102602"/>
                    <a:pt x="47076" y="102602"/>
                    <a:pt x="47076" y="102602"/>
                  </a:cubicBezTo>
                  <a:cubicBezTo>
                    <a:pt x="47076" y="102602"/>
                    <a:pt x="47076" y="102602"/>
                    <a:pt x="46846" y="102602"/>
                  </a:cubicBezTo>
                  <a:cubicBezTo>
                    <a:pt x="46846" y="102602"/>
                    <a:pt x="46846" y="102602"/>
                    <a:pt x="46846" y="102602"/>
                  </a:cubicBezTo>
                  <a:cubicBezTo>
                    <a:pt x="46615" y="102379"/>
                    <a:pt x="46615" y="102379"/>
                    <a:pt x="46615" y="102379"/>
                  </a:cubicBezTo>
                  <a:cubicBezTo>
                    <a:pt x="46615" y="102602"/>
                    <a:pt x="46615" y="102602"/>
                    <a:pt x="46615" y="102602"/>
                  </a:cubicBezTo>
                  <a:cubicBezTo>
                    <a:pt x="46615" y="102825"/>
                    <a:pt x="46615" y="102825"/>
                    <a:pt x="46615" y="102825"/>
                  </a:cubicBezTo>
                  <a:cubicBezTo>
                    <a:pt x="46615" y="102825"/>
                    <a:pt x="46615" y="102825"/>
                    <a:pt x="46615" y="102825"/>
                  </a:cubicBezTo>
                  <a:cubicBezTo>
                    <a:pt x="46384" y="102825"/>
                    <a:pt x="46384" y="102825"/>
                    <a:pt x="46384" y="102825"/>
                  </a:cubicBezTo>
                  <a:cubicBezTo>
                    <a:pt x="46153" y="102825"/>
                    <a:pt x="46153" y="102825"/>
                    <a:pt x="46153" y="102825"/>
                  </a:cubicBezTo>
                  <a:cubicBezTo>
                    <a:pt x="45923" y="102825"/>
                    <a:pt x="45923" y="102825"/>
                    <a:pt x="45923" y="102825"/>
                  </a:cubicBezTo>
                  <a:cubicBezTo>
                    <a:pt x="45923" y="102825"/>
                    <a:pt x="45923" y="102825"/>
                    <a:pt x="45923" y="102825"/>
                  </a:cubicBezTo>
                  <a:cubicBezTo>
                    <a:pt x="45692" y="103048"/>
                    <a:pt x="45692" y="103048"/>
                    <a:pt x="45692" y="103048"/>
                  </a:cubicBezTo>
                  <a:cubicBezTo>
                    <a:pt x="45692" y="103048"/>
                    <a:pt x="45692" y="103048"/>
                    <a:pt x="45692" y="103048"/>
                  </a:cubicBezTo>
                  <a:cubicBezTo>
                    <a:pt x="45692" y="103048"/>
                    <a:pt x="45692" y="103048"/>
                    <a:pt x="45692" y="103048"/>
                  </a:cubicBezTo>
                  <a:cubicBezTo>
                    <a:pt x="45692" y="103048"/>
                    <a:pt x="45692" y="103048"/>
                    <a:pt x="45692" y="103048"/>
                  </a:cubicBezTo>
                  <a:cubicBezTo>
                    <a:pt x="45461" y="102825"/>
                    <a:pt x="45461" y="102825"/>
                    <a:pt x="45461" y="102825"/>
                  </a:cubicBezTo>
                  <a:cubicBezTo>
                    <a:pt x="45461" y="103048"/>
                    <a:pt x="45461" y="103048"/>
                    <a:pt x="45461" y="103048"/>
                  </a:cubicBezTo>
                  <a:cubicBezTo>
                    <a:pt x="45461" y="103048"/>
                    <a:pt x="45461" y="103048"/>
                    <a:pt x="45461" y="103048"/>
                  </a:cubicBezTo>
                  <a:cubicBezTo>
                    <a:pt x="45461" y="103048"/>
                    <a:pt x="45461" y="103048"/>
                    <a:pt x="45461" y="103048"/>
                  </a:cubicBezTo>
                  <a:cubicBezTo>
                    <a:pt x="48461" y="103717"/>
                    <a:pt x="48461" y="103717"/>
                    <a:pt x="48461" y="103717"/>
                  </a:cubicBezTo>
                  <a:cubicBezTo>
                    <a:pt x="49153" y="103940"/>
                    <a:pt x="49153" y="104386"/>
                    <a:pt x="49846" y="104832"/>
                  </a:cubicBezTo>
                  <a:cubicBezTo>
                    <a:pt x="51692" y="104163"/>
                    <a:pt x="51692" y="104163"/>
                    <a:pt x="51692" y="104163"/>
                  </a:cubicBezTo>
                  <a:cubicBezTo>
                    <a:pt x="54000" y="105724"/>
                    <a:pt x="54000" y="105724"/>
                    <a:pt x="54000" y="105724"/>
                  </a:cubicBezTo>
                  <a:cubicBezTo>
                    <a:pt x="56076" y="105055"/>
                    <a:pt x="56076" y="105055"/>
                    <a:pt x="56076" y="105055"/>
                  </a:cubicBezTo>
                  <a:cubicBezTo>
                    <a:pt x="58153" y="105055"/>
                    <a:pt x="58153" y="105055"/>
                    <a:pt x="58153" y="105055"/>
                  </a:cubicBezTo>
                  <a:cubicBezTo>
                    <a:pt x="58153" y="104832"/>
                    <a:pt x="59076" y="104832"/>
                    <a:pt x="59769" y="105055"/>
                  </a:cubicBezTo>
                  <a:cubicBezTo>
                    <a:pt x="59769" y="105055"/>
                    <a:pt x="59769" y="105055"/>
                    <a:pt x="59769" y="105055"/>
                  </a:cubicBezTo>
                  <a:close/>
                  <a:moveTo>
                    <a:pt x="44307" y="101710"/>
                  </a:moveTo>
                  <a:cubicBezTo>
                    <a:pt x="44307" y="101710"/>
                    <a:pt x="44307" y="101710"/>
                    <a:pt x="44307" y="101710"/>
                  </a:cubicBezTo>
                  <a:cubicBezTo>
                    <a:pt x="44307" y="101710"/>
                    <a:pt x="44307" y="101710"/>
                    <a:pt x="44307" y="101710"/>
                  </a:cubicBezTo>
                  <a:cubicBezTo>
                    <a:pt x="44307" y="101710"/>
                    <a:pt x="44538" y="101710"/>
                    <a:pt x="44538" y="101710"/>
                  </a:cubicBezTo>
                  <a:cubicBezTo>
                    <a:pt x="44538" y="101710"/>
                    <a:pt x="44538" y="101933"/>
                    <a:pt x="44538" y="101933"/>
                  </a:cubicBezTo>
                  <a:cubicBezTo>
                    <a:pt x="44538" y="101933"/>
                    <a:pt x="44538" y="101933"/>
                    <a:pt x="44538" y="101933"/>
                  </a:cubicBezTo>
                  <a:cubicBezTo>
                    <a:pt x="44538" y="101933"/>
                    <a:pt x="44538" y="101933"/>
                    <a:pt x="44769" y="102156"/>
                  </a:cubicBezTo>
                  <a:cubicBezTo>
                    <a:pt x="44769" y="102156"/>
                    <a:pt x="44538" y="102156"/>
                    <a:pt x="44538" y="102156"/>
                  </a:cubicBezTo>
                  <a:cubicBezTo>
                    <a:pt x="44538" y="102156"/>
                    <a:pt x="44538" y="102156"/>
                    <a:pt x="44538" y="102156"/>
                  </a:cubicBezTo>
                  <a:cubicBezTo>
                    <a:pt x="44307" y="102156"/>
                    <a:pt x="44307" y="102156"/>
                    <a:pt x="44307" y="102156"/>
                  </a:cubicBezTo>
                  <a:cubicBezTo>
                    <a:pt x="44307" y="102156"/>
                    <a:pt x="44307" y="102156"/>
                    <a:pt x="44307" y="102156"/>
                  </a:cubicBezTo>
                  <a:cubicBezTo>
                    <a:pt x="44307" y="101710"/>
                    <a:pt x="44307" y="101710"/>
                    <a:pt x="44307" y="101710"/>
                  </a:cubicBezTo>
                  <a:close/>
                  <a:moveTo>
                    <a:pt x="103846" y="45055"/>
                  </a:moveTo>
                  <a:cubicBezTo>
                    <a:pt x="103846" y="45055"/>
                    <a:pt x="103846" y="45055"/>
                    <a:pt x="103846" y="45055"/>
                  </a:cubicBezTo>
                  <a:cubicBezTo>
                    <a:pt x="103615" y="45055"/>
                    <a:pt x="103615" y="45055"/>
                    <a:pt x="103615" y="45055"/>
                  </a:cubicBezTo>
                  <a:cubicBezTo>
                    <a:pt x="103384" y="44832"/>
                    <a:pt x="103384" y="44832"/>
                    <a:pt x="103384" y="44832"/>
                  </a:cubicBezTo>
                  <a:cubicBezTo>
                    <a:pt x="103384" y="44832"/>
                    <a:pt x="103384" y="44832"/>
                    <a:pt x="103384" y="44832"/>
                  </a:cubicBezTo>
                  <a:cubicBezTo>
                    <a:pt x="103384" y="44832"/>
                    <a:pt x="103384" y="44832"/>
                    <a:pt x="103384" y="44832"/>
                  </a:cubicBezTo>
                  <a:cubicBezTo>
                    <a:pt x="103615" y="44832"/>
                    <a:pt x="103615" y="44609"/>
                    <a:pt x="103615" y="44609"/>
                  </a:cubicBezTo>
                  <a:cubicBezTo>
                    <a:pt x="103615" y="44832"/>
                    <a:pt x="103846" y="44832"/>
                    <a:pt x="103846" y="45055"/>
                  </a:cubicBezTo>
                  <a:close/>
                  <a:moveTo>
                    <a:pt x="113769" y="115985"/>
                  </a:moveTo>
                  <a:cubicBezTo>
                    <a:pt x="113769" y="115985"/>
                    <a:pt x="113769" y="115985"/>
                    <a:pt x="113769" y="115985"/>
                  </a:cubicBezTo>
                  <a:cubicBezTo>
                    <a:pt x="113307" y="116877"/>
                    <a:pt x="113307" y="116877"/>
                    <a:pt x="113307" y="116877"/>
                  </a:cubicBezTo>
                  <a:cubicBezTo>
                    <a:pt x="112846" y="117546"/>
                    <a:pt x="112846" y="117546"/>
                    <a:pt x="112846" y="117546"/>
                  </a:cubicBezTo>
                  <a:cubicBezTo>
                    <a:pt x="114000" y="117992"/>
                    <a:pt x="114000" y="117992"/>
                    <a:pt x="114000" y="117992"/>
                  </a:cubicBezTo>
                  <a:cubicBezTo>
                    <a:pt x="114692" y="118884"/>
                    <a:pt x="114692" y="118884"/>
                    <a:pt x="114692" y="118884"/>
                  </a:cubicBezTo>
                  <a:cubicBezTo>
                    <a:pt x="114692" y="118884"/>
                    <a:pt x="115153" y="119553"/>
                    <a:pt x="115615" y="119553"/>
                  </a:cubicBezTo>
                  <a:cubicBezTo>
                    <a:pt x="116076" y="119553"/>
                    <a:pt x="116769" y="120000"/>
                    <a:pt x="116769" y="120000"/>
                  </a:cubicBezTo>
                  <a:cubicBezTo>
                    <a:pt x="116769" y="120000"/>
                    <a:pt x="117230" y="119330"/>
                    <a:pt x="117230" y="118438"/>
                  </a:cubicBezTo>
                  <a:cubicBezTo>
                    <a:pt x="117461" y="117769"/>
                    <a:pt x="116538" y="116877"/>
                    <a:pt x="117923" y="116654"/>
                  </a:cubicBezTo>
                  <a:cubicBezTo>
                    <a:pt x="119307" y="116654"/>
                    <a:pt x="118384" y="115092"/>
                    <a:pt x="118384" y="115092"/>
                  </a:cubicBezTo>
                  <a:cubicBezTo>
                    <a:pt x="118384" y="113977"/>
                    <a:pt x="118384" y="113977"/>
                    <a:pt x="118384" y="113977"/>
                  </a:cubicBezTo>
                  <a:cubicBezTo>
                    <a:pt x="118153" y="112639"/>
                    <a:pt x="118153" y="112639"/>
                    <a:pt x="118153" y="112639"/>
                  </a:cubicBezTo>
                  <a:cubicBezTo>
                    <a:pt x="118384" y="112193"/>
                    <a:pt x="118384" y="112193"/>
                    <a:pt x="118384" y="112193"/>
                  </a:cubicBezTo>
                  <a:cubicBezTo>
                    <a:pt x="119076" y="111301"/>
                    <a:pt x="119076" y="111301"/>
                    <a:pt x="119076" y="111301"/>
                  </a:cubicBezTo>
                  <a:cubicBezTo>
                    <a:pt x="119769" y="110631"/>
                    <a:pt x="119769" y="110631"/>
                    <a:pt x="119769" y="110631"/>
                  </a:cubicBezTo>
                  <a:cubicBezTo>
                    <a:pt x="119769" y="110631"/>
                    <a:pt x="120000" y="109962"/>
                    <a:pt x="120000" y="109516"/>
                  </a:cubicBezTo>
                  <a:cubicBezTo>
                    <a:pt x="119769" y="109293"/>
                    <a:pt x="119076" y="108178"/>
                    <a:pt x="119076" y="108178"/>
                  </a:cubicBezTo>
                  <a:cubicBezTo>
                    <a:pt x="119769" y="105501"/>
                    <a:pt x="119769" y="105501"/>
                    <a:pt x="119769" y="105501"/>
                  </a:cubicBezTo>
                  <a:cubicBezTo>
                    <a:pt x="119538" y="105055"/>
                    <a:pt x="119538" y="105055"/>
                    <a:pt x="119538" y="105055"/>
                  </a:cubicBezTo>
                  <a:cubicBezTo>
                    <a:pt x="119307" y="104386"/>
                    <a:pt x="119307" y="104386"/>
                    <a:pt x="119307" y="104386"/>
                  </a:cubicBezTo>
                  <a:cubicBezTo>
                    <a:pt x="118846" y="102379"/>
                    <a:pt x="118846" y="102379"/>
                    <a:pt x="118846" y="102379"/>
                  </a:cubicBezTo>
                  <a:cubicBezTo>
                    <a:pt x="118846" y="99702"/>
                    <a:pt x="118846" y="99702"/>
                    <a:pt x="118846" y="99702"/>
                  </a:cubicBezTo>
                  <a:cubicBezTo>
                    <a:pt x="117461" y="100148"/>
                    <a:pt x="117461" y="100148"/>
                    <a:pt x="117461" y="100148"/>
                  </a:cubicBezTo>
                  <a:cubicBezTo>
                    <a:pt x="117923" y="101263"/>
                    <a:pt x="117923" y="101263"/>
                    <a:pt x="117923" y="101263"/>
                  </a:cubicBezTo>
                  <a:cubicBezTo>
                    <a:pt x="117461" y="103271"/>
                    <a:pt x="117461" y="103271"/>
                    <a:pt x="117461" y="103271"/>
                  </a:cubicBezTo>
                  <a:cubicBezTo>
                    <a:pt x="116307" y="103494"/>
                    <a:pt x="116307" y="103494"/>
                    <a:pt x="116307" y="103494"/>
                  </a:cubicBezTo>
                  <a:cubicBezTo>
                    <a:pt x="115846" y="103717"/>
                    <a:pt x="115846" y="103717"/>
                    <a:pt x="115846" y="103717"/>
                  </a:cubicBezTo>
                  <a:cubicBezTo>
                    <a:pt x="115153" y="104386"/>
                    <a:pt x="115153" y="104386"/>
                    <a:pt x="115153" y="104386"/>
                  </a:cubicBezTo>
                  <a:cubicBezTo>
                    <a:pt x="114000" y="104609"/>
                    <a:pt x="114000" y="104609"/>
                    <a:pt x="114000" y="104609"/>
                  </a:cubicBezTo>
                  <a:cubicBezTo>
                    <a:pt x="112846" y="105501"/>
                    <a:pt x="112846" y="105501"/>
                    <a:pt x="112846" y="105501"/>
                  </a:cubicBezTo>
                  <a:cubicBezTo>
                    <a:pt x="111923" y="106617"/>
                    <a:pt x="111923" y="106617"/>
                    <a:pt x="111923" y="106617"/>
                  </a:cubicBezTo>
                  <a:cubicBezTo>
                    <a:pt x="111230" y="107286"/>
                    <a:pt x="111230" y="107286"/>
                    <a:pt x="111230" y="107286"/>
                  </a:cubicBezTo>
                  <a:cubicBezTo>
                    <a:pt x="111230" y="107286"/>
                    <a:pt x="111230" y="107732"/>
                    <a:pt x="111692" y="108178"/>
                  </a:cubicBezTo>
                  <a:cubicBezTo>
                    <a:pt x="112153" y="108847"/>
                    <a:pt x="111000" y="111078"/>
                    <a:pt x="111000" y="111078"/>
                  </a:cubicBezTo>
                  <a:cubicBezTo>
                    <a:pt x="111923" y="111078"/>
                    <a:pt x="111923" y="111078"/>
                    <a:pt x="111923" y="111078"/>
                  </a:cubicBezTo>
                  <a:cubicBezTo>
                    <a:pt x="112153" y="112193"/>
                    <a:pt x="112153" y="112193"/>
                    <a:pt x="112153" y="112193"/>
                  </a:cubicBezTo>
                  <a:cubicBezTo>
                    <a:pt x="111461" y="113308"/>
                    <a:pt x="111461" y="113308"/>
                    <a:pt x="111461" y="113308"/>
                  </a:cubicBezTo>
                  <a:cubicBezTo>
                    <a:pt x="112153" y="113754"/>
                    <a:pt x="112153" y="113754"/>
                    <a:pt x="112153" y="113754"/>
                  </a:cubicBezTo>
                  <a:cubicBezTo>
                    <a:pt x="112846" y="113754"/>
                    <a:pt x="112846" y="113754"/>
                    <a:pt x="112846" y="113754"/>
                  </a:cubicBezTo>
                  <a:cubicBezTo>
                    <a:pt x="112153" y="115092"/>
                    <a:pt x="112153" y="115092"/>
                    <a:pt x="112153" y="115092"/>
                  </a:cubicBezTo>
                  <a:cubicBezTo>
                    <a:pt x="112153" y="115539"/>
                    <a:pt x="112153" y="115539"/>
                    <a:pt x="112153" y="115539"/>
                  </a:cubicBezTo>
                  <a:lnTo>
                    <a:pt x="113769" y="115985"/>
                  </a:lnTo>
                  <a:close/>
                </a:path>
              </a:pathLst>
            </a:custGeom>
            <a:pattFill prst="wdUpDiag">
              <a:fgClr>
                <a:srgbClr val="996633"/>
              </a:fgClr>
              <a:bgClr>
                <a:srgbClr val="00B050"/>
              </a:bgClr>
            </a:pattFill>
            <a:ln w="3175" cap="flat" cmpd="sng">
              <a:solidFill>
                <a:schemeClr val="tx1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endParaRPr kern="0">
                <a:solidFill>
                  <a:srgbClr val="7F7F7F"/>
                </a:solidFill>
                <a:latin typeface="Calibri" panose="020F0502020204030204" pitchFamily="34" charset="0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47" name="Shape 2043">
              <a:extLst>
                <a:ext uri="{FF2B5EF4-FFF2-40B4-BE49-F238E27FC236}">
                  <a16:creationId xmlns:a16="http://schemas.microsoft.com/office/drawing/2014/main" id="{760693BE-F889-4775-223D-42C3210C4291}"/>
                </a:ext>
              </a:extLst>
            </p:cNvPr>
            <p:cNvSpPr/>
            <p:nvPr/>
          </p:nvSpPr>
          <p:spPr>
            <a:xfrm>
              <a:off x="4429945" y="2485478"/>
              <a:ext cx="739358" cy="60180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52840" y="9355"/>
                  </a:moveTo>
                  <a:cubicBezTo>
                    <a:pt x="53522" y="9355"/>
                    <a:pt x="56590" y="6508"/>
                    <a:pt x="56590" y="6508"/>
                  </a:cubicBezTo>
                  <a:cubicBezTo>
                    <a:pt x="56590" y="6508"/>
                    <a:pt x="58295" y="7322"/>
                    <a:pt x="59318" y="6915"/>
                  </a:cubicBezTo>
                  <a:cubicBezTo>
                    <a:pt x="60340" y="6915"/>
                    <a:pt x="63750" y="6508"/>
                    <a:pt x="63750" y="6508"/>
                  </a:cubicBezTo>
                  <a:cubicBezTo>
                    <a:pt x="63750" y="6508"/>
                    <a:pt x="65454" y="6508"/>
                    <a:pt x="66136" y="6508"/>
                  </a:cubicBezTo>
                  <a:cubicBezTo>
                    <a:pt x="66818" y="6508"/>
                    <a:pt x="69886" y="6101"/>
                    <a:pt x="70568" y="6101"/>
                  </a:cubicBezTo>
                  <a:cubicBezTo>
                    <a:pt x="71250" y="6101"/>
                    <a:pt x="73295" y="5694"/>
                    <a:pt x="73636" y="5288"/>
                  </a:cubicBezTo>
                  <a:cubicBezTo>
                    <a:pt x="74318" y="5288"/>
                    <a:pt x="78409" y="4881"/>
                    <a:pt x="78750" y="4881"/>
                  </a:cubicBezTo>
                  <a:cubicBezTo>
                    <a:pt x="79431" y="4881"/>
                    <a:pt x="85909" y="4067"/>
                    <a:pt x="85909" y="4067"/>
                  </a:cubicBezTo>
                  <a:cubicBezTo>
                    <a:pt x="88636" y="2033"/>
                    <a:pt x="88636" y="2033"/>
                    <a:pt x="88636" y="2033"/>
                  </a:cubicBezTo>
                  <a:cubicBezTo>
                    <a:pt x="91704" y="1220"/>
                    <a:pt x="91704" y="1220"/>
                    <a:pt x="91704" y="1220"/>
                  </a:cubicBezTo>
                  <a:cubicBezTo>
                    <a:pt x="91704" y="1220"/>
                    <a:pt x="92727" y="0"/>
                    <a:pt x="92727" y="406"/>
                  </a:cubicBezTo>
                  <a:cubicBezTo>
                    <a:pt x="93068" y="1220"/>
                    <a:pt x="93750" y="2440"/>
                    <a:pt x="93750" y="2440"/>
                  </a:cubicBezTo>
                  <a:cubicBezTo>
                    <a:pt x="93750" y="2440"/>
                    <a:pt x="97500" y="2440"/>
                    <a:pt x="97500" y="2440"/>
                  </a:cubicBezTo>
                  <a:cubicBezTo>
                    <a:pt x="97500" y="2847"/>
                    <a:pt x="98522" y="5288"/>
                    <a:pt x="98522" y="5288"/>
                  </a:cubicBezTo>
                  <a:cubicBezTo>
                    <a:pt x="99545" y="6508"/>
                    <a:pt x="99545" y="6508"/>
                    <a:pt x="99545" y="6508"/>
                  </a:cubicBezTo>
                  <a:cubicBezTo>
                    <a:pt x="99545" y="6508"/>
                    <a:pt x="99886" y="8542"/>
                    <a:pt x="99886" y="9762"/>
                  </a:cubicBezTo>
                  <a:cubicBezTo>
                    <a:pt x="100227" y="10576"/>
                    <a:pt x="102613" y="15457"/>
                    <a:pt x="102613" y="15457"/>
                  </a:cubicBezTo>
                  <a:cubicBezTo>
                    <a:pt x="104318" y="19932"/>
                    <a:pt x="104318" y="19932"/>
                    <a:pt x="104318" y="19932"/>
                  </a:cubicBezTo>
                  <a:cubicBezTo>
                    <a:pt x="107045" y="24406"/>
                    <a:pt x="107045" y="24406"/>
                    <a:pt x="107045" y="24406"/>
                  </a:cubicBezTo>
                  <a:cubicBezTo>
                    <a:pt x="107386" y="27661"/>
                    <a:pt x="107386" y="27661"/>
                    <a:pt x="107386" y="27661"/>
                  </a:cubicBezTo>
                  <a:cubicBezTo>
                    <a:pt x="107386" y="27661"/>
                    <a:pt x="108409" y="28881"/>
                    <a:pt x="108409" y="29694"/>
                  </a:cubicBezTo>
                  <a:cubicBezTo>
                    <a:pt x="108409" y="30101"/>
                    <a:pt x="108409" y="31322"/>
                    <a:pt x="108409" y="31728"/>
                  </a:cubicBezTo>
                  <a:cubicBezTo>
                    <a:pt x="108750" y="31728"/>
                    <a:pt x="109090" y="33762"/>
                    <a:pt x="108750" y="33762"/>
                  </a:cubicBezTo>
                  <a:cubicBezTo>
                    <a:pt x="108409" y="34169"/>
                    <a:pt x="107045" y="36610"/>
                    <a:pt x="107045" y="36610"/>
                  </a:cubicBezTo>
                  <a:cubicBezTo>
                    <a:pt x="105681" y="37423"/>
                    <a:pt x="105681" y="37423"/>
                    <a:pt x="105681" y="37423"/>
                  </a:cubicBezTo>
                  <a:cubicBezTo>
                    <a:pt x="103977" y="40271"/>
                    <a:pt x="103977" y="40271"/>
                    <a:pt x="103977" y="40271"/>
                  </a:cubicBezTo>
                  <a:cubicBezTo>
                    <a:pt x="102954" y="43932"/>
                    <a:pt x="102954" y="43932"/>
                    <a:pt x="102954" y="43932"/>
                  </a:cubicBezTo>
                  <a:cubicBezTo>
                    <a:pt x="102613" y="45152"/>
                    <a:pt x="102613" y="45152"/>
                    <a:pt x="102613" y="45152"/>
                  </a:cubicBezTo>
                  <a:cubicBezTo>
                    <a:pt x="102613" y="45152"/>
                    <a:pt x="102954" y="46372"/>
                    <a:pt x="103295" y="46372"/>
                  </a:cubicBezTo>
                  <a:cubicBezTo>
                    <a:pt x="103977" y="46372"/>
                    <a:pt x="106363" y="46779"/>
                    <a:pt x="106363" y="46779"/>
                  </a:cubicBezTo>
                  <a:cubicBezTo>
                    <a:pt x="108409" y="48406"/>
                    <a:pt x="108409" y="48406"/>
                    <a:pt x="108409" y="48406"/>
                  </a:cubicBezTo>
                  <a:cubicBezTo>
                    <a:pt x="108409" y="50033"/>
                    <a:pt x="108409" y="50033"/>
                    <a:pt x="108409" y="50033"/>
                  </a:cubicBezTo>
                  <a:cubicBezTo>
                    <a:pt x="108409" y="50033"/>
                    <a:pt x="108750" y="53288"/>
                    <a:pt x="108750" y="53694"/>
                  </a:cubicBezTo>
                  <a:cubicBezTo>
                    <a:pt x="108750" y="53694"/>
                    <a:pt x="108409" y="56542"/>
                    <a:pt x="108409" y="56542"/>
                  </a:cubicBezTo>
                  <a:cubicBezTo>
                    <a:pt x="108409" y="56542"/>
                    <a:pt x="109090" y="58169"/>
                    <a:pt x="109090" y="58576"/>
                  </a:cubicBezTo>
                  <a:cubicBezTo>
                    <a:pt x="109431" y="58983"/>
                    <a:pt x="110113" y="59796"/>
                    <a:pt x="110113" y="60203"/>
                  </a:cubicBezTo>
                  <a:cubicBezTo>
                    <a:pt x="110454" y="60203"/>
                    <a:pt x="110454" y="60610"/>
                    <a:pt x="110454" y="60610"/>
                  </a:cubicBezTo>
                  <a:cubicBezTo>
                    <a:pt x="111136" y="62644"/>
                    <a:pt x="111136" y="62644"/>
                    <a:pt x="111136" y="62644"/>
                  </a:cubicBezTo>
                  <a:cubicBezTo>
                    <a:pt x="111136" y="64271"/>
                    <a:pt x="111136" y="64271"/>
                    <a:pt x="111136" y="64271"/>
                  </a:cubicBezTo>
                  <a:cubicBezTo>
                    <a:pt x="111136" y="64271"/>
                    <a:pt x="111136" y="65491"/>
                    <a:pt x="111818" y="65491"/>
                  </a:cubicBezTo>
                  <a:cubicBezTo>
                    <a:pt x="112500" y="65491"/>
                    <a:pt x="112840" y="65898"/>
                    <a:pt x="112840" y="66711"/>
                  </a:cubicBezTo>
                  <a:cubicBezTo>
                    <a:pt x="112840" y="67525"/>
                    <a:pt x="114545" y="68338"/>
                    <a:pt x="114545" y="68338"/>
                  </a:cubicBezTo>
                  <a:cubicBezTo>
                    <a:pt x="114545" y="68338"/>
                    <a:pt x="114545" y="69966"/>
                    <a:pt x="114886" y="70372"/>
                  </a:cubicBezTo>
                  <a:cubicBezTo>
                    <a:pt x="115568" y="70779"/>
                    <a:pt x="116250" y="71186"/>
                    <a:pt x="117272" y="71186"/>
                  </a:cubicBezTo>
                  <a:cubicBezTo>
                    <a:pt x="118295" y="71593"/>
                    <a:pt x="117954" y="73220"/>
                    <a:pt x="118636" y="73627"/>
                  </a:cubicBezTo>
                  <a:cubicBezTo>
                    <a:pt x="119318" y="74033"/>
                    <a:pt x="120000" y="74847"/>
                    <a:pt x="119318" y="74847"/>
                  </a:cubicBezTo>
                  <a:cubicBezTo>
                    <a:pt x="118977" y="75254"/>
                    <a:pt x="117954" y="75254"/>
                    <a:pt x="117954" y="75254"/>
                  </a:cubicBezTo>
                  <a:cubicBezTo>
                    <a:pt x="117954" y="75254"/>
                    <a:pt x="117613" y="75661"/>
                    <a:pt x="117613" y="76474"/>
                  </a:cubicBezTo>
                  <a:cubicBezTo>
                    <a:pt x="117954" y="76881"/>
                    <a:pt x="117954" y="76881"/>
                    <a:pt x="117954" y="76881"/>
                  </a:cubicBezTo>
                  <a:cubicBezTo>
                    <a:pt x="119318" y="78915"/>
                    <a:pt x="119318" y="78915"/>
                    <a:pt x="119318" y="78915"/>
                  </a:cubicBezTo>
                  <a:cubicBezTo>
                    <a:pt x="119318" y="81355"/>
                    <a:pt x="119318" y="81355"/>
                    <a:pt x="119318" y="81355"/>
                  </a:cubicBezTo>
                  <a:cubicBezTo>
                    <a:pt x="119318" y="81355"/>
                    <a:pt x="119318" y="82169"/>
                    <a:pt x="119318" y="82983"/>
                  </a:cubicBezTo>
                  <a:cubicBezTo>
                    <a:pt x="119318" y="83389"/>
                    <a:pt x="118977" y="84203"/>
                    <a:pt x="118295" y="84203"/>
                  </a:cubicBezTo>
                  <a:cubicBezTo>
                    <a:pt x="117613" y="84203"/>
                    <a:pt x="117613" y="85423"/>
                    <a:pt x="117272" y="85423"/>
                  </a:cubicBezTo>
                  <a:cubicBezTo>
                    <a:pt x="116931" y="85830"/>
                    <a:pt x="116250" y="84610"/>
                    <a:pt x="115909" y="85830"/>
                  </a:cubicBezTo>
                  <a:cubicBezTo>
                    <a:pt x="115568" y="87457"/>
                    <a:pt x="114886" y="88677"/>
                    <a:pt x="114886" y="89084"/>
                  </a:cubicBezTo>
                  <a:cubicBezTo>
                    <a:pt x="114545" y="89491"/>
                    <a:pt x="113522" y="89898"/>
                    <a:pt x="113522" y="90711"/>
                  </a:cubicBezTo>
                  <a:cubicBezTo>
                    <a:pt x="113181" y="91525"/>
                    <a:pt x="113181" y="90711"/>
                    <a:pt x="112500" y="92745"/>
                  </a:cubicBezTo>
                  <a:cubicBezTo>
                    <a:pt x="111818" y="94779"/>
                    <a:pt x="111477" y="95593"/>
                    <a:pt x="111477" y="95593"/>
                  </a:cubicBezTo>
                  <a:cubicBezTo>
                    <a:pt x="108409" y="100474"/>
                    <a:pt x="108409" y="100474"/>
                    <a:pt x="108409" y="100474"/>
                  </a:cubicBezTo>
                  <a:cubicBezTo>
                    <a:pt x="108409" y="100474"/>
                    <a:pt x="106704" y="103728"/>
                    <a:pt x="106704" y="104135"/>
                  </a:cubicBezTo>
                  <a:cubicBezTo>
                    <a:pt x="106704" y="104542"/>
                    <a:pt x="106704" y="106169"/>
                    <a:pt x="106704" y="106169"/>
                  </a:cubicBezTo>
                  <a:cubicBezTo>
                    <a:pt x="108068" y="107796"/>
                    <a:pt x="108068" y="107796"/>
                    <a:pt x="108068" y="107796"/>
                  </a:cubicBezTo>
                  <a:cubicBezTo>
                    <a:pt x="108068" y="109423"/>
                    <a:pt x="108068" y="109423"/>
                    <a:pt x="108068" y="109423"/>
                  </a:cubicBezTo>
                  <a:cubicBezTo>
                    <a:pt x="108068" y="109423"/>
                    <a:pt x="108068" y="110644"/>
                    <a:pt x="108409" y="111050"/>
                  </a:cubicBezTo>
                  <a:cubicBezTo>
                    <a:pt x="108750" y="111050"/>
                    <a:pt x="108750" y="111050"/>
                    <a:pt x="108750" y="111050"/>
                  </a:cubicBezTo>
                  <a:cubicBezTo>
                    <a:pt x="108409" y="112271"/>
                    <a:pt x="108409" y="112271"/>
                    <a:pt x="108409" y="112271"/>
                  </a:cubicBezTo>
                  <a:cubicBezTo>
                    <a:pt x="108409" y="112271"/>
                    <a:pt x="108750" y="113491"/>
                    <a:pt x="109090" y="113491"/>
                  </a:cubicBezTo>
                  <a:cubicBezTo>
                    <a:pt x="109090" y="113491"/>
                    <a:pt x="109772" y="113898"/>
                    <a:pt x="109772" y="113898"/>
                  </a:cubicBezTo>
                  <a:cubicBezTo>
                    <a:pt x="109772" y="113898"/>
                    <a:pt x="110454" y="114711"/>
                    <a:pt x="110454" y="114711"/>
                  </a:cubicBezTo>
                  <a:cubicBezTo>
                    <a:pt x="110795" y="115118"/>
                    <a:pt x="110454" y="115932"/>
                    <a:pt x="110454" y="115932"/>
                  </a:cubicBezTo>
                  <a:cubicBezTo>
                    <a:pt x="110454" y="115932"/>
                    <a:pt x="110454" y="116338"/>
                    <a:pt x="110113" y="116338"/>
                  </a:cubicBezTo>
                  <a:cubicBezTo>
                    <a:pt x="109772" y="116338"/>
                    <a:pt x="109772" y="116338"/>
                    <a:pt x="109090" y="116338"/>
                  </a:cubicBezTo>
                  <a:cubicBezTo>
                    <a:pt x="108750" y="115932"/>
                    <a:pt x="107727" y="115932"/>
                    <a:pt x="107386" y="115932"/>
                  </a:cubicBezTo>
                  <a:cubicBezTo>
                    <a:pt x="107045" y="115932"/>
                    <a:pt x="107045" y="115932"/>
                    <a:pt x="107045" y="115932"/>
                  </a:cubicBezTo>
                  <a:cubicBezTo>
                    <a:pt x="106704" y="115932"/>
                    <a:pt x="106704" y="115932"/>
                    <a:pt x="106363" y="116338"/>
                  </a:cubicBezTo>
                  <a:cubicBezTo>
                    <a:pt x="106363" y="115932"/>
                    <a:pt x="106363" y="115932"/>
                    <a:pt x="106363" y="115932"/>
                  </a:cubicBezTo>
                  <a:cubicBezTo>
                    <a:pt x="106363" y="115525"/>
                    <a:pt x="106363" y="115118"/>
                    <a:pt x="106363" y="115118"/>
                  </a:cubicBezTo>
                  <a:cubicBezTo>
                    <a:pt x="106363" y="115118"/>
                    <a:pt x="105340" y="115118"/>
                    <a:pt x="105340" y="115118"/>
                  </a:cubicBezTo>
                  <a:cubicBezTo>
                    <a:pt x="105000" y="115118"/>
                    <a:pt x="104659" y="115118"/>
                    <a:pt x="104659" y="115118"/>
                  </a:cubicBezTo>
                  <a:cubicBezTo>
                    <a:pt x="104659" y="115118"/>
                    <a:pt x="103977" y="114711"/>
                    <a:pt x="103977" y="114711"/>
                  </a:cubicBezTo>
                  <a:cubicBezTo>
                    <a:pt x="103977" y="114711"/>
                    <a:pt x="103636" y="114711"/>
                    <a:pt x="103636" y="114711"/>
                  </a:cubicBezTo>
                  <a:cubicBezTo>
                    <a:pt x="103636" y="114305"/>
                    <a:pt x="103295" y="114711"/>
                    <a:pt x="103295" y="114711"/>
                  </a:cubicBezTo>
                  <a:cubicBezTo>
                    <a:pt x="102954" y="114711"/>
                    <a:pt x="102954" y="114711"/>
                    <a:pt x="102954" y="114711"/>
                  </a:cubicBezTo>
                  <a:cubicBezTo>
                    <a:pt x="102272" y="114711"/>
                    <a:pt x="102272" y="114711"/>
                    <a:pt x="102272" y="114711"/>
                  </a:cubicBezTo>
                  <a:cubicBezTo>
                    <a:pt x="102272" y="114711"/>
                    <a:pt x="102272" y="114305"/>
                    <a:pt x="102272" y="114305"/>
                  </a:cubicBezTo>
                  <a:cubicBezTo>
                    <a:pt x="102272" y="113898"/>
                    <a:pt x="101931" y="114305"/>
                    <a:pt x="101931" y="114305"/>
                  </a:cubicBezTo>
                  <a:cubicBezTo>
                    <a:pt x="101931" y="114305"/>
                    <a:pt x="101250" y="114305"/>
                    <a:pt x="101250" y="114305"/>
                  </a:cubicBezTo>
                  <a:cubicBezTo>
                    <a:pt x="101250" y="113898"/>
                    <a:pt x="100909" y="113898"/>
                    <a:pt x="100909" y="113898"/>
                  </a:cubicBezTo>
                  <a:cubicBezTo>
                    <a:pt x="100909" y="113898"/>
                    <a:pt x="99886" y="113898"/>
                    <a:pt x="99545" y="113898"/>
                  </a:cubicBezTo>
                  <a:cubicBezTo>
                    <a:pt x="99545" y="113491"/>
                    <a:pt x="99545" y="113491"/>
                    <a:pt x="99545" y="113491"/>
                  </a:cubicBezTo>
                  <a:cubicBezTo>
                    <a:pt x="99545" y="113491"/>
                    <a:pt x="99545" y="113084"/>
                    <a:pt x="99545" y="112677"/>
                  </a:cubicBezTo>
                  <a:cubicBezTo>
                    <a:pt x="99545" y="112677"/>
                    <a:pt x="99204" y="112677"/>
                    <a:pt x="99204" y="112271"/>
                  </a:cubicBezTo>
                  <a:cubicBezTo>
                    <a:pt x="99204" y="112271"/>
                    <a:pt x="98863" y="111864"/>
                    <a:pt x="98863" y="111864"/>
                  </a:cubicBezTo>
                  <a:cubicBezTo>
                    <a:pt x="98863" y="111457"/>
                    <a:pt x="98522" y="111457"/>
                    <a:pt x="98522" y="111050"/>
                  </a:cubicBezTo>
                  <a:cubicBezTo>
                    <a:pt x="98522" y="111050"/>
                    <a:pt x="98181" y="111457"/>
                    <a:pt x="98181" y="111457"/>
                  </a:cubicBezTo>
                  <a:cubicBezTo>
                    <a:pt x="97840" y="111457"/>
                    <a:pt x="97500" y="111050"/>
                    <a:pt x="97500" y="111050"/>
                  </a:cubicBezTo>
                  <a:cubicBezTo>
                    <a:pt x="97159" y="110644"/>
                    <a:pt x="97159" y="110644"/>
                    <a:pt x="97159" y="110644"/>
                  </a:cubicBezTo>
                  <a:cubicBezTo>
                    <a:pt x="97159" y="110644"/>
                    <a:pt x="96818" y="110644"/>
                    <a:pt x="96477" y="110644"/>
                  </a:cubicBezTo>
                  <a:cubicBezTo>
                    <a:pt x="96477" y="110644"/>
                    <a:pt x="96477" y="111457"/>
                    <a:pt x="96477" y="111457"/>
                  </a:cubicBezTo>
                  <a:cubicBezTo>
                    <a:pt x="96477" y="111457"/>
                    <a:pt x="96136" y="111457"/>
                    <a:pt x="95795" y="111050"/>
                  </a:cubicBezTo>
                  <a:cubicBezTo>
                    <a:pt x="95795" y="111050"/>
                    <a:pt x="95454" y="110644"/>
                    <a:pt x="95113" y="110644"/>
                  </a:cubicBezTo>
                  <a:cubicBezTo>
                    <a:pt x="95113" y="110644"/>
                    <a:pt x="94772" y="110644"/>
                    <a:pt x="94431" y="110237"/>
                  </a:cubicBezTo>
                  <a:cubicBezTo>
                    <a:pt x="94431" y="110237"/>
                    <a:pt x="94090" y="110237"/>
                    <a:pt x="94090" y="110237"/>
                  </a:cubicBezTo>
                  <a:cubicBezTo>
                    <a:pt x="94090" y="110237"/>
                    <a:pt x="92727" y="110644"/>
                    <a:pt x="92727" y="110644"/>
                  </a:cubicBezTo>
                  <a:cubicBezTo>
                    <a:pt x="92727" y="110644"/>
                    <a:pt x="92727" y="111050"/>
                    <a:pt x="92386" y="111050"/>
                  </a:cubicBezTo>
                  <a:cubicBezTo>
                    <a:pt x="92386" y="111457"/>
                    <a:pt x="92045" y="111050"/>
                    <a:pt x="92045" y="111050"/>
                  </a:cubicBezTo>
                  <a:cubicBezTo>
                    <a:pt x="92045" y="111050"/>
                    <a:pt x="91704" y="111050"/>
                    <a:pt x="91363" y="111050"/>
                  </a:cubicBezTo>
                  <a:cubicBezTo>
                    <a:pt x="91363" y="111050"/>
                    <a:pt x="91022" y="111050"/>
                    <a:pt x="91022" y="111050"/>
                  </a:cubicBezTo>
                  <a:cubicBezTo>
                    <a:pt x="91022" y="111050"/>
                    <a:pt x="90681" y="110644"/>
                    <a:pt x="90340" y="110644"/>
                  </a:cubicBezTo>
                  <a:cubicBezTo>
                    <a:pt x="90340" y="110644"/>
                    <a:pt x="90000" y="110644"/>
                    <a:pt x="90000" y="110644"/>
                  </a:cubicBezTo>
                  <a:cubicBezTo>
                    <a:pt x="90000" y="110644"/>
                    <a:pt x="89659" y="111050"/>
                    <a:pt x="89659" y="111050"/>
                  </a:cubicBezTo>
                  <a:cubicBezTo>
                    <a:pt x="89318" y="111457"/>
                    <a:pt x="89318" y="111457"/>
                    <a:pt x="89318" y="111457"/>
                  </a:cubicBezTo>
                  <a:cubicBezTo>
                    <a:pt x="89318" y="111864"/>
                    <a:pt x="89318" y="111864"/>
                    <a:pt x="89318" y="111864"/>
                  </a:cubicBezTo>
                  <a:cubicBezTo>
                    <a:pt x="88636" y="111457"/>
                    <a:pt x="88636" y="111457"/>
                    <a:pt x="88636" y="111457"/>
                  </a:cubicBezTo>
                  <a:cubicBezTo>
                    <a:pt x="88636" y="111457"/>
                    <a:pt x="88295" y="111457"/>
                    <a:pt x="87954" y="111457"/>
                  </a:cubicBezTo>
                  <a:cubicBezTo>
                    <a:pt x="87272" y="111864"/>
                    <a:pt x="87613" y="112271"/>
                    <a:pt x="87613" y="112271"/>
                  </a:cubicBezTo>
                  <a:cubicBezTo>
                    <a:pt x="87954" y="112271"/>
                    <a:pt x="88295" y="113084"/>
                    <a:pt x="88295" y="113084"/>
                  </a:cubicBezTo>
                  <a:cubicBezTo>
                    <a:pt x="88295" y="113084"/>
                    <a:pt x="87272" y="113491"/>
                    <a:pt x="87272" y="113491"/>
                  </a:cubicBezTo>
                  <a:cubicBezTo>
                    <a:pt x="86931" y="113898"/>
                    <a:pt x="86931" y="113898"/>
                    <a:pt x="86931" y="114305"/>
                  </a:cubicBezTo>
                  <a:cubicBezTo>
                    <a:pt x="86931" y="114305"/>
                    <a:pt x="86590" y="114711"/>
                    <a:pt x="86590" y="115118"/>
                  </a:cubicBezTo>
                  <a:cubicBezTo>
                    <a:pt x="86590" y="115118"/>
                    <a:pt x="86250" y="114711"/>
                    <a:pt x="85909" y="114711"/>
                  </a:cubicBezTo>
                  <a:cubicBezTo>
                    <a:pt x="85568" y="114711"/>
                    <a:pt x="85568" y="114305"/>
                    <a:pt x="85568" y="114305"/>
                  </a:cubicBezTo>
                  <a:cubicBezTo>
                    <a:pt x="85227" y="114711"/>
                    <a:pt x="85227" y="114711"/>
                    <a:pt x="85227" y="114711"/>
                  </a:cubicBezTo>
                  <a:cubicBezTo>
                    <a:pt x="84886" y="114711"/>
                    <a:pt x="84886" y="114711"/>
                    <a:pt x="84886" y="114711"/>
                  </a:cubicBezTo>
                  <a:cubicBezTo>
                    <a:pt x="84886" y="114711"/>
                    <a:pt x="84545" y="114305"/>
                    <a:pt x="84545" y="113898"/>
                  </a:cubicBezTo>
                  <a:cubicBezTo>
                    <a:pt x="84545" y="113898"/>
                    <a:pt x="84545" y="113898"/>
                    <a:pt x="84545" y="113898"/>
                  </a:cubicBezTo>
                  <a:cubicBezTo>
                    <a:pt x="84204" y="113898"/>
                    <a:pt x="83863" y="113898"/>
                    <a:pt x="83863" y="113491"/>
                  </a:cubicBezTo>
                  <a:cubicBezTo>
                    <a:pt x="83522" y="112677"/>
                    <a:pt x="83522" y="112677"/>
                    <a:pt x="83522" y="112677"/>
                  </a:cubicBezTo>
                  <a:cubicBezTo>
                    <a:pt x="83522" y="112677"/>
                    <a:pt x="82840" y="113084"/>
                    <a:pt x="82840" y="113491"/>
                  </a:cubicBezTo>
                  <a:cubicBezTo>
                    <a:pt x="82500" y="113491"/>
                    <a:pt x="82840" y="113491"/>
                    <a:pt x="82500" y="113084"/>
                  </a:cubicBezTo>
                  <a:cubicBezTo>
                    <a:pt x="82159" y="113084"/>
                    <a:pt x="82159" y="113491"/>
                    <a:pt x="82159" y="113491"/>
                  </a:cubicBezTo>
                  <a:cubicBezTo>
                    <a:pt x="82159" y="113491"/>
                    <a:pt x="82159" y="113491"/>
                    <a:pt x="82159" y="113491"/>
                  </a:cubicBezTo>
                  <a:cubicBezTo>
                    <a:pt x="82159" y="113898"/>
                    <a:pt x="81818" y="113898"/>
                    <a:pt x="81818" y="113898"/>
                  </a:cubicBezTo>
                  <a:cubicBezTo>
                    <a:pt x="81818" y="114305"/>
                    <a:pt x="81477" y="113898"/>
                    <a:pt x="81477" y="113898"/>
                  </a:cubicBezTo>
                  <a:cubicBezTo>
                    <a:pt x="81136" y="113898"/>
                    <a:pt x="80795" y="113898"/>
                    <a:pt x="80795" y="113898"/>
                  </a:cubicBezTo>
                  <a:cubicBezTo>
                    <a:pt x="80795" y="113898"/>
                    <a:pt x="80795" y="113491"/>
                    <a:pt x="80795" y="113491"/>
                  </a:cubicBezTo>
                  <a:cubicBezTo>
                    <a:pt x="80113" y="113898"/>
                    <a:pt x="80113" y="113898"/>
                    <a:pt x="80113" y="113898"/>
                  </a:cubicBezTo>
                  <a:cubicBezTo>
                    <a:pt x="80113" y="113898"/>
                    <a:pt x="80113" y="114305"/>
                    <a:pt x="80113" y="114305"/>
                  </a:cubicBezTo>
                  <a:cubicBezTo>
                    <a:pt x="80113" y="114305"/>
                    <a:pt x="79772" y="114305"/>
                    <a:pt x="79431" y="114711"/>
                  </a:cubicBezTo>
                  <a:cubicBezTo>
                    <a:pt x="78750" y="114711"/>
                    <a:pt x="79090" y="114305"/>
                    <a:pt x="78750" y="114711"/>
                  </a:cubicBezTo>
                  <a:cubicBezTo>
                    <a:pt x="78750" y="114711"/>
                    <a:pt x="78750" y="114711"/>
                    <a:pt x="78750" y="115118"/>
                  </a:cubicBezTo>
                  <a:cubicBezTo>
                    <a:pt x="78750" y="115118"/>
                    <a:pt x="79090" y="115118"/>
                    <a:pt x="78750" y="115525"/>
                  </a:cubicBezTo>
                  <a:cubicBezTo>
                    <a:pt x="78409" y="115932"/>
                    <a:pt x="78409" y="115525"/>
                    <a:pt x="78409" y="115525"/>
                  </a:cubicBezTo>
                  <a:cubicBezTo>
                    <a:pt x="78068" y="115525"/>
                    <a:pt x="77727" y="115932"/>
                    <a:pt x="77727" y="115932"/>
                  </a:cubicBezTo>
                  <a:cubicBezTo>
                    <a:pt x="77727" y="115932"/>
                    <a:pt x="77727" y="116338"/>
                    <a:pt x="77727" y="116338"/>
                  </a:cubicBezTo>
                  <a:cubicBezTo>
                    <a:pt x="77727" y="116338"/>
                    <a:pt x="77386" y="116338"/>
                    <a:pt x="77045" y="116338"/>
                  </a:cubicBezTo>
                  <a:cubicBezTo>
                    <a:pt x="76704" y="116338"/>
                    <a:pt x="77045" y="116745"/>
                    <a:pt x="77045" y="116745"/>
                  </a:cubicBezTo>
                  <a:cubicBezTo>
                    <a:pt x="77045" y="116745"/>
                    <a:pt x="77045" y="117152"/>
                    <a:pt x="76704" y="117559"/>
                  </a:cubicBezTo>
                  <a:cubicBezTo>
                    <a:pt x="76704" y="117559"/>
                    <a:pt x="76704" y="117966"/>
                    <a:pt x="76704" y="118372"/>
                  </a:cubicBezTo>
                  <a:cubicBezTo>
                    <a:pt x="76704" y="118372"/>
                    <a:pt x="76704" y="118372"/>
                    <a:pt x="76704" y="119186"/>
                  </a:cubicBezTo>
                  <a:cubicBezTo>
                    <a:pt x="76704" y="119593"/>
                    <a:pt x="76704" y="119593"/>
                    <a:pt x="76704" y="119593"/>
                  </a:cubicBezTo>
                  <a:cubicBezTo>
                    <a:pt x="76704" y="119593"/>
                    <a:pt x="76363" y="119593"/>
                    <a:pt x="76363" y="119593"/>
                  </a:cubicBezTo>
                  <a:cubicBezTo>
                    <a:pt x="76363" y="119186"/>
                    <a:pt x="76022" y="119593"/>
                    <a:pt x="76022" y="119593"/>
                  </a:cubicBezTo>
                  <a:cubicBezTo>
                    <a:pt x="76022" y="119593"/>
                    <a:pt x="75681" y="119186"/>
                    <a:pt x="75681" y="118779"/>
                  </a:cubicBezTo>
                  <a:cubicBezTo>
                    <a:pt x="75681" y="118779"/>
                    <a:pt x="75340" y="118779"/>
                    <a:pt x="75340" y="118779"/>
                  </a:cubicBezTo>
                  <a:cubicBezTo>
                    <a:pt x="75340" y="118779"/>
                    <a:pt x="74659" y="119186"/>
                    <a:pt x="74659" y="119186"/>
                  </a:cubicBezTo>
                  <a:cubicBezTo>
                    <a:pt x="74659" y="119186"/>
                    <a:pt x="74659" y="119593"/>
                    <a:pt x="74659" y="119593"/>
                  </a:cubicBezTo>
                  <a:cubicBezTo>
                    <a:pt x="74318" y="119593"/>
                    <a:pt x="73636" y="120000"/>
                    <a:pt x="73636" y="120000"/>
                  </a:cubicBezTo>
                  <a:cubicBezTo>
                    <a:pt x="73636" y="120000"/>
                    <a:pt x="73295" y="120000"/>
                    <a:pt x="73295" y="120000"/>
                  </a:cubicBezTo>
                  <a:cubicBezTo>
                    <a:pt x="72954" y="119593"/>
                    <a:pt x="72954" y="119593"/>
                    <a:pt x="72954" y="119593"/>
                  </a:cubicBezTo>
                  <a:cubicBezTo>
                    <a:pt x="72954" y="119186"/>
                    <a:pt x="72954" y="119186"/>
                    <a:pt x="72954" y="119186"/>
                  </a:cubicBezTo>
                  <a:cubicBezTo>
                    <a:pt x="73636" y="118372"/>
                    <a:pt x="73636" y="118372"/>
                    <a:pt x="73636" y="118372"/>
                  </a:cubicBezTo>
                  <a:cubicBezTo>
                    <a:pt x="73295" y="117152"/>
                    <a:pt x="73295" y="117152"/>
                    <a:pt x="73295" y="117152"/>
                  </a:cubicBezTo>
                  <a:cubicBezTo>
                    <a:pt x="72613" y="116338"/>
                    <a:pt x="72613" y="116338"/>
                    <a:pt x="72613" y="116338"/>
                  </a:cubicBezTo>
                  <a:cubicBezTo>
                    <a:pt x="72613" y="115932"/>
                    <a:pt x="72613" y="115932"/>
                    <a:pt x="72613" y="115932"/>
                  </a:cubicBezTo>
                  <a:cubicBezTo>
                    <a:pt x="71590" y="115932"/>
                    <a:pt x="71590" y="115932"/>
                    <a:pt x="71590" y="115932"/>
                  </a:cubicBezTo>
                  <a:cubicBezTo>
                    <a:pt x="70909" y="115525"/>
                    <a:pt x="70909" y="115525"/>
                    <a:pt x="70909" y="115525"/>
                  </a:cubicBezTo>
                  <a:cubicBezTo>
                    <a:pt x="70568" y="115118"/>
                    <a:pt x="70568" y="115118"/>
                    <a:pt x="70568" y="115118"/>
                  </a:cubicBezTo>
                  <a:cubicBezTo>
                    <a:pt x="69545" y="114305"/>
                    <a:pt x="69545" y="114305"/>
                    <a:pt x="69545" y="114305"/>
                  </a:cubicBezTo>
                  <a:cubicBezTo>
                    <a:pt x="68863" y="111864"/>
                    <a:pt x="68863" y="111864"/>
                    <a:pt x="68863" y="111864"/>
                  </a:cubicBezTo>
                  <a:cubicBezTo>
                    <a:pt x="67840" y="111864"/>
                    <a:pt x="67840" y="111864"/>
                    <a:pt x="67840" y="111864"/>
                  </a:cubicBezTo>
                  <a:cubicBezTo>
                    <a:pt x="67840" y="111864"/>
                    <a:pt x="67159" y="112677"/>
                    <a:pt x="67159" y="113084"/>
                  </a:cubicBezTo>
                  <a:cubicBezTo>
                    <a:pt x="67159" y="113491"/>
                    <a:pt x="66477" y="113491"/>
                    <a:pt x="66477" y="113491"/>
                  </a:cubicBezTo>
                  <a:cubicBezTo>
                    <a:pt x="65795" y="114711"/>
                    <a:pt x="65795" y="114711"/>
                    <a:pt x="65795" y="114711"/>
                  </a:cubicBezTo>
                  <a:cubicBezTo>
                    <a:pt x="65795" y="114711"/>
                    <a:pt x="65795" y="116338"/>
                    <a:pt x="65795" y="116745"/>
                  </a:cubicBezTo>
                  <a:cubicBezTo>
                    <a:pt x="65795" y="117152"/>
                    <a:pt x="65113" y="116338"/>
                    <a:pt x="65113" y="116338"/>
                  </a:cubicBezTo>
                  <a:cubicBezTo>
                    <a:pt x="65113" y="116338"/>
                    <a:pt x="64431" y="116745"/>
                    <a:pt x="64090" y="117152"/>
                  </a:cubicBezTo>
                  <a:cubicBezTo>
                    <a:pt x="63750" y="117559"/>
                    <a:pt x="63068" y="117559"/>
                    <a:pt x="63068" y="117559"/>
                  </a:cubicBezTo>
                  <a:cubicBezTo>
                    <a:pt x="63068" y="117559"/>
                    <a:pt x="62727" y="116745"/>
                    <a:pt x="62386" y="116338"/>
                  </a:cubicBezTo>
                  <a:cubicBezTo>
                    <a:pt x="62386" y="116338"/>
                    <a:pt x="62386" y="115932"/>
                    <a:pt x="62386" y="115118"/>
                  </a:cubicBezTo>
                  <a:cubicBezTo>
                    <a:pt x="62386" y="114711"/>
                    <a:pt x="61704" y="115525"/>
                    <a:pt x="61704" y="115525"/>
                  </a:cubicBezTo>
                  <a:cubicBezTo>
                    <a:pt x="61704" y="115525"/>
                    <a:pt x="61704" y="115525"/>
                    <a:pt x="61704" y="115525"/>
                  </a:cubicBezTo>
                  <a:cubicBezTo>
                    <a:pt x="61704" y="115118"/>
                    <a:pt x="61704" y="115118"/>
                    <a:pt x="61704" y="115118"/>
                  </a:cubicBezTo>
                  <a:cubicBezTo>
                    <a:pt x="61363" y="114305"/>
                    <a:pt x="61022" y="113898"/>
                    <a:pt x="61022" y="113898"/>
                  </a:cubicBezTo>
                  <a:cubicBezTo>
                    <a:pt x="61022" y="113898"/>
                    <a:pt x="60681" y="113084"/>
                    <a:pt x="60681" y="112271"/>
                  </a:cubicBezTo>
                  <a:cubicBezTo>
                    <a:pt x="60681" y="111864"/>
                    <a:pt x="59318" y="111050"/>
                    <a:pt x="59318" y="111050"/>
                  </a:cubicBezTo>
                  <a:cubicBezTo>
                    <a:pt x="59318" y="111050"/>
                    <a:pt x="59659" y="111864"/>
                    <a:pt x="58977" y="111050"/>
                  </a:cubicBezTo>
                  <a:cubicBezTo>
                    <a:pt x="58295" y="109830"/>
                    <a:pt x="57613" y="109830"/>
                    <a:pt x="57613" y="109830"/>
                  </a:cubicBezTo>
                  <a:cubicBezTo>
                    <a:pt x="57272" y="106576"/>
                    <a:pt x="57272" y="106576"/>
                    <a:pt x="57272" y="106576"/>
                  </a:cubicBezTo>
                  <a:cubicBezTo>
                    <a:pt x="54545" y="107389"/>
                    <a:pt x="54545" y="107389"/>
                    <a:pt x="54545" y="107389"/>
                  </a:cubicBezTo>
                  <a:cubicBezTo>
                    <a:pt x="54545" y="107389"/>
                    <a:pt x="52840" y="106576"/>
                    <a:pt x="52500" y="106169"/>
                  </a:cubicBezTo>
                  <a:cubicBezTo>
                    <a:pt x="52159" y="105762"/>
                    <a:pt x="51136" y="105355"/>
                    <a:pt x="51136" y="105355"/>
                  </a:cubicBezTo>
                  <a:cubicBezTo>
                    <a:pt x="50113" y="106576"/>
                    <a:pt x="50113" y="106576"/>
                    <a:pt x="50113" y="106576"/>
                  </a:cubicBezTo>
                  <a:cubicBezTo>
                    <a:pt x="49090" y="106576"/>
                    <a:pt x="49090" y="106576"/>
                    <a:pt x="49090" y="106576"/>
                  </a:cubicBezTo>
                  <a:cubicBezTo>
                    <a:pt x="49090" y="106576"/>
                    <a:pt x="47727" y="106169"/>
                    <a:pt x="47386" y="105762"/>
                  </a:cubicBezTo>
                  <a:cubicBezTo>
                    <a:pt x="46704" y="104949"/>
                    <a:pt x="47045" y="104542"/>
                    <a:pt x="46704" y="104542"/>
                  </a:cubicBezTo>
                  <a:cubicBezTo>
                    <a:pt x="46022" y="104542"/>
                    <a:pt x="45681" y="103728"/>
                    <a:pt x="45681" y="103728"/>
                  </a:cubicBezTo>
                  <a:cubicBezTo>
                    <a:pt x="45681" y="103728"/>
                    <a:pt x="46363" y="102508"/>
                    <a:pt x="46704" y="102101"/>
                  </a:cubicBezTo>
                  <a:cubicBezTo>
                    <a:pt x="46704" y="101694"/>
                    <a:pt x="47386" y="102101"/>
                    <a:pt x="47045" y="100881"/>
                  </a:cubicBezTo>
                  <a:cubicBezTo>
                    <a:pt x="46363" y="100067"/>
                    <a:pt x="46022" y="99661"/>
                    <a:pt x="46022" y="99661"/>
                  </a:cubicBezTo>
                  <a:cubicBezTo>
                    <a:pt x="46022" y="99661"/>
                    <a:pt x="46022" y="100474"/>
                    <a:pt x="45340" y="100881"/>
                  </a:cubicBezTo>
                  <a:cubicBezTo>
                    <a:pt x="44659" y="100881"/>
                    <a:pt x="43636" y="101288"/>
                    <a:pt x="43636" y="101288"/>
                  </a:cubicBezTo>
                  <a:cubicBezTo>
                    <a:pt x="39886" y="99254"/>
                    <a:pt x="39886" y="99254"/>
                    <a:pt x="39886" y="99254"/>
                  </a:cubicBezTo>
                  <a:cubicBezTo>
                    <a:pt x="39886" y="99254"/>
                    <a:pt x="38863" y="98847"/>
                    <a:pt x="38522" y="98847"/>
                  </a:cubicBezTo>
                  <a:cubicBezTo>
                    <a:pt x="38181" y="99254"/>
                    <a:pt x="36818" y="98847"/>
                    <a:pt x="36818" y="98847"/>
                  </a:cubicBezTo>
                  <a:cubicBezTo>
                    <a:pt x="37500" y="100474"/>
                    <a:pt x="37500" y="100474"/>
                    <a:pt x="37500" y="100474"/>
                  </a:cubicBezTo>
                  <a:cubicBezTo>
                    <a:pt x="38181" y="102915"/>
                    <a:pt x="38181" y="102915"/>
                    <a:pt x="38181" y="102915"/>
                  </a:cubicBezTo>
                  <a:cubicBezTo>
                    <a:pt x="36136" y="103728"/>
                    <a:pt x="36136" y="103728"/>
                    <a:pt x="36136" y="103728"/>
                  </a:cubicBezTo>
                  <a:cubicBezTo>
                    <a:pt x="35795" y="105762"/>
                    <a:pt x="35795" y="105762"/>
                    <a:pt x="35795" y="105762"/>
                  </a:cubicBezTo>
                  <a:cubicBezTo>
                    <a:pt x="35795" y="105762"/>
                    <a:pt x="33750" y="107389"/>
                    <a:pt x="33750" y="106576"/>
                  </a:cubicBezTo>
                  <a:cubicBezTo>
                    <a:pt x="33409" y="106169"/>
                    <a:pt x="33068" y="104542"/>
                    <a:pt x="33068" y="104542"/>
                  </a:cubicBezTo>
                  <a:cubicBezTo>
                    <a:pt x="33068" y="104542"/>
                    <a:pt x="32727" y="103728"/>
                    <a:pt x="32386" y="103322"/>
                  </a:cubicBezTo>
                  <a:cubicBezTo>
                    <a:pt x="31704" y="102915"/>
                    <a:pt x="31363" y="102508"/>
                    <a:pt x="31363" y="102508"/>
                  </a:cubicBezTo>
                  <a:cubicBezTo>
                    <a:pt x="30340" y="102101"/>
                    <a:pt x="30340" y="102101"/>
                    <a:pt x="30340" y="102101"/>
                  </a:cubicBezTo>
                  <a:cubicBezTo>
                    <a:pt x="30340" y="102101"/>
                    <a:pt x="30000" y="100474"/>
                    <a:pt x="29659" y="100474"/>
                  </a:cubicBezTo>
                  <a:cubicBezTo>
                    <a:pt x="29318" y="100474"/>
                    <a:pt x="28977" y="100474"/>
                    <a:pt x="28977" y="100474"/>
                  </a:cubicBezTo>
                  <a:cubicBezTo>
                    <a:pt x="28977" y="99254"/>
                    <a:pt x="28977" y="99254"/>
                    <a:pt x="28977" y="99254"/>
                  </a:cubicBezTo>
                  <a:cubicBezTo>
                    <a:pt x="29659" y="98033"/>
                    <a:pt x="29659" y="98033"/>
                    <a:pt x="29659" y="98033"/>
                  </a:cubicBezTo>
                  <a:cubicBezTo>
                    <a:pt x="29659" y="98033"/>
                    <a:pt x="30000" y="98440"/>
                    <a:pt x="30000" y="96813"/>
                  </a:cubicBezTo>
                  <a:cubicBezTo>
                    <a:pt x="30340" y="94779"/>
                    <a:pt x="29318" y="94779"/>
                    <a:pt x="29318" y="94779"/>
                  </a:cubicBezTo>
                  <a:cubicBezTo>
                    <a:pt x="28295" y="95186"/>
                    <a:pt x="28295" y="95186"/>
                    <a:pt x="28295" y="95186"/>
                  </a:cubicBezTo>
                  <a:cubicBezTo>
                    <a:pt x="26931" y="96000"/>
                    <a:pt x="26931" y="96000"/>
                    <a:pt x="26931" y="96000"/>
                  </a:cubicBezTo>
                  <a:cubicBezTo>
                    <a:pt x="26250" y="96000"/>
                    <a:pt x="26250" y="96000"/>
                    <a:pt x="26250" y="96000"/>
                  </a:cubicBezTo>
                  <a:cubicBezTo>
                    <a:pt x="25909" y="96000"/>
                    <a:pt x="25227" y="94779"/>
                    <a:pt x="25227" y="94779"/>
                  </a:cubicBezTo>
                  <a:cubicBezTo>
                    <a:pt x="25227" y="94779"/>
                    <a:pt x="25909" y="93559"/>
                    <a:pt x="24886" y="94779"/>
                  </a:cubicBezTo>
                  <a:cubicBezTo>
                    <a:pt x="23863" y="96000"/>
                    <a:pt x="23181" y="94372"/>
                    <a:pt x="23181" y="94372"/>
                  </a:cubicBezTo>
                  <a:cubicBezTo>
                    <a:pt x="22840" y="93966"/>
                    <a:pt x="22840" y="93966"/>
                    <a:pt x="22840" y="93966"/>
                  </a:cubicBezTo>
                  <a:cubicBezTo>
                    <a:pt x="22840" y="93966"/>
                    <a:pt x="22840" y="93966"/>
                    <a:pt x="22500" y="93966"/>
                  </a:cubicBezTo>
                  <a:cubicBezTo>
                    <a:pt x="22159" y="94372"/>
                    <a:pt x="21136" y="94372"/>
                    <a:pt x="21136" y="93966"/>
                  </a:cubicBezTo>
                  <a:cubicBezTo>
                    <a:pt x="20795" y="93152"/>
                    <a:pt x="20113" y="92745"/>
                    <a:pt x="20113" y="92745"/>
                  </a:cubicBezTo>
                  <a:cubicBezTo>
                    <a:pt x="19090" y="93152"/>
                    <a:pt x="19090" y="93152"/>
                    <a:pt x="19090" y="93152"/>
                  </a:cubicBezTo>
                  <a:cubicBezTo>
                    <a:pt x="19090" y="93152"/>
                    <a:pt x="18409" y="93152"/>
                    <a:pt x="18068" y="93152"/>
                  </a:cubicBezTo>
                  <a:cubicBezTo>
                    <a:pt x="18068" y="92745"/>
                    <a:pt x="18068" y="92338"/>
                    <a:pt x="17386" y="91932"/>
                  </a:cubicBezTo>
                  <a:cubicBezTo>
                    <a:pt x="16704" y="91525"/>
                    <a:pt x="16363" y="90305"/>
                    <a:pt x="16363" y="90305"/>
                  </a:cubicBezTo>
                  <a:cubicBezTo>
                    <a:pt x="16363" y="90305"/>
                    <a:pt x="16704" y="89491"/>
                    <a:pt x="16022" y="89491"/>
                  </a:cubicBezTo>
                  <a:cubicBezTo>
                    <a:pt x="15681" y="89491"/>
                    <a:pt x="15000" y="89084"/>
                    <a:pt x="15000" y="89084"/>
                  </a:cubicBezTo>
                  <a:cubicBezTo>
                    <a:pt x="15000" y="89084"/>
                    <a:pt x="13977" y="88271"/>
                    <a:pt x="13977" y="88677"/>
                  </a:cubicBezTo>
                  <a:cubicBezTo>
                    <a:pt x="13636" y="89084"/>
                    <a:pt x="13636" y="89898"/>
                    <a:pt x="13636" y="90305"/>
                  </a:cubicBezTo>
                  <a:cubicBezTo>
                    <a:pt x="13636" y="90305"/>
                    <a:pt x="13977" y="91525"/>
                    <a:pt x="13977" y="91525"/>
                  </a:cubicBezTo>
                  <a:cubicBezTo>
                    <a:pt x="13977" y="91525"/>
                    <a:pt x="12613" y="92338"/>
                    <a:pt x="12272" y="92338"/>
                  </a:cubicBezTo>
                  <a:cubicBezTo>
                    <a:pt x="11931" y="92338"/>
                    <a:pt x="11590" y="92745"/>
                    <a:pt x="11590" y="91932"/>
                  </a:cubicBezTo>
                  <a:cubicBezTo>
                    <a:pt x="11590" y="91525"/>
                    <a:pt x="12272" y="89491"/>
                    <a:pt x="12272" y="89491"/>
                  </a:cubicBezTo>
                  <a:cubicBezTo>
                    <a:pt x="12613" y="89084"/>
                    <a:pt x="12954" y="88677"/>
                    <a:pt x="12954" y="88677"/>
                  </a:cubicBezTo>
                  <a:cubicBezTo>
                    <a:pt x="12954" y="88677"/>
                    <a:pt x="12613" y="87864"/>
                    <a:pt x="12613" y="87457"/>
                  </a:cubicBezTo>
                  <a:cubicBezTo>
                    <a:pt x="12613" y="87050"/>
                    <a:pt x="12272" y="87050"/>
                    <a:pt x="12954" y="85830"/>
                  </a:cubicBezTo>
                  <a:cubicBezTo>
                    <a:pt x="13977" y="84610"/>
                    <a:pt x="13977" y="83796"/>
                    <a:pt x="13977" y="83796"/>
                  </a:cubicBezTo>
                  <a:cubicBezTo>
                    <a:pt x="13977" y="83796"/>
                    <a:pt x="13295" y="82576"/>
                    <a:pt x="12954" y="82169"/>
                  </a:cubicBezTo>
                  <a:cubicBezTo>
                    <a:pt x="12954" y="82169"/>
                    <a:pt x="11931" y="80542"/>
                    <a:pt x="11931" y="80542"/>
                  </a:cubicBezTo>
                  <a:cubicBezTo>
                    <a:pt x="11931" y="80135"/>
                    <a:pt x="11931" y="79322"/>
                    <a:pt x="11931" y="79322"/>
                  </a:cubicBezTo>
                  <a:cubicBezTo>
                    <a:pt x="11931" y="79322"/>
                    <a:pt x="11250" y="78508"/>
                    <a:pt x="10909" y="78508"/>
                  </a:cubicBezTo>
                  <a:cubicBezTo>
                    <a:pt x="10568" y="78508"/>
                    <a:pt x="9545" y="78101"/>
                    <a:pt x="9545" y="78101"/>
                  </a:cubicBezTo>
                  <a:cubicBezTo>
                    <a:pt x="9545" y="76881"/>
                    <a:pt x="9545" y="76881"/>
                    <a:pt x="9545" y="76881"/>
                  </a:cubicBezTo>
                  <a:cubicBezTo>
                    <a:pt x="9545" y="74847"/>
                    <a:pt x="9545" y="74847"/>
                    <a:pt x="9545" y="74847"/>
                  </a:cubicBezTo>
                  <a:cubicBezTo>
                    <a:pt x="8181" y="72813"/>
                    <a:pt x="8181" y="72813"/>
                    <a:pt x="8181" y="72813"/>
                  </a:cubicBezTo>
                  <a:cubicBezTo>
                    <a:pt x="7840" y="71593"/>
                    <a:pt x="7840" y="71593"/>
                    <a:pt x="7840" y="71593"/>
                  </a:cubicBezTo>
                  <a:cubicBezTo>
                    <a:pt x="7840" y="71593"/>
                    <a:pt x="8181" y="70779"/>
                    <a:pt x="8181" y="69966"/>
                  </a:cubicBezTo>
                  <a:cubicBezTo>
                    <a:pt x="8522" y="69559"/>
                    <a:pt x="8863" y="68338"/>
                    <a:pt x="8863" y="68338"/>
                  </a:cubicBezTo>
                  <a:cubicBezTo>
                    <a:pt x="8181" y="66711"/>
                    <a:pt x="8181" y="66711"/>
                    <a:pt x="8181" y="66711"/>
                  </a:cubicBezTo>
                  <a:cubicBezTo>
                    <a:pt x="8181" y="66711"/>
                    <a:pt x="7840" y="66305"/>
                    <a:pt x="8181" y="65898"/>
                  </a:cubicBezTo>
                  <a:cubicBezTo>
                    <a:pt x="8181" y="65491"/>
                    <a:pt x="7840" y="63050"/>
                    <a:pt x="7840" y="63050"/>
                  </a:cubicBezTo>
                  <a:cubicBezTo>
                    <a:pt x="7840" y="63050"/>
                    <a:pt x="7500" y="60610"/>
                    <a:pt x="7159" y="61016"/>
                  </a:cubicBezTo>
                  <a:cubicBezTo>
                    <a:pt x="6477" y="61016"/>
                    <a:pt x="6136" y="59389"/>
                    <a:pt x="6136" y="59389"/>
                  </a:cubicBezTo>
                  <a:cubicBezTo>
                    <a:pt x="6818" y="56542"/>
                    <a:pt x="6818" y="56542"/>
                    <a:pt x="6818" y="56542"/>
                  </a:cubicBezTo>
                  <a:cubicBezTo>
                    <a:pt x="6818" y="56542"/>
                    <a:pt x="7159" y="54508"/>
                    <a:pt x="6136" y="53694"/>
                  </a:cubicBezTo>
                  <a:cubicBezTo>
                    <a:pt x="5113" y="53288"/>
                    <a:pt x="3068" y="52067"/>
                    <a:pt x="2727" y="51661"/>
                  </a:cubicBezTo>
                  <a:cubicBezTo>
                    <a:pt x="2727" y="51661"/>
                    <a:pt x="1704" y="50440"/>
                    <a:pt x="1363" y="50033"/>
                  </a:cubicBezTo>
                  <a:cubicBezTo>
                    <a:pt x="1022" y="50033"/>
                    <a:pt x="681" y="49627"/>
                    <a:pt x="681" y="49627"/>
                  </a:cubicBezTo>
                  <a:cubicBezTo>
                    <a:pt x="1363" y="45966"/>
                    <a:pt x="1363" y="45966"/>
                    <a:pt x="1363" y="45966"/>
                  </a:cubicBezTo>
                  <a:cubicBezTo>
                    <a:pt x="3068" y="44338"/>
                    <a:pt x="3068" y="44338"/>
                    <a:pt x="3068" y="44338"/>
                  </a:cubicBezTo>
                  <a:cubicBezTo>
                    <a:pt x="3068" y="41084"/>
                    <a:pt x="3068" y="41084"/>
                    <a:pt x="3068" y="41084"/>
                  </a:cubicBezTo>
                  <a:cubicBezTo>
                    <a:pt x="3068" y="37423"/>
                    <a:pt x="3068" y="37423"/>
                    <a:pt x="3068" y="37423"/>
                  </a:cubicBezTo>
                  <a:cubicBezTo>
                    <a:pt x="3068" y="37423"/>
                    <a:pt x="3409" y="37016"/>
                    <a:pt x="2386" y="35389"/>
                  </a:cubicBezTo>
                  <a:cubicBezTo>
                    <a:pt x="1704" y="34169"/>
                    <a:pt x="1363" y="32542"/>
                    <a:pt x="1363" y="32542"/>
                  </a:cubicBezTo>
                  <a:cubicBezTo>
                    <a:pt x="1363" y="32135"/>
                    <a:pt x="1022" y="30508"/>
                    <a:pt x="681" y="30101"/>
                  </a:cubicBezTo>
                  <a:cubicBezTo>
                    <a:pt x="681" y="29694"/>
                    <a:pt x="681" y="29288"/>
                    <a:pt x="681" y="28474"/>
                  </a:cubicBezTo>
                  <a:cubicBezTo>
                    <a:pt x="1022" y="28067"/>
                    <a:pt x="0" y="26847"/>
                    <a:pt x="0" y="26847"/>
                  </a:cubicBezTo>
                  <a:cubicBezTo>
                    <a:pt x="0" y="26847"/>
                    <a:pt x="340" y="26033"/>
                    <a:pt x="681" y="26033"/>
                  </a:cubicBezTo>
                  <a:cubicBezTo>
                    <a:pt x="1022" y="26033"/>
                    <a:pt x="1363" y="25627"/>
                    <a:pt x="2045" y="25627"/>
                  </a:cubicBezTo>
                  <a:cubicBezTo>
                    <a:pt x="2727" y="25627"/>
                    <a:pt x="3068" y="24813"/>
                    <a:pt x="3750" y="24813"/>
                  </a:cubicBezTo>
                  <a:cubicBezTo>
                    <a:pt x="4090" y="24406"/>
                    <a:pt x="4090" y="23593"/>
                    <a:pt x="4431" y="23593"/>
                  </a:cubicBezTo>
                  <a:cubicBezTo>
                    <a:pt x="5113" y="23186"/>
                    <a:pt x="5795" y="23593"/>
                    <a:pt x="6818" y="22779"/>
                  </a:cubicBezTo>
                  <a:cubicBezTo>
                    <a:pt x="7840" y="22372"/>
                    <a:pt x="7840" y="21966"/>
                    <a:pt x="8522" y="21152"/>
                  </a:cubicBezTo>
                  <a:cubicBezTo>
                    <a:pt x="8863" y="20745"/>
                    <a:pt x="15340" y="18305"/>
                    <a:pt x="15340" y="18305"/>
                  </a:cubicBezTo>
                  <a:cubicBezTo>
                    <a:pt x="15340" y="18305"/>
                    <a:pt x="17045" y="17084"/>
                    <a:pt x="17727" y="17084"/>
                  </a:cubicBezTo>
                  <a:cubicBezTo>
                    <a:pt x="18068" y="16677"/>
                    <a:pt x="18068" y="16271"/>
                    <a:pt x="18750" y="16271"/>
                  </a:cubicBezTo>
                  <a:cubicBezTo>
                    <a:pt x="19090" y="16677"/>
                    <a:pt x="20454" y="16677"/>
                    <a:pt x="20454" y="16677"/>
                  </a:cubicBezTo>
                  <a:cubicBezTo>
                    <a:pt x="20454" y="16677"/>
                    <a:pt x="20795" y="15457"/>
                    <a:pt x="21136" y="15050"/>
                  </a:cubicBezTo>
                  <a:cubicBezTo>
                    <a:pt x="21477" y="14237"/>
                    <a:pt x="21818" y="13423"/>
                    <a:pt x="21818" y="13016"/>
                  </a:cubicBezTo>
                  <a:cubicBezTo>
                    <a:pt x="22159" y="12203"/>
                    <a:pt x="22500" y="11796"/>
                    <a:pt x="22840" y="11389"/>
                  </a:cubicBezTo>
                  <a:cubicBezTo>
                    <a:pt x="23181" y="10576"/>
                    <a:pt x="23522" y="10169"/>
                    <a:pt x="23522" y="10169"/>
                  </a:cubicBezTo>
                  <a:cubicBezTo>
                    <a:pt x="23863" y="10169"/>
                    <a:pt x="25909" y="8949"/>
                    <a:pt x="26250" y="8949"/>
                  </a:cubicBezTo>
                  <a:cubicBezTo>
                    <a:pt x="26590" y="8542"/>
                    <a:pt x="29318" y="7322"/>
                    <a:pt x="29318" y="6915"/>
                  </a:cubicBezTo>
                  <a:cubicBezTo>
                    <a:pt x="29318" y="6915"/>
                    <a:pt x="30340" y="5288"/>
                    <a:pt x="30340" y="4881"/>
                  </a:cubicBezTo>
                  <a:cubicBezTo>
                    <a:pt x="30340" y="4474"/>
                    <a:pt x="31704" y="4067"/>
                    <a:pt x="31704" y="4067"/>
                  </a:cubicBezTo>
                  <a:cubicBezTo>
                    <a:pt x="32045" y="4067"/>
                    <a:pt x="32045" y="4067"/>
                    <a:pt x="32386" y="3661"/>
                  </a:cubicBezTo>
                  <a:cubicBezTo>
                    <a:pt x="33068" y="3661"/>
                    <a:pt x="36136" y="2033"/>
                    <a:pt x="36136" y="2033"/>
                  </a:cubicBezTo>
                  <a:cubicBezTo>
                    <a:pt x="36136" y="2033"/>
                    <a:pt x="38863" y="813"/>
                    <a:pt x="38863" y="813"/>
                  </a:cubicBezTo>
                  <a:cubicBezTo>
                    <a:pt x="39204" y="1220"/>
                    <a:pt x="40909" y="813"/>
                    <a:pt x="41250" y="813"/>
                  </a:cubicBezTo>
                  <a:cubicBezTo>
                    <a:pt x="41250" y="1220"/>
                    <a:pt x="43295" y="813"/>
                    <a:pt x="43295" y="813"/>
                  </a:cubicBezTo>
                  <a:cubicBezTo>
                    <a:pt x="43295" y="813"/>
                    <a:pt x="43977" y="1220"/>
                    <a:pt x="43977" y="1627"/>
                  </a:cubicBezTo>
                  <a:cubicBezTo>
                    <a:pt x="43977" y="2033"/>
                    <a:pt x="43295" y="2440"/>
                    <a:pt x="43636" y="2847"/>
                  </a:cubicBezTo>
                  <a:cubicBezTo>
                    <a:pt x="43977" y="3254"/>
                    <a:pt x="45340" y="4474"/>
                    <a:pt x="45340" y="4474"/>
                  </a:cubicBezTo>
                  <a:cubicBezTo>
                    <a:pt x="45340" y="4474"/>
                    <a:pt x="45000" y="5694"/>
                    <a:pt x="45000" y="5694"/>
                  </a:cubicBezTo>
                  <a:cubicBezTo>
                    <a:pt x="45000" y="6101"/>
                    <a:pt x="45340" y="6508"/>
                    <a:pt x="45681" y="7322"/>
                  </a:cubicBezTo>
                  <a:cubicBezTo>
                    <a:pt x="46022" y="7728"/>
                    <a:pt x="46704" y="8542"/>
                    <a:pt x="46704" y="8542"/>
                  </a:cubicBezTo>
                  <a:cubicBezTo>
                    <a:pt x="46704" y="8542"/>
                    <a:pt x="46363" y="8949"/>
                    <a:pt x="47727" y="9762"/>
                  </a:cubicBezTo>
                  <a:cubicBezTo>
                    <a:pt x="49090" y="10576"/>
                    <a:pt x="50113" y="9762"/>
                    <a:pt x="50113" y="9762"/>
                  </a:cubicBezTo>
                  <a:cubicBezTo>
                    <a:pt x="50113" y="9762"/>
                    <a:pt x="51136" y="9762"/>
                    <a:pt x="51477" y="9762"/>
                  </a:cubicBezTo>
                  <a:cubicBezTo>
                    <a:pt x="51818" y="9762"/>
                    <a:pt x="52840" y="9355"/>
                    <a:pt x="52840" y="9355"/>
                  </a:cubicBezTo>
                  <a:close/>
                </a:path>
              </a:pathLst>
            </a:custGeom>
            <a:solidFill>
              <a:srgbClr val="00B050"/>
            </a:solidFill>
            <a:ln w="3175" cap="flat" cmpd="sng">
              <a:solidFill>
                <a:schemeClr val="tx1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endParaRPr kern="0">
                <a:solidFill>
                  <a:srgbClr val="7F7F7F"/>
                </a:solidFill>
                <a:latin typeface="Calibri" panose="020F0502020204030204" pitchFamily="34" charset="0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48" name="Shape 2044">
              <a:extLst>
                <a:ext uri="{FF2B5EF4-FFF2-40B4-BE49-F238E27FC236}">
                  <a16:creationId xmlns:a16="http://schemas.microsoft.com/office/drawing/2014/main" id="{66D27586-581A-4143-F559-4E8B244B2AAF}"/>
                </a:ext>
              </a:extLst>
            </p:cNvPr>
            <p:cNvSpPr/>
            <p:nvPr/>
          </p:nvSpPr>
          <p:spPr>
            <a:xfrm>
              <a:off x="2734483" y="2339199"/>
              <a:ext cx="348410" cy="382879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95421" y="111063"/>
                  </a:moveTo>
                  <a:cubicBezTo>
                    <a:pt x="92530" y="111063"/>
                    <a:pt x="92530" y="111063"/>
                    <a:pt x="92530" y="111063"/>
                  </a:cubicBezTo>
                  <a:cubicBezTo>
                    <a:pt x="92530" y="111063"/>
                    <a:pt x="91084" y="109148"/>
                    <a:pt x="90361" y="109148"/>
                  </a:cubicBezTo>
                  <a:cubicBezTo>
                    <a:pt x="89638" y="109148"/>
                    <a:pt x="88192" y="108510"/>
                    <a:pt x="88192" y="108510"/>
                  </a:cubicBezTo>
                  <a:cubicBezTo>
                    <a:pt x="87469" y="109787"/>
                    <a:pt x="87469" y="109787"/>
                    <a:pt x="87469" y="109787"/>
                  </a:cubicBezTo>
                  <a:cubicBezTo>
                    <a:pt x="87469" y="109787"/>
                    <a:pt x="86746" y="110425"/>
                    <a:pt x="86024" y="110425"/>
                  </a:cubicBezTo>
                  <a:cubicBezTo>
                    <a:pt x="86024" y="110425"/>
                    <a:pt x="85301" y="109787"/>
                    <a:pt x="85301" y="109787"/>
                  </a:cubicBezTo>
                  <a:cubicBezTo>
                    <a:pt x="85301" y="108510"/>
                    <a:pt x="85301" y="108510"/>
                    <a:pt x="85301" y="108510"/>
                  </a:cubicBezTo>
                  <a:cubicBezTo>
                    <a:pt x="83132" y="108510"/>
                    <a:pt x="83132" y="108510"/>
                    <a:pt x="83132" y="108510"/>
                  </a:cubicBezTo>
                  <a:cubicBezTo>
                    <a:pt x="83132" y="108510"/>
                    <a:pt x="83132" y="110425"/>
                    <a:pt x="82409" y="110425"/>
                  </a:cubicBezTo>
                  <a:cubicBezTo>
                    <a:pt x="81686" y="109787"/>
                    <a:pt x="80963" y="109787"/>
                    <a:pt x="79518" y="109787"/>
                  </a:cubicBezTo>
                  <a:cubicBezTo>
                    <a:pt x="78072" y="109148"/>
                    <a:pt x="75180" y="109787"/>
                    <a:pt x="75180" y="109787"/>
                  </a:cubicBezTo>
                  <a:cubicBezTo>
                    <a:pt x="73734" y="109148"/>
                    <a:pt x="73734" y="109148"/>
                    <a:pt x="73734" y="109148"/>
                  </a:cubicBezTo>
                  <a:cubicBezTo>
                    <a:pt x="71566" y="109148"/>
                    <a:pt x="71566" y="109148"/>
                    <a:pt x="71566" y="109148"/>
                  </a:cubicBezTo>
                  <a:cubicBezTo>
                    <a:pt x="68674" y="109148"/>
                    <a:pt x="68674" y="109148"/>
                    <a:pt x="68674" y="109148"/>
                  </a:cubicBezTo>
                  <a:cubicBezTo>
                    <a:pt x="67951" y="110425"/>
                    <a:pt x="67951" y="110425"/>
                    <a:pt x="67951" y="110425"/>
                  </a:cubicBezTo>
                  <a:cubicBezTo>
                    <a:pt x="68674" y="111063"/>
                    <a:pt x="68674" y="111063"/>
                    <a:pt x="68674" y="111063"/>
                  </a:cubicBezTo>
                  <a:cubicBezTo>
                    <a:pt x="66506" y="112340"/>
                    <a:pt x="66506" y="112340"/>
                    <a:pt x="66506" y="112340"/>
                  </a:cubicBezTo>
                  <a:cubicBezTo>
                    <a:pt x="63614" y="111702"/>
                    <a:pt x="63614" y="111702"/>
                    <a:pt x="63614" y="111702"/>
                  </a:cubicBezTo>
                  <a:cubicBezTo>
                    <a:pt x="62168" y="112978"/>
                    <a:pt x="62168" y="112978"/>
                    <a:pt x="62168" y="112978"/>
                  </a:cubicBezTo>
                  <a:cubicBezTo>
                    <a:pt x="61445" y="111702"/>
                    <a:pt x="61445" y="111702"/>
                    <a:pt x="61445" y="111702"/>
                  </a:cubicBezTo>
                  <a:cubicBezTo>
                    <a:pt x="57108" y="114255"/>
                    <a:pt x="57108" y="114255"/>
                    <a:pt x="57108" y="114255"/>
                  </a:cubicBezTo>
                  <a:cubicBezTo>
                    <a:pt x="57831" y="115531"/>
                    <a:pt x="57831" y="115531"/>
                    <a:pt x="57831" y="115531"/>
                  </a:cubicBezTo>
                  <a:cubicBezTo>
                    <a:pt x="54216" y="116170"/>
                    <a:pt x="54216" y="116170"/>
                    <a:pt x="54216" y="116170"/>
                  </a:cubicBezTo>
                  <a:cubicBezTo>
                    <a:pt x="52048" y="115531"/>
                    <a:pt x="52048" y="115531"/>
                    <a:pt x="52048" y="115531"/>
                  </a:cubicBezTo>
                  <a:cubicBezTo>
                    <a:pt x="52048" y="115531"/>
                    <a:pt x="50602" y="114893"/>
                    <a:pt x="50602" y="114255"/>
                  </a:cubicBezTo>
                  <a:cubicBezTo>
                    <a:pt x="51325" y="113617"/>
                    <a:pt x="51325" y="112978"/>
                    <a:pt x="51325" y="112978"/>
                  </a:cubicBezTo>
                  <a:cubicBezTo>
                    <a:pt x="51325" y="112978"/>
                    <a:pt x="49879" y="112340"/>
                    <a:pt x="49879" y="112978"/>
                  </a:cubicBezTo>
                  <a:cubicBezTo>
                    <a:pt x="49879" y="114255"/>
                    <a:pt x="49156" y="115531"/>
                    <a:pt x="49156" y="115531"/>
                  </a:cubicBezTo>
                  <a:cubicBezTo>
                    <a:pt x="46987" y="116808"/>
                    <a:pt x="46987" y="116808"/>
                    <a:pt x="46987" y="116808"/>
                  </a:cubicBezTo>
                  <a:cubicBezTo>
                    <a:pt x="44096" y="117446"/>
                    <a:pt x="44096" y="117446"/>
                    <a:pt x="44096" y="117446"/>
                  </a:cubicBezTo>
                  <a:cubicBezTo>
                    <a:pt x="43373" y="116808"/>
                    <a:pt x="43373" y="116808"/>
                    <a:pt x="43373" y="116808"/>
                  </a:cubicBezTo>
                  <a:cubicBezTo>
                    <a:pt x="43373" y="118723"/>
                    <a:pt x="43373" y="118723"/>
                    <a:pt x="43373" y="118723"/>
                  </a:cubicBezTo>
                  <a:cubicBezTo>
                    <a:pt x="39759" y="118723"/>
                    <a:pt x="39759" y="118723"/>
                    <a:pt x="39759" y="118723"/>
                  </a:cubicBezTo>
                  <a:cubicBezTo>
                    <a:pt x="37590" y="118723"/>
                    <a:pt x="37590" y="118723"/>
                    <a:pt x="37590" y="118723"/>
                  </a:cubicBezTo>
                  <a:cubicBezTo>
                    <a:pt x="36144" y="120000"/>
                    <a:pt x="36144" y="120000"/>
                    <a:pt x="36144" y="120000"/>
                  </a:cubicBezTo>
                  <a:cubicBezTo>
                    <a:pt x="33975" y="119361"/>
                    <a:pt x="33975" y="119361"/>
                    <a:pt x="33975" y="119361"/>
                  </a:cubicBezTo>
                  <a:cubicBezTo>
                    <a:pt x="30361" y="120000"/>
                    <a:pt x="30361" y="120000"/>
                    <a:pt x="30361" y="120000"/>
                  </a:cubicBezTo>
                  <a:cubicBezTo>
                    <a:pt x="29638" y="118723"/>
                    <a:pt x="29638" y="118723"/>
                    <a:pt x="29638" y="118723"/>
                  </a:cubicBezTo>
                  <a:cubicBezTo>
                    <a:pt x="24578" y="118723"/>
                    <a:pt x="24578" y="118723"/>
                    <a:pt x="24578" y="118723"/>
                  </a:cubicBezTo>
                  <a:cubicBezTo>
                    <a:pt x="22409" y="119361"/>
                    <a:pt x="22409" y="119361"/>
                    <a:pt x="22409" y="119361"/>
                  </a:cubicBezTo>
                  <a:cubicBezTo>
                    <a:pt x="21686" y="118085"/>
                    <a:pt x="21686" y="118085"/>
                    <a:pt x="21686" y="118085"/>
                  </a:cubicBezTo>
                  <a:cubicBezTo>
                    <a:pt x="20963" y="118085"/>
                    <a:pt x="20963" y="118085"/>
                    <a:pt x="20963" y="118085"/>
                  </a:cubicBezTo>
                  <a:cubicBezTo>
                    <a:pt x="20963" y="118085"/>
                    <a:pt x="19518" y="118085"/>
                    <a:pt x="18795" y="118085"/>
                  </a:cubicBezTo>
                  <a:cubicBezTo>
                    <a:pt x="18072" y="118085"/>
                    <a:pt x="13734" y="116808"/>
                    <a:pt x="13734" y="116808"/>
                  </a:cubicBezTo>
                  <a:cubicBezTo>
                    <a:pt x="12289" y="118085"/>
                    <a:pt x="12289" y="118085"/>
                    <a:pt x="12289" y="118085"/>
                  </a:cubicBezTo>
                  <a:cubicBezTo>
                    <a:pt x="12289" y="118085"/>
                    <a:pt x="10120" y="118085"/>
                    <a:pt x="10120" y="117446"/>
                  </a:cubicBezTo>
                  <a:cubicBezTo>
                    <a:pt x="10120" y="117446"/>
                    <a:pt x="10120" y="116808"/>
                    <a:pt x="10843" y="116170"/>
                  </a:cubicBezTo>
                  <a:cubicBezTo>
                    <a:pt x="11566" y="116170"/>
                    <a:pt x="12289" y="116170"/>
                    <a:pt x="13734" y="115531"/>
                  </a:cubicBezTo>
                  <a:cubicBezTo>
                    <a:pt x="15180" y="115531"/>
                    <a:pt x="15903" y="115531"/>
                    <a:pt x="15903" y="115531"/>
                  </a:cubicBezTo>
                  <a:cubicBezTo>
                    <a:pt x="16626" y="114893"/>
                    <a:pt x="16626" y="114893"/>
                    <a:pt x="16626" y="114893"/>
                  </a:cubicBezTo>
                  <a:cubicBezTo>
                    <a:pt x="16626" y="114255"/>
                    <a:pt x="17349" y="113617"/>
                    <a:pt x="15903" y="114255"/>
                  </a:cubicBezTo>
                  <a:cubicBezTo>
                    <a:pt x="15180" y="114255"/>
                    <a:pt x="15180" y="114255"/>
                    <a:pt x="15180" y="114255"/>
                  </a:cubicBezTo>
                  <a:cubicBezTo>
                    <a:pt x="14457" y="114893"/>
                    <a:pt x="13734" y="114893"/>
                    <a:pt x="13012" y="114893"/>
                  </a:cubicBezTo>
                  <a:cubicBezTo>
                    <a:pt x="13012" y="114893"/>
                    <a:pt x="11566" y="114893"/>
                    <a:pt x="11566" y="114893"/>
                  </a:cubicBezTo>
                  <a:cubicBezTo>
                    <a:pt x="11566" y="114893"/>
                    <a:pt x="10843" y="114255"/>
                    <a:pt x="11566" y="114255"/>
                  </a:cubicBezTo>
                  <a:cubicBezTo>
                    <a:pt x="12289" y="113617"/>
                    <a:pt x="12289" y="113617"/>
                    <a:pt x="13012" y="113617"/>
                  </a:cubicBezTo>
                  <a:cubicBezTo>
                    <a:pt x="14457" y="113617"/>
                    <a:pt x="15180" y="112978"/>
                    <a:pt x="16626" y="112978"/>
                  </a:cubicBezTo>
                  <a:cubicBezTo>
                    <a:pt x="18072" y="112978"/>
                    <a:pt x="18795" y="112978"/>
                    <a:pt x="18795" y="112978"/>
                  </a:cubicBezTo>
                  <a:cubicBezTo>
                    <a:pt x="19518" y="112340"/>
                    <a:pt x="20240" y="112340"/>
                    <a:pt x="20240" y="111702"/>
                  </a:cubicBezTo>
                  <a:cubicBezTo>
                    <a:pt x="20240" y="111063"/>
                    <a:pt x="19518" y="110425"/>
                    <a:pt x="19518" y="110425"/>
                  </a:cubicBezTo>
                  <a:cubicBezTo>
                    <a:pt x="19518" y="110425"/>
                    <a:pt x="18795" y="110425"/>
                    <a:pt x="18072" y="111063"/>
                  </a:cubicBezTo>
                  <a:cubicBezTo>
                    <a:pt x="17349" y="111063"/>
                    <a:pt x="16626" y="111702"/>
                    <a:pt x="15903" y="111702"/>
                  </a:cubicBezTo>
                  <a:cubicBezTo>
                    <a:pt x="15903" y="111702"/>
                    <a:pt x="15903" y="111702"/>
                    <a:pt x="15180" y="111702"/>
                  </a:cubicBezTo>
                  <a:cubicBezTo>
                    <a:pt x="14457" y="111702"/>
                    <a:pt x="13012" y="111063"/>
                    <a:pt x="13012" y="111063"/>
                  </a:cubicBezTo>
                  <a:cubicBezTo>
                    <a:pt x="12289" y="111063"/>
                    <a:pt x="11566" y="111063"/>
                    <a:pt x="10843" y="111063"/>
                  </a:cubicBezTo>
                  <a:cubicBezTo>
                    <a:pt x="10120" y="111063"/>
                    <a:pt x="10843" y="111063"/>
                    <a:pt x="9397" y="111063"/>
                  </a:cubicBezTo>
                  <a:cubicBezTo>
                    <a:pt x="7951" y="111702"/>
                    <a:pt x="8674" y="111702"/>
                    <a:pt x="6506" y="111702"/>
                  </a:cubicBezTo>
                  <a:cubicBezTo>
                    <a:pt x="5060" y="111702"/>
                    <a:pt x="2891" y="111063"/>
                    <a:pt x="2891" y="111063"/>
                  </a:cubicBezTo>
                  <a:cubicBezTo>
                    <a:pt x="2891" y="111063"/>
                    <a:pt x="1445" y="111702"/>
                    <a:pt x="2168" y="111063"/>
                  </a:cubicBezTo>
                  <a:cubicBezTo>
                    <a:pt x="3614" y="110425"/>
                    <a:pt x="5060" y="110425"/>
                    <a:pt x="5783" y="109787"/>
                  </a:cubicBezTo>
                  <a:cubicBezTo>
                    <a:pt x="6506" y="109787"/>
                    <a:pt x="7228" y="109787"/>
                    <a:pt x="6506" y="109148"/>
                  </a:cubicBezTo>
                  <a:cubicBezTo>
                    <a:pt x="6506" y="109148"/>
                    <a:pt x="6506" y="109148"/>
                    <a:pt x="6506" y="109148"/>
                  </a:cubicBezTo>
                  <a:cubicBezTo>
                    <a:pt x="7228" y="109148"/>
                    <a:pt x="8674" y="108510"/>
                    <a:pt x="8674" y="108510"/>
                  </a:cubicBezTo>
                  <a:cubicBezTo>
                    <a:pt x="10120" y="107872"/>
                    <a:pt x="10120" y="107872"/>
                    <a:pt x="10120" y="107872"/>
                  </a:cubicBezTo>
                  <a:cubicBezTo>
                    <a:pt x="10120" y="107872"/>
                    <a:pt x="10120" y="107234"/>
                    <a:pt x="11566" y="107234"/>
                  </a:cubicBezTo>
                  <a:cubicBezTo>
                    <a:pt x="13012" y="107234"/>
                    <a:pt x="13012" y="107234"/>
                    <a:pt x="13012" y="106595"/>
                  </a:cubicBezTo>
                  <a:cubicBezTo>
                    <a:pt x="13734" y="106595"/>
                    <a:pt x="13012" y="106595"/>
                    <a:pt x="13734" y="106595"/>
                  </a:cubicBezTo>
                  <a:cubicBezTo>
                    <a:pt x="15180" y="106595"/>
                    <a:pt x="15180" y="105957"/>
                    <a:pt x="15903" y="105957"/>
                  </a:cubicBezTo>
                  <a:cubicBezTo>
                    <a:pt x="17349" y="105957"/>
                    <a:pt x="18072" y="105319"/>
                    <a:pt x="17349" y="105319"/>
                  </a:cubicBezTo>
                  <a:cubicBezTo>
                    <a:pt x="16626" y="105319"/>
                    <a:pt x="16626" y="105319"/>
                    <a:pt x="15180" y="105319"/>
                  </a:cubicBezTo>
                  <a:cubicBezTo>
                    <a:pt x="14457" y="105957"/>
                    <a:pt x="13734" y="105319"/>
                    <a:pt x="13734" y="105957"/>
                  </a:cubicBezTo>
                  <a:cubicBezTo>
                    <a:pt x="13012" y="105957"/>
                    <a:pt x="11566" y="105957"/>
                    <a:pt x="11566" y="105957"/>
                  </a:cubicBezTo>
                  <a:cubicBezTo>
                    <a:pt x="10843" y="105319"/>
                    <a:pt x="10843" y="105319"/>
                    <a:pt x="10120" y="105957"/>
                  </a:cubicBezTo>
                  <a:cubicBezTo>
                    <a:pt x="9397" y="105957"/>
                    <a:pt x="10120" y="106595"/>
                    <a:pt x="8674" y="106595"/>
                  </a:cubicBezTo>
                  <a:cubicBezTo>
                    <a:pt x="7951" y="106595"/>
                    <a:pt x="7228" y="105957"/>
                    <a:pt x="7228" y="105957"/>
                  </a:cubicBezTo>
                  <a:cubicBezTo>
                    <a:pt x="7228" y="105957"/>
                    <a:pt x="5060" y="105957"/>
                    <a:pt x="5060" y="105319"/>
                  </a:cubicBezTo>
                  <a:cubicBezTo>
                    <a:pt x="5060" y="105319"/>
                    <a:pt x="5060" y="104042"/>
                    <a:pt x="5060" y="104042"/>
                  </a:cubicBezTo>
                  <a:cubicBezTo>
                    <a:pt x="5060" y="103404"/>
                    <a:pt x="5783" y="103404"/>
                    <a:pt x="5783" y="103404"/>
                  </a:cubicBezTo>
                  <a:cubicBezTo>
                    <a:pt x="5060" y="102765"/>
                    <a:pt x="5060" y="102765"/>
                    <a:pt x="5060" y="102765"/>
                  </a:cubicBezTo>
                  <a:cubicBezTo>
                    <a:pt x="5060" y="102765"/>
                    <a:pt x="5060" y="102765"/>
                    <a:pt x="4337" y="102765"/>
                  </a:cubicBezTo>
                  <a:cubicBezTo>
                    <a:pt x="4337" y="102765"/>
                    <a:pt x="2891" y="103404"/>
                    <a:pt x="2891" y="103404"/>
                  </a:cubicBezTo>
                  <a:cubicBezTo>
                    <a:pt x="2891" y="103404"/>
                    <a:pt x="2891" y="103404"/>
                    <a:pt x="2168" y="103404"/>
                  </a:cubicBezTo>
                  <a:cubicBezTo>
                    <a:pt x="2168" y="103404"/>
                    <a:pt x="1445" y="103404"/>
                    <a:pt x="1445" y="103404"/>
                  </a:cubicBezTo>
                  <a:cubicBezTo>
                    <a:pt x="1445" y="103404"/>
                    <a:pt x="1445" y="102765"/>
                    <a:pt x="1445" y="102127"/>
                  </a:cubicBezTo>
                  <a:cubicBezTo>
                    <a:pt x="1445" y="102127"/>
                    <a:pt x="1445" y="101489"/>
                    <a:pt x="1445" y="101489"/>
                  </a:cubicBezTo>
                  <a:cubicBezTo>
                    <a:pt x="1445" y="101489"/>
                    <a:pt x="1445" y="101489"/>
                    <a:pt x="1445" y="101489"/>
                  </a:cubicBezTo>
                  <a:cubicBezTo>
                    <a:pt x="1445" y="100851"/>
                    <a:pt x="0" y="100851"/>
                    <a:pt x="1445" y="100212"/>
                  </a:cubicBezTo>
                  <a:cubicBezTo>
                    <a:pt x="2891" y="100212"/>
                    <a:pt x="2891" y="100212"/>
                    <a:pt x="3614" y="100212"/>
                  </a:cubicBezTo>
                  <a:cubicBezTo>
                    <a:pt x="3614" y="100212"/>
                    <a:pt x="4337" y="100212"/>
                    <a:pt x="4337" y="100212"/>
                  </a:cubicBezTo>
                  <a:cubicBezTo>
                    <a:pt x="4337" y="100212"/>
                    <a:pt x="5060" y="99574"/>
                    <a:pt x="5060" y="99574"/>
                  </a:cubicBezTo>
                  <a:cubicBezTo>
                    <a:pt x="4337" y="98936"/>
                    <a:pt x="4337" y="98936"/>
                    <a:pt x="4337" y="98936"/>
                  </a:cubicBezTo>
                  <a:cubicBezTo>
                    <a:pt x="4337" y="98297"/>
                    <a:pt x="4337" y="98297"/>
                    <a:pt x="5060" y="98297"/>
                  </a:cubicBezTo>
                  <a:cubicBezTo>
                    <a:pt x="5783" y="98297"/>
                    <a:pt x="5783" y="97659"/>
                    <a:pt x="6506" y="97659"/>
                  </a:cubicBezTo>
                  <a:cubicBezTo>
                    <a:pt x="6506" y="97659"/>
                    <a:pt x="7228" y="97659"/>
                    <a:pt x="7951" y="97659"/>
                  </a:cubicBezTo>
                  <a:cubicBezTo>
                    <a:pt x="7951" y="97659"/>
                    <a:pt x="7951" y="97021"/>
                    <a:pt x="9397" y="97021"/>
                  </a:cubicBezTo>
                  <a:cubicBezTo>
                    <a:pt x="10120" y="97021"/>
                    <a:pt x="10843" y="97021"/>
                    <a:pt x="11566" y="97021"/>
                  </a:cubicBezTo>
                  <a:cubicBezTo>
                    <a:pt x="11566" y="97021"/>
                    <a:pt x="13012" y="97021"/>
                    <a:pt x="13012" y="97021"/>
                  </a:cubicBezTo>
                  <a:cubicBezTo>
                    <a:pt x="13012" y="97021"/>
                    <a:pt x="14457" y="96382"/>
                    <a:pt x="14457" y="96382"/>
                  </a:cubicBezTo>
                  <a:cubicBezTo>
                    <a:pt x="15180" y="95744"/>
                    <a:pt x="15180" y="95744"/>
                    <a:pt x="15180" y="95744"/>
                  </a:cubicBezTo>
                  <a:cubicBezTo>
                    <a:pt x="15180" y="95744"/>
                    <a:pt x="15180" y="95744"/>
                    <a:pt x="15903" y="95744"/>
                  </a:cubicBezTo>
                  <a:cubicBezTo>
                    <a:pt x="16626" y="95744"/>
                    <a:pt x="16626" y="95744"/>
                    <a:pt x="17349" y="95744"/>
                  </a:cubicBezTo>
                  <a:cubicBezTo>
                    <a:pt x="17349" y="95744"/>
                    <a:pt x="18072" y="95744"/>
                    <a:pt x="18072" y="95744"/>
                  </a:cubicBezTo>
                  <a:cubicBezTo>
                    <a:pt x="18072" y="95106"/>
                    <a:pt x="18072" y="95106"/>
                    <a:pt x="18072" y="94468"/>
                  </a:cubicBezTo>
                  <a:cubicBezTo>
                    <a:pt x="17349" y="94468"/>
                    <a:pt x="17349" y="94468"/>
                    <a:pt x="16626" y="94468"/>
                  </a:cubicBezTo>
                  <a:cubicBezTo>
                    <a:pt x="15903" y="95106"/>
                    <a:pt x="15180" y="95106"/>
                    <a:pt x="15180" y="94468"/>
                  </a:cubicBezTo>
                  <a:cubicBezTo>
                    <a:pt x="15180" y="94468"/>
                    <a:pt x="15180" y="94468"/>
                    <a:pt x="14457" y="94468"/>
                  </a:cubicBezTo>
                  <a:cubicBezTo>
                    <a:pt x="13734" y="94468"/>
                    <a:pt x="13012" y="94468"/>
                    <a:pt x="13012" y="94468"/>
                  </a:cubicBezTo>
                  <a:cubicBezTo>
                    <a:pt x="13012" y="94468"/>
                    <a:pt x="12289" y="94468"/>
                    <a:pt x="11566" y="94468"/>
                  </a:cubicBezTo>
                  <a:cubicBezTo>
                    <a:pt x="10120" y="93829"/>
                    <a:pt x="10120" y="93829"/>
                    <a:pt x="9397" y="93829"/>
                  </a:cubicBezTo>
                  <a:cubicBezTo>
                    <a:pt x="8674" y="93829"/>
                    <a:pt x="7951" y="93829"/>
                    <a:pt x="7951" y="93829"/>
                  </a:cubicBezTo>
                  <a:cubicBezTo>
                    <a:pt x="7951" y="93829"/>
                    <a:pt x="9397" y="93829"/>
                    <a:pt x="7228" y="93191"/>
                  </a:cubicBezTo>
                  <a:cubicBezTo>
                    <a:pt x="5060" y="92553"/>
                    <a:pt x="5060" y="92553"/>
                    <a:pt x="5060" y="92553"/>
                  </a:cubicBezTo>
                  <a:cubicBezTo>
                    <a:pt x="4337" y="92553"/>
                    <a:pt x="4337" y="92553"/>
                    <a:pt x="4337" y="92553"/>
                  </a:cubicBezTo>
                  <a:cubicBezTo>
                    <a:pt x="3614" y="92553"/>
                    <a:pt x="3614" y="93191"/>
                    <a:pt x="2891" y="92553"/>
                  </a:cubicBezTo>
                  <a:cubicBezTo>
                    <a:pt x="2891" y="92553"/>
                    <a:pt x="2168" y="91914"/>
                    <a:pt x="2168" y="91914"/>
                  </a:cubicBezTo>
                  <a:cubicBezTo>
                    <a:pt x="2168" y="91276"/>
                    <a:pt x="2168" y="91276"/>
                    <a:pt x="2891" y="90638"/>
                  </a:cubicBezTo>
                  <a:cubicBezTo>
                    <a:pt x="2891" y="90638"/>
                    <a:pt x="4337" y="90000"/>
                    <a:pt x="4337" y="90000"/>
                  </a:cubicBezTo>
                  <a:cubicBezTo>
                    <a:pt x="4337" y="90638"/>
                    <a:pt x="4337" y="90638"/>
                    <a:pt x="4337" y="90638"/>
                  </a:cubicBezTo>
                  <a:cubicBezTo>
                    <a:pt x="4337" y="90638"/>
                    <a:pt x="4337" y="91276"/>
                    <a:pt x="5060" y="90638"/>
                  </a:cubicBezTo>
                  <a:cubicBezTo>
                    <a:pt x="5060" y="90638"/>
                    <a:pt x="5783" y="89361"/>
                    <a:pt x="5783" y="89361"/>
                  </a:cubicBezTo>
                  <a:cubicBezTo>
                    <a:pt x="5783" y="89361"/>
                    <a:pt x="5060" y="89361"/>
                    <a:pt x="5783" y="88723"/>
                  </a:cubicBezTo>
                  <a:cubicBezTo>
                    <a:pt x="6506" y="88723"/>
                    <a:pt x="6506" y="88723"/>
                    <a:pt x="7228" y="88723"/>
                  </a:cubicBezTo>
                  <a:cubicBezTo>
                    <a:pt x="7228" y="88723"/>
                    <a:pt x="8674" y="88723"/>
                    <a:pt x="9397" y="88723"/>
                  </a:cubicBezTo>
                  <a:cubicBezTo>
                    <a:pt x="9397" y="88085"/>
                    <a:pt x="10843" y="88085"/>
                    <a:pt x="10843" y="88085"/>
                  </a:cubicBezTo>
                  <a:cubicBezTo>
                    <a:pt x="10843" y="88085"/>
                    <a:pt x="11566" y="88723"/>
                    <a:pt x="10843" y="89361"/>
                  </a:cubicBezTo>
                  <a:cubicBezTo>
                    <a:pt x="10843" y="89361"/>
                    <a:pt x="10120" y="89361"/>
                    <a:pt x="10843" y="90000"/>
                  </a:cubicBezTo>
                  <a:cubicBezTo>
                    <a:pt x="11566" y="90000"/>
                    <a:pt x="12289" y="90000"/>
                    <a:pt x="12289" y="90000"/>
                  </a:cubicBezTo>
                  <a:cubicBezTo>
                    <a:pt x="12289" y="90000"/>
                    <a:pt x="13012" y="89361"/>
                    <a:pt x="13012" y="89361"/>
                  </a:cubicBezTo>
                  <a:cubicBezTo>
                    <a:pt x="13734" y="89361"/>
                    <a:pt x="13012" y="88723"/>
                    <a:pt x="13734" y="88723"/>
                  </a:cubicBezTo>
                  <a:cubicBezTo>
                    <a:pt x="14457" y="89361"/>
                    <a:pt x="14457" y="90000"/>
                    <a:pt x="14457" y="90000"/>
                  </a:cubicBezTo>
                  <a:cubicBezTo>
                    <a:pt x="14457" y="90000"/>
                    <a:pt x="14457" y="90000"/>
                    <a:pt x="14457" y="90638"/>
                  </a:cubicBezTo>
                  <a:cubicBezTo>
                    <a:pt x="15180" y="90638"/>
                    <a:pt x="15903" y="90638"/>
                    <a:pt x="15903" y="91276"/>
                  </a:cubicBezTo>
                  <a:cubicBezTo>
                    <a:pt x="15903" y="91276"/>
                    <a:pt x="15180" y="91276"/>
                    <a:pt x="16626" y="91914"/>
                  </a:cubicBezTo>
                  <a:cubicBezTo>
                    <a:pt x="17349" y="91914"/>
                    <a:pt x="18072" y="91914"/>
                    <a:pt x="18072" y="91914"/>
                  </a:cubicBezTo>
                  <a:cubicBezTo>
                    <a:pt x="18072" y="91914"/>
                    <a:pt x="18795" y="91914"/>
                    <a:pt x="18795" y="91276"/>
                  </a:cubicBezTo>
                  <a:cubicBezTo>
                    <a:pt x="18072" y="90638"/>
                    <a:pt x="18072" y="90000"/>
                    <a:pt x="18072" y="90000"/>
                  </a:cubicBezTo>
                  <a:cubicBezTo>
                    <a:pt x="18072" y="90000"/>
                    <a:pt x="18795" y="89361"/>
                    <a:pt x="18795" y="89361"/>
                  </a:cubicBezTo>
                  <a:cubicBezTo>
                    <a:pt x="18795" y="88723"/>
                    <a:pt x="18795" y="87446"/>
                    <a:pt x="18795" y="87446"/>
                  </a:cubicBezTo>
                  <a:cubicBezTo>
                    <a:pt x="18795" y="87446"/>
                    <a:pt x="19518" y="86808"/>
                    <a:pt x="18795" y="86808"/>
                  </a:cubicBezTo>
                  <a:cubicBezTo>
                    <a:pt x="18072" y="86808"/>
                    <a:pt x="18072" y="86170"/>
                    <a:pt x="18072" y="86170"/>
                  </a:cubicBezTo>
                  <a:cubicBezTo>
                    <a:pt x="17349" y="86170"/>
                    <a:pt x="17349" y="85531"/>
                    <a:pt x="17349" y="85531"/>
                  </a:cubicBezTo>
                  <a:cubicBezTo>
                    <a:pt x="19518" y="85531"/>
                    <a:pt x="19518" y="85531"/>
                    <a:pt x="19518" y="85531"/>
                  </a:cubicBezTo>
                  <a:cubicBezTo>
                    <a:pt x="20963" y="85531"/>
                    <a:pt x="20963" y="85531"/>
                    <a:pt x="20963" y="85531"/>
                  </a:cubicBezTo>
                  <a:cubicBezTo>
                    <a:pt x="22409" y="84893"/>
                    <a:pt x="22409" y="84893"/>
                    <a:pt x="22409" y="84893"/>
                  </a:cubicBezTo>
                  <a:cubicBezTo>
                    <a:pt x="22409" y="84893"/>
                    <a:pt x="23132" y="85531"/>
                    <a:pt x="23132" y="84893"/>
                  </a:cubicBezTo>
                  <a:cubicBezTo>
                    <a:pt x="23132" y="84893"/>
                    <a:pt x="23855" y="84255"/>
                    <a:pt x="23855" y="84255"/>
                  </a:cubicBezTo>
                  <a:cubicBezTo>
                    <a:pt x="25301" y="84255"/>
                    <a:pt x="25301" y="84255"/>
                    <a:pt x="25301" y="84255"/>
                  </a:cubicBezTo>
                  <a:cubicBezTo>
                    <a:pt x="25301" y="84255"/>
                    <a:pt x="24578" y="83617"/>
                    <a:pt x="24578" y="83617"/>
                  </a:cubicBezTo>
                  <a:cubicBezTo>
                    <a:pt x="25301" y="83617"/>
                    <a:pt x="25301" y="82340"/>
                    <a:pt x="25301" y="82340"/>
                  </a:cubicBezTo>
                  <a:cubicBezTo>
                    <a:pt x="25301" y="82340"/>
                    <a:pt x="26024" y="81702"/>
                    <a:pt x="26746" y="82340"/>
                  </a:cubicBezTo>
                  <a:cubicBezTo>
                    <a:pt x="26746" y="82340"/>
                    <a:pt x="28192" y="82340"/>
                    <a:pt x="28915" y="82978"/>
                  </a:cubicBezTo>
                  <a:cubicBezTo>
                    <a:pt x="28915" y="82978"/>
                    <a:pt x="29638" y="82978"/>
                    <a:pt x="29638" y="82978"/>
                  </a:cubicBezTo>
                  <a:cubicBezTo>
                    <a:pt x="31084" y="82978"/>
                    <a:pt x="31084" y="82978"/>
                    <a:pt x="31084" y="82978"/>
                  </a:cubicBezTo>
                  <a:cubicBezTo>
                    <a:pt x="31084" y="82978"/>
                    <a:pt x="32530" y="83617"/>
                    <a:pt x="32530" y="83617"/>
                  </a:cubicBezTo>
                  <a:cubicBezTo>
                    <a:pt x="32530" y="83617"/>
                    <a:pt x="33975" y="84255"/>
                    <a:pt x="34698" y="84255"/>
                  </a:cubicBezTo>
                  <a:cubicBezTo>
                    <a:pt x="34698" y="84255"/>
                    <a:pt x="35421" y="83617"/>
                    <a:pt x="35421" y="83617"/>
                  </a:cubicBezTo>
                  <a:cubicBezTo>
                    <a:pt x="35421" y="83617"/>
                    <a:pt x="35421" y="82978"/>
                    <a:pt x="36144" y="83617"/>
                  </a:cubicBezTo>
                  <a:cubicBezTo>
                    <a:pt x="36867" y="83617"/>
                    <a:pt x="37590" y="83617"/>
                    <a:pt x="38313" y="83617"/>
                  </a:cubicBezTo>
                  <a:cubicBezTo>
                    <a:pt x="38313" y="82978"/>
                    <a:pt x="38313" y="82978"/>
                    <a:pt x="39036" y="82978"/>
                  </a:cubicBezTo>
                  <a:cubicBezTo>
                    <a:pt x="39759" y="83617"/>
                    <a:pt x="40481" y="83617"/>
                    <a:pt x="40481" y="83617"/>
                  </a:cubicBezTo>
                  <a:cubicBezTo>
                    <a:pt x="41204" y="83617"/>
                    <a:pt x="42650" y="82978"/>
                    <a:pt x="42650" y="82978"/>
                  </a:cubicBezTo>
                  <a:cubicBezTo>
                    <a:pt x="42650" y="82978"/>
                    <a:pt x="41927" y="82340"/>
                    <a:pt x="42650" y="82978"/>
                  </a:cubicBezTo>
                  <a:cubicBezTo>
                    <a:pt x="43373" y="82978"/>
                    <a:pt x="44096" y="82340"/>
                    <a:pt x="44096" y="82340"/>
                  </a:cubicBezTo>
                  <a:cubicBezTo>
                    <a:pt x="42650" y="81702"/>
                    <a:pt x="42650" y="81702"/>
                    <a:pt x="42650" y="81702"/>
                  </a:cubicBezTo>
                  <a:cubicBezTo>
                    <a:pt x="42650" y="81702"/>
                    <a:pt x="43373" y="80425"/>
                    <a:pt x="43373" y="80425"/>
                  </a:cubicBezTo>
                  <a:cubicBezTo>
                    <a:pt x="43373" y="80425"/>
                    <a:pt x="42650" y="79787"/>
                    <a:pt x="42650" y="79787"/>
                  </a:cubicBezTo>
                  <a:cubicBezTo>
                    <a:pt x="42650" y="79787"/>
                    <a:pt x="41927" y="79787"/>
                    <a:pt x="41927" y="80425"/>
                  </a:cubicBezTo>
                  <a:cubicBezTo>
                    <a:pt x="41927" y="81063"/>
                    <a:pt x="41204" y="81702"/>
                    <a:pt x="40481" y="81702"/>
                  </a:cubicBezTo>
                  <a:cubicBezTo>
                    <a:pt x="40481" y="81702"/>
                    <a:pt x="39759" y="82340"/>
                    <a:pt x="39036" y="82340"/>
                  </a:cubicBezTo>
                  <a:cubicBezTo>
                    <a:pt x="39036" y="82340"/>
                    <a:pt x="38313" y="82978"/>
                    <a:pt x="38313" y="82978"/>
                  </a:cubicBezTo>
                  <a:cubicBezTo>
                    <a:pt x="38313" y="82978"/>
                    <a:pt x="38313" y="83617"/>
                    <a:pt x="36867" y="82978"/>
                  </a:cubicBezTo>
                  <a:cubicBezTo>
                    <a:pt x="36144" y="82340"/>
                    <a:pt x="35421" y="82340"/>
                    <a:pt x="35421" y="82340"/>
                  </a:cubicBezTo>
                  <a:cubicBezTo>
                    <a:pt x="35421" y="82340"/>
                    <a:pt x="35421" y="81702"/>
                    <a:pt x="34698" y="82340"/>
                  </a:cubicBezTo>
                  <a:cubicBezTo>
                    <a:pt x="33253" y="82340"/>
                    <a:pt x="33975" y="82978"/>
                    <a:pt x="33253" y="82340"/>
                  </a:cubicBezTo>
                  <a:cubicBezTo>
                    <a:pt x="32530" y="82340"/>
                    <a:pt x="30361" y="82340"/>
                    <a:pt x="30361" y="81702"/>
                  </a:cubicBezTo>
                  <a:cubicBezTo>
                    <a:pt x="30361" y="81702"/>
                    <a:pt x="29638" y="81063"/>
                    <a:pt x="29638" y="81063"/>
                  </a:cubicBezTo>
                  <a:cubicBezTo>
                    <a:pt x="29638" y="81063"/>
                    <a:pt x="29638" y="79787"/>
                    <a:pt x="29638" y="79787"/>
                  </a:cubicBezTo>
                  <a:cubicBezTo>
                    <a:pt x="28915" y="80425"/>
                    <a:pt x="28192" y="81063"/>
                    <a:pt x="27469" y="81063"/>
                  </a:cubicBezTo>
                  <a:cubicBezTo>
                    <a:pt x="27469" y="81063"/>
                    <a:pt x="26024" y="81063"/>
                    <a:pt x="25301" y="81063"/>
                  </a:cubicBezTo>
                  <a:cubicBezTo>
                    <a:pt x="25301" y="81063"/>
                    <a:pt x="25301" y="81063"/>
                    <a:pt x="24578" y="81063"/>
                  </a:cubicBezTo>
                  <a:cubicBezTo>
                    <a:pt x="23855" y="81063"/>
                    <a:pt x="23132" y="81702"/>
                    <a:pt x="22409" y="81702"/>
                  </a:cubicBezTo>
                  <a:cubicBezTo>
                    <a:pt x="21686" y="81702"/>
                    <a:pt x="21686" y="81063"/>
                    <a:pt x="20963" y="81063"/>
                  </a:cubicBezTo>
                  <a:cubicBezTo>
                    <a:pt x="20240" y="81063"/>
                    <a:pt x="20240" y="81063"/>
                    <a:pt x="20240" y="81063"/>
                  </a:cubicBezTo>
                  <a:cubicBezTo>
                    <a:pt x="20240" y="81063"/>
                    <a:pt x="20240" y="81063"/>
                    <a:pt x="20240" y="81063"/>
                  </a:cubicBezTo>
                  <a:cubicBezTo>
                    <a:pt x="20240" y="81063"/>
                    <a:pt x="20240" y="79787"/>
                    <a:pt x="21686" y="79787"/>
                  </a:cubicBezTo>
                  <a:cubicBezTo>
                    <a:pt x="22409" y="79148"/>
                    <a:pt x="21686" y="79148"/>
                    <a:pt x="23132" y="79148"/>
                  </a:cubicBezTo>
                  <a:cubicBezTo>
                    <a:pt x="24578" y="79148"/>
                    <a:pt x="25301" y="79148"/>
                    <a:pt x="26024" y="78510"/>
                  </a:cubicBezTo>
                  <a:cubicBezTo>
                    <a:pt x="26746" y="77872"/>
                    <a:pt x="26746" y="77234"/>
                    <a:pt x="27469" y="77234"/>
                  </a:cubicBezTo>
                  <a:cubicBezTo>
                    <a:pt x="28192" y="76595"/>
                    <a:pt x="28192" y="75957"/>
                    <a:pt x="28915" y="76595"/>
                  </a:cubicBezTo>
                  <a:cubicBezTo>
                    <a:pt x="30361" y="76595"/>
                    <a:pt x="31807" y="76595"/>
                    <a:pt x="31807" y="76595"/>
                  </a:cubicBezTo>
                  <a:cubicBezTo>
                    <a:pt x="31807" y="76595"/>
                    <a:pt x="31807" y="75957"/>
                    <a:pt x="31807" y="75319"/>
                  </a:cubicBezTo>
                  <a:cubicBezTo>
                    <a:pt x="31807" y="75319"/>
                    <a:pt x="31807" y="75319"/>
                    <a:pt x="31807" y="74680"/>
                  </a:cubicBezTo>
                  <a:cubicBezTo>
                    <a:pt x="32530" y="74680"/>
                    <a:pt x="32530" y="74042"/>
                    <a:pt x="32530" y="74042"/>
                  </a:cubicBezTo>
                  <a:cubicBezTo>
                    <a:pt x="33253" y="74042"/>
                    <a:pt x="33253" y="73404"/>
                    <a:pt x="33975" y="73404"/>
                  </a:cubicBezTo>
                  <a:cubicBezTo>
                    <a:pt x="33975" y="72765"/>
                    <a:pt x="34698" y="72765"/>
                    <a:pt x="34698" y="72127"/>
                  </a:cubicBezTo>
                  <a:cubicBezTo>
                    <a:pt x="35421" y="72127"/>
                    <a:pt x="35421" y="71489"/>
                    <a:pt x="35421" y="71489"/>
                  </a:cubicBezTo>
                  <a:cubicBezTo>
                    <a:pt x="35421" y="71489"/>
                    <a:pt x="33253" y="70851"/>
                    <a:pt x="33253" y="70851"/>
                  </a:cubicBezTo>
                  <a:cubicBezTo>
                    <a:pt x="33975" y="70212"/>
                    <a:pt x="33975" y="70212"/>
                    <a:pt x="33975" y="70212"/>
                  </a:cubicBezTo>
                  <a:cubicBezTo>
                    <a:pt x="36867" y="68297"/>
                    <a:pt x="36867" y="68297"/>
                    <a:pt x="36867" y="68297"/>
                  </a:cubicBezTo>
                  <a:cubicBezTo>
                    <a:pt x="36867" y="68297"/>
                    <a:pt x="37590" y="67021"/>
                    <a:pt x="37590" y="67021"/>
                  </a:cubicBezTo>
                  <a:cubicBezTo>
                    <a:pt x="38313" y="67021"/>
                    <a:pt x="39036" y="66382"/>
                    <a:pt x="39036" y="66382"/>
                  </a:cubicBezTo>
                  <a:cubicBezTo>
                    <a:pt x="39759" y="65106"/>
                    <a:pt x="39759" y="65106"/>
                    <a:pt x="39759" y="65106"/>
                  </a:cubicBezTo>
                  <a:cubicBezTo>
                    <a:pt x="39759" y="65106"/>
                    <a:pt x="39759" y="64468"/>
                    <a:pt x="40481" y="65106"/>
                  </a:cubicBezTo>
                  <a:cubicBezTo>
                    <a:pt x="41204" y="65106"/>
                    <a:pt x="41204" y="65744"/>
                    <a:pt x="41927" y="65744"/>
                  </a:cubicBezTo>
                  <a:cubicBezTo>
                    <a:pt x="42650" y="66382"/>
                    <a:pt x="44819" y="66382"/>
                    <a:pt x="44819" y="66382"/>
                  </a:cubicBezTo>
                  <a:cubicBezTo>
                    <a:pt x="44096" y="65106"/>
                    <a:pt x="44096" y="65106"/>
                    <a:pt x="44096" y="65106"/>
                  </a:cubicBezTo>
                  <a:cubicBezTo>
                    <a:pt x="46987" y="65106"/>
                    <a:pt x="46987" y="65106"/>
                    <a:pt x="46987" y="65106"/>
                  </a:cubicBezTo>
                  <a:cubicBezTo>
                    <a:pt x="46987" y="66382"/>
                    <a:pt x="46987" y="66382"/>
                    <a:pt x="46987" y="66382"/>
                  </a:cubicBezTo>
                  <a:cubicBezTo>
                    <a:pt x="48433" y="65744"/>
                    <a:pt x="48433" y="65744"/>
                    <a:pt x="48433" y="65744"/>
                  </a:cubicBezTo>
                  <a:cubicBezTo>
                    <a:pt x="47710" y="64468"/>
                    <a:pt x="47710" y="64468"/>
                    <a:pt x="47710" y="64468"/>
                  </a:cubicBezTo>
                  <a:cubicBezTo>
                    <a:pt x="47710" y="64468"/>
                    <a:pt x="49156" y="64468"/>
                    <a:pt x="49156" y="64468"/>
                  </a:cubicBezTo>
                  <a:cubicBezTo>
                    <a:pt x="48433" y="64468"/>
                    <a:pt x="46987" y="63191"/>
                    <a:pt x="46987" y="63191"/>
                  </a:cubicBezTo>
                  <a:cubicBezTo>
                    <a:pt x="47710" y="61914"/>
                    <a:pt x="47710" y="61914"/>
                    <a:pt x="47710" y="61914"/>
                  </a:cubicBezTo>
                  <a:cubicBezTo>
                    <a:pt x="46265" y="61914"/>
                    <a:pt x="46265" y="61914"/>
                    <a:pt x="46265" y="61914"/>
                  </a:cubicBezTo>
                  <a:cubicBezTo>
                    <a:pt x="46265" y="61914"/>
                    <a:pt x="43373" y="61914"/>
                    <a:pt x="42650" y="61914"/>
                  </a:cubicBezTo>
                  <a:cubicBezTo>
                    <a:pt x="41927" y="61276"/>
                    <a:pt x="41927" y="61276"/>
                    <a:pt x="41204" y="61276"/>
                  </a:cubicBezTo>
                  <a:cubicBezTo>
                    <a:pt x="40481" y="61276"/>
                    <a:pt x="39759" y="61276"/>
                    <a:pt x="39036" y="61276"/>
                  </a:cubicBezTo>
                  <a:cubicBezTo>
                    <a:pt x="38313" y="61276"/>
                    <a:pt x="37590" y="61276"/>
                    <a:pt x="36867" y="61276"/>
                  </a:cubicBezTo>
                  <a:cubicBezTo>
                    <a:pt x="36867" y="61276"/>
                    <a:pt x="36144" y="61276"/>
                    <a:pt x="35421" y="61276"/>
                  </a:cubicBezTo>
                  <a:cubicBezTo>
                    <a:pt x="35421" y="60638"/>
                    <a:pt x="36144" y="60000"/>
                    <a:pt x="35421" y="60000"/>
                  </a:cubicBezTo>
                  <a:cubicBezTo>
                    <a:pt x="34698" y="60000"/>
                    <a:pt x="33975" y="58723"/>
                    <a:pt x="33253" y="59361"/>
                  </a:cubicBezTo>
                  <a:cubicBezTo>
                    <a:pt x="33253" y="59361"/>
                    <a:pt x="33253" y="59361"/>
                    <a:pt x="32530" y="59361"/>
                  </a:cubicBezTo>
                  <a:cubicBezTo>
                    <a:pt x="32530" y="60000"/>
                    <a:pt x="31807" y="60000"/>
                    <a:pt x="31807" y="60000"/>
                  </a:cubicBezTo>
                  <a:cubicBezTo>
                    <a:pt x="31084" y="59361"/>
                    <a:pt x="31084" y="60000"/>
                    <a:pt x="31807" y="59361"/>
                  </a:cubicBezTo>
                  <a:cubicBezTo>
                    <a:pt x="31807" y="58723"/>
                    <a:pt x="31084" y="57446"/>
                    <a:pt x="31807" y="57446"/>
                  </a:cubicBezTo>
                  <a:cubicBezTo>
                    <a:pt x="32530" y="58085"/>
                    <a:pt x="32530" y="58085"/>
                    <a:pt x="33253" y="58085"/>
                  </a:cubicBezTo>
                  <a:cubicBezTo>
                    <a:pt x="33253" y="58085"/>
                    <a:pt x="33975" y="58085"/>
                    <a:pt x="33975" y="58085"/>
                  </a:cubicBezTo>
                  <a:cubicBezTo>
                    <a:pt x="33975" y="57446"/>
                    <a:pt x="34698" y="56170"/>
                    <a:pt x="34698" y="56170"/>
                  </a:cubicBezTo>
                  <a:cubicBezTo>
                    <a:pt x="34698" y="56170"/>
                    <a:pt x="36867" y="56808"/>
                    <a:pt x="36144" y="56170"/>
                  </a:cubicBezTo>
                  <a:cubicBezTo>
                    <a:pt x="35421" y="55531"/>
                    <a:pt x="33975" y="54893"/>
                    <a:pt x="33975" y="54893"/>
                  </a:cubicBezTo>
                  <a:cubicBezTo>
                    <a:pt x="33975" y="54893"/>
                    <a:pt x="33253" y="54893"/>
                    <a:pt x="33253" y="55531"/>
                  </a:cubicBezTo>
                  <a:cubicBezTo>
                    <a:pt x="32530" y="56170"/>
                    <a:pt x="33253" y="56170"/>
                    <a:pt x="32530" y="56808"/>
                  </a:cubicBezTo>
                  <a:cubicBezTo>
                    <a:pt x="31807" y="56808"/>
                    <a:pt x="31807" y="56808"/>
                    <a:pt x="31084" y="56808"/>
                  </a:cubicBezTo>
                  <a:cubicBezTo>
                    <a:pt x="31084" y="56808"/>
                    <a:pt x="31084" y="56808"/>
                    <a:pt x="30361" y="56808"/>
                  </a:cubicBezTo>
                  <a:cubicBezTo>
                    <a:pt x="30361" y="56808"/>
                    <a:pt x="28915" y="56808"/>
                    <a:pt x="28915" y="56170"/>
                  </a:cubicBezTo>
                  <a:cubicBezTo>
                    <a:pt x="28915" y="56170"/>
                    <a:pt x="28915" y="56170"/>
                    <a:pt x="28915" y="55531"/>
                  </a:cubicBezTo>
                  <a:cubicBezTo>
                    <a:pt x="28915" y="54893"/>
                    <a:pt x="28915" y="54255"/>
                    <a:pt x="30361" y="54255"/>
                  </a:cubicBezTo>
                  <a:cubicBezTo>
                    <a:pt x="31084" y="54255"/>
                    <a:pt x="31084" y="54893"/>
                    <a:pt x="31084" y="54255"/>
                  </a:cubicBezTo>
                  <a:cubicBezTo>
                    <a:pt x="31084" y="54255"/>
                    <a:pt x="31084" y="53617"/>
                    <a:pt x="30361" y="53617"/>
                  </a:cubicBezTo>
                  <a:cubicBezTo>
                    <a:pt x="30361" y="52978"/>
                    <a:pt x="30361" y="52978"/>
                    <a:pt x="29638" y="52978"/>
                  </a:cubicBezTo>
                  <a:cubicBezTo>
                    <a:pt x="28915" y="52978"/>
                    <a:pt x="27469" y="53617"/>
                    <a:pt x="27469" y="53617"/>
                  </a:cubicBezTo>
                  <a:cubicBezTo>
                    <a:pt x="27469" y="53617"/>
                    <a:pt x="28192" y="53617"/>
                    <a:pt x="26746" y="53617"/>
                  </a:cubicBezTo>
                  <a:cubicBezTo>
                    <a:pt x="26024" y="52978"/>
                    <a:pt x="26746" y="52978"/>
                    <a:pt x="26024" y="52340"/>
                  </a:cubicBezTo>
                  <a:cubicBezTo>
                    <a:pt x="26024" y="51702"/>
                    <a:pt x="26024" y="51702"/>
                    <a:pt x="25301" y="51702"/>
                  </a:cubicBezTo>
                  <a:cubicBezTo>
                    <a:pt x="25301" y="51702"/>
                    <a:pt x="25301" y="51702"/>
                    <a:pt x="24578" y="51702"/>
                  </a:cubicBezTo>
                  <a:cubicBezTo>
                    <a:pt x="23855" y="51063"/>
                    <a:pt x="23132" y="51063"/>
                    <a:pt x="23132" y="50425"/>
                  </a:cubicBezTo>
                  <a:cubicBezTo>
                    <a:pt x="23132" y="49787"/>
                    <a:pt x="23132" y="49148"/>
                    <a:pt x="23855" y="49787"/>
                  </a:cubicBezTo>
                  <a:cubicBezTo>
                    <a:pt x="24578" y="49787"/>
                    <a:pt x="23855" y="49148"/>
                    <a:pt x="24578" y="49787"/>
                  </a:cubicBezTo>
                  <a:cubicBezTo>
                    <a:pt x="26024" y="50425"/>
                    <a:pt x="26024" y="50425"/>
                    <a:pt x="26024" y="50425"/>
                  </a:cubicBezTo>
                  <a:cubicBezTo>
                    <a:pt x="26024" y="50425"/>
                    <a:pt x="26746" y="50425"/>
                    <a:pt x="26024" y="49787"/>
                  </a:cubicBezTo>
                  <a:cubicBezTo>
                    <a:pt x="26024" y="49148"/>
                    <a:pt x="25301" y="48510"/>
                    <a:pt x="25301" y="48510"/>
                  </a:cubicBezTo>
                  <a:cubicBezTo>
                    <a:pt x="25301" y="48510"/>
                    <a:pt x="24578" y="48510"/>
                    <a:pt x="24578" y="47872"/>
                  </a:cubicBezTo>
                  <a:cubicBezTo>
                    <a:pt x="24578" y="47234"/>
                    <a:pt x="24578" y="47234"/>
                    <a:pt x="23855" y="46595"/>
                  </a:cubicBezTo>
                  <a:cubicBezTo>
                    <a:pt x="23855" y="46595"/>
                    <a:pt x="24578" y="46595"/>
                    <a:pt x="24578" y="46595"/>
                  </a:cubicBezTo>
                  <a:cubicBezTo>
                    <a:pt x="25301" y="46595"/>
                    <a:pt x="24578" y="46595"/>
                    <a:pt x="25301" y="46595"/>
                  </a:cubicBezTo>
                  <a:cubicBezTo>
                    <a:pt x="26746" y="46595"/>
                    <a:pt x="26024" y="46595"/>
                    <a:pt x="26746" y="46595"/>
                  </a:cubicBezTo>
                  <a:cubicBezTo>
                    <a:pt x="26746" y="46595"/>
                    <a:pt x="27469" y="46595"/>
                    <a:pt x="27469" y="46595"/>
                  </a:cubicBezTo>
                  <a:cubicBezTo>
                    <a:pt x="27469" y="47234"/>
                    <a:pt x="28192" y="45957"/>
                    <a:pt x="28192" y="45957"/>
                  </a:cubicBezTo>
                  <a:cubicBezTo>
                    <a:pt x="28192" y="45957"/>
                    <a:pt x="27469" y="45319"/>
                    <a:pt x="28192" y="45319"/>
                  </a:cubicBezTo>
                  <a:cubicBezTo>
                    <a:pt x="28915" y="45319"/>
                    <a:pt x="28915" y="45957"/>
                    <a:pt x="29638" y="45957"/>
                  </a:cubicBezTo>
                  <a:cubicBezTo>
                    <a:pt x="31084" y="45957"/>
                    <a:pt x="31084" y="46595"/>
                    <a:pt x="31807" y="46595"/>
                  </a:cubicBezTo>
                  <a:cubicBezTo>
                    <a:pt x="31807" y="45957"/>
                    <a:pt x="32530" y="46595"/>
                    <a:pt x="32530" y="45957"/>
                  </a:cubicBezTo>
                  <a:cubicBezTo>
                    <a:pt x="31807" y="45319"/>
                    <a:pt x="31807" y="45957"/>
                    <a:pt x="31807" y="45319"/>
                  </a:cubicBezTo>
                  <a:cubicBezTo>
                    <a:pt x="31084" y="44680"/>
                    <a:pt x="31084" y="45319"/>
                    <a:pt x="31084" y="44042"/>
                  </a:cubicBezTo>
                  <a:cubicBezTo>
                    <a:pt x="31807" y="43404"/>
                    <a:pt x="31807" y="42765"/>
                    <a:pt x="31807" y="42765"/>
                  </a:cubicBezTo>
                  <a:cubicBezTo>
                    <a:pt x="31807" y="42127"/>
                    <a:pt x="31807" y="42127"/>
                    <a:pt x="31807" y="42127"/>
                  </a:cubicBezTo>
                  <a:cubicBezTo>
                    <a:pt x="33253" y="40851"/>
                    <a:pt x="33253" y="40851"/>
                    <a:pt x="33253" y="40851"/>
                  </a:cubicBezTo>
                  <a:cubicBezTo>
                    <a:pt x="33253" y="40851"/>
                    <a:pt x="33975" y="40851"/>
                    <a:pt x="34698" y="40851"/>
                  </a:cubicBezTo>
                  <a:cubicBezTo>
                    <a:pt x="36144" y="40851"/>
                    <a:pt x="36867" y="41489"/>
                    <a:pt x="37590" y="41489"/>
                  </a:cubicBezTo>
                  <a:cubicBezTo>
                    <a:pt x="39036" y="41489"/>
                    <a:pt x="39759" y="41489"/>
                    <a:pt x="39759" y="41489"/>
                  </a:cubicBezTo>
                  <a:cubicBezTo>
                    <a:pt x="39036" y="40851"/>
                    <a:pt x="39036" y="40851"/>
                    <a:pt x="39036" y="40851"/>
                  </a:cubicBezTo>
                  <a:cubicBezTo>
                    <a:pt x="39036" y="40851"/>
                    <a:pt x="39036" y="40851"/>
                    <a:pt x="39036" y="40212"/>
                  </a:cubicBezTo>
                  <a:cubicBezTo>
                    <a:pt x="39759" y="40212"/>
                    <a:pt x="39759" y="40212"/>
                    <a:pt x="40481" y="40212"/>
                  </a:cubicBezTo>
                  <a:cubicBezTo>
                    <a:pt x="40481" y="40212"/>
                    <a:pt x="41204" y="38936"/>
                    <a:pt x="41204" y="38936"/>
                  </a:cubicBezTo>
                  <a:cubicBezTo>
                    <a:pt x="40481" y="38297"/>
                    <a:pt x="40481" y="38297"/>
                    <a:pt x="39759" y="37659"/>
                  </a:cubicBezTo>
                  <a:cubicBezTo>
                    <a:pt x="38313" y="37659"/>
                    <a:pt x="36144" y="37659"/>
                    <a:pt x="36144" y="37659"/>
                  </a:cubicBezTo>
                  <a:cubicBezTo>
                    <a:pt x="36144" y="37659"/>
                    <a:pt x="35421" y="37659"/>
                    <a:pt x="34698" y="37659"/>
                  </a:cubicBezTo>
                  <a:cubicBezTo>
                    <a:pt x="33975" y="37659"/>
                    <a:pt x="32530" y="37659"/>
                    <a:pt x="32530" y="37021"/>
                  </a:cubicBezTo>
                  <a:cubicBezTo>
                    <a:pt x="31807" y="37021"/>
                    <a:pt x="31807" y="37021"/>
                    <a:pt x="31807" y="35744"/>
                  </a:cubicBezTo>
                  <a:cubicBezTo>
                    <a:pt x="31807" y="35106"/>
                    <a:pt x="31084" y="35106"/>
                    <a:pt x="31084" y="35106"/>
                  </a:cubicBezTo>
                  <a:cubicBezTo>
                    <a:pt x="31807" y="33829"/>
                    <a:pt x="31807" y="33829"/>
                    <a:pt x="31807" y="33829"/>
                  </a:cubicBezTo>
                  <a:cubicBezTo>
                    <a:pt x="31807" y="33829"/>
                    <a:pt x="31084" y="33191"/>
                    <a:pt x="31084" y="33191"/>
                  </a:cubicBezTo>
                  <a:cubicBezTo>
                    <a:pt x="30361" y="33191"/>
                    <a:pt x="30361" y="33191"/>
                    <a:pt x="30361" y="33191"/>
                  </a:cubicBezTo>
                  <a:cubicBezTo>
                    <a:pt x="29638" y="33191"/>
                    <a:pt x="30361" y="33191"/>
                    <a:pt x="28915" y="32553"/>
                  </a:cubicBezTo>
                  <a:cubicBezTo>
                    <a:pt x="27469" y="32553"/>
                    <a:pt x="26746" y="31914"/>
                    <a:pt x="26746" y="31914"/>
                  </a:cubicBezTo>
                  <a:cubicBezTo>
                    <a:pt x="26746" y="31276"/>
                    <a:pt x="26746" y="31276"/>
                    <a:pt x="28192" y="31276"/>
                  </a:cubicBezTo>
                  <a:cubicBezTo>
                    <a:pt x="28915" y="31276"/>
                    <a:pt x="29638" y="31276"/>
                    <a:pt x="30361" y="31276"/>
                  </a:cubicBezTo>
                  <a:cubicBezTo>
                    <a:pt x="31084" y="31914"/>
                    <a:pt x="32530" y="31276"/>
                    <a:pt x="32530" y="31276"/>
                  </a:cubicBezTo>
                  <a:cubicBezTo>
                    <a:pt x="32530" y="31276"/>
                    <a:pt x="31807" y="31276"/>
                    <a:pt x="33253" y="31914"/>
                  </a:cubicBezTo>
                  <a:cubicBezTo>
                    <a:pt x="34698" y="32553"/>
                    <a:pt x="33975" y="32553"/>
                    <a:pt x="34698" y="32553"/>
                  </a:cubicBezTo>
                  <a:cubicBezTo>
                    <a:pt x="35421" y="32553"/>
                    <a:pt x="36144" y="31914"/>
                    <a:pt x="35421" y="31914"/>
                  </a:cubicBezTo>
                  <a:cubicBezTo>
                    <a:pt x="35421" y="31276"/>
                    <a:pt x="36144" y="31276"/>
                    <a:pt x="35421" y="31276"/>
                  </a:cubicBezTo>
                  <a:cubicBezTo>
                    <a:pt x="34698" y="30638"/>
                    <a:pt x="34698" y="30638"/>
                    <a:pt x="34698" y="30638"/>
                  </a:cubicBezTo>
                  <a:cubicBezTo>
                    <a:pt x="34698" y="30638"/>
                    <a:pt x="34698" y="30638"/>
                    <a:pt x="34698" y="30000"/>
                  </a:cubicBezTo>
                  <a:cubicBezTo>
                    <a:pt x="34698" y="29361"/>
                    <a:pt x="35421" y="28723"/>
                    <a:pt x="35421" y="28723"/>
                  </a:cubicBezTo>
                  <a:cubicBezTo>
                    <a:pt x="36144" y="28723"/>
                    <a:pt x="36144" y="28723"/>
                    <a:pt x="36144" y="28085"/>
                  </a:cubicBezTo>
                  <a:cubicBezTo>
                    <a:pt x="36144" y="28085"/>
                    <a:pt x="36144" y="27446"/>
                    <a:pt x="36144" y="27446"/>
                  </a:cubicBezTo>
                  <a:cubicBezTo>
                    <a:pt x="36144" y="26808"/>
                    <a:pt x="36867" y="26170"/>
                    <a:pt x="36867" y="26170"/>
                  </a:cubicBezTo>
                  <a:cubicBezTo>
                    <a:pt x="36867" y="26170"/>
                    <a:pt x="36144" y="25531"/>
                    <a:pt x="36144" y="25531"/>
                  </a:cubicBezTo>
                  <a:cubicBezTo>
                    <a:pt x="36144" y="25531"/>
                    <a:pt x="34698" y="25531"/>
                    <a:pt x="34698" y="26170"/>
                  </a:cubicBezTo>
                  <a:cubicBezTo>
                    <a:pt x="34698" y="26170"/>
                    <a:pt x="34698" y="26170"/>
                    <a:pt x="34698" y="26808"/>
                  </a:cubicBezTo>
                  <a:cubicBezTo>
                    <a:pt x="33975" y="26808"/>
                    <a:pt x="33975" y="26808"/>
                    <a:pt x="33253" y="26808"/>
                  </a:cubicBezTo>
                  <a:cubicBezTo>
                    <a:pt x="33253" y="27446"/>
                    <a:pt x="33253" y="27446"/>
                    <a:pt x="33253" y="27446"/>
                  </a:cubicBezTo>
                  <a:cubicBezTo>
                    <a:pt x="33253" y="28085"/>
                    <a:pt x="32530" y="28723"/>
                    <a:pt x="32530" y="28723"/>
                  </a:cubicBezTo>
                  <a:cubicBezTo>
                    <a:pt x="32530" y="28723"/>
                    <a:pt x="31807" y="27446"/>
                    <a:pt x="31807" y="26808"/>
                  </a:cubicBezTo>
                  <a:cubicBezTo>
                    <a:pt x="31807" y="26808"/>
                    <a:pt x="32530" y="26170"/>
                    <a:pt x="33253" y="26170"/>
                  </a:cubicBezTo>
                  <a:cubicBezTo>
                    <a:pt x="33975" y="26170"/>
                    <a:pt x="33975" y="26170"/>
                    <a:pt x="33975" y="25531"/>
                  </a:cubicBezTo>
                  <a:cubicBezTo>
                    <a:pt x="33975" y="25531"/>
                    <a:pt x="33975" y="25531"/>
                    <a:pt x="33975" y="24893"/>
                  </a:cubicBezTo>
                  <a:cubicBezTo>
                    <a:pt x="33975" y="24255"/>
                    <a:pt x="33975" y="24255"/>
                    <a:pt x="33975" y="24255"/>
                  </a:cubicBezTo>
                  <a:cubicBezTo>
                    <a:pt x="34698" y="23617"/>
                    <a:pt x="35421" y="22978"/>
                    <a:pt x="36144" y="22978"/>
                  </a:cubicBezTo>
                  <a:cubicBezTo>
                    <a:pt x="36144" y="22978"/>
                    <a:pt x="35421" y="21702"/>
                    <a:pt x="36867" y="22978"/>
                  </a:cubicBezTo>
                  <a:cubicBezTo>
                    <a:pt x="37590" y="23617"/>
                    <a:pt x="37590" y="23617"/>
                    <a:pt x="38313" y="24255"/>
                  </a:cubicBezTo>
                  <a:cubicBezTo>
                    <a:pt x="39036" y="24255"/>
                    <a:pt x="40481" y="24893"/>
                    <a:pt x="40481" y="24255"/>
                  </a:cubicBezTo>
                  <a:cubicBezTo>
                    <a:pt x="40481" y="24255"/>
                    <a:pt x="40481" y="23617"/>
                    <a:pt x="40481" y="22978"/>
                  </a:cubicBezTo>
                  <a:cubicBezTo>
                    <a:pt x="40481" y="22978"/>
                    <a:pt x="39759" y="22978"/>
                    <a:pt x="40481" y="22340"/>
                  </a:cubicBezTo>
                  <a:cubicBezTo>
                    <a:pt x="40481" y="22340"/>
                    <a:pt x="40481" y="22340"/>
                    <a:pt x="41204" y="22340"/>
                  </a:cubicBezTo>
                  <a:cubicBezTo>
                    <a:pt x="42650" y="22978"/>
                    <a:pt x="41927" y="22978"/>
                    <a:pt x="42650" y="23617"/>
                  </a:cubicBezTo>
                  <a:cubicBezTo>
                    <a:pt x="44096" y="24255"/>
                    <a:pt x="44096" y="24255"/>
                    <a:pt x="44096" y="24255"/>
                  </a:cubicBezTo>
                  <a:cubicBezTo>
                    <a:pt x="44819" y="24255"/>
                    <a:pt x="44819" y="24255"/>
                    <a:pt x="45542" y="24255"/>
                  </a:cubicBezTo>
                  <a:cubicBezTo>
                    <a:pt x="46265" y="24255"/>
                    <a:pt x="45542" y="23617"/>
                    <a:pt x="46987" y="24893"/>
                  </a:cubicBezTo>
                  <a:cubicBezTo>
                    <a:pt x="47710" y="25531"/>
                    <a:pt x="47710" y="25531"/>
                    <a:pt x="48433" y="25531"/>
                  </a:cubicBezTo>
                  <a:cubicBezTo>
                    <a:pt x="49156" y="26170"/>
                    <a:pt x="50602" y="25531"/>
                    <a:pt x="50602" y="25531"/>
                  </a:cubicBezTo>
                  <a:cubicBezTo>
                    <a:pt x="50602" y="25531"/>
                    <a:pt x="50602" y="24893"/>
                    <a:pt x="51325" y="26170"/>
                  </a:cubicBezTo>
                  <a:cubicBezTo>
                    <a:pt x="52048" y="27446"/>
                    <a:pt x="52771" y="27446"/>
                    <a:pt x="52771" y="27446"/>
                  </a:cubicBezTo>
                  <a:cubicBezTo>
                    <a:pt x="52771" y="28085"/>
                    <a:pt x="53493" y="28723"/>
                    <a:pt x="53493" y="28723"/>
                  </a:cubicBezTo>
                  <a:cubicBezTo>
                    <a:pt x="53493" y="28723"/>
                    <a:pt x="53493" y="28723"/>
                    <a:pt x="53493" y="29361"/>
                  </a:cubicBezTo>
                  <a:cubicBezTo>
                    <a:pt x="53493" y="29361"/>
                    <a:pt x="53493" y="30000"/>
                    <a:pt x="54216" y="30000"/>
                  </a:cubicBezTo>
                  <a:cubicBezTo>
                    <a:pt x="54216" y="30000"/>
                    <a:pt x="54939" y="30000"/>
                    <a:pt x="54939" y="30000"/>
                  </a:cubicBezTo>
                  <a:cubicBezTo>
                    <a:pt x="54939" y="30000"/>
                    <a:pt x="55662" y="29361"/>
                    <a:pt x="55662" y="29361"/>
                  </a:cubicBezTo>
                  <a:cubicBezTo>
                    <a:pt x="55662" y="29361"/>
                    <a:pt x="57108" y="28723"/>
                    <a:pt x="57108" y="28723"/>
                  </a:cubicBezTo>
                  <a:cubicBezTo>
                    <a:pt x="57108" y="28723"/>
                    <a:pt x="57108" y="28085"/>
                    <a:pt x="58554" y="28723"/>
                  </a:cubicBezTo>
                  <a:cubicBezTo>
                    <a:pt x="59277" y="28723"/>
                    <a:pt x="60722" y="29361"/>
                    <a:pt x="60722" y="29361"/>
                  </a:cubicBezTo>
                  <a:cubicBezTo>
                    <a:pt x="60722" y="29361"/>
                    <a:pt x="60722" y="30000"/>
                    <a:pt x="60722" y="30000"/>
                  </a:cubicBezTo>
                  <a:cubicBezTo>
                    <a:pt x="61445" y="30000"/>
                    <a:pt x="63614" y="30000"/>
                    <a:pt x="63614" y="30000"/>
                  </a:cubicBezTo>
                  <a:cubicBezTo>
                    <a:pt x="64337" y="30638"/>
                    <a:pt x="64337" y="30638"/>
                    <a:pt x="64337" y="30638"/>
                  </a:cubicBezTo>
                  <a:cubicBezTo>
                    <a:pt x="64337" y="30638"/>
                    <a:pt x="65060" y="31276"/>
                    <a:pt x="65060" y="31276"/>
                  </a:cubicBezTo>
                  <a:cubicBezTo>
                    <a:pt x="65060" y="31914"/>
                    <a:pt x="65783" y="33191"/>
                    <a:pt x="65783" y="33191"/>
                  </a:cubicBezTo>
                  <a:cubicBezTo>
                    <a:pt x="67951" y="33829"/>
                    <a:pt x="67951" y="33829"/>
                    <a:pt x="67951" y="33829"/>
                  </a:cubicBezTo>
                  <a:cubicBezTo>
                    <a:pt x="66506" y="31914"/>
                    <a:pt x="66506" y="31914"/>
                    <a:pt x="66506" y="31914"/>
                  </a:cubicBezTo>
                  <a:cubicBezTo>
                    <a:pt x="66506" y="31914"/>
                    <a:pt x="65060" y="30638"/>
                    <a:pt x="66506" y="30638"/>
                  </a:cubicBezTo>
                  <a:cubicBezTo>
                    <a:pt x="67951" y="30638"/>
                    <a:pt x="68674" y="30000"/>
                    <a:pt x="68674" y="30000"/>
                  </a:cubicBezTo>
                  <a:cubicBezTo>
                    <a:pt x="68674" y="29361"/>
                    <a:pt x="68674" y="29361"/>
                    <a:pt x="68674" y="29361"/>
                  </a:cubicBezTo>
                  <a:cubicBezTo>
                    <a:pt x="66506" y="29361"/>
                    <a:pt x="66506" y="29361"/>
                    <a:pt x="66506" y="29361"/>
                  </a:cubicBezTo>
                  <a:cubicBezTo>
                    <a:pt x="66506" y="29361"/>
                    <a:pt x="66506" y="28085"/>
                    <a:pt x="66506" y="28085"/>
                  </a:cubicBezTo>
                  <a:cubicBezTo>
                    <a:pt x="67228" y="28085"/>
                    <a:pt x="67951" y="26808"/>
                    <a:pt x="69397" y="26808"/>
                  </a:cubicBezTo>
                  <a:cubicBezTo>
                    <a:pt x="70843" y="26808"/>
                    <a:pt x="72289" y="26170"/>
                    <a:pt x="72289" y="26170"/>
                  </a:cubicBezTo>
                  <a:cubicBezTo>
                    <a:pt x="72289" y="26170"/>
                    <a:pt x="72289" y="25531"/>
                    <a:pt x="73734" y="25531"/>
                  </a:cubicBezTo>
                  <a:cubicBezTo>
                    <a:pt x="75180" y="25531"/>
                    <a:pt x="75903" y="25531"/>
                    <a:pt x="76626" y="25531"/>
                  </a:cubicBezTo>
                  <a:cubicBezTo>
                    <a:pt x="77349" y="25531"/>
                    <a:pt x="77349" y="25531"/>
                    <a:pt x="77349" y="24893"/>
                  </a:cubicBezTo>
                  <a:cubicBezTo>
                    <a:pt x="77349" y="24255"/>
                    <a:pt x="76626" y="24255"/>
                    <a:pt x="78072" y="23617"/>
                  </a:cubicBezTo>
                  <a:cubicBezTo>
                    <a:pt x="78795" y="23617"/>
                    <a:pt x="79518" y="22978"/>
                    <a:pt x="79518" y="22978"/>
                  </a:cubicBezTo>
                  <a:cubicBezTo>
                    <a:pt x="80240" y="20425"/>
                    <a:pt x="80240" y="20425"/>
                    <a:pt x="80240" y="20425"/>
                  </a:cubicBezTo>
                  <a:cubicBezTo>
                    <a:pt x="77349" y="21702"/>
                    <a:pt x="77349" y="21702"/>
                    <a:pt x="77349" y="21702"/>
                  </a:cubicBezTo>
                  <a:cubicBezTo>
                    <a:pt x="77349" y="21702"/>
                    <a:pt x="77349" y="20425"/>
                    <a:pt x="76626" y="20425"/>
                  </a:cubicBezTo>
                  <a:cubicBezTo>
                    <a:pt x="75903" y="20425"/>
                    <a:pt x="73734" y="21702"/>
                    <a:pt x="73734" y="21702"/>
                  </a:cubicBezTo>
                  <a:cubicBezTo>
                    <a:pt x="73734" y="21702"/>
                    <a:pt x="73734" y="21063"/>
                    <a:pt x="73012" y="21063"/>
                  </a:cubicBezTo>
                  <a:cubicBezTo>
                    <a:pt x="73012" y="20425"/>
                    <a:pt x="73012" y="20425"/>
                    <a:pt x="72289" y="20425"/>
                  </a:cubicBezTo>
                  <a:cubicBezTo>
                    <a:pt x="71566" y="20425"/>
                    <a:pt x="72289" y="20425"/>
                    <a:pt x="70843" y="19787"/>
                  </a:cubicBezTo>
                  <a:cubicBezTo>
                    <a:pt x="69397" y="19148"/>
                    <a:pt x="68674" y="17872"/>
                    <a:pt x="68674" y="17872"/>
                  </a:cubicBezTo>
                  <a:cubicBezTo>
                    <a:pt x="68674" y="17872"/>
                    <a:pt x="69397" y="17872"/>
                    <a:pt x="67951" y="17872"/>
                  </a:cubicBezTo>
                  <a:cubicBezTo>
                    <a:pt x="67228" y="17234"/>
                    <a:pt x="67228" y="17234"/>
                    <a:pt x="67228" y="17234"/>
                  </a:cubicBezTo>
                  <a:cubicBezTo>
                    <a:pt x="66506" y="16595"/>
                    <a:pt x="66506" y="16595"/>
                    <a:pt x="67951" y="15957"/>
                  </a:cubicBezTo>
                  <a:cubicBezTo>
                    <a:pt x="68674" y="15319"/>
                    <a:pt x="67951" y="15319"/>
                    <a:pt x="69397" y="14680"/>
                  </a:cubicBezTo>
                  <a:cubicBezTo>
                    <a:pt x="70120" y="14042"/>
                    <a:pt x="69397" y="13404"/>
                    <a:pt x="70843" y="14042"/>
                  </a:cubicBezTo>
                  <a:cubicBezTo>
                    <a:pt x="73012" y="14680"/>
                    <a:pt x="73012" y="14680"/>
                    <a:pt x="73734" y="15319"/>
                  </a:cubicBezTo>
                  <a:cubicBezTo>
                    <a:pt x="74457" y="15319"/>
                    <a:pt x="77349" y="15319"/>
                    <a:pt x="75903" y="14680"/>
                  </a:cubicBezTo>
                  <a:cubicBezTo>
                    <a:pt x="75180" y="14042"/>
                    <a:pt x="73734" y="13404"/>
                    <a:pt x="73734" y="12765"/>
                  </a:cubicBezTo>
                  <a:cubicBezTo>
                    <a:pt x="73734" y="12765"/>
                    <a:pt x="72289" y="12765"/>
                    <a:pt x="73734" y="12765"/>
                  </a:cubicBezTo>
                  <a:cubicBezTo>
                    <a:pt x="74457" y="12765"/>
                    <a:pt x="75180" y="12127"/>
                    <a:pt x="75903" y="12765"/>
                  </a:cubicBezTo>
                  <a:cubicBezTo>
                    <a:pt x="75903" y="12765"/>
                    <a:pt x="74457" y="12765"/>
                    <a:pt x="76626" y="12765"/>
                  </a:cubicBezTo>
                  <a:cubicBezTo>
                    <a:pt x="78795" y="12765"/>
                    <a:pt x="79518" y="12765"/>
                    <a:pt x="78072" y="12127"/>
                  </a:cubicBezTo>
                  <a:cubicBezTo>
                    <a:pt x="77349" y="11489"/>
                    <a:pt x="77349" y="11489"/>
                    <a:pt x="76626" y="10851"/>
                  </a:cubicBezTo>
                  <a:cubicBezTo>
                    <a:pt x="76626" y="10212"/>
                    <a:pt x="75903" y="10212"/>
                    <a:pt x="76626" y="10212"/>
                  </a:cubicBezTo>
                  <a:cubicBezTo>
                    <a:pt x="76626" y="9574"/>
                    <a:pt x="76626" y="10212"/>
                    <a:pt x="77349" y="9574"/>
                  </a:cubicBezTo>
                  <a:cubicBezTo>
                    <a:pt x="77349" y="8936"/>
                    <a:pt x="77349" y="8297"/>
                    <a:pt x="77349" y="8297"/>
                  </a:cubicBezTo>
                  <a:cubicBezTo>
                    <a:pt x="77349" y="8297"/>
                    <a:pt x="76626" y="8297"/>
                    <a:pt x="77349" y="7659"/>
                  </a:cubicBezTo>
                  <a:cubicBezTo>
                    <a:pt x="78795" y="6382"/>
                    <a:pt x="78795" y="6382"/>
                    <a:pt x="79518" y="6382"/>
                  </a:cubicBezTo>
                  <a:cubicBezTo>
                    <a:pt x="79518" y="6382"/>
                    <a:pt x="80240" y="5744"/>
                    <a:pt x="80963" y="5744"/>
                  </a:cubicBezTo>
                  <a:cubicBezTo>
                    <a:pt x="80963" y="5106"/>
                    <a:pt x="81686" y="3829"/>
                    <a:pt x="81686" y="3829"/>
                  </a:cubicBezTo>
                  <a:cubicBezTo>
                    <a:pt x="83855" y="3829"/>
                    <a:pt x="83855" y="3829"/>
                    <a:pt x="83855" y="3829"/>
                  </a:cubicBezTo>
                  <a:cubicBezTo>
                    <a:pt x="83855" y="3829"/>
                    <a:pt x="84578" y="3829"/>
                    <a:pt x="84578" y="3829"/>
                  </a:cubicBezTo>
                  <a:cubicBezTo>
                    <a:pt x="84578" y="4468"/>
                    <a:pt x="84578" y="3191"/>
                    <a:pt x="84578" y="3191"/>
                  </a:cubicBezTo>
                  <a:cubicBezTo>
                    <a:pt x="84578" y="3191"/>
                    <a:pt x="85301" y="3191"/>
                    <a:pt x="85301" y="3191"/>
                  </a:cubicBezTo>
                  <a:cubicBezTo>
                    <a:pt x="86024" y="3829"/>
                    <a:pt x="86024" y="3829"/>
                    <a:pt x="86024" y="3829"/>
                  </a:cubicBezTo>
                  <a:cubicBezTo>
                    <a:pt x="86746" y="4468"/>
                    <a:pt x="87469" y="3829"/>
                    <a:pt x="87469" y="3829"/>
                  </a:cubicBezTo>
                  <a:cubicBezTo>
                    <a:pt x="87469" y="3829"/>
                    <a:pt x="88192" y="3191"/>
                    <a:pt x="88915" y="3191"/>
                  </a:cubicBezTo>
                  <a:cubicBezTo>
                    <a:pt x="89638" y="3191"/>
                    <a:pt x="90361" y="3191"/>
                    <a:pt x="90361" y="3191"/>
                  </a:cubicBezTo>
                  <a:cubicBezTo>
                    <a:pt x="90361" y="3829"/>
                    <a:pt x="90361" y="3829"/>
                    <a:pt x="90361" y="4468"/>
                  </a:cubicBezTo>
                  <a:cubicBezTo>
                    <a:pt x="91084" y="4468"/>
                    <a:pt x="91807" y="5106"/>
                    <a:pt x="91807" y="5106"/>
                  </a:cubicBezTo>
                  <a:cubicBezTo>
                    <a:pt x="91807" y="5106"/>
                    <a:pt x="93253" y="5106"/>
                    <a:pt x="93253" y="4468"/>
                  </a:cubicBezTo>
                  <a:cubicBezTo>
                    <a:pt x="93253" y="4468"/>
                    <a:pt x="92530" y="4468"/>
                    <a:pt x="93975" y="3829"/>
                  </a:cubicBezTo>
                  <a:cubicBezTo>
                    <a:pt x="95421" y="2553"/>
                    <a:pt x="96144" y="2553"/>
                    <a:pt x="96144" y="2553"/>
                  </a:cubicBezTo>
                  <a:cubicBezTo>
                    <a:pt x="96144" y="2553"/>
                    <a:pt x="96144" y="1914"/>
                    <a:pt x="96867" y="1914"/>
                  </a:cubicBezTo>
                  <a:cubicBezTo>
                    <a:pt x="97590" y="2553"/>
                    <a:pt x="97590" y="1914"/>
                    <a:pt x="97590" y="2553"/>
                  </a:cubicBezTo>
                  <a:cubicBezTo>
                    <a:pt x="97590" y="2553"/>
                    <a:pt x="98313" y="3191"/>
                    <a:pt x="98313" y="3191"/>
                  </a:cubicBezTo>
                  <a:cubicBezTo>
                    <a:pt x="98313" y="3191"/>
                    <a:pt x="98313" y="5106"/>
                    <a:pt x="98313" y="5106"/>
                  </a:cubicBezTo>
                  <a:cubicBezTo>
                    <a:pt x="98313" y="5744"/>
                    <a:pt x="98313" y="5744"/>
                    <a:pt x="98313" y="5744"/>
                  </a:cubicBezTo>
                  <a:cubicBezTo>
                    <a:pt x="98313" y="5744"/>
                    <a:pt x="98313" y="6382"/>
                    <a:pt x="98313" y="6382"/>
                  </a:cubicBezTo>
                  <a:cubicBezTo>
                    <a:pt x="98313" y="7021"/>
                    <a:pt x="99036" y="8297"/>
                    <a:pt x="99036" y="8297"/>
                  </a:cubicBezTo>
                  <a:cubicBezTo>
                    <a:pt x="99036" y="8297"/>
                    <a:pt x="99036" y="8297"/>
                    <a:pt x="99036" y="8297"/>
                  </a:cubicBezTo>
                  <a:cubicBezTo>
                    <a:pt x="98313" y="8936"/>
                    <a:pt x="98313" y="8297"/>
                    <a:pt x="98313" y="8936"/>
                  </a:cubicBezTo>
                  <a:cubicBezTo>
                    <a:pt x="97590" y="9574"/>
                    <a:pt x="98313" y="9574"/>
                    <a:pt x="97590" y="10212"/>
                  </a:cubicBezTo>
                  <a:cubicBezTo>
                    <a:pt x="97590" y="10212"/>
                    <a:pt x="96867" y="10212"/>
                    <a:pt x="96867" y="10212"/>
                  </a:cubicBezTo>
                  <a:cubicBezTo>
                    <a:pt x="96867" y="10212"/>
                    <a:pt x="97590" y="10851"/>
                    <a:pt x="97590" y="10851"/>
                  </a:cubicBezTo>
                  <a:cubicBezTo>
                    <a:pt x="97590" y="10851"/>
                    <a:pt x="97590" y="10851"/>
                    <a:pt x="98313" y="10851"/>
                  </a:cubicBezTo>
                  <a:cubicBezTo>
                    <a:pt x="98313" y="10851"/>
                    <a:pt x="98313" y="10212"/>
                    <a:pt x="99036" y="10212"/>
                  </a:cubicBezTo>
                  <a:cubicBezTo>
                    <a:pt x="99036" y="10851"/>
                    <a:pt x="99036" y="9574"/>
                    <a:pt x="99036" y="9574"/>
                  </a:cubicBezTo>
                  <a:cubicBezTo>
                    <a:pt x="99036" y="9574"/>
                    <a:pt x="99036" y="9574"/>
                    <a:pt x="99759" y="8936"/>
                  </a:cubicBezTo>
                  <a:cubicBezTo>
                    <a:pt x="99759" y="8936"/>
                    <a:pt x="100481" y="8297"/>
                    <a:pt x="100481" y="7659"/>
                  </a:cubicBezTo>
                  <a:cubicBezTo>
                    <a:pt x="100481" y="7659"/>
                    <a:pt x="99759" y="7021"/>
                    <a:pt x="99759" y="7021"/>
                  </a:cubicBezTo>
                  <a:cubicBezTo>
                    <a:pt x="99759" y="7021"/>
                    <a:pt x="99036" y="5744"/>
                    <a:pt x="99036" y="5106"/>
                  </a:cubicBezTo>
                  <a:cubicBezTo>
                    <a:pt x="99036" y="5106"/>
                    <a:pt x="99036" y="5106"/>
                    <a:pt x="99036" y="4468"/>
                  </a:cubicBezTo>
                  <a:cubicBezTo>
                    <a:pt x="99759" y="4468"/>
                    <a:pt x="99759" y="3829"/>
                    <a:pt x="99759" y="3829"/>
                  </a:cubicBezTo>
                  <a:cubicBezTo>
                    <a:pt x="100481" y="3191"/>
                    <a:pt x="101204" y="2553"/>
                    <a:pt x="101204" y="2553"/>
                  </a:cubicBezTo>
                  <a:cubicBezTo>
                    <a:pt x="101204" y="2553"/>
                    <a:pt x="102650" y="2553"/>
                    <a:pt x="103373" y="2553"/>
                  </a:cubicBezTo>
                  <a:cubicBezTo>
                    <a:pt x="103373" y="2553"/>
                    <a:pt x="102650" y="1914"/>
                    <a:pt x="104096" y="2553"/>
                  </a:cubicBezTo>
                  <a:cubicBezTo>
                    <a:pt x="104819" y="3191"/>
                    <a:pt x="104819" y="3191"/>
                    <a:pt x="104819" y="3191"/>
                  </a:cubicBezTo>
                  <a:cubicBezTo>
                    <a:pt x="104819" y="3829"/>
                    <a:pt x="104096" y="3829"/>
                    <a:pt x="105542" y="3829"/>
                  </a:cubicBezTo>
                  <a:cubicBezTo>
                    <a:pt x="106265" y="3829"/>
                    <a:pt x="106987" y="3829"/>
                    <a:pt x="106265" y="3829"/>
                  </a:cubicBezTo>
                  <a:cubicBezTo>
                    <a:pt x="105542" y="3191"/>
                    <a:pt x="105542" y="2553"/>
                    <a:pt x="104819" y="2553"/>
                  </a:cubicBezTo>
                  <a:cubicBezTo>
                    <a:pt x="104819" y="2553"/>
                    <a:pt x="104096" y="1914"/>
                    <a:pt x="104096" y="1914"/>
                  </a:cubicBezTo>
                  <a:cubicBezTo>
                    <a:pt x="104096" y="1276"/>
                    <a:pt x="104096" y="0"/>
                    <a:pt x="104819" y="638"/>
                  </a:cubicBezTo>
                  <a:cubicBezTo>
                    <a:pt x="105542" y="638"/>
                    <a:pt x="104819" y="0"/>
                    <a:pt x="105542" y="638"/>
                  </a:cubicBezTo>
                  <a:cubicBezTo>
                    <a:pt x="106987" y="1914"/>
                    <a:pt x="107710" y="2553"/>
                    <a:pt x="107710" y="2553"/>
                  </a:cubicBezTo>
                  <a:cubicBezTo>
                    <a:pt x="107710" y="3191"/>
                    <a:pt x="108433" y="3191"/>
                    <a:pt x="108433" y="3191"/>
                  </a:cubicBezTo>
                  <a:cubicBezTo>
                    <a:pt x="108433" y="3829"/>
                    <a:pt x="108433" y="3829"/>
                    <a:pt x="108433" y="3829"/>
                  </a:cubicBezTo>
                  <a:cubicBezTo>
                    <a:pt x="109156" y="4468"/>
                    <a:pt x="109879" y="5106"/>
                    <a:pt x="109879" y="5106"/>
                  </a:cubicBezTo>
                  <a:cubicBezTo>
                    <a:pt x="109879" y="5106"/>
                    <a:pt x="109879" y="5106"/>
                    <a:pt x="110602" y="5106"/>
                  </a:cubicBezTo>
                  <a:cubicBezTo>
                    <a:pt x="110602" y="5744"/>
                    <a:pt x="112048" y="6382"/>
                    <a:pt x="112048" y="6382"/>
                  </a:cubicBezTo>
                  <a:cubicBezTo>
                    <a:pt x="112048" y="6382"/>
                    <a:pt x="112771" y="7021"/>
                    <a:pt x="112771" y="7021"/>
                  </a:cubicBezTo>
                  <a:cubicBezTo>
                    <a:pt x="112048" y="7659"/>
                    <a:pt x="112048" y="8297"/>
                    <a:pt x="112048" y="8297"/>
                  </a:cubicBezTo>
                  <a:cubicBezTo>
                    <a:pt x="110602" y="10212"/>
                    <a:pt x="110602" y="10212"/>
                    <a:pt x="110602" y="10212"/>
                  </a:cubicBezTo>
                  <a:cubicBezTo>
                    <a:pt x="109879" y="11489"/>
                    <a:pt x="109879" y="11489"/>
                    <a:pt x="109879" y="11489"/>
                  </a:cubicBezTo>
                  <a:cubicBezTo>
                    <a:pt x="109879" y="12127"/>
                    <a:pt x="109879" y="12127"/>
                    <a:pt x="109879" y="12127"/>
                  </a:cubicBezTo>
                  <a:cubicBezTo>
                    <a:pt x="109156" y="12765"/>
                    <a:pt x="109156" y="13404"/>
                    <a:pt x="109156" y="13404"/>
                  </a:cubicBezTo>
                  <a:cubicBezTo>
                    <a:pt x="109156" y="13404"/>
                    <a:pt x="108433" y="14042"/>
                    <a:pt x="106987" y="14042"/>
                  </a:cubicBezTo>
                  <a:cubicBezTo>
                    <a:pt x="105542" y="13404"/>
                    <a:pt x="104096" y="14680"/>
                    <a:pt x="104096" y="14680"/>
                  </a:cubicBezTo>
                  <a:cubicBezTo>
                    <a:pt x="104096" y="14680"/>
                    <a:pt x="100481" y="14042"/>
                    <a:pt x="99759" y="14042"/>
                  </a:cubicBezTo>
                  <a:cubicBezTo>
                    <a:pt x="99036" y="14042"/>
                    <a:pt x="99036" y="16595"/>
                    <a:pt x="99036" y="17234"/>
                  </a:cubicBezTo>
                  <a:cubicBezTo>
                    <a:pt x="99036" y="17872"/>
                    <a:pt x="97590" y="18510"/>
                    <a:pt x="95421" y="18510"/>
                  </a:cubicBezTo>
                  <a:cubicBezTo>
                    <a:pt x="93253" y="19148"/>
                    <a:pt x="94698" y="19148"/>
                    <a:pt x="93975" y="21063"/>
                  </a:cubicBezTo>
                  <a:cubicBezTo>
                    <a:pt x="93253" y="23617"/>
                    <a:pt x="92530" y="21702"/>
                    <a:pt x="91084" y="21063"/>
                  </a:cubicBezTo>
                  <a:cubicBezTo>
                    <a:pt x="89638" y="21063"/>
                    <a:pt x="89638" y="21063"/>
                    <a:pt x="87469" y="21063"/>
                  </a:cubicBezTo>
                  <a:cubicBezTo>
                    <a:pt x="85301" y="21702"/>
                    <a:pt x="86746" y="22978"/>
                    <a:pt x="86746" y="22978"/>
                  </a:cubicBezTo>
                  <a:cubicBezTo>
                    <a:pt x="86746" y="22978"/>
                    <a:pt x="88192" y="24255"/>
                    <a:pt x="88915" y="24255"/>
                  </a:cubicBezTo>
                  <a:cubicBezTo>
                    <a:pt x="90361" y="24893"/>
                    <a:pt x="88915" y="26170"/>
                    <a:pt x="88915" y="26170"/>
                  </a:cubicBezTo>
                  <a:cubicBezTo>
                    <a:pt x="88915" y="26170"/>
                    <a:pt x="88192" y="27446"/>
                    <a:pt x="87469" y="27446"/>
                  </a:cubicBezTo>
                  <a:cubicBezTo>
                    <a:pt x="86746" y="26808"/>
                    <a:pt x="83132" y="26808"/>
                    <a:pt x="83132" y="26808"/>
                  </a:cubicBezTo>
                  <a:cubicBezTo>
                    <a:pt x="79518" y="28723"/>
                    <a:pt x="79518" y="28723"/>
                    <a:pt x="79518" y="28723"/>
                  </a:cubicBezTo>
                  <a:cubicBezTo>
                    <a:pt x="79518" y="28723"/>
                    <a:pt x="80240" y="31276"/>
                    <a:pt x="82409" y="33829"/>
                  </a:cubicBezTo>
                  <a:cubicBezTo>
                    <a:pt x="84578" y="36382"/>
                    <a:pt x="82409" y="34468"/>
                    <a:pt x="82409" y="34468"/>
                  </a:cubicBezTo>
                  <a:cubicBezTo>
                    <a:pt x="82409" y="34468"/>
                    <a:pt x="83132" y="36382"/>
                    <a:pt x="83132" y="37659"/>
                  </a:cubicBezTo>
                  <a:cubicBezTo>
                    <a:pt x="83132" y="38936"/>
                    <a:pt x="83132" y="38297"/>
                    <a:pt x="83855" y="38297"/>
                  </a:cubicBezTo>
                  <a:cubicBezTo>
                    <a:pt x="84578" y="38297"/>
                    <a:pt x="86024" y="38297"/>
                    <a:pt x="86024" y="38297"/>
                  </a:cubicBezTo>
                  <a:cubicBezTo>
                    <a:pt x="86024" y="38297"/>
                    <a:pt x="88915" y="42127"/>
                    <a:pt x="88915" y="42127"/>
                  </a:cubicBezTo>
                  <a:cubicBezTo>
                    <a:pt x="89638" y="42127"/>
                    <a:pt x="93253" y="41489"/>
                    <a:pt x="93253" y="41489"/>
                  </a:cubicBezTo>
                  <a:cubicBezTo>
                    <a:pt x="93253" y="41489"/>
                    <a:pt x="96144" y="40851"/>
                    <a:pt x="97590" y="40851"/>
                  </a:cubicBezTo>
                  <a:cubicBezTo>
                    <a:pt x="99036" y="40212"/>
                    <a:pt x="97590" y="38936"/>
                    <a:pt x="97590" y="38936"/>
                  </a:cubicBezTo>
                  <a:cubicBezTo>
                    <a:pt x="99036" y="35744"/>
                    <a:pt x="99036" y="35744"/>
                    <a:pt x="99036" y="35744"/>
                  </a:cubicBezTo>
                  <a:cubicBezTo>
                    <a:pt x="103373" y="35106"/>
                    <a:pt x="103373" y="35106"/>
                    <a:pt x="103373" y="35106"/>
                  </a:cubicBezTo>
                  <a:cubicBezTo>
                    <a:pt x="105542" y="38936"/>
                    <a:pt x="105542" y="38936"/>
                    <a:pt x="105542" y="38936"/>
                  </a:cubicBezTo>
                  <a:cubicBezTo>
                    <a:pt x="104819" y="41489"/>
                    <a:pt x="104819" y="41489"/>
                    <a:pt x="104819" y="41489"/>
                  </a:cubicBezTo>
                  <a:cubicBezTo>
                    <a:pt x="108433" y="44680"/>
                    <a:pt x="108433" y="44680"/>
                    <a:pt x="108433" y="44680"/>
                  </a:cubicBezTo>
                  <a:cubicBezTo>
                    <a:pt x="109156" y="47872"/>
                    <a:pt x="109156" y="47872"/>
                    <a:pt x="109156" y="47872"/>
                  </a:cubicBezTo>
                  <a:cubicBezTo>
                    <a:pt x="109156" y="47872"/>
                    <a:pt x="112771" y="48510"/>
                    <a:pt x="113493" y="49148"/>
                  </a:cubicBezTo>
                  <a:cubicBezTo>
                    <a:pt x="114216" y="49148"/>
                    <a:pt x="116385" y="48510"/>
                    <a:pt x="116385" y="48510"/>
                  </a:cubicBezTo>
                  <a:cubicBezTo>
                    <a:pt x="119277" y="51702"/>
                    <a:pt x="119277" y="51702"/>
                    <a:pt x="119277" y="51702"/>
                  </a:cubicBezTo>
                  <a:cubicBezTo>
                    <a:pt x="119999" y="51063"/>
                    <a:pt x="119999" y="51063"/>
                    <a:pt x="119999" y="51063"/>
                  </a:cubicBezTo>
                  <a:cubicBezTo>
                    <a:pt x="119999" y="51702"/>
                    <a:pt x="119999" y="51702"/>
                    <a:pt x="119999" y="51702"/>
                  </a:cubicBezTo>
                  <a:cubicBezTo>
                    <a:pt x="119999" y="51702"/>
                    <a:pt x="119999" y="52978"/>
                    <a:pt x="119277" y="52978"/>
                  </a:cubicBezTo>
                  <a:cubicBezTo>
                    <a:pt x="117831" y="52340"/>
                    <a:pt x="117108" y="52340"/>
                    <a:pt x="117108" y="52340"/>
                  </a:cubicBezTo>
                  <a:cubicBezTo>
                    <a:pt x="114939" y="51063"/>
                    <a:pt x="114939" y="51063"/>
                    <a:pt x="114939" y="51063"/>
                  </a:cubicBezTo>
                  <a:cubicBezTo>
                    <a:pt x="114216" y="51702"/>
                    <a:pt x="114216" y="51702"/>
                    <a:pt x="114216" y="51702"/>
                  </a:cubicBezTo>
                  <a:cubicBezTo>
                    <a:pt x="112048" y="54255"/>
                    <a:pt x="112048" y="54255"/>
                    <a:pt x="112048" y="54255"/>
                  </a:cubicBezTo>
                  <a:cubicBezTo>
                    <a:pt x="113493" y="54893"/>
                    <a:pt x="113493" y="54893"/>
                    <a:pt x="113493" y="54893"/>
                  </a:cubicBezTo>
                  <a:cubicBezTo>
                    <a:pt x="114939" y="56170"/>
                    <a:pt x="114939" y="56170"/>
                    <a:pt x="114939" y="56170"/>
                  </a:cubicBezTo>
                  <a:cubicBezTo>
                    <a:pt x="114939" y="58085"/>
                    <a:pt x="114939" y="58085"/>
                    <a:pt x="114939" y="58085"/>
                  </a:cubicBezTo>
                  <a:cubicBezTo>
                    <a:pt x="114939" y="60638"/>
                    <a:pt x="114939" y="60638"/>
                    <a:pt x="114939" y="60638"/>
                  </a:cubicBezTo>
                  <a:cubicBezTo>
                    <a:pt x="113493" y="62553"/>
                    <a:pt x="113493" y="62553"/>
                    <a:pt x="113493" y="62553"/>
                  </a:cubicBezTo>
                  <a:cubicBezTo>
                    <a:pt x="113493" y="62553"/>
                    <a:pt x="114216" y="63829"/>
                    <a:pt x="114216" y="64468"/>
                  </a:cubicBezTo>
                  <a:cubicBezTo>
                    <a:pt x="114216" y="64468"/>
                    <a:pt x="115662" y="65744"/>
                    <a:pt x="115662" y="65744"/>
                  </a:cubicBezTo>
                  <a:cubicBezTo>
                    <a:pt x="117108" y="67021"/>
                    <a:pt x="117108" y="67021"/>
                    <a:pt x="117108" y="67021"/>
                  </a:cubicBezTo>
                  <a:cubicBezTo>
                    <a:pt x="115662" y="70212"/>
                    <a:pt x="115662" y="70212"/>
                    <a:pt x="115662" y="70212"/>
                  </a:cubicBezTo>
                  <a:cubicBezTo>
                    <a:pt x="114216" y="71489"/>
                    <a:pt x="114216" y="71489"/>
                    <a:pt x="114216" y="71489"/>
                  </a:cubicBezTo>
                  <a:cubicBezTo>
                    <a:pt x="114216" y="72765"/>
                    <a:pt x="114216" y="72765"/>
                    <a:pt x="114216" y="72765"/>
                  </a:cubicBezTo>
                  <a:cubicBezTo>
                    <a:pt x="114216" y="72765"/>
                    <a:pt x="115662" y="73404"/>
                    <a:pt x="114939" y="73404"/>
                  </a:cubicBezTo>
                  <a:cubicBezTo>
                    <a:pt x="114216" y="73404"/>
                    <a:pt x="112771" y="73404"/>
                    <a:pt x="112771" y="73404"/>
                  </a:cubicBezTo>
                  <a:cubicBezTo>
                    <a:pt x="112771" y="73404"/>
                    <a:pt x="112771" y="74042"/>
                    <a:pt x="112771" y="74680"/>
                  </a:cubicBezTo>
                  <a:cubicBezTo>
                    <a:pt x="112771" y="74680"/>
                    <a:pt x="113493" y="75957"/>
                    <a:pt x="113493" y="75957"/>
                  </a:cubicBezTo>
                  <a:cubicBezTo>
                    <a:pt x="113493" y="75957"/>
                    <a:pt x="114216" y="75957"/>
                    <a:pt x="114216" y="76595"/>
                  </a:cubicBezTo>
                  <a:cubicBezTo>
                    <a:pt x="114216" y="77234"/>
                    <a:pt x="113493" y="78510"/>
                    <a:pt x="113493" y="78510"/>
                  </a:cubicBezTo>
                  <a:cubicBezTo>
                    <a:pt x="113493" y="78510"/>
                    <a:pt x="112771" y="81063"/>
                    <a:pt x="112771" y="81063"/>
                  </a:cubicBezTo>
                  <a:cubicBezTo>
                    <a:pt x="113493" y="81063"/>
                    <a:pt x="113493" y="82340"/>
                    <a:pt x="113493" y="82340"/>
                  </a:cubicBezTo>
                  <a:cubicBezTo>
                    <a:pt x="113493" y="84893"/>
                    <a:pt x="113493" y="84893"/>
                    <a:pt x="113493" y="84893"/>
                  </a:cubicBezTo>
                  <a:cubicBezTo>
                    <a:pt x="112771" y="86808"/>
                    <a:pt x="112771" y="86808"/>
                    <a:pt x="112771" y="86808"/>
                  </a:cubicBezTo>
                  <a:cubicBezTo>
                    <a:pt x="113493" y="88085"/>
                    <a:pt x="113493" y="88085"/>
                    <a:pt x="113493" y="88085"/>
                  </a:cubicBezTo>
                  <a:cubicBezTo>
                    <a:pt x="111325" y="89361"/>
                    <a:pt x="111325" y="89361"/>
                    <a:pt x="111325" y="89361"/>
                  </a:cubicBezTo>
                  <a:cubicBezTo>
                    <a:pt x="110602" y="90638"/>
                    <a:pt x="110602" y="90638"/>
                    <a:pt x="110602" y="90638"/>
                  </a:cubicBezTo>
                  <a:cubicBezTo>
                    <a:pt x="110602" y="90638"/>
                    <a:pt x="109156" y="91276"/>
                    <a:pt x="109156" y="91914"/>
                  </a:cubicBezTo>
                  <a:cubicBezTo>
                    <a:pt x="109156" y="91914"/>
                    <a:pt x="108433" y="92553"/>
                    <a:pt x="108433" y="93191"/>
                  </a:cubicBezTo>
                  <a:cubicBezTo>
                    <a:pt x="108433" y="93829"/>
                    <a:pt x="107710" y="94468"/>
                    <a:pt x="107710" y="94468"/>
                  </a:cubicBezTo>
                  <a:cubicBezTo>
                    <a:pt x="106987" y="95106"/>
                    <a:pt x="105542" y="96382"/>
                    <a:pt x="105542" y="96382"/>
                  </a:cubicBezTo>
                  <a:cubicBezTo>
                    <a:pt x="104819" y="97659"/>
                    <a:pt x="104819" y="97659"/>
                    <a:pt x="104819" y="97659"/>
                  </a:cubicBezTo>
                  <a:cubicBezTo>
                    <a:pt x="104819" y="97659"/>
                    <a:pt x="105542" y="98936"/>
                    <a:pt x="105542" y="98936"/>
                  </a:cubicBezTo>
                  <a:cubicBezTo>
                    <a:pt x="105542" y="99574"/>
                    <a:pt x="105542" y="99574"/>
                    <a:pt x="105542" y="99574"/>
                  </a:cubicBezTo>
                  <a:cubicBezTo>
                    <a:pt x="104096" y="100851"/>
                    <a:pt x="104096" y="100851"/>
                    <a:pt x="104096" y="100851"/>
                  </a:cubicBezTo>
                  <a:cubicBezTo>
                    <a:pt x="100481" y="103404"/>
                    <a:pt x="100481" y="103404"/>
                    <a:pt x="100481" y="103404"/>
                  </a:cubicBezTo>
                  <a:cubicBezTo>
                    <a:pt x="100481" y="103404"/>
                    <a:pt x="100481" y="104042"/>
                    <a:pt x="99759" y="104680"/>
                  </a:cubicBezTo>
                  <a:cubicBezTo>
                    <a:pt x="99759" y="105957"/>
                    <a:pt x="99036" y="105957"/>
                    <a:pt x="99036" y="105957"/>
                  </a:cubicBezTo>
                  <a:cubicBezTo>
                    <a:pt x="99036" y="105957"/>
                    <a:pt x="98313" y="105957"/>
                    <a:pt x="97590" y="105957"/>
                  </a:cubicBezTo>
                  <a:cubicBezTo>
                    <a:pt x="97590" y="105957"/>
                    <a:pt x="96867" y="105319"/>
                    <a:pt x="96867" y="105319"/>
                  </a:cubicBezTo>
                  <a:cubicBezTo>
                    <a:pt x="96867" y="106595"/>
                    <a:pt x="96867" y="106595"/>
                    <a:pt x="96867" y="106595"/>
                  </a:cubicBezTo>
                  <a:cubicBezTo>
                    <a:pt x="96867" y="106595"/>
                    <a:pt x="96867" y="107234"/>
                    <a:pt x="97590" y="107234"/>
                  </a:cubicBezTo>
                  <a:cubicBezTo>
                    <a:pt x="98313" y="107872"/>
                    <a:pt x="98313" y="108510"/>
                    <a:pt x="99036" y="108510"/>
                  </a:cubicBezTo>
                  <a:cubicBezTo>
                    <a:pt x="99036" y="109148"/>
                    <a:pt x="99759" y="109787"/>
                    <a:pt x="99759" y="109787"/>
                  </a:cubicBezTo>
                  <a:cubicBezTo>
                    <a:pt x="98313" y="111063"/>
                    <a:pt x="98313" y="111063"/>
                    <a:pt x="98313" y="111063"/>
                  </a:cubicBezTo>
                  <a:cubicBezTo>
                    <a:pt x="98313" y="111702"/>
                    <a:pt x="98313" y="111702"/>
                    <a:pt x="98313" y="111702"/>
                  </a:cubicBezTo>
                  <a:cubicBezTo>
                    <a:pt x="96867" y="111702"/>
                    <a:pt x="96867" y="111702"/>
                    <a:pt x="96867" y="111702"/>
                  </a:cubicBezTo>
                  <a:cubicBezTo>
                    <a:pt x="96144" y="111063"/>
                    <a:pt x="96144" y="111063"/>
                    <a:pt x="96144" y="111063"/>
                  </a:cubicBezTo>
                  <a:cubicBezTo>
                    <a:pt x="96144" y="111063"/>
                    <a:pt x="95421" y="111063"/>
                    <a:pt x="95421" y="111063"/>
                  </a:cubicBezTo>
                  <a:close/>
                </a:path>
              </a:pathLst>
            </a:custGeom>
            <a:pattFill prst="wdUpDiag">
              <a:fgClr>
                <a:srgbClr val="996633"/>
              </a:fgClr>
              <a:bgClr>
                <a:srgbClr val="00B050"/>
              </a:bgClr>
            </a:pattFill>
            <a:ln w="3175" cap="flat" cmpd="sng">
              <a:solidFill>
                <a:schemeClr val="tx1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endParaRPr kern="0">
                <a:solidFill>
                  <a:srgbClr val="7F7F7F"/>
                </a:solidFill>
                <a:latin typeface="Calibri" panose="020F0502020204030204" pitchFamily="34" charset="0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49" name="Shape 2045">
              <a:extLst>
                <a:ext uri="{FF2B5EF4-FFF2-40B4-BE49-F238E27FC236}">
                  <a16:creationId xmlns:a16="http://schemas.microsoft.com/office/drawing/2014/main" id="{8002E237-4A0F-B643-58F7-AD040FC36D7B}"/>
                </a:ext>
              </a:extLst>
            </p:cNvPr>
            <p:cNvSpPr/>
            <p:nvPr/>
          </p:nvSpPr>
          <p:spPr>
            <a:xfrm>
              <a:off x="2398226" y="3737202"/>
              <a:ext cx="373731" cy="565485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49887" y="3884"/>
                  </a:moveTo>
                  <a:cubicBezTo>
                    <a:pt x="49887" y="3884"/>
                    <a:pt x="52584" y="2589"/>
                    <a:pt x="52584" y="2589"/>
                  </a:cubicBezTo>
                  <a:cubicBezTo>
                    <a:pt x="52584" y="2589"/>
                    <a:pt x="53258" y="2158"/>
                    <a:pt x="53258" y="2158"/>
                  </a:cubicBezTo>
                  <a:cubicBezTo>
                    <a:pt x="53932" y="2158"/>
                    <a:pt x="54606" y="2158"/>
                    <a:pt x="55280" y="2158"/>
                  </a:cubicBezTo>
                  <a:cubicBezTo>
                    <a:pt x="55280" y="2158"/>
                    <a:pt x="55955" y="1726"/>
                    <a:pt x="55955" y="1726"/>
                  </a:cubicBezTo>
                  <a:cubicBezTo>
                    <a:pt x="56629" y="1294"/>
                    <a:pt x="56629" y="1294"/>
                    <a:pt x="56629" y="1294"/>
                  </a:cubicBezTo>
                  <a:cubicBezTo>
                    <a:pt x="57977" y="863"/>
                    <a:pt x="57977" y="863"/>
                    <a:pt x="57977" y="863"/>
                  </a:cubicBezTo>
                  <a:cubicBezTo>
                    <a:pt x="59325" y="863"/>
                    <a:pt x="59325" y="863"/>
                    <a:pt x="59325" y="863"/>
                  </a:cubicBezTo>
                  <a:cubicBezTo>
                    <a:pt x="59325" y="863"/>
                    <a:pt x="60000" y="863"/>
                    <a:pt x="60000" y="863"/>
                  </a:cubicBezTo>
                  <a:cubicBezTo>
                    <a:pt x="60000" y="863"/>
                    <a:pt x="62696" y="431"/>
                    <a:pt x="62696" y="431"/>
                  </a:cubicBezTo>
                  <a:cubicBezTo>
                    <a:pt x="62696" y="431"/>
                    <a:pt x="63370" y="863"/>
                    <a:pt x="64044" y="863"/>
                  </a:cubicBezTo>
                  <a:cubicBezTo>
                    <a:pt x="64044" y="863"/>
                    <a:pt x="65393" y="863"/>
                    <a:pt x="65393" y="863"/>
                  </a:cubicBezTo>
                  <a:cubicBezTo>
                    <a:pt x="66067" y="863"/>
                    <a:pt x="67415" y="431"/>
                    <a:pt x="67415" y="431"/>
                  </a:cubicBezTo>
                  <a:cubicBezTo>
                    <a:pt x="70112" y="0"/>
                    <a:pt x="70112" y="0"/>
                    <a:pt x="70112" y="0"/>
                  </a:cubicBezTo>
                  <a:cubicBezTo>
                    <a:pt x="70786" y="863"/>
                    <a:pt x="70786" y="863"/>
                    <a:pt x="70786" y="863"/>
                  </a:cubicBezTo>
                  <a:cubicBezTo>
                    <a:pt x="70786" y="863"/>
                    <a:pt x="70786" y="1726"/>
                    <a:pt x="70786" y="1726"/>
                  </a:cubicBezTo>
                  <a:cubicBezTo>
                    <a:pt x="70786" y="1726"/>
                    <a:pt x="70786" y="2158"/>
                    <a:pt x="71460" y="2158"/>
                  </a:cubicBezTo>
                  <a:cubicBezTo>
                    <a:pt x="72134" y="2158"/>
                    <a:pt x="72134" y="2158"/>
                    <a:pt x="72134" y="2158"/>
                  </a:cubicBezTo>
                  <a:cubicBezTo>
                    <a:pt x="72134" y="2589"/>
                    <a:pt x="72134" y="3884"/>
                    <a:pt x="72134" y="3884"/>
                  </a:cubicBezTo>
                  <a:cubicBezTo>
                    <a:pt x="70112" y="4316"/>
                    <a:pt x="70112" y="4316"/>
                    <a:pt x="70112" y="4316"/>
                  </a:cubicBezTo>
                  <a:cubicBezTo>
                    <a:pt x="70112" y="4316"/>
                    <a:pt x="69438" y="4316"/>
                    <a:pt x="69438" y="4748"/>
                  </a:cubicBezTo>
                  <a:cubicBezTo>
                    <a:pt x="69438" y="4748"/>
                    <a:pt x="68089" y="5179"/>
                    <a:pt x="68089" y="5179"/>
                  </a:cubicBezTo>
                  <a:cubicBezTo>
                    <a:pt x="68089" y="5611"/>
                    <a:pt x="67415" y="5611"/>
                    <a:pt x="68089" y="6043"/>
                  </a:cubicBezTo>
                  <a:cubicBezTo>
                    <a:pt x="68089" y="6474"/>
                    <a:pt x="68764" y="6906"/>
                    <a:pt x="68764" y="6906"/>
                  </a:cubicBezTo>
                  <a:cubicBezTo>
                    <a:pt x="68764" y="7769"/>
                    <a:pt x="68764" y="7769"/>
                    <a:pt x="68764" y="7769"/>
                  </a:cubicBezTo>
                  <a:cubicBezTo>
                    <a:pt x="68764" y="7769"/>
                    <a:pt x="68764" y="8201"/>
                    <a:pt x="69438" y="8201"/>
                  </a:cubicBezTo>
                  <a:cubicBezTo>
                    <a:pt x="69438" y="8633"/>
                    <a:pt x="70112" y="8201"/>
                    <a:pt x="70786" y="8201"/>
                  </a:cubicBezTo>
                  <a:cubicBezTo>
                    <a:pt x="72134" y="8201"/>
                    <a:pt x="72808" y="7769"/>
                    <a:pt x="73483" y="7769"/>
                  </a:cubicBezTo>
                  <a:cubicBezTo>
                    <a:pt x="73483" y="7769"/>
                    <a:pt x="74157" y="7769"/>
                    <a:pt x="74157" y="7769"/>
                  </a:cubicBezTo>
                  <a:cubicBezTo>
                    <a:pt x="74831" y="7338"/>
                    <a:pt x="76179" y="6906"/>
                    <a:pt x="76179" y="6906"/>
                  </a:cubicBezTo>
                  <a:cubicBezTo>
                    <a:pt x="76179" y="6906"/>
                    <a:pt x="76179" y="6043"/>
                    <a:pt x="76853" y="6474"/>
                  </a:cubicBezTo>
                  <a:cubicBezTo>
                    <a:pt x="76853" y="6474"/>
                    <a:pt x="76853" y="7338"/>
                    <a:pt x="76853" y="7338"/>
                  </a:cubicBezTo>
                  <a:cubicBezTo>
                    <a:pt x="76853" y="7338"/>
                    <a:pt x="76179" y="8201"/>
                    <a:pt x="76179" y="8201"/>
                  </a:cubicBezTo>
                  <a:cubicBezTo>
                    <a:pt x="76853" y="8633"/>
                    <a:pt x="77528" y="8201"/>
                    <a:pt x="77528" y="8201"/>
                  </a:cubicBezTo>
                  <a:cubicBezTo>
                    <a:pt x="78202" y="7769"/>
                    <a:pt x="78876" y="7769"/>
                    <a:pt x="78876" y="7769"/>
                  </a:cubicBezTo>
                  <a:cubicBezTo>
                    <a:pt x="80224" y="7769"/>
                    <a:pt x="80224" y="7769"/>
                    <a:pt x="80224" y="7769"/>
                  </a:cubicBezTo>
                  <a:cubicBezTo>
                    <a:pt x="80224" y="7769"/>
                    <a:pt x="81573" y="7769"/>
                    <a:pt x="81573" y="7769"/>
                  </a:cubicBezTo>
                  <a:cubicBezTo>
                    <a:pt x="81573" y="7769"/>
                    <a:pt x="82247" y="8201"/>
                    <a:pt x="82921" y="8201"/>
                  </a:cubicBezTo>
                  <a:cubicBezTo>
                    <a:pt x="82921" y="8633"/>
                    <a:pt x="84943" y="9064"/>
                    <a:pt x="84943" y="9064"/>
                  </a:cubicBezTo>
                  <a:cubicBezTo>
                    <a:pt x="84269" y="9928"/>
                    <a:pt x="84269" y="9928"/>
                    <a:pt x="84269" y="9928"/>
                  </a:cubicBezTo>
                  <a:cubicBezTo>
                    <a:pt x="84269" y="9928"/>
                    <a:pt x="83595" y="10791"/>
                    <a:pt x="84269" y="10791"/>
                  </a:cubicBezTo>
                  <a:cubicBezTo>
                    <a:pt x="84269" y="10791"/>
                    <a:pt x="84943" y="10359"/>
                    <a:pt x="84943" y="10359"/>
                  </a:cubicBezTo>
                  <a:cubicBezTo>
                    <a:pt x="85617" y="10359"/>
                    <a:pt x="86292" y="9928"/>
                    <a:pt x="86292" y="9928"/>
                  </a:cubicBezTo>
                  <a:cubicBezTo>
                    <a:pt x="86292" y="9928"/>
                    <a:pt x="86292" y="9496"/>
                    <a:pt x="86292" y="9496"/>
                  </a:cubicBezTo>
                  <a:cubicBezTo>
                    <a:pt x="86292" y="9928"/>
                    <a:pt x="87640" y="10359"/>
                    <a:pt x="87640" y="10359"/>
                  </a:cubicBezTo>
                  <a:cubicBezTo>
                    <a:pt x="87640" y="10359"/>
                    <a:pt x="88314" y="11223"/>
                    <a:pt x="88314" y="11223"/>
                  </a:cubicBezTo>
                  <a:cubicBezTo>
                    <a:pt x="88314" y="11223"/>
                    <a:pt x="89662" y="10791"/>
                    <a:pt x="89662" y="10791"/>
                  </a:cubicBezTo>
                  <a:cubicBezTo>
                    <a:pt x="89662" y="10791"/>
                    <a:pt x="89662" y="10791"/>
                    <a:pt x="90337" y="10791"/>
                  </a:cubicBezTo>
                  <a:cubicBezTo>
                    <a:pt x="91011" y="10791"/>
                    <a:pt x="91011" y="10791"/>
                    <a:pt x="91011" y="10791"/>
                  </a:cubicBezTo>
                  <a:cubicBezTo>
                    <a:pt x="91685" y="11223"/>
                    <a:pt x="93707" y="11223"/>
                    <a:pt x="93707" y="11223"/>
                  </a:cubicBezTo>
                  <a:cubicBezTo>
                    <a:pt x="95730" y="10359"/>
                    <a:pt x="95730" y="10359"/>
                    <a:pt x="95730" y="10359"/>
                  </a:cubicBezTo>
                  <a:cubicBezTo>
                    <a:pt x="96404" y="9064"/>
                    <a:pt x="96404" y="9064"/>
                    <a:pt x="96404" y="9064"/>
                  </a:cubicBezTo>
                  <a:cubicBezTo>
                    <a:pt x="96404" y="8633"/>
                    <a:pt x="96404" y="8633"/>
                    <a:pt x="96404" y="8633"/>
                  </a:cubicBezTo>
                  <a:cubicBezTo>
                    <a:pt x="96404" y="8633"/>
                    <a:pt x="97752" y="8201"/>
                    <a:pt x="97752" y="8201"/>
                  </a:cubicBezTo>
                  <a:cubicBezTo>
                    <a:pt x="97752" y="8201"/>
                    <a:pt x="98426" y="8201"/>
                    <a:pt x="98426" y="8633"/>
                  </a:cubicBezTo>
                  <a:cubicBezTo>
                    <a:pt x="98426" y="8633"/>
                    <a:pt x="99775" y="9496"/>
                    <a:pt x="99775" y="9496"/>
                  </a:cubicBezTo>
                  <a:cubicBezTo>
                    <a:pt x="99775" y="9496"/>
                    <a:pt x="101123" y="9496"/>
                    <a:pt x="101123" y="9496"/>
                  </a:cubicBezTo>
                  <a:cubicBezTo>
                    <a:pt x="101797" y="9496"/>
                    <a:pt x="101797" y="9064"/>
                    <a:pt x="102471" y="9496"/>
                  </a:cubicBezTo>
                  <a:cubicBezTo>
                    <a:pt x="102471" y="9928"/>
                    <a:pt x="102471" y="10359"/>
                    <a:pt x="103146" y="10359"/>
                  </a:cubicBezTo>
                  <a:cubicBezTo>
                    <a:pt x="103146" y="10359"/>
                    <a:pt x="103820" y="10359"/>
                    <a:pt x="103820" y="10359"/>
                  </a:cubicBezTo>
                  <a:cubicBezTo>
                    <a:pt x="104494" y="10791"/>
                    <a:pt x="105842" y="10791"/>
                    <a:pt x="105842" y="10791"/>
                  </a:cubicBezTo>
                  <a:cubicBezTo>
                    <a:pt x="106516" y="9928"/>
                    <a:pt x="106516" y="9928"/>
                    <a:pt x="106516" y="9928"/>
                  </a:cubicBezTo>
                  <a:cubicBezTo>
                    <a:pt x="106516" y="9928"/>
                    <a:pt x="106516" y="9496"/>
                    <a:pt x="107191" y="9928"/>
                  </a:cubicBezTo>
                  <a:cubicBezTo>
                    <a:pt x="107865" y="9928"/>
                    <a:pt x="107865" y="10791"/>
                    <a:pt x="107865" y="10791"/>
                  </a:cubicBezTo>
                  <a:cubicBezTo>
                    <a:pt x="107865" y="10791"/>
                    <a:pt x="108539" y="11223"/>
                    <a:pt x="108539" y="11223"/>
                  </a:cubicBezTo>
                  <a:cubicBezTo>
                    <a:pt x="108539" y="11223"/>
                    <a:pt x="110561" y="11654"/>
                    <a:pt x="110561" y="11654"/>
                  </a:cubicBezTo>
                  <a:cubicBezTo>
                    <a:pt x="110561" y="11654"/>
                    <a:pt x="111910" y="11223"/>
                    <a:pt x="111910" y="11223"/>
                  </a:cubicBezTo>
                  <a:cubicBezTo>
                    <a:pt x="112584" y="11223"/>
                    <a:pt x="112584" y="12086"/>
                    <a:pt x="112584" y="12086"/>
                  </a:cubicBezTo>
                  <a:cubicBezTo>
                    <a:pt x="112584" y="12086"/>
                    <a:pt x="112584" y="12517"/>
                    <a:pt x="112584" y="12517"/>
                  </a:cubicBezTo>
                  <a:cubicBezTo>
                    <a:pt x="111910" y="12949"/>
                    <a:pt x="111910" y="12949"/>
                    <a:pt x="112584" y="12949"/>
                  </a:cubicBezTo>
                  <a:cubicBezTo>
                    <a:pt x="112584" y="13381"/>
                    <a:pt x="113258" y="13812"/>
                    <a:pt x="113258" y="13812"/>
                  </a:cubicBezTo>
                  <a:cubicBezTo>
                    <a:pt x="113258" y="13812"/>
                    <a:pt x="112584" y="14676"/>
                    <a:pt x="112584" y="14676"/>
                  </a:cubicBezTo>
                  <a:cubicBezTo>
                    <a:pt x="112584" y="15107"/>
                    <a:pt x="111910" y="15539"/>
                    <a:pt x="111910" y="15539"/>
                  </a:cubicBezTo>
                  <a:cubicBezTo>
                    <a:pt x="111235" y="15971"/>
                    <a:pt x="111235" y="15971"/>
                    <a:pt x="111235" y="15971"/>
                  </a:cubicBezTo>
                  <a:cubicBezTo>
                    <a:pt x="111235" y="16402"/>
                    <a:pt x="111235" y="16402"/>
                    <a:pt x="111235" y="16402"/>
                  </a:cubicBezTo>
                  <a:cubicBezTo>
                    <a:pt x="111235" y="16834"/>
                    <a:pt x="111235" y="16834"/>
                    <a:pt x="111235" y="16834"/>
                  </a:cubicBezTo>
                  <a:cubicBezTo>
                    <a:pt x="111235" y="16834"/>
                    <a:pt x="111235" y="17266"/>
                    <a:pt x="111235" y="17266"/>
                  </a:cubicBezTo>
                  <a:cubicBezTo>
                    <a:pt x="110561" y="17266"/>
                    <a:pt x="111235" y="18129"/>
                    <a:pt x="111235" y="18129"/>
                  </a:cubicBezTo>
                  <a:cubicBezTo>
                    <a:pt x="111910" y="18561"/>
                    <a:pt x="111910" y="18561"/>
                    <a:pt x="111910" y="18561"/>
                  </a:cubicBezTo>
                  <a:cubicBezTo>
                    <a:pt x="111910" y="18561"/>
                    <a:pt x="113258" y="18129"/>
                    <a:pt x="113258" y="18129"/>
                  </a:cubicBezTo>
                  <a:cubicBezTo>
                    <a:pt x="113258" y="18129"/>
                    <a:pt x="115280" y="18561"/>
                    <a:pt x="115280" y="18561"/>
                  </a:cubicBezTo>
                  <a:cubicBezTo>
                    <a:pt x="115280" y="18561"/>
                    <a:pt x="116629" y="18992"/>
                    <a:pt x="116629" y="19424"/>
                  </a:cubicBezTo>
                  <a:cubicBezTo>
                    <a:pt x="117303" y="19424"/>
                    <a:pt x="118651" y="20287"/>
                    <a:pt x="118651" y="20287"/>
                  </a:cubicBezTo>
                  <a:cubicBezTo>
                    <a:pt x="120000" y="21582"/>
                    <a:pt x="120000" y="21582"/>
                    <a:pt x="120000" y="21582"/>
                  </a:cubicBezTo>
                  <a:cubicBezTo>
                    <a:pt x="118651" y="22446"/>
                    <a:pt x="118651" y="22446"/>
                    <a:pt x="118651" y="22446"/>
                  </a:cubicBezTo>
                  <a:cubicBezTo>
                    <a:pt x="117303" y="23741"/>
                    <a:pt x="117303" y="23741"/>
                    <a:pt x="117303" y="23741"/>
                  </a:cubicBezTo>
                  <a:cubicBezTo>
                    <a:pt x="115955" y="24172"/>
                    <a:pt x="115955" y="24172"/>
                    <a:pt x="115955" y="24172"/>
                  </a:cubicBezTo>
                  <a:cubicBezTo>
                    <a:pt x="115955" y="24172"/>
                    <a:pt x="115280" y="25035"/>
                    <a:pt x="115280" y="25035"/>
                  </a:cubicBezTo>
                  <a:cubicBezTo>
                    <a:pt x="115280" y="25035"/>
                    <a:pt x="113932" y="25467"/>
                    <a:pt x="113932" y="25467"/>
                  </a:cubicBezTo>
                  <a:cubicBezTo>
                    <a:pt x="113258" y="25467"/>
                    <a:pt x="113258" y="25467"/>
                    <a:pt x="113258" y="25467"/>
                  </a:cubicBezTo>
                  <a:cubicBezTo>
                    <a:pt x="111235" y="26762"/>
                    <a:pt x="111235" y="26762"/>
                    <a:pt x="111235" y="26762"/>
                  </a:cubicBezTo>
                  <a:cubicBezTo>
                    <a:pt x="109887" y="27194"/>
                    <a:pt x="109887" y="27194"/>
                    <a:pt x="109887" y="27194"/>
                  </a:cubicBezTo>
                  <a:cubicBezTo>
                    <a:pt x="108539" y="27625"/>
                    <a:pt x="108539" y="27625"/>
                    <a:pt x="108539" y="27625"/>
                  </a:cubicBezTo>
                  <a:cubicBezTo>
                    <a:pt x="107865" y="27625"/>
                    <a:pt x="107865" y="27625"/>
                    <a:pt x="107865" y="27625"/>
                  </a:cubicBezTo>
                  <a:cubicBezTo>
                    <a:pt x="106516" y="28489"/>
                    <a:pt x="106516" y="28489"/>
                    <a:pt x="106516" y="28489"/>
                  </a:cubicBezTo>
                  <a:cubicBezTo>
                    <a:pt x="105168" y="28057"/>
                    <a:pt x="105168" y="28057"/>
                    <a:pt x="105168" y="28057"/>
                  </a:cubicBezTo>
                  <a:cubicBezTo>
                    <a:pt x="103146" y="28489"/>
                    <a:pt x="103146" y="28489"/>
                    <a:pt x="103146" y="28489"/>
                  </a:cubicBezTo>
                  <a:cubicBezTo>
                    <a:pt x="103146" y="28920"/>
                    <a:pt x="103146" y="28920"/>
                    <a:pt x="103146" y="28920"/>
                  </a:cubicBezTo>
                  <a:cubicBezTo>
                    <a:pt x="100449" y="29784"/>
                    <a:pt x="100449" y="29784"/>
                    <a:pt x="100449" y="29784"/>
                  </a:cubicBezTo>
                  <a:cubicBezTo>
                    <a:pt x="99775" y="31079"/>
                    <a:pt x="99775" y="31079"/>
                    <a:pt x="99775" y="31079"/>
                  </a:cubicBezTo>
                  <a:cubicBezTo>
                    <a:pt x="99775" y="31079"/>
                    <a:pt x="98426" y="31079"/>
                    <a:pt x="98426" y="31510"/>
                  </a:cubicBezTo>
                  <a:cubicBezTo>
                    <a:pt x="97752" y="31510"/>
                    <a:pt x="97078" y="31942"/>
                    <a:pt x="97078" y="31942"/>
                  </a:cubicBezTo>
                  <a:cubicBezTo>
                    <a:pt x="95730" y="31510"/>
                    <a:pt x="95730" y="31510"/>
                    <a:pt x="95730" y="31510"/>
                  </a:cubicBezTo>
                  <a:cubicBezTo>
                    <a:pt x="95056" y="31942"/>
                    <a:pt x="95056" y="31942"/>
                    <a:pt x="95056" y="31942"/>
                  </a:cubicBezTo>
                  <a:cubicBezTo>
                    <a:pt x="95056" y="32805"/>
                    <a:pt x="95056" y="32805"/>
                    <a:pt x="95056" y="32805"/>
                  </a:cubicBezTo>
                  <a:cubicBezTo>
                    <a:pt x="95730" y="32805"/>
                    <a:pt x="95730" y="32805"/>
                    <a:pt x="95730" y="32805"/>
                  </a:cubicBezTo>
                  <a:cubicBezTo>
                    <a:pt x="95730" y="32805"/>
                    <a:pt x="95730" y="33669"/>
                    <a:pt x="95730" y="33669"/>
                  </a:cubicBezTo>
                  <a:cubicBezTo>
                    <a:pt x="95730" y="34100"/>
                    <a:pt x="95730" y="34964"/>
                    <a:pt x="95730" y="34964"/>
                  </a:cubicBezTo>
                  <a:cubicBezTo>
                    <a:pt x="97078" y="35395"/>
                    <a:pt x="97078" y="35395"/>
                    <a:pt x="97078" y="35395"/>
                  </a:cubicBezTo>
                  <a:cubicBezTo>
                    <a:pt x="97078" y="35395"/>
                    <a:pt x="97078" y="36690"/>
                    <a:pt x="96404" y="36690"/>
                  </a:cubicBezTo>
                  <a:cubicBezTo>
                    <a:pt x="96404" y="36690"/>
                    <a:pt x="95056" y="37122"/>
                    <a:pt x="95056" y="37122"/>
                  </a:cubicBezTo>
                  <a:cubicBezTo>
                    <a:pt x="95056" y="37553"/>
                    <a:pt x="95056" y="37553"/>
                    <a:pt x="95056" y="37553"/>
                  </a:cubicBezTo>
                  <a:cubicBezTo>
                    <a:pt x="95730" y="38417"/>
                    <a:pt x="95730" y="38417"/>
                    <a:pt x="95730" y="38417"/>
                  </a:cubicBezTo>
                  <a:cubicBezTo>
                    <a:pt x="95730" y="38417"/>
                    <a:pt x="95730" y="39712"/>
                    <a:pt x="95056" y="39712"/>
                  </a:cubicBezTo>
                  <a:cubicBezTo>
                    <a:pt x="95056" y="40143"/>
                    <a:pt x="94382" y="41007"/>
                    <a:pt x="94382" y="41007"/>
                  </a:cubicBezTo>
                  <a:cubicBezTo>
                    <a:pt x="93707" y="41438"/>
                    <a:pt x="93707" y="41438"/>
                    <a:pt x="93707" y="41438"/>
                  </a:cubicBezTo>
                  <a:cubicBezTo>
                    <a:pt x="93033" y="42302"/>
                    <a:pt x="93033" y="42302"/>
                    <a:pt x="93033" y="42302"/>
                  </a:cubicBezTo>
                  <a:cubicBezTo>
                    <a:pt x="93707" y="42733"/>
                    <a:pt x="93707" y="42733"/>
                    <a:pt x="93707" y="42733"/>
                  </a:cubicBezTo>
                  <a:cubicBezTo>
                    <a:pt x="93707" y="44028"/>
                    <a:pt x="93707" y="44028"/>
                    <a:pt x="93707" y="44028"/>
                  </a:cubicBezTo>
                  <a:cubicBezTo>
                    <a:pt x="92359" y="44460"/>
                    <a:pt x="92359" y="44460"/>
                    <a:pt x="92359" y="44460"/>
                  </a:cubicBezTo>
                  <a:cubicBezTo>
                    <a:pt x="91685" y="45755"/>
                    <a:pt x="91685" y="45755"/>
                    <a:pt x="91685" y="45755"/>
                  </a:cubicBezTo>
                  <a:cubicBezTo>
                    <a:pt x="92359" y="46187"/>
                    <a:pt x="92359" y="46187"/>
                    <a:pt x="92359" y="46187"/>
                  </a:cubicBezTo>
                  <a:cubicBezTo>
                    <a:pt x="93033" y="47050"/>
                    <a:pt x="93033" y="47050"/>
                    <a:pt x="93033" y="47050"/>
                  </a:cubicBezTo>
                  <a:cubicBezTo>
                    <a:pt x="92359" y="47913"/>
                    <a:pt x="92359" y="47913"/>
                    <a:pt x="92359" y="47913"/>
                  </a:cubicBezTo>
                  <a:cubicBezTo>
                    <a:pt x="91685" y="48345"/>
                    <a:pt x="91685" y="48345"/>
                    <a:pt x="91685" y="48345"/>
                  </a:cubicBezTo>
                  <a:cubicBezTo>
                    <a:pt x="91011" y="48345"/>
                    <a:pt x="91011" y="48345"/>
                    <a:pt x="91011" y="48345"/>
                  </a:cubicBezTo>
                  <a:cubicBezTo>
                    <a:pt x="89662" y="49208"/>
                    <a:pt x="89662" y="49208"/>
                    <a:pt x="89662" y="49208"/>
                  </a:cubicBezTo>
                  <a:cubicBezTo>
                    <a:pt x="88314" y="49208"/>
                    <a:pt x="88314" y="49208"/>
                    <a:pt x="88314" y="49208"/>
                  </a:cubicBezTo>
                  <a:cubicBezTo>
                    <a:pt x="87640" y="49208"/>
                    <a:pt x="87640" y="49208"/>
                    <a:pt x="87640" y="49208"/>
                  </a:cubicBezTo>
                  <a:cubicBezTo>
                    <a:pt x="86292" y="50071"/>
                    <a:pt x="86292" y="50071"/>
                    <a:pt x="86292" y="50071"/>
                  </a:cubicBezTo>
                  <a:cubicBezTo>
                    <a:pt x="85617" y="50071"/>
                    <a:pt x="85617" y="50071"/>
                    <a:pt x="85617" y="50071"/>
                  </a:cubicBezTo>
                  <a:cubicBezTo>
                    <a:pt x="84943" y="50503"/>
                    <a:pt x="84943" y="50503"/>
                    <a:pt x="84943" y="50503"/>
                  </a:cubicBezTo>
                  <a:cubicBezTo>
                    <a:pt x="84943" y="51366"/>
                    <a:pt x="84943" y="51366"/>
                    <a:pt x="84943" y="51366"/>
                  </a:cubicBezTo>
                  <a:cubicBezTo>
                    <a:pt x="84943" y="51366"/>
                    <a:pt x="84943" y="51798"/>
                    <a:pt x="84943" y="51798"/>
                  </a:cubicBezTo>
                  <a:cubicBezTo>
                    <a:pt x="85617" y="51798"/>
                    <a:pt x="85617" y="52230"/>
                    <a:pt x="85617" y="52230"/>
                  </a:cubicBezTo>
                  <a:cubicBezTo>
                    <a:pt x="86292" y="53093"/>
                    <a:pt x="86292" y="53093"/>
                    <a:pt x="86292" y="53093"/>
                  </a:cubicBezTo>
                  <a:cubicBezTo>
                    <a:pt x="86966" y="53956"/>
                    <a:pt x="86966" y="53956"/>
                    <a:pt x="86966" y="53956"/>
                  </a:cubicBezTo>
                  <a:cubicBezTo>
                    <a:pt x="87640" y="55251"/>
                    <a:pt x="87640" y="55251"/>
                    <a:pt x="87640" y="55251"/>
                  </a:cubicBezTo>
                  <a:cubicBezTo>
                    <a:pt x="87640" y="55251"/>
                    <a:pt x="86966" y="56115"/>
                    <a:pt x="86966" y="56115"/>
                  </a:cubicBezTo>
                  <a:cubicBezTo>
                    <a:pt x="86966" y="56115"/>
                    <a:pt x="86292" y="56978"/>
                    <a:pt x="86292" y="56978"/>
                  </a:cubicBezTo>
                  <a:cubicBezTo>
                    <a:pt x="85617" y="57841"/>
                    <a:pt x="85617" y="57841"/>
                    <a:pt x="85617" y="57841"/>
                  </a:cubicBezTo>
                  <a:cubicBezTo>
                    <a:pt x="84943" y="58705"/>
                    <a:pt x="84943" y="58705"/>
                    <a:pt x="84943" y="58705"/>
                  </a:cubicBezTo>
                  <a:cubicBezTo>
                    <a:pt x="84269" y="59136"/>
                    <a:pt x="84269" y="59136"/>
                    <a:pt x="84269" y="59136"/>
                  </a:cubicBezTo>
                  <a:cubicBezTo>
                    <a:pt x="82921" y="59136"/>
                    <a:pt x="82921" y="59136"/>
                    <a:pt x="82921" y="59136"/>
                  </a:cubicBezTo>
                  <a:cubicBezTo>
                    <a:pt x="82921" y="59568"/>
                    <a:pt x="82921" y="59568"/>
                    <a:pt x="82921" y="59568"/>
                  </a:cubicBezTo>
                  <a:cubicBezTo>
                    <a:pt x="82247" y="60431"/>
                    <a:pt x="82247" y="60431"/>
                    <a:pt x="82247" y="60431"/>
                  </a:cubicBezTo>
                  <a:cubicBezTo>
                    <a:pt x="82247" y="60863"/>
                    <a:pt x="82247" y="60863"/>
                    <a:pt x="82247" y="60863"/>
                  </a:cubicBezTo>
                  <a:cubicBezTo>
                    <a:pt x="81573" y="60863"/>
                    <a:pt x="81573" y="60863"/>
                    <a:pt x="81573" y="60863"/>
                  </a:cubicBezTo>
                  <a:cubicBezTo>
                    <a:pt x="81573" y="61726"/>
                    <a:pt x="81573" y="61726"/>
                    <a:pt x="81573" y="61726"/>
                  </a:cubicBezTo>
                  <a:cubicBezTo>
                    <a:pt x="80898" y="62158"/>
                    <a:pt x="80898" y="62158"/>
                    <a:pt x="80898" y="62158"/>
                  </a:cubicBezTo>
                  <a:cubicBezTo>
                    <a:pt x="80898" y="62158"/>
                    <a:pt x="80224" y="62158"/>
                    <a:pt x="80224" y="62158"/>
                  </a:cubicBezTo>
                  <a:cubicBezTo>
                    <a:pt x="79550" y="62158"/>
                    <a:pt x="78876" y="62589"/>
                    <a:pt x="78876" y="62589"/>
                  </a:cubicBezTo>
                  <a:cubicBezTo>
                    <a:pt x="78876" y="62589"/>
                    <a:pt x="77528" y="62589"/>
                    <a:pt x="77528" y="62158"/>
                  </a:cubicBezTo>
                  <a:cubicBezTo>
                    <a:pt x="77528" y="62158"/>
                    <a:pt x="76853" y="62589"/>
                    <a:pt x="76179" y="62158"/>
                  </a:cubicBezTo>
                  <a:cubicBezTo>
                    <a:pt x="76179" y="62158"/>
                    <a:pt x="75505" y="61726"/>
                    <a:pt x="75505" y="61726"/>
                  </a:cubicBezTo>
                  <a:cubicBezTo>
                    <a:pt x="74831" y="61726"/>
                    <a:pt x="74831" y="61726"/>
                    <a:pt x="74831" y="61726"/>
                  </a:cubicBezTo>
                  <a:cubicBezTo>
                    <a:pt x="73483" y="61726"/>
                    <a:pt x="73483" y="61726"/>
                    <a:pt x="73483" y="61726"/>
                  </a:cubicBezTo>
                  <a:cubicBezTo>
                    <a:pt x="71460" y="61726"/>
                    <a:pt x="71460" y="61726"/>
                    <a:pt x="71460" y="61726"/>
                  </a:cubicBezTo>
                  <a:cubicBezTo>
                    <a:pt x="70112" y="61726"/>
                    <a:pt x="70112" y="61726"/>
                    <a:pt x="70112" y="61726"/>
                  </a:cubicBezTo>
                  <a:cubicBezTo>
                    <a:pt x="70112" y="61294"/>
                    <a:pt x="70112" y="61294"/>
                    <a:pt x="70112" y="61294"/>
                  </a:cubicBezTo>
                  <a:cubicBezTo>
                    <a:pt x="69438" y="61726"/>
                    <a:pt x="69438" y="61726"/>
                    <a:pt x="69438" y="61726"/>
                  </a:cubicBezTo>
                  <a:cubicBezTo>
                    <a:pt x="68764" y="60863"/>
                    <a:pt x="68764" y="60863"/>
                    <a:pt x="68764" y="60863"/>
                  </a:cubicBezTo>
                  <a:cubicBezTo>
                    <a:pt x="67415" y="60863"/>
                    <a:pt x="67415" y="60863"/>
                    <a:pt x="67415" y="60863"/>
                  </a:cubicBezTo>
                  <a:cubicBezTo>
                    <a:pt x="66067" y="60863"/>
                    <a:pt x="66067" y="60863"/>
                    <a:pt x="66067" y="60863"/>
                  </a:cubicBezTo>
                  <a:cubicBezTo>
                    <a:pt x="66067" y="60863"/>
                    <a:pt x="66067" y="61294"/>
                    <a:pt x="66741" y="61726"/>
                  </a:cubicBezTo>
                  <a:cubicBezTo>
                    <a:pt x="66741" y="61726"/>
                    <a:pt x="67415" y="62589"/>
                    <a:pt x="67415" y="62589"/>
                  </a:cubicBezTo>
                  <a:cubicBezTo>
                    <a:pt x="67415" y="62589"/>
                    <a:pt x="67415" y="63453"/>
                    <a:pt x="67415" y="63453"/>
                  </a:cubicBezTo>
                  <a:cubicBezTo>
                    <a:pt x="67415" y="63453"/>
                    <a:pt x="68764" y="64316"/>
                    <a:pt x="68764" y="64316"/>
                  </a:cubicBezTo>
                  <a:cubicBezTo>
                    <a:pt x="68764" y="64748"/>
                    <a:pt x="68764" y="64748"/>
                    <a:pt x="68764" y="64748"/>
                  </a:cubicBezTo>
                  <a:cubicBezTo>
                    <a:pt x="68764" y="64748"/>
                    <a:pt x="69438" y="65611"/>
                    <a:pt x="69438" y="65611"/>
                  </a:cubicBezTo>
                  <a:cubicBezTo>
                    <a:pt x="69438" y="65611"/>
                    <a:pt x="70786" y="66043"/>
                    <a:pt x="70786" y="66043"/>
                  </a:cubicBezTo>
                  <a:cubicBezTo>
                    <a:pt x="70786" y="66906"/>
                    <a:pt x="70786" y="66906"/>
                    <a:pt x="70786" y="66906"/>
                  </a:cubicBezTo>
                  <a:cubicBezTo>
                    <a:pt x="70112" y="67338"/>
                    <a:pt x="70112" y="67338"/>
                    <a:pt x="70112" y="67338"/>
                  </a:cubicBezTo>
                  <a:cubicBezTo>
                    <a:pt x="69438" y="67769"/>
                    <a:pt x="69438" y="67769"/>
                    <a:pt x="69438" y="67769"/>
                  </a:cubicBezTo>
                  <a:cubicBezTo>
                    <a:pt x="70112" y="68633"/>
                    <a:pt x="70112" y="68633"/>
                    <a:pt x="70112" y="68633"/>
                  </a:cubicBezTo>
                  <a:cubicBezTo>
                    <a:pt x="70112" y="69496"/>
                    <a:pt x="70112" y="69496"/>
                    <a:pt x="70112" y="69496"/>
                  </a:cubicBezTo>
                  <a:cubicBezTo>
                    <a:pt x="70786" y="69928"/>
                    <a:pt x="70786" y="69928"/>
                    <a:pt x="70786" y="69928"/>
                  </a:cubicBezTo>
                  <a:cubicBezTo>
                    <a:pt x="70786" y="70359"/>
                    <a:pt x="70786" y="70359"/>
                    <a:pt x="70786" y="70359"/>
                  </a:cubicBezTo>
                  <a:cubicBezTo>
                    <a:pt x="70112" y="70791"/>
                    <a:pt x="70112" y="70791"/>
                    <a:pt x="70112" y="70791"/>
                  </a:cubicBezTo>
                  <a:cubicBezTo>
                    <a:pt x="70112" y="71654"/>
                    <a:pt x="70112" y="71654"/>
                    <a:pt x="70112" y="71654"/>
                  </a:cubicBezTo>
                  <a:cubicBezTo>
                    <a:pt x="70786" y="72517"/>
                    <a:pt x="70786" y="72517"/>
                    <a:pt x="70786" y="72517"/>
                  </a:cubicBezTo>
                  <a:cubicBezTo>
                    <a:pt x="71460" y="73381"/>
                    <a:pt x="71460" y="73381"/>
                    <a:pt x="71460" y="73381"/>
                  </a:cubicBezTo>
                  <a:cubicBezTo>
                    <a:pt x="72808" y="73381"/>
                    <a:pt x="72808" y="73381"/>
                    <a:pt x="72808" y="73381"/>
                  </a:cubicBezTo>
                  <a:cubicBezTo>
                    <a:pt x="72808" y="74244"/>
                    <a:pt x="72808" y="74244"/>
                    <a:pt x="72808" y="74244"/>
                  </a:cubicBezTo>
                  <a:cubicBezTo>
                    <a:pt x="72134" y="74676"/>
                    <a:pt x="72134" y="74676"/>
                    <a:pt x="72134" y="74676"/>
                  </a:cubicBezTo>
                  <a:cubicBezTo>
                    <a:pt x="72134" y="74676"/>
                    <a:pt x="72134" y="75107"/>
                    <a:pt x="72134" y="75107"/>
                  </a:cubicBezTo>
                  <a:cubicBezTo>
                    <a:pt x="72808" y="75107"/>
                    <a:pt x="73483" y="75539"/>
                    <a:pt x="73483" y="75539"/>
                  </a:cubicBezTo>
                  <a:cubicBezTo>
                    <a:pt x="74831" y="75107"/>
                    <a:pt x="74831" y="75107"/>
                    <a:pt x="74831" y="75107"/>
                  </a:cubicBezTo>
                  <a:cubicBezTo>
                    <a:pt x="74831" y="75107"/>
                    <a:pt x="75505" y="75107"/>
                    <a:pt x="75505" y="75107"/>
                  </a:cubicBezTo>
                  <a:cubicBezTo>
                    <a:pt x="75505" y="75539"/>
                    <a:pt x="76179" y="76402"/>
                    <a:pt x="76179" y="76402"/>
                  </a:cubicBezTo>
                  <a:cubicBezTo>
                    <a:pt x="76853" y="76834"/>
                    <a:pt x="76853" y="76834"/>
                    <a:pt x="76853" y="76834"/>
                  </a:cubicBezTo>
                  <a:cubicBezTo>
                    <a:pt x="76853" y="77697"/>
                    <a:pt x="76853" y="77697"/>
                    <a:pt x="76853" y="77697"/>
                  </a:cubicBezTo>
                  <a:cubicBezTo>
                    <a:pt x="75505" y="78561"/>
                    <a:pt x="75505" y="78561"/>
                    <a:pt x="75505" y="78561"/>
                  </a:cubicBezTo>
                  <a:cubicBezTo>
                    <a:pt x="74157" y="79424"/>
                    <a:pt x="74157" y="79424"/>
                    <a:pt x="74157" y="79424"/>
                  </a:cubicBezTo>
                  <a:cubicBezTo>
                    <a:pt x="73483" y="79856"/>
                    <a:pt x="73483" y="79856"/>
                    <a:pt x="73483" y="79856"/>
                  </a:cubicBezTo>
                  <a:cubicBezTo>
                    <a:pt x="73483" y="80719"/>
                    <a:pt x="73483" y="80719"/>
                    <a:pt x="73483" y="80719"/>
                  </a:cubicBezTo>
                  <a:cubicBezTo>
                    <a:pt x="72808" y="81151"/>
                    <a:pt x="72808" y="81151"/>
                    <a:pt x="72808" y="81151"/>
                  </a:cubicBezTo>
                  <a:cubicBezTo>
                    <a:pt x="71460" y="81582"/>
                    <a:pt x="71460" y="81582"/>
                    <a:pt x="71460" y="81582"/>
                  </a:cubicBezTo>
                  <a:cubicBezTo>
                    <a:pt x="70112" y="82014"/>
                    <a:pt x="70112" y="82014"/>
                    <a:pt x="70112" y="82014"/>
                  </a:cubicBezTo>
                  <a:cubicBezTo>
                    <a:pt x="69438" y="82014"/>
                    <a:pt x="69438" y="82014"/>
                    <a:pt x="69438" y="82014"/>
                  </a:cubicBezTo>
                  <a:cubicBezTo>
                    <a:pt x="68764" y="82446"/>
                    <a:pt x="68764" y="82446"/>
                    <a:pt x="68764" y="82446"/>
                  </a:cubicBezTo>
                  <a:cubicBezTo>
                    <a:pt x="66741" y="82877"/>
                    <a:pt x="66741" y="82877"/>
                    <a:pt x="66741" y="82877"/>
                  </a:cubicBezTo>
                  <a:cubicBezTo>
                    <a:pt x="66067" y="82877"/>
                    <a:pt x="66067" y="82877"/>
                    <a:pt x="66067" y="82877"/>
                  </a:cubicBezTo>
                  <a:cubicBezTo>
                    <a:pt x="64719" y="84604"/>
                    <a:pt x="64719" y="84604"/>
                    <a:pt x="64719" y="84604"/>
                  </a:cubicBezTo>
                  <a:cubicBezTo>
                    <a:pt x="64719" y="84604"/>
                    <a:pt x="64719" y="85467"/>
                    <a:pt x="64719" y="85467"/>
                  </a:cubicBezTo>
                  <a:cubicBezTo>
                    <a:pt x="64719" y="85467"/>
                    <a:pt x="65393" y="85899"/>
                    <a:pt x="65393" y="85899"/>
                  </a:cubicBezTo>
                  <a:cubicBezTo>
                    <a:pt x="65393" y="85899"/>
                    <a:pt x="64044" y="86762"/>
                    <a:pt x="64044" y="86762"/>
                  </a:cubicBezTo>
                  <a:cubicBezTo>
                    <a:pt x="64044" y="86762"/>
                    <a:pt x="62696" y="87194"/>
                    <a:pt x="62696" y="87194"/>
                  </a:cubicBezTo>
                  <a:cubicBezTo>
                    <a:pt x="62022" y="88057"/>
                    <a:pt x="62022" y="88057"/>
                    <a:pt x="62022" y="88057"/>
                  </a:cubicBezTo>
                  <a:cubicBezTo>
                    <a:pt x="62696" y="88489"/>
                    <a:pt x="62696" y="88489"/>
                    <a:pt x="62696" y="88489"/>
                  </a:cubicBezTo>
                  <a:cubicBezTo>
                    <a:pt x="61348" y="88489"/>
                    <a:pt x="61348" y="88489"/>
                    <a:pt x="61348" y="88489"/>
                  </a:cubicBezTo>
                  <a:cubicBezTo>
                    <a:pt x="62022" y="89352"/>
                    <a:pt x="62022" y="89352"/>
                    <a:pt x="62022" y="89352"/>
                  </a:cubicBezTo>
                  <a:cubicBezTo>
                    <a:pt x="61348" y="89784"/>
                    <a:pt x="61348" y="89784"/>
                    <a:pt x="61348" y="89784"/>
                  </a:cubicBezTo>
                  <a:cubicBezTo>
                    <a:pt x="62022" y="90215"/>
                    <a:pt x="62022" y="90215"/>
                    <a:pt x="62022" y="90215"/>
                  </a:cubicBezTo>
                  <a:cubicBezTo>
                    <a:pt x="62022" y="90215"/>
                    <a:pt x="62696" y="91510"/>
                    <a:pt x="62696" y="91510"/>
                  </a:cubicBezTo>
                  <a:cubicBezTo>
                    <a:pt x="62696" y="91942"/>
                    <a:pt x="63370" y="92374"/>
                    <a:pt x="63370" y="92374"/>
                  </a:cubicBezTo>
                  <a:cubicBezTo>
                    <a:pt x="63370" y="92374"/>
                    <a:pt x="64044" y="92805"/>
                    <a:pt x="64044" y="92805"/>
                  </a:cubicBezTo>
                  <a:cubicBezTo>
                    <a:pt x="64044" y="93237"/>
                    <a:pt x="64044" y="93669"/>
                    <a:pt x="64044" y="94100"/>
                  </a:cubicBezTo>
                  <a:cubicBezTo>
                    <a:pt x="64044" y="94532"/>
                    <a:pt x="64719" y="95395"/>
                    <a:pt x="64719" y="95395"/>
                  </a:cubicBezTo>
                  <a:cubicBezTo>
                    <a:pt x="65393" y="96258"/>
                    <a:pt x="65393" y="96258"/>
                    <a:pt x="65393" y="96258"/>
                  </a:cubicBezTo>
                  <a:cubicBezTo>
                    <a:pt x="65393" y="96258"/>
                    <a:pt x="65393" y="96690"/>
                    <a:pt x="65393" y="96690"/>
                  </a:cubicBezTo>
                  <a:cubicBezTo>
                    <a:pt x="66067" y="96690"/>
                    <a:pt x="67415" y="96690"/>
                    <a:pt x="67415" y="96690"/>
                  </a:cubicBezTo>
                  <a:cubicBezTo>
                    <a:pt x="67415" y="96690"/>
                    <a:pt x="68764" y="96690"/>
                    <a:pt x="68764" y="96690"/>
                  </a:cubicBezTo>
                  <a:cubicBezTo>
                    <a:pt x="68764" y="96690"/>
                    <a:pt x="69438" y="96258"/>
                    <a:pt x="70112" y="96690"/>
                  </a:cubicBezTo>
                  <a:cubicBezTo>
                    <a:pt x="70112" y="96690"/>
                    <a:pt x="70112" y="97122"/>
                    <a:pt x="70112" y="97122"/>
                  </a:cubicBezTo>
                  <a:cubicBezTo>
                    <a:pt x="70112" y="97122"/>
                    <a:pt x="70112" y="97553"/>
                    <a:pt x="70112" y="97553"/>
                  </a:cubicBezTo>
                  <a:cubicBezTo>
                    <a:pt x="67415" y="99280"/>
                    <a:pt x="67415" y="99280"/>
                    <a:pt x="67415" y="99280"/>
                  </a:cubicBezTo>
                  <a:cubicBezTo>
                    <a:pt x="67415" y="100575"/>
                    <a:pt x="67415" y="100575"/>
                    <a:pt x="67415" y="100575"/>
                  </a:cubicBezTo>
                  <a:cubicBezTo>
                    <a:pt x="67415" y="100575"/>
                    <a:pt x="66741" y="100575"/>
                    <a:pt x="66741" y="100575"/>
                  </a:cubicBezTo>
                  <a:cubicBezTo>
                    <a:pt x="66067" y="100575"/>
                    <a:pt x="65393" y="100575"/>
                    <a:pt x="65393" y="100575"/>
                  </a:cubicBezTo>
                  <a:cubicBezTo>
                    <a:pt x="64044" y="99712"/>
                    <a:pt x="64044" y="99712"/>
                    <a:pt x="64044" y="99712"/>
                  </a:cubicBezTo>
                  <a:cubicBezTo>
                    <a:pt x="62696" y="100143"/>
                    <a:pt x="62696" y="100143"/>
                    <a:pt x="62696" y="100143"/>
                  </a:cubicBezTo>
                  <a:cubicBezTo>
                    <a:pt x="62696" y="100575"/>
                    <a:pt x="62696" y="100575"/>
                    <a:pt x="62696" y="100575"/>
                  </a:cubicBezTo>
                  <a:cubicBezTo>
                    <a:pt x="62696" y="100575"/>
                    <a:pt x="61348" y="100575"/>
                    <a:pt x="61348" y="100575"/>
                  </a:cubicBezTo>
                  <a:cubicBezTo>
                    <a:pt x="61348" y="100575"/>
                    <a:pt x="59325" y="100575"/>
                    <a:pt x="59325" y="100575"/>
                  </a:cubicBezTo>
                  <a:cubicBezTo>
                    <a:pt x="58651" y="101007"/>
                    <a:pt x="58651" y="101007"/>
                    <a:pt x="58651" y="101007"/>
                  </a:cubicBezTo>
                  <a:cubicBezTo>
                    <a:pt x="57977" y="102733"/>
                    <a:pt x="57977" y="102733"/>
                    <a:pt x="57977" y="102733"/>
                  </a:cubicBezTo>
                  <a:cubicBezTo>
                    <a:pt x="56629" y="103597"/>
                    <a:pt x="56629" y="103597"/>
                    <a:pt x="56629" y="103597"/>
                  </a:cubicBezTo>
                  <a:cubicBezTo>
                    <a:pt x="55280" y="104028"/>
                    <a:pt x="55280" y="104028"/>
                    <a:pt x="55280" y="104028"/>
                  </a:cubicBezTo>
                  <a:cubicBezTo>
                    <a:pt x="53932" y="104892"/>
                    <a:pt x="53932" y="104892"/>
                    <a:pt x="53932" y="104892"/>
                  </a:cubicBezTo>
                  <a:cubicBezTo>
                    <a:pt x="51910" y="105323"/>
                    <a:pt x="51910" y="105323"/>
                    <a:pt x="51910" y="105323"/>
                  </a:cubicBezTo>
                  <a:cubicBezTo>
                    <a:pt x="51910" y="105323"/>
                    <a:pt x="51235" y="105755"/>
                    <a:pt x="51235" y="105755"/>
                  </a:cubicBezTo>
                  <a:cubicBezTo>
                    <a:pt x="51235" y="106187"/>
                    <a:pt x="50561" y="107482"/>
                    <a:pt x="50561" y="107482"/>
                  </a:cubicBezTo>
                  <a:cubicBezTo>
                    <a:pt x="50561" y="107482"/>
                    <a:pt x="49213" y="107913"/>
                    <a:pt x="49213" y="108345"/>
                  </a:cubicBezTo>
                  <a:cubicBezTo>
                    <a:pt x="49213" y="108345"/>
                    <a:pt x="47865" y="108776"/>
                    <a:pt x="47865" y="108776"/>
                  </a:cubicBezTo>
                  <a:cubicBezTo>
                    <a:pt x="47865" y="108776"/>
                    <a:pt x="47865" y="109640"/>
                    <a:pt x="47865" y="109640"/>
                  </a:cubicBezTo>
                  <a:cubicBezTo>
                    <a:pt x="47865" y="109640"/>
                    <a:pt x="48539" y="110503"/>
                    <a:pt x="48539" y="110503"/>
                  </a:cubicBezTo>
                  <a:cubicBezTo>
                    <a:pt x="48539" y="111798"/>
                    <a:pt x="48539" y="111798"/>
                    <a:pt x="48539" y="111798"/>
                  </a:cubicBezTo>
                  <a:cubicBezTo>
                    <a:pt x="48539" y="112661"/>
                    <a:pt x="48539" y="112661"/>
                    <a:pt x="48539" y="112661"/>
                  </a:cubicBezTo>
                  <a:cubicBezTo>
                    <a:pt x="49213" y="113525"/>
                    <a:pt x="49213" y="113525"/>
                    <a:pt x="49213" y="113525"/>
                  </a:cubicBezTo>
                  <a:cubicBezTo>
                    <a:pt x="48539" y="114388"/>
                    <a:pt x="48539" y="114388"/>
                    <a:pt x="48539" y="114388"/>
                  </a:cubicBezTo>
                  <a:cubicBezTo>
                    <a:pt x="47865" y="115683"/>
                    <a:pt x="47865" y="115683"/>
                    <a:pt x="47865" y="115683"/>
                  </a:cubicBezTo>
                  <a:cubicBezTo>
                    <a:pt x="47865" y="116115"/>
                    <a:pt x="47865" y="116115"/>
                    <a:pt x="47865" y="116115"/>
                  </a:cubicBezTo>
                  <a:cubicBezTo>
                    <a:pt x="47865" y="116978"/>
                    <a:pt x="47865" y="116978"/>
                    <a:pt x="47865" y="116978"/>
                  </a:cubicBezTo>
                  <a:cubicBezTo>
                    <a:pt x="47865" y="118705"/>
                    <a:pt x="47865" y="118705"/>
                    <a:pt x="47865" y="118705"/>
                  </a:cubicBezTo>
                  <a:cubicBezTo>
                    <a:pt x="45842" y="118273"/>
                    <a:pt x="45842" y="118273"/>
                    <a:pt x="45842" y="118273"/>
                  </a:cubicBezTo>
                  <a:cubicBezTo>
                    <a:pt x="43820" y="118273"/>
                    <a:pt x="43820" y="118273"/>
                    <a:pt x="43820" y="118273"/>
                  </a:cubicBezTo>
                  <a:cubicBezTo>
                    <a:pt x="41797" y="118705"/>
                    <a:pt x="41797" y="118705"/>
                    <a:pt x="41797" y="118705"/>
                  </a:cubicBezTo>
                  <a:cubicBezTo>
                    <a:pt x="39101" y="119568"/>
                    <a:pt x="39101" y="119568"/>
                    <a:pt x="39101" y="119568"/>
                  </a:cubicBezTo>
                  <a:cubicBezTo>
                    <a:pt x="35056" y="120000"/>
                    <a:pt x="35056" y="120000"/>
                    <a:pt x="35056" y="120000"/>
                  </a:cubicBezTo>
                  <a:cubicBezTo>
                    <a:pt x="31685" y="120000"/>
                    <a:pt x="31685" y="120000"/>
                    <a:pt x="31685" y="120000"/>
                  </a:cubicBezTo>
                  <a:cubicBezTo>
                    <a:pt x="29662" y="119568"/>
                    <a:pt x="29662" y="119568"/>
                    <a:pt x="29662" y="119568"/>
                  </a:cubicBezTo>
                  <a:cubicBezTo>
                    <a:pt x="28314" y="119136"/>
                    <a:pt x="28314" y="119136"/>
                    <a:pt x="28314" y="119136"/>
                  </a:cubicBezTo>
                  <a:cubicBezTo>
                    <a:pt x="26966" y="118273"/>
                    <a:pt x="26966" y="118273"/>
                    <a:pt x="26966" y="118273"/>
                  </a:cubicBezTo>
                  <a:cubicBezTo>
                    <a:pt x="24943" y="116978"/>
                    <a:pt x="24943" y="116978"/>
                    <a:pt x="24943" y="116978"/>
                  </a:cubicBezTo>
                  <a:cubicBezTo>
                    <a:pt x="22921" y="116978"/>
                    <a:pt x="22921" y="116978"/>
                    <a:pt x="22921" y="116978"/>
                  </a:cubicBezTo>
                  <a:cubicBezTo>
                    <a:pt x="21573" y="116546"/>
                    <a:pt x="21573" y="116546"/>
                    <a:pt x="21573" y="116546"/>
                  </a:cubicBezTo>
                  <a:cubicBezTo>
                    <a:pt x="20224" y="116115"/>
                    <a:pt x="20224" y="116115"/>
                    <a:pt x="20224" y="116115"/>
                  </a:cubicBezTo>
                  <a:cubicBezTo>
                    <a:pt x="18876" y="115683"/>
                    <a:pt x="18876" y="115683"/>
                    <a:pt x="18876" y="115683"/>
                  </a:cubicBezTo>
                  <a:cubicBezTo>
                    <a:pt x="17528" y="115683"/>
                    <a:pt x="17528" y="115683"/>
                    <a:pt x="17528" y="115683"/>
                  </a:cubicBezTo>
                  <a:cubicBezTo>
                    <a:pt x="14831" y="114820"/>
                    <a:pt x="14831" y="114820"/>
                    <a:pt x="14831" y="114820"/>
                  </a:cubicBezTo>
                  <a:cubicBezTo>
                    <a:pt x="12134" y="113956"/>
                    <a:pt x="12134" y="113956"/>
                    <a:pt x="12134" y="113956"/>
                  </a:cubicBezTo>
                  <a:cubicBezTo>
                    <a:pt x="10786" y="114388"/>
                    <a:pt x="10786" y="114388"/>
                    <a:pt x="10786" y="114388"/>
                  </a:cubicBezTo>
                  <a:cubicBezTo>
                    <a:pt x="10786" y="114820"/>
                    <a:pt x="10786" y="114820"/>
                    <a:pt x="10786" y="114820"/>
                  </a:cubicBezTo>
                  <a:cubicBezTo>
                    <a:pt x="8764" y="114388"/>
                    <a:pt x="8764" y="114388"/>
                    <a:pt x="8764" y="114388"/>
                  </a:cubicBezTo>
                  <a:cubicBezTo>
                    <a:pt x="7415" y="114388"/>
                    <a:pt x="7415" y="114388"/>
                    <a:pt x="7415" y="114388"/>
                  </a:cubicBezTo>
                  <a:cubicBezTo>
                    <a:pt x="6067" y="114388"/>
                    <a:pt x="6067" y="114388"/>
                    <a:pt x="6067" y="114388"/>
                  </a:cubicBezTo>
                  <a:cubicBezTo>
                    <a:pt x="3370" y="114820"/>
                    <a:pt x="3370" y="114820"/>
                    <a:pt x="3370" y="114820"/>
                  </a:cubicBezTo>
                  <a:cubicBezTo>
                    <a:pt x="1348" y="115251"/>
                    <a:pt x="1348" y="115251"/>
                    <a:pt x="1348" y="115251"/>
                  </a:cubicBezTo>
                  <a:cubicBezTo>
                    <a:pt x="0" y="114820"/>
                    <a:pt x="0" y="114820"/>
                    <a:pt x="0" y="114820"/>
                  </a:cubicBezTo>
                  <a:cubicBezTo>
                    <a:pt x="1348" y="113956"/>
                    <a:pt x="1348" y="113956"/>
                    <a:pt x="1348" y="113956"/>
                  </a:cubicBezTo>
                  <a:cubicBezTo>
                    <a:pt x="2696" y="112661"/>
                    <a:pt x="2696" y="112661"/>
                    <a:pt x="2696" y="112661"/>
                  </a:cubicBezTo>
                  <a:cubicBezTo>
                    <a:pt x="4044" y="112230"/>
                    <a:pt x="4044" y="112230"/>
                    <a:pt x="4044" y="112230"/>
                  </a:cubicBezTo>
                  <a:cubicBezTo>
                    <a:pt x="4719" y="110935"/>
                    <a:pt x="4719" y="110935"/>
                    <a:pt x="4719" y="110935"/>
                  </a:cubicBezTo>
                  <a:cubicBezTo>
                    <a:pt x="6741" y="110071"/>
                    <a:pt x="6741" y="110071"/>
                    <a:pt x="6741" y="110071"/>
                  </a:cubicBezTo>
                  <a:cubicBezTo>
                    <a:pt x="6741" y="108776"/>
                    <a:pt x="6741" y="108776"/>
                    <a:pt x="6741" y="108776"/>
                  </a:cubicBezTo>
                  <a:cubicBezTo>
                    <a:pt x="8089" y="107050"/>
                    <a:pt x="8089" y="107050"/>
                    <a:pt x="8089" y="107050"/>
                  </a:cubicBezTo>
                  <a:cubicBezTo>
                    <a:pt x="8089" y="107050"/>
                    <a:pt x="9438" y="107050"/>
                    <a:pt x="9438" y="106618"/>
                  </a:cubicBezTo>
                  <a:cubicBezTo>
                    <a:pt x="10112" y="105755"/>
                    <a:pt x="10112" y="105323"/>
                    <a:pt x="10786" y="104892"/>
                  </a:cubicBezTo>
                  <a:cubicBezTo>
                    <a:pt x="10786" y="104460"/>
                    <a:pt x="11460" y="104460"/>
                    <a:pt x="11460" y="104028"/>
                  </a:cubicBezTo>
                  <a:cubicBezTo>
                    <a:pt x="11460" y="103597"/>
                    <a:pt x="10786" y="102302"/>
                    <a:pt x="10786" y="102302"/>
                  </a:cubicBezTo>
                  <a:cubicBezTo>
                    <a:pt x="10786" y="102302"/>
                    <a:pt x="12134" y="100575"/>
                    <a:pt x="12134" y="100575"/>
                  </a:cubicBezTo>
                  <a:cubicBezTo>
                    <a:pt x="12808" y="100143"/>
                    <a:pt x="12808" y="98417"/>
                    <a:pt x="12808" y="98417"/>
                  </a:cubicBezTo>
                  <a:cubicBezTo>
                    <a:pt x="12808" y="98417"/>
                    <a:pt x="13483" y="97553"/>
                    <a:pt x="14157" y="97122"/>
                  </a:cubicBezTo>
                  <a:cubicBezTo>
                    <a:pt x="14157" y="96690"/>
                    <a:pt x="14157" y="95395"/>
                    <a:pt x="14157" y="95395"/>
                  </a:cubicBezTo>
                  <a:cubicBezTo>
                    <a:pt x="12808" y="94100"/>
                    <a:pt x="12808" y="94100"/>
                    <a:pt x="12808" y="94100"/>
                  </a:cubicBezTo>
                  <a:cubicBezTo>
                    <a:pt x="14157" y="92374"/>
                    <a:pt x="14157" y="92374"/>
                    <a:pt x="14157" y="92374"/>
                  </a:cubicBezTo>
                  <a:cubicBezTo>
                    <a:pt x="16179" y="90215"/>
                    <a:pt x="16179" y="90215"/>
                    <a:pt x="16179" y="90215"/>
                  </a:cubicBezTo>
                  <a:cubicBezTo>
                    <a:pt x="18202" y="88057"/>
                    <a:pt x="18202" y="88057"/>
                    <a:pt x="18202" y="88057"/>
                  </a:cubicBezTo>
                  <a:cubicBezTo>
                    <a:pt x="18876" y="85899"/>
                    <a:pt x="18876" y="85899"/>
                    <a:pt x="18876" y="85899"/>
                  </a:cubicBezTo>
                  <a:cubicBezTo>
                    <a:pt x="18876" y="85899"/>
                    <a:pt x="18876" y="85035"/>
                    <a:pt x="18876" y="84604"/>
                  </a:cubicBezTo>
                  <a:cubicBezTo>
                    <a:pt x="18876" y="84604"/>
                    <a:pt x="18876" y="83741"/>
                    <a:pt x="18876" y="83741"/>
                  </a:cubicBezTo>
                  <a:cubicBezTo>
                    <a:pt x="18876" y="83741"/>
                    <a:pt x="18876" y="82877"/>
                    <a:pt x="18876" y="82877"/>
                  </a:cubicBezTo>
                  <a:cubicBezTo>
                    <a:pt x="18876" y="82877"/>
                    <a:pt x="18202" y="82014"/>
                    <a:pt x="18202" y="82014"/>
                  </a:cubicBezTo>
                  <a:cubicBezTo>
                    <a:pt x="17528" y="80719"/>
                    <a:pt x="17528" y="80719"/>
                    <a:pt x="17528" y="80719"/>
                  </a:cubicBezTo>
                  <a:cubicBezTo>
                    <a:pt x="16853" y="81151"/>
                    <a:pt x="16853" y="81151"/>
                    <a:pt x="16853" y="81151"/>
                  </a:cubicBezTo>
                  <a:cubicBezTo>
                    <a:pt x="16853" y="81151"/>
                    <a:pt x="16179" y="81582"/>
                    <a:pt x="15505" y="81151"/>
                  </a:cubicBezTo>
                  <a:cubicBezTo>
                    <a:pt x="15505" y="81151"/>
                    <a:pt x="12808" y="81151"/>
                    <a:pt x="12808" y="81151"/>
                  </a:cubicBezTo>
                  <a:cubicBezTo>
                    <a:pt x="11460" y="81582"/>
                    <a:pt x="11460" y="81582"/>
                    <a:pt x="11460" y="81582"/>
                  </a:cubicBezTo>
                  <a:cubicBezTo>
                    <a:pt x="9438" y="81151"/>
                    <a:pt x="9438" y="81151"/>
                    <a:pt x="9438" y="81151"/>
                  </a:cubicBezTo>
                  <a:cubicBezTo>
                    <a:pt x="9438" y="81151"/>
                    <a:pt x="8764" y="81582"/>
                    <a:pt x="8089" y="81582"/>
                  </a:cubicBezTo>
                  <a:cubicBezTo>
                    <a:pt x="8089" y="81582"/>
                    <a:pt x="7415" y="81582"/>
                    <a:pt x="7415" y="81151"/>
                  </a:cubicBezTo>
                  <a:cubicBezTo>
                    <a:pt x="7415" y="81151"/>
                    <a:pt x="9438" y="79856"/>
                    <a:pt x="9438" y="79856"/>
                  </a:cubicBezTo>
                  <a:cubicBezTo>
                    <a:pt x="9438" y="79856"/>
                    <a:pt x="9438" y="79856"/>
                    <a:pt x="9438" y="79424"/>
                  </a:cubicBezTo>
                  <a:cubicBezTo>
                    <a:pt x="9438" y="78992"/>
                    <a:pt x="9438" y="78129"/>
                    <a:pt x="9438" y="78129"/>
                  </a:cubicBezTo>
                  <a:cubicBezTo>
                    <a:pt x="9438" y="77697"/>
                    <a:pt x="8764" y="76402"/>
                    <a:pt x="8764" y="76402"/>
                  </a:cubicBezTo>
                  <a:cubicBezTo>
                    <a:pt x="8764" y="76402"/>
                    <a:pt x="8089" y="75971"/>
                    <a:pt x="8764" y="75539"/>
                  </a:cubicBezTo>
                  <a:cubicBezTo>
                    <a:pt x="8764" y="75107"/>
                    <a:pt x="9438" y="75107"/>
                    <a:pt x="9438" y="75107"/>
                  </a:cubicBezTo>
                  <a:cubicBezTo>
                    <a:pt x="8089" y="74676"/>
                    <a:pt x="8089" y="74676"/>
                    <a:pt x="8089" y="74676"/>
                  </a:cubicBezTo>
                  <a:cubicBezTo>
                    <a:pt x="8089" y="74676"/>
                    <a:pt x="8089" y="74676"/>
                    <a:pt x="7415" y="74676"/>
                  </a:cubicBezTo>
                  <a:cubicBezTo>
                    <a:pt x="6741" y="75107"/>
                    <a:pt x="6067" y="75107"/>
                    <a:pt x="6067" y="75107"/>
                  </a:cubicBezTo>
                  <a:cubicBezTo>
                    <a:pt x="5393" y="74244"/>
                    <a:pt x="5393" y="74244"/>
                    <a:pt x="5393" y="74244"/>
                  </a:cubicBezTo>
                  <a:cubicBezTo>
                    <a:pt x="5393" y="74244"/>
                    <a:pt x="4719" y="74676"/>
                    <a:pt x="4719" y="74244"/>
                  </a:cubicBezTo>
                  <a:cubicBezTo>
                    <a:pt x="4044" y="74244"/>
                    <a:pt x="2696" y="73812"/>
                    <a:pt x="2696" y="73812"/>
                  </a:cubicBezTo>
                  <a:cubicBezTo>
                    <a:pt x="2696" y="73812"/>
                    <a:pt x="2696" y="72949"/>
                    <a:pt x="2696" y="72949"/>
                  </a:cubicBezTo>
                  <a:cubicBezTo>
                    <a:pt x="3370" y="72517"/>
                    <a:pt x="3370" y="72517"/>
                    <a:pt x="3370" y="72086"/>
                  </a:cubicBezTo>
                  <a:cubicBezTo>
                    <a:pt x="3370" y="71654"/>
                    <a:pt x="3370" y="71223"/>
                    <a:pt x="4044" y="70791"/>
                  </a:cubicBezTo>
                  <a:cubicBezTo>
                    <a:pt x="4044" y="70359"/>
                    <a:pt x="4719" y="69928"/>
                    <a:pt x="5393" y="69928"/>
                  </a:cubicBezTo>
                  <a:cubicBezTo>
                    <a:pt x="6067" y="69496"/>
                    <a:pt x="6067" y="69496"/>
                    <a:pt x="6067" y="69496"/>
                  </a:cubicBezTo>
                  <a:cubicBezTo>
                    <a:pt x="7415" y="67769"/>
                    <a:pt x="7415" y="67769"/>
                    <a:pt x="7415" y="67769"/>
                  </a:cubicBezTo>
                  <a:cubicBezTo>
                    <a:pt x="7415" y="67769"/>
                    <a:pt x="7415" y="66906"/>
                    <a:pt x="7415" y="66906"/>
                  </a:cubicBezTo>
                  <a:cubicBezTo>
                    <a:pt x="7415" y="66906"/>
                    <a:pt x="8089" y="66043"/>
                    <a:pt x="8089" y="65611"/>
                  </a:cubicBezTo>
                  <a:cubicBezTo>
                    <a:pt x="8089" y="65611"/>
                    <a:pt x="8764" y="64748"/>
                    <a:pt x="8764" y="64748"/>
                  </a:cubicBezTo>
                  <a:cubicBezTo>
                    <a:pt x="8764" y="64748"/>
                    <a:pt x="9438" y="64316"/>
                    <a:pt x="9438" y="63884"/>
                  </a:cubicBezTo>
                  <a:cubicBezTo>
                    <a:pt x="10112" y="63884"/>
                    <a:pt x="11460" y="63021"/>
                    <a:pt x="11460" y="63021"/>
                  </a:cubicBezTo>
                  <a:cubicBezTo>
                    <a:pt x="11460" y="63021"/>
                    <a:pt x="12134" y="61726"/>
                    <a:pt x="12134" y="61726"/>
                  </a:cubicBezTo>
                  <a:cubicBezTo>
                    <a:pt x="12134" y="61726"/>
                    <a:pt x="12808" y="60431"/>
                    <a:pt x="12808" y="60431"/>
                  </a:cubicBezTo>
                  <a:cubicBezTo>
                    <a:pt x="12134" y="59568"/>
                    <a:pt x="12134" y="59568"/>
                    <a:pt x="12134" y="59568"/>
                  </a:cubicBezTo>
                  <a:cubicBezTo>
                    <a:pt x="11460" y="59136"/>
                    <a:pt x="11460" y="59136"/>
                    <a:pt x="11460" y="59136"/>
                  </a:cubicBezTo>
                  <a:cubicBezTo>
                    <a:pt x="12808" y="58705"/>
                    <a:pt x="12808" y="58705"/>
                    <a:pt x="12808" y="58705"/>
                  </a:cubicBezTo>
                  <a:cubicBezTo>
                    <a:pt x="12808" y="58705"/>
                    <a:pt x="12808" y="58705"/>
                    <a:pt x="13483" y="58705"/>
                  </a:cubicBezTo>
                  <a:cubicBezTo>
                    <a:pt x="14157" y="58705"/>
                    <a:pt x="14831" y="58273"/>
                    <a:pt x="14831" y="58273"/>
                  </a:cubicBezTo>
                  <a:cubicBezTo>
                    <a:pt x="15505" y="58273"/>
                    <a:pt x="16853" y="57841"/>
                    <a:pt x="16853" y="57841"/>
                  </a:cubicBezTo>
                  <a:cubicBezTo>
                    <a:pt x="16853" y="57410"/>
                    <a:pt x="17528" y="57410"/>
                    <a:pt x="17528" y="57410"/>
                  </a:cubicBezTo>
                  <a:cubicBezTo>
                    <a:pt x="18202" y="57410"/>
                    <a:pt x="19550" y="56978"/>
                    <a:pt x="19550" y="56978"/>
                  </a:cubicBezTo>
                  <a:cubicBezTo>
                    <a:pt x="19550" y="56978"/>
                    <a:pt x="20224" y="56546"/>
                    <a:pt x="20224" y="56546"/>
                  </a:cubicBezTo>
                  <a:cubicBezTo>
                    <a:pt x="20224" y="56115"/>
                    <a:pt x="20224" y="56115"/>
                    <a:pt x="20224" y="56115"/>
                  </a:cubicBezTo>
                  <a:cubicBezTo>
                    <a:pt x="21573" y="55683"/>
                    <a:pt x="21573" y="55683"/>
                    <a:pt x="21573" y="55683"/>
                  </a:cubicBezTo>
                  <a:cubicBezTo>
                    <a:pt x="21573" y="55683"/>
                    <a:pt x="22247" y="55251"/>
                    <a:pt x="22247" y="54820"/>
                  </a:cubicBezTo>
                  <a:cubicBezTo>
                    <a:pt x="22247" y="54820"/>
                    <a:pt x="22921" y="53956"/>
                    <a:pt x="22921" y="53956"/>
                  </a:cubicBezTo>
                  <a:cubicBezTo>
                    <a:pt x="22921" y="53525"/>
                    <a:pt x="24943" y="52230"/>
                    <a:pt x="24943" y="52230"/>
                  </a:cubicBezTo>
                  <a:cubicBezTo>
                    <a:pt x="27640" y="49208"/>
                    <a:pt x="27640" y="49208"/>
                    <a:pt x="27640" y="49208"/>
                  </a:cubicBezTo>
                  <a:cubicBezTo>
                    <a:pt x="33707" y="43165"/>
                    <a:pt x="33707" y="43165"/>
                    <a:pt x="33707" y="43165"/>
                  </a:cubicBezTo>
                  <a:cubicBezTo>
                    <a:pt x="33033" y="42302"/>
                    <a:pt x="33033" y="42302"/>
                    <a:pt x="33033" y="42302"/>
                  </a:cubicBezTo>
                  <a:cubicBezTo>
                    <a:pt x="35056" y="40143"/>
                    <a:pt x="35056" y="40143"/>
                    <a:pt x="35056" y="40143"/>
                  </a:cubicBezTo>
                  <a:cubicBezTo>
                    <a:pt x="38426" y="36690"/>
                    <a:pt x="38426" y="36690"/>
                    <a:pt x="38426" y="36690"/>
                  </a:cubicBezTo>
                  <a:cubicBezTo>
                    <a:pt x="41797" y="31942"/>
                    <a:pt x="41797" y="31942"/>
                    <a:pt x="41797" y="31942"/>
                  </a:cubicBezTo>
                  <a:cubicBezTo>
                    <a:pt x="43820" y="29352"/>
                    <a:pt x="43820" y="29352"/>
                    <a:pt x="43820" y="29352"/>
                  </a:cubicBezTo>
                  <a:cubicBezTo>
                    <a:pt x="46516" y="26330"/>
                    <a:pt x="46516" y="26330"/>
                    <a:pt x="46516" y="26330"/>
                  </a:cubicBezTo>
                  <a:cubicBezTo>
                    <a:pt x="47865" y="23741"/>
                    <a:pt x="47865" y="23741"/>
                    <a:pt x="47865" y="23741"/>
                  </a:cubicBezTo>
                  <a:cubicBezTo>
                    <a:pt x="47865" y="20719"/>
                    <a:pt x="47865" y="20719"/>
                    <a:pt x="47865" y="20719"/>
                  </a:cubicBezTo>
                  <a:cubicBezTo>
                    <a:pt x="47865" y="18561"/>
                    <a:pt x="47865" y="18561"/>
                    <a:pt x="47865" y="18561"/>
                  </a:cubicBezTo>
                  <a:cubicBezTo>
                    <a:pt x="47865" y="16834"/>
                    <a:pt x="47865" y="16834"/>
                    <a:pt x="47865" y="16834"/>
                  </a:cubicBezTo>
                  <a:cubicBezTo>
                    <a:pt x="47865" y="15971"/>
                    <a:pt x="47865" y="15971"/>
                    <a:pt x="47865" y="15971"/>
                  </a:cubicBezTo>
                  <a:cubicBezTo>
                    <a:pt x="47865" y="15107"/>
                    <a:pt x="47865" y="15107"/>
                    <a:pt x="47865" y="15107"/>
                  </a:cubicBezTo>
                  <a:cubicBezTo>
                    <a:pt x="47191" y="13812"/>
                    <a:pt x="47191" y="13812"/>
                    <a:pt x="47191" y="13812"/>
                  </a:cubicBezTo>
                  <a:cubicBezTo>
                    <a:pt x="48539" y="12949"/>
                    <a:pt x="48539" y="12949"/>
                    <a:pt x="48539" y="12949"/>
                  </a:cubicBezTo>
                  <a:cubicBezTo>
                    <a:pt x="48539" y="12086"/>
                    <a:pt x="48539" y="12086"/>
                    <a:pt x="48539" y="12086"/>
                  </a:cubicBezTo>
                  <a:cubicBezTo>
                    <a:pt x="48539" y="11223"/>
                    <a:pt x="48539" y="11223"/>
                    <a:pt x="48539" y="11223"/>
                  </a:cubicBezTo>
                  <a:cubicBezTo>
                    <a:pt x="48539" y="10359"/>
                    <a:pt x="48539" y="10359"/>
                    <a:pt x="48539" y="10359"/>
                  </a:cubicBezTo>
                  <a:cubicBezTo>
                    <a:pt x="49213" y="9496"/>
                    <a:pt x="49213" y="9496"/>
                    <a:pt x="49213" y="9496"/>
                  </a:cubicBezTo>
                  <a:cubicBezTo>
                    <a:pt x="48539" y="8201"/>
                    <a:pt x="48539" y="8201"/>
                    <a:pt x="48539" y="8201"/>
                  </a:cubicBezTo>
                  <a:cubicBezTo>
                    <a:pt x="49213" y="7338"/>
                    <a:pt x="49213" y="7338"/>
                    <a:pt x="49213" y="7338"/>
                  </a:cubicBezTo>
                  <a:cubicBezTo>
                    <a:pt x="48539" y="6906"/>
                    <a:pt x="48539" y="6906"/>
                    <a:pt x="48539" y="6906"/>
                  </a:cubicBezTo>
                  <a:cubicBezTo>
                    <a:pt x="49213" y="5611"/>
                    <a:pt x="49213" y="5611"/>
                    <a:pt x="49213" y="5611"/>
                  </a:cubicBezTo>
                  <a:cubicBezTo>
                    <a:pt x="49213" y="4748"/>
                    <a:pt x="49213" y="4748"/>
                    <a:pt x="49213" y="4748"/>
                  </a:cubicBezTo>
                  <a:lnTo>
                    <a:pt x="49887" y="388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 cmpd="sng">
              <a:solidFill>
                <a:schemeClr val="tx1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defTabSz="457200"/>
              <a:endParaRPr kern="0">
                <a:solidFill>
                  <a:srgbClr val="7F7F7F"/>
                </a:solidFill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50" name="Shape 2046">
              <a:extLst>
                <a:ext uri="{FF2B5EF4-FFF2-40B4-BE49-F238E27FC236}">
                  <a16:creationId xmlns:a16="http://schemas.microsoft.com/office/drawing/2014/main" id="{25A05E89-8056-F924-8435-64F8ABD29E53}"/>
                </a:ext>
              </a:extLst>
            </p:cNvPr>
            <p:cNvSpPr/>
            <p:nvPr/>
          </p:nvSpPr>
          <p:spPr>
            <a:xfrm>
              <a:off x="3860739" y="2514932"/>
              <a:ext cx="655294" cy="841355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5769" y="94430"/>
                  </a:moveTo>
                  <a:cubicBezTo>
                    <a:pt x="105769" y="94430"/>
                    <a:pt x="105769" y="94430"/>
                    <a:pt x="105769" y="94430"/>
                  </a:cubicBezTo>
                  <a:cubicBezTo>
                    <a:pt x="105769" y="95302"/>
                    <a:pt x="105769" y="95302"/>
                    <a:pt x="105769" y="95302"/>
                  </a:cubicBezTo>
                  <a:cubicBezTo>
                    <a:pt x="106153" y="96755"/>
                    <a:pt x="106153" y="96755"/>
                    <a:pt x="106153" y="96755"/>
                  </a:cubicBezTo>
                  <a:cubicBezTo>
                    <a:pt x="106153" y="97627"/>
                    <a:pt x="106153" y="97627"/>
                    <a:pt x="106153" y="97627"/>
                  </a:cubicBezTo>
                  <a:cubicBezTo>
                    <a:pt x="106153" y="97627"/>
                    <a:pt x="105769" y="98208"/>
                    <a:pt x="105384" y="98208"/>
                  </a:cubicBezTo>
                  <a:cubicBezTo>
                    <a:pt x="105384" y="98208"/>
                    <a:pt x="105000" y="98498"/>
                    <a:pt x="104615" y="98498"/>
                  </a:cubicBezTo>
                  <a:cubicBezTo>
                    <a:pt x="104230" y="98208"/>
                    <a:pt x="103846" y="97917"/>
                    <a:pt x="103846" y="97917"/>
                  </a:cubicBezTo>
                  <a:cubicBezTo>
                    <a:pt x="101538" y="97917"/>
                    <a:pt x="101538" y="97917"/>
                    <a:pt x="101538" y="97917"/>
                  </a:cubicBezTo>
                  <a:cubicBezTo>
                    <a:pt x="101538" y="97917"/>
                    <a:pt x="101538" y="98498"/>
                    <a:pt x="101538" y="98789"/>
                  </a:cubicBezTo>
                  <a:cubicBezTo>
                    <a:pt x="101153" y="99370"/>
                    <a:pt x="101153" y="99370"/>
                    <a:pt x="101153" y="99370"/>
                  </a:cubicBezTo>
                  <a:cubicBezTo>
                    <a:pt x="101153" y="100823"/>
                    <a:pt x="101153" y="100823"/>
                    <a:pt x="101153" y="100823"/>
                  </a:cubicBezTo>
                  <a:cubicBezTo>
                    <a:pt x="99230" y="102276"/>
                    <a:pt x="99230" y="102276"/>
                    <a:pt x="99230" y="102276"/>
                  </a:cubicBezTo>
                  <a:cubicBezTo>
                    <a:pt x="98846" y="102276"/>
                    <a:pt x="98846" y="102276"/>
                    <a:pt x="98846" y="102276"/>
                  </a:cubicBezTo>
                  <a:cubicBezTo>
                    <a:pt x="98846" y="102276"/>
                    <a:pt x="98461" y="102566"/>
                    <a:pt x="98461" y="102566"/>
                  </a:cubicBezTo>
                  <a:cubicBezTo>
                    <a:pt x="98461" y="102566"/>
                    <a:pt x="96538" y="103147"/>
                    <a:pt x="96538" y="103147"/>
                  </a:cubicBezTo>
                  <a:cubicBezTo>
                    <a:pt x="95769" y="103728"/>
                    <a:pt x="95769" y="103728"/>
                    <a:pt x="95769" y="103728"/>
                  </a:cubicBezTo>
                  <a:cubicBezTo>
                    <a:pt x="95384" y="103728"/>
                    <a:pt x="95384" y="103728"/>
                    <a:pt x="95384" y="103728"/>
                  </a:cubicBezTo>
                  <a:cubicBezTo>
                    <a:pt x="95384" y="103728"/>
                    <a:pt x="94230" y="104309"/>
                    <a:pt x="93461" y="104891"/>
                  </a:cubicBezTo>
                  <a:cubicBezTo>
                    <a:pt x="92307" y="105472"/>
                    <a:pt x="92307" y="105472"/>
                    <a:pt x="92307" y="105472"/>
                  </a:cubicBezTo>
                  <a:cubicBezTo>
                    <a:pt x="92307" y="105472"/>
                    <a:pt x="92307" y="105472"/>
                    <a:pt x="92307" y="105472"/>
                  </a:cubicBezTo>
                  <a:cubicBezTo>
                    <a:pt x="92307" y="105472"/>
                    <a:pt x="92307" y="105472"/>
                    <a:pt x="92307" y="105472"/>
                  </a:cubicBezTo>
                  <a:cubicBezTo>
                    <a:pt x="93076" y="106924"/>
                    <a:pt x="93076" y="106924"/>
                    <a:pt x="93076" y="106924"/>
                  </a:cubicBezTo>
                  <a:cubicBezTo>
                    <a:pt x="94230" y="107796"/>
                    <a:pt x="94230" y="107796"/>
                    <a:pt x="94230" y="107796"/>
                  </a:cubicBezTo>
                  <a:cubicBezTo>
                    <a:pt x="95384" y="109249"/>
                    <a:pt x="95384" y="109249"/>
                    <a:pt x="95384" y="109249"/>
                  </a:cubicBezTo>
                  <a:cubicBezTo>
                    <a:pt x="95384" y="110121"/>
                    <a:pt x="95384" y="110121"/>
                    <a:pt x="95384" y="110121"/>
                  </a:cubicBezTo>
                  <a:cubicBezTo>
                    <a:pt x="95384" y="110121"/>
                    <a:pt x="94615" y="110702"/>
                    <a:pt x="94615" y="110702"/>
                  </a:cubicBezTo>
                  <a:cubicBezTo>
                    <a:pt x="94615" y="110992"/>
                    <a:pt x="94230" y="111573"/>
                    <a:pt x="94615" y="111573"/>
                  </a:cubicBezTo>
                  <a:cubicBezTo>
                    <a:pt x="95000" y="111573"/>
                    <a:pt x="96538" y="111864"/>
                    <a:pt x="96538" y="111864"/>
                  </a:cubicBezTo>
                  <a:cubicBezTo>
                    <a:pt x="96538" y="111864"/>
                    <a:pt x="96923" y="111864"/>
                    <a:pt x="96923" y="111864"/>
                  </a:cubicBezTo>
                  <a:cubicBezTo>
                    <a:pt x="97307" y="111864"/>
                    <a:pt x="97307" y="112154"/>
                    <a:pt x="97307" y="112154"/>
                  </a:cubicBezTo>
                  <a:cubicBezTo>
                    <a:pt x="97307" y="113317"/>
                    <a:pt x="97307" y="113317"/>
                    <a:pt x="97307" y="113317"/>
                  </a:cubicBezTo>
                  <a:cubicBezTo>
                    <a:pt x="97307" y="113317"/>
                    <a:pt x="97307" y="113607"/>
                    <a:pt x="97307" y="114769"/>
                  </a:cubicBezTo>
                  <a:cubicBezTo>
                    <a:pt x="97307" y="115932"/>
                    <a:pt x="96923" y="115641"/>
                    <a:pt x="96923" y="115641"/>
                  </a:cubicBezTo>
                  <a:cubicBezTo>
                    <a:pt x="96923" y="115641"/>
                    <a:pt x="95000" y="115060"/>
                    <a:pt x="95000" y="115060"/>
                  </a:cubicBezTo>
                  <a:cubicBezTo>
                    <a:pt x="95000" y="115060"/>
                    <a:pt x="94230" y="114479"/>
                    <a:pt x="94230" y="114479"/>
                  </a:cubicBezTo>
                  <a:cubicBezTo>
                    <a:pt x="93846" y="114188"/>
                    <a:pt x="93846" y="113898"/>
                    <a:pt x="93846" y="113607"/>
                  </a:cubicBezTo>
                  <a:cubicBezTo>
                    <a:pt x="93846" y="113317"/>
                    <a:pt x="94230" y="112736"/>
                    <a:pt x="94230" y="112736"/>
                  </a:cubicBezTo>
                  <a:cubicBezTo>
                    <a:pt x="94230" y="112736"/>
                    <a:pt x="92692" y="112445"/>
                    <a:pt x="92692" y="112445"/>
                  </a:cubicBezTo>
                  <a:cubicBezTo>
                    <a:pt x="92692" y="112445"/>
                    <a:pt x="91538" y="112445"/>
                    <a:pt x="91153" y="112445"/>
                  </a:cubicBezTo>
                  <a:cubicBezTo>
                    <a:pt x="90769" y="112445"/>
                    <a:pt x="90384" y="113026"/>
                    <a:pt x="90384" y="113026"/>
                  </a:cubicBezTo>
                  <a:cubicBezTo>
                    <a:pt x="90000" y="113317"/>
                    <a:pt x="89615" y="113026"/>
                    <a:pt x="89230" y="113026"/>
                  </a:cubicBezTo>
                  <a:cubicBezTo>
                    <a:pt x="89230" y="113026"/>
                    <a:pt x="88846" y="112445"/>
                    <a:pt x="88846" y="112445"/>
                  </a:cubicBezTo>
                  <a:cubicBezTo>
                    <a:pt x="88461" y="112445"/>
                    <a:pt x="86923" y="112154"/>
                    <a:pt x="86538" y="112154"/>
                  </a:cubicBezTo>
                  <a:cubicBezTo>
                    <a:pt x="86538" y="112154"/>
                    <a:pt x="85769" y="112154"/>
                    <a:pt x="85000" y="112154"/>
                  </a:cubicBezTo>
                  <a:cubicBezTo>
                    <a:pt x="84615" y="112445"/>
                    <a:pt x="85000" y="112445"/>
                    <a:pt x="85384" y="113317"/>
                  </a:cubicBezTo>
                  <a:cubicBezTo>
                    <a:pt x="85384" y="114188"/>
                    <a:pt x="85000" y="113607"/>
                    <a:pt x="84615" y="113607"/>
                  </a:cubicBezTo>
                  <a:cubicBezTo>
                    <a:pt x="84230" y="113607"/>
                    <a:pt x="84230" y="113607"/>
                    <a:pt x="83461" y="113607"/>
                  </a:cubicBezTo>
                  <a:cubicBezTo>
                    <a:pt x="82692" y="113607"/>
                    <a:pt x="82307" y="113607"/>
                    <a:pt x="81538" y="113607"/>
                  </a:cubicBezTo>
                  <a:cubicBezTo>
                    <a:pt x="81153" y="113898"/>
                    <a:pt x="81153" y="113898"/>
                    <a:pt x="81153" y="114188"/>
                  </a:cubicBezTo>
                  <a:cubicBezTo>
                    <a:pt x="80769" y="114479"/>
                    <a:pt x="80000" y="114479"/>
                    <a:pt x="79615" y="114479"/>
                  </a:cubicBezTo>
                  <a:cubicBezTo>
                    <a:pt x="79230" y="114479"/>
                    <a:pt x="77692" y="114479"/>
                    <a:pt x="77692" y="114479"/>
                  </a:cubicBezTo>
                  <a:cubicBezTo>
                    <a:pt x="77307" y="114479"/>
                    <a:pt x="76923" y="115060"/>
                    <a:pt x="76538" y="115351"/>
                  </a:cubicBezTo>
                  <a:cubicBezTo>
                    <a:pt x="76538" y="115351"/>
                    <a:pt x="75000" y="115351"/>
                    <a:pt x="75000" y="115351"/>
                  </a:cubicBezTo>
                  <a:cubicBezTo>
                    <a:pt x="74615" y="115641"/>
                    <a:pt x="74615" y="115641"/>
                    <a:pt x="74230" y="115932"/>
                  </a:cubicBezTo>
                  <a:cubicBezTo>
                    <a:pt x="73461" y="116222"/>
                    <a:pt x="73461" y="116222"/>
                    <a:pt x="73076" y="116803"/>
                  </a:cubicBezTo>
                  <a:cubicBezTo>
                    <a:pt x="72307" y="117384"/>
                    <a:pt x="72692" y="117094"/>
                    <a:pt x="71153" y="116803"/>
                  </a:cubicBezTo>
                  <a:cubicBezTo>
                    <a:pt x="70000" y="116803"/>
                    <a:pt x="70769" y="117094"/>
                    <a:pt x="70384" y="117094"/>
                  </a:cubicBezTo>
                  <a:cubicBezTo>
                    <a:pt x="70000" y="117094"/>
                    <a:pt x="69615" y="117384"/>
                    <a:pt x="69230" y="117675"/>
                  </a:cubicBezTo>
                  <a:cubicBezTo>
                    <a:pt x="69230" y="117966"/>
                    <a:pt x="68461" y="117384"/>
                    <a:pt x="68076" y="117384"/>
                  </a:cubicBezTo>
                  <a:cubicBezTo>
                    <a:pt x="67692" y="117675"/>
                    <a:pt x="67692" y="117094"/>
                    <a:pt x="67692" y="116222"/>
                  </a:cubicBezTo>
                  <a:cubicBezTo>
                    <a:pt x="67307" y="115641"/>
                    <a:pt x="66538" y="115641"/>
                    <a:pt x="66538" y="115641"/>
                  </a:cubicBezTo>
                  <a:cubicBezTo>
                    <a:pt x="66538" y="115641"/>
                    <a:pt x="65769" y="115641"/>
                    <a:pt x="65769" y="115351"/>
                  </a:cubicBezTo>
                  <a:cubicBezTo>
                    <a:pt x="65769" y="115060"/>
                    <a:pt x="64230" y="115060"/>
                    <a:pt x="63846" y="115060"/>
                  </a:cubicBezTo>
                  <a:cubicBezTo>
                    <a:pt x="63846" y="115060"/>
                    <a:pt x="62692" y="115060"/>
                    <a:pt x="62692" y="115060"/>
                  </a:cubicBezTo>
                  <a:cubicBezTo>
                    <a:pt x="62692" y="115060"/>
                    <a:pt x="61538" y="115060"/>
                    <a:pt x="61538" y="115351"/>
                  </a:cubicBezTo>
                  <a:cubicBezTo>
                    <a:pt x="61538" y="115351"/>
                    <a:pt x="61153" y="115351"/>
                    <a:pt x="60384" y="115641"/>
                  </a:cubicBezTo>
                  <a:cubicBezTo>
                    <a:pt x="59230" y="115932"/>
                    <a:pt x="60000" y="115641"/>
                    <a:pt x="60000" y="116222"/>
                  </a:cubicBezTo>
                  <a:cubicBezTo>
                    <a:pt x="60384" y="116513"/>
                    <a:pt x="60384" y="116803"/>
                    <a:pt x="60384" y="116803"/>
                  </a:cubicBezTo>
                  <a:cubicBezTo>
                    <a:pt x="60769" y="117094"/>
                    <a:pt x="60384" y="116803"/>
                    <a:pt x="60384" y="117384"/>
                  </a:cubicBezTo>
                  <a:cubicBezTo>
                    <a:pt x="60000" y="117966"/>
                    <a:pt x="60000" y="117675"/>
                    <a:pt x="60000" y="118256"/>
                  </a:cubicBezTo>
                  <a:cubicBezTo>
                    <a:pt x="59615" y="118547"/>
                    <a:pt x="59615" y="118256"/>
                    <a:pt x="59230" y="119128"/>
                  </a:cubicBezTo>
                  <a:cubicBezTo>
                    <a:pt x="58846" y="119709"/>
                    <a:pt x="59230" y="119128"/>
                    <a:pt x="58846" y="119709"/>
                  </a:cubicBezTo>
                  <a:cubicBezTo>
                    <a:pt x="58461" y="120000"/>
                    <a:pt x="57692" y="119709"/>
                    <a:pt x="56923" y="119418"/>
                  </a:cubicBezTo>
                  <a:cubicBezTo>
                    <a:pt x="56538" y="119418"/>
                    <a:pt x="56923" y="119128"/>
                    <a:pt x="56923" y="118547"/>
                  </a:cubicBezTo>
                  <a:cubicBezTo>
                    <a:pt x="57307" y="117966"/>
                    <a:pt x="56923" y="118256"/>
                    <a:pt x="56923" y="117966"/>
                  </a:cubicBezTo>
                  <a:cubicBezTo>
                    <a:pt x="56923" y="117675"/>
                    <a:pt x="56538" y="117966"/>
                    <a:pt x="55769" y="118256"/>
                  </a:cubicBezTo>
                  <a:cubicBezTo>
                    <a:pt x="55384" y="118256"/>
                    <a:pt x="55384" y="117675"/>
                    <a:pt x="55769" y="117094"/>
                  </a:cubicBezTo>
                  <a:cubicBezTo>
                    <a:pt x="55769" y="116513"/>
                    <a:pt x="55384" y="116803"/>
                    <a:pt x="55384" y="116513"/>
                  </a:cubicBezTo>
                  <a:cubicBezTo>
                    <a:pt x="55384" y="116513"/>
                    <a:pt x="55000" y="116222"/>
                    <a:pt x="54615" y="116222"/>
                  </a:cubicBezTo>
                  <a:cubicBezTo>
                    <a:pt x="54230" y="116222"/>
                    <a:pt x="53846" y="115932"/>
                    <a:pt x="53846" y="115932"/>
                  </a:cubicBezTo>
                  <a:cubicBezTo>
                    <a:pt x="53461" y="115641"/>
                    <a:pt x="52692" y="115060"/>
                    <a:pt x="52307" y="114769"/>
                  </a:cubicBezTo>
                  <a:cubicBezTo>
                    <a:pt x="51538" y="114479"/>
                    <a:pt x="50769" y="114769"/>
                    <a:pt x="50769" y="114769"/>
                  </a:cubicBezTo>
                  <a:cubicBezTo>
                    <a:pt x="50769" y="114769"/>
                    <a:pt x="50000" y="115351"/>
                    <a:pt x="49230" y="115932"/>
                  </a:cubicBezTo>
                  <a:cubicBezTo>
                    <a:pt x="49230" y="115932"/>
                    <a:pt x="49230" y="116222"/>
                    <a:pt x="49230" y="116222"/>
                  </a:cubicBezTo>
                  <a:cubicBezTo>
                    <a:pt x="48846" y="116222"/>
                    <a:pt x="48846" y="116222"/>
                    <a:pt x="48846" y="115932"/>
                  </a:cubicBezTo>
                  <a:cubicBezTo>
                    <a:pt x="48846" y="115932"/>
                    <a:pt x="48461" y="115641"/>
                    <a:pt x="48461" y="115641"/>
                  </a:cubicBezTo>
                  <a:cubicBezTo>
                    <a:pt x="48461" y="115641"/>
                    <a:pt x="48461" y="115060"/>
                    <a:pt x="48076" y="115060"/>
                  </a:cubicBezTo>
                  <a:cubicBezTo>
                    <a:pt x="48076" y="115060"/>
                    <a:pt x="47692" y="115060"/>
                    <a:pt x="47307" y="114769"/>
                  </a:cubicBezTo>
                  <a:cubicBezTo>
                    <a:pt x="46923" y="114769"/>
                    <a:pt x="46538" y="114479"/>
                    <a:pt x="46538" y="114479"/>
                  </a:cubicBezTo>
                  <a:cubicBezTo>
                    <a:pt x="46153" y="114479"/>
                    <a:pt x="45384" y="113898"/>
                    <a:pt x="45384" y="113898"/>
                  </a:cubicBezTo>
                  <a:cubicBezTo>
                    <a:pt x="45384" y="113898"/>
                    <a:pt x="45384" y="113898"/>
                    <a:pt x="45000" y="113898"/>
                  </a:cubicBezTo>
                  <a:cubicBezTo>
                    <a:pt x="45000" y="113898"/>
                    <a:pt x="44615" y="113607"/>
                    <a:pt x="44615" y="113607"/>
                  </a:cubicBezTo>
                  <a:cubicBezTo>
                    <a:pt x="44230" y="113607"/>
                    <a:pt x="44230" y="113607"/>
                    <a:pt x="44230" y="113607"/>
                  </a:cubicBezTo>
                  <a:cubicBezTo>
                    <a:pt x="44230" y="113607"/>
                    <a:pt x="44230" y="113607"/>
                    <a:pt x="44230" y="113607"/>
                  </a:cubicBezTo>
                  <a:cubicBezTo>
                    <a:pt x="43846" y="113607"/>
                    <a:pt x="43846" y="113607"/>
                    <a:pt x="43461" y="113317"/>
                  </a:cubicBezTo>
                  <a:cubicBezTo>
                    <a:pt x="42692" y="113317"/>
                    <a:pt x="43076" y="113317"/>
                    <a:pt x="42307" y="113317"/>
                  </a:cubicBezTo>
                  <a:cubicBezTo>
                    <a:pt x="41923" y="113317"/>
                    <a:pt x="41538" y="113317"/>
                    <a:pt x="41538" y="113317"/>
                  </a:cubicBezTo>
                  <a:cubicBezTo>
                    <a:pt x="41538" y="113317"/>
                    <a:pt x="41153" y="113026"/>
                    <a:pt x="40384" y="113026"/>
                  </a:cubicBezTo>
                  <a:cubicBezTo>
                    <a:pt x="40000" y="113317"/>
                    <a:pt x="39230" y="113607"/>
                    <a:pt x="38846" y="113607"/>
                  </a:cubicBezTo>
                  <a:cubicBezTo>
                    <a:pt x="38846" y="113607"/>
                    <a:pt x="38461" y="113317"/>
                    <a:pt x="38461" y="113317"/>
                  </a:cubicBezTo>
                  <a:cubicBezTo>
                    <a:pt x="38461" y="113317"/>
                    <a:pt x="38461" y="113026"/>
                    <a:pt x="38461" y="113026"/>
                  </a:cubicBezTo>
                  <a:cubicBezTo>
                    <a:pt x="38461" y="113026"/>
                    <a:pt x="38076" y="112736"/>
                    <a:pt x="37692" y="112445"/>
                  </a:cubicBezTo>
                  <a:cubicBezTo>
                    <a:pt x="37692" y="112445"/>
                    <a:pt x="37307" y="112445"/>
                    <a:pt x="37307" y="112445"/>
                  </a:cubicBezTo>
                  <a:cubicBezTo>
                    <a:pt x="37307" y="112445"/>
                    <a:pt x="37307" y="112445"/>
                    <a:pt x="37307" y="112736"/>
                  </a:cubicBezTo>
                  <a:cubicBezTo>
                    <a:pt x="37307" y="113026"/>
                    <a:pt x="38076" y="113026"/>
                    <a:pt x="37307" y="113026"/>
                  </a:cubicBezTo>
                  <a:cubicBezTo>
                    <a:pt x="36923" y="112736"/>
                    <a:pt x="36538" y="112736"/>
                    <a:pt x="36538" y="112736"/>
                  </a:cubicBezTo>
                  <a:cubicBezTo>
                    <a:pt x="35384" y="113026"/>
                    <a:pt x="35384" y="113026"/>
                    <a:pt x="35384" y="113026"/>
                  </a:cubicBezTo>
                  <a:cubicBezTo>
                    <a:pt x="35769" y="112736"/>
                    <a:pt x="35769" y="112736"/>
                    <a:pt x="35769" y="112736"/>
                  </a:cubicBezTo>
                  <a:cubicBezTo>
                    <a:pt x="35769" y="112736"/>
                    <a:pt x="36153" y="112736"/>
                    <a:pt x="36153" y="112736"/>
                  </a:cubicBezTo>
                  <a:cubicBezTo>
                    <a:pt x="36153" y="112445"/>
                    <a:pt x="36153" y="112445"/>
                    <a:pt x="36153" y="112445"/>
                  </a:cubicBezTo>
                  <a:cubicBezTo>
                    <a:pt x="36153" y="112445"/>
                    <a:pt x="36153" y="112154"/>
                    <a:pt x="36153" y="112154"/>
                  </a:cubicBezTo>
                  <a:cubicBezTo>
                    <a:pt x="36538" y="112154"/>
                    <a:pt x="36923" y="111864"/>
                    <a:pt x="36538" y="111864"/>
                  </a:cubicBezTo>
                  <a:cubicBezTo>
                    <a:pt x="36153" y="111864"/>
                    <a:pt x="35769" y="111864"/>
                    <a:pt x="35769" y="111864"/>
                  </a:cubicBezTo>
                  <a:cubicBezTo>
                    <a:pt x="35769" y="111573"/>
                    <a:pt x="35769" y="111573"/>
                    <a:pt x="35769" y="111573"/>
                  </a:cubicBezTo>
                  <a:cubicBezTo>
                    <a:pt x="35769" y="111573"/>
                    <a:pt x="35384" y="111283"/>
                    <a:pt x="35384" y="111283"/>
                  </a:cubicBezTo>
                  <a:cubicBezTo>
                    <a:pt x="35384" y="111573"/>
                    <a:pt x="35384" y="111864"/>
                    <a:pt x="35384" y="111864"/>
                  </a:cubicBezTo>
                  <a:cubicBezTo>
                    <a:pt x="35000" y="111864"/>
                    <a:pt x="35000" y="111864"/>
                    <a:pt x="35000" y="111573"/>
                  </a:cubicBezTo>
                  <a:cubicBezTo>
                    <a:pt x="35000" y="111283"/>
                    <a:pt x="35000" y="111283"/>
                    <a:pt x="35000" y="111283"/>
                  </a:cubicBezTo>
                  <a:cubicBezTo>
                    <a:pt x="34615" y="111283"/>
                    <a:pt x="34230" y="111283"/>
                    <a:pt x="34230" y="111283"/>
                  </a:cubicBezTo>
                  <a:cubicBezTo>
                    <a:pt x="34230" y="111283"/>
                    <a:pt x="34615" y="111573"/>
                    <a:pt x="33846" y="111573"/>
                  </a:cubicBezTo>
                  <a:cubicBezTo>
                    <a:pt x="33461" y="111573"/>
                    <a:pt x="33076" y="111864"/>
                    <a:pt x="32692" y="111864"/>
                  </a:cubicBezTo>
                  <a:cubicBezTo>
                    <a:pt x="32307" y="112154"/>
                    <a:pt x="32307" y="112445"/>
                    <a:pt x="32307" y="112445"/>
                  </a:cubicBezTo>
                  <a:cubicBezTo>
                    <a:pt x="32307" y="112736"/>
                    <a:pt x="31538" y="112736"/>
                    <a:pt x="31538" y="113026"/>
                  </a:cubicBezTo>
                  <a:cubicBezTo>
                    <a:pt x="31923" y="113026"/>
                    <a:pt x="31538" y="113026"/>
                    <a:pt x="32307" y="113317"/>
                  </a:cubicBezTo>
                  <a:cubicBezTo>
                    <a:pt x="32692" y="113317"/>
                    <a:pt x="32692" y="113317"/>
                    <a:pt x="33076" y="113317"/>
                  </a:cubicBezTo>
                  <a:cubicBezTo>
                    <a:pt x="33461" y="113607"/>
                    <a:pt x="33846" y="113317"/>
                    <a:pt x="33846" y="113317"/>
                  </a:cubicBezTo>
                  <a:cubicBezTo>
                    <a:pt x="33846" y="113317"/>
                    <a:pt x="33846" y="113317"/>
                    <a:pt x="34230" y="113607"/>
                  </a:cubicBezTo>
                  <a:cubicBezTo>
                    <a:pt x="34230" y="113607"/>
                    <a:pt x="34615" y="113317"/>
                    <a:pt x="34615" y="113607"/>
                  </a:cubicBezTo>
                  <a:cubicBezTo>
                    <a:pt x="34615" y="113898"/>
                    <a:pt x="35000" y="114188"/>
                    <a:pt x="34615" y="114188"/>
                  </a:cubicBezTo>
                  <a:cubicBezTo>
                    <a:pt x="34230" y="114188"/>
                    <a:pt x="33846" y="114479"/>
                    <a:pt x="33846" y="114188"/>
                  </a:cubicBezTo>
                  <a:cubicBezTo>
                    <a:pt x="33846" y="114188"/>
                    <a:pt x="33846" y="113898"/>
                    <a:pt x="33461" y="113898"/>
                  </a:cubicBezTo>
                  <a:cubicBezTo>
                    <a:pt x="33461" y="113898"/>
                    <a:pt x="33076" y="113898"/>
                    <a:pt x="33076" y="113898"/>
                  </a:cubicBezTo>
                  <a:cubicBezTo>
                    <a:pt x="32692" y="114479"/>
                    <a:pt x="32692" y="114479"/>
                    <a:pt x="32692" y="114479"/>
                  </a:cubicBezTo>
                  <a:cubicBezTo>
                    <a:pt x="32692" y="114479"/>
                    <a:pt x="32692" y="114769"/>
                    <a:pt x="32307" y="114769"/>
                  </a:cubicBezTo>
                  <a:cubicBezTo>
                    <a:pt x="31923" y="114769"/>
                    <a:pt x="32307" y="114769"/>
                    <a:pt x="31538" y="114769"/>
                  </a:cubicBezTo>
                  <a:cubicBezTo>
                    <a:pt x="30769" y="114769"/>
                    <a:pt x="30769" y="114479"/>
                    <a:pt x="30384" y="114479"/>
                  </a:cubicBezTo>
                  <a:cubicBezTo>
                    <a:pt x="30384" y="114479"/>
                    <a:pt x="30384" y="114479"/>
                    <a:pt x="30000" y="114479"/>
                  </a:cubicBezTo>
                  <a:cubicBezTo>
                    <a:pt x="30000" y="114479"/>
                    <a:pt x="29230" y="113898"/>
                    <a:pt x="28846" y="114479"/>
                  </a:cubicBezTo>
                  <a:cubicBezTo>
                    <a:pt x="28461" y="114769"/>
                    <a:pt x="28076" y="115060"/>
                    <a:pt x="28076" y="115060"/>
                  </a:cubicBezTo>
                  <a:cubicBezTo>
                    <a:pt x="26923" y="115060"/>
                    <a:pt x="26923" y="115060"/>
                    <a:pt x="26923" y="115060"/>
                  </a:cubicBezTo>
                  <a:cubicBezTo>
                    <a:pt x="26923" y="115060"/>
                    <a:pt x="26538" y="115060"/>
                    <a:pt x="26153" y="115060"/>
                  </a:cubicBezTo>
                  <a:cubicBezTo>
                    <a:pt x="25769" y="115060"/>
                    <a:pt x="25384" y="115060"/>
                    <a:pt x="25384" y="115060"/>
                  </a:cubicBezTo>
                  <a:cubicBezTo>
                    <a:pt x="25000" y="115351"/>
                    <a:pt x="24615" y="114479"/>
                    <a:pt x="24615" y="114479"/>
                  </a:cubicBezTo>
                  <a:cubicBezTo>
                    <a:pt x="24615" y="114479"/>
                    <a:pt x="25000" y="113898"/>
                    <a:pt x="23846" y="114479"/>
                  </a:cubicBezTo>
                  <a:cubicBezTo>
                    <a:pt x="22692" y="115060"/>
                    <a:pt x="22307" y="115060"/>
                    <a:pt x="22307" y="115060"/>
                  </a:cubicBezTo>
                  <a:cubicBezTo>
                    <a:pt x="22307" y="115060"/>
                    <a:pt x="21923" y="115060"/>
                    <a:pt x="21923" y="115351"/>
                  </a:cubicBezTo>
                  <a:cubicBezTo>
                    <a:pt x="21923" y="115060"/>
                    <a:pt x="21923" y="115060"/>
                    <a:pt x="21923" y="115060"/>
                  </a:cubicBezTo>
                  <a:cubicBezTo>
                    <a:pt x="21923" y="115060"/>
                    <a:pt x="21923" y="115060"/>
                    <a:pt x="21923" y="115060"/>
                  </a:cubicBezTo>
                  <a:cubicBezTo>
                    <a:pt x="21923" y="115060"/>
                    <a:pt x="21923" y="115060"/>
                    <a:pt x="21923" y="115060"/>
                  </a:cubicBezTo>
                  <a:cubicBezTo>
                    <a:pt x="21923" y="115060"/>
                    <a:pt x="21923" y="115060"/>
                    <a:pt x="21923" y="115060"/>
                  </a:cubicBezTo>
                  <a:cubicBezTo>
                    <a:pt x="21923" y="115060"/>
                    <a:pt x="21923" y="115060"/>
                    <a:pt x="21923" y="115060"/>
                  </a:cubicBezTo>
                  <a:cubicBezTo>
                    <a:pt x="21923" y="115060"/>
                    <a:pt x="21923" y="115060"/>
                    <a:pt x="21923" y="115060"/>
                  </a:cubicBezTo>
                  <a:cubicBezTo>
                    <a:pt x="21538" y="115060"/>
                    <a:pt x="21538" y="115060"/>
                    <a:pt x="21538" y="114769"/>
                  </a:cubicBezTo>
                  <a:cubicBezTo>
                    <a:pt x="21538" y="114769"/>
                    <a:pt x="21538" y="114769"/>
                    <a:pt x="21538" y="114769"/>
                  </a:cubicBezTo>
                  <a:cubicBezTo>
                    <a:pt x="21538" y="114769"/>
                    <a:pt x="21153" y="114769"/>
                    <a:pt x="21153" y="114479"/>
                  </a:cubicBezTo>
                  <a:cubicBezTo>
                    <a:pt x="20384" y="113898"/>
                    <a:pt x="19230" y="112736"/>
                    <a:pt x="19230" y="112736"/>
                  </a:cubicBezTo>
                  <a:cubicBezTo>
                    <a:pt x="20000" y="111573"/>
                    <a:pt x="20000" y="111573"/>
                    <a:pt x="20000" y="111573"/>
                  </a:cubicBezTo>
                  <a:cubicBezTo>
                    <a:pt x="20000" y="111573"/>
                    <a:pt x="20384" y="109539"/>
                    <a:pt x="20384" y="108958"/>
                  </a:cubicBezTo>
                  <a:cubicBezTo>
                    <a:pt x="20384" y="108668"/>
                    <a:pt x="20384" y="106924"/>
                    <a:pt x="20384" y="106924"/>
                  </a:cubicBezTo>
                  <a:cubicBezTo>
                    <a:pt x="20384" y="106924"/>
                    <a:pt x="18846" y="106634"/>
                    <a:pt x="20000" y="105762"/>
                  </a:cubicBezTo>
                  <a:cubicBezTo>
                    <a:pt x="21153" y="104600"/>
                    <a:pt x="22307" y="103147"/>
                    <a:pt x="22307" y="103147"/>
                  </a:cubicBezTo>
                  <a:cubicBezTo>
                    <a:pt x="22307" y="100242"/>
                    <a:pt x="22307" y="100242"/>
                    <a:pt x="22307" y="100242"/>
                  </a:cubicBezTo>
                  <a:cubicBezTo>
                    <a:pt x="22307" y="100242"/>
                    <a:pt x="21153" y="99370"/>
                    <a:pt x="22692" y="98789"/>
                  </a:cubicBezTo>
                  <a:cubicBezTo>
                    <a:pt x="24230" y="97917"/>
                    <a:pt x="26923" y="95302"/>
                    <a:pt x="26923" y="95302"/>
                  </a:cubicBezTo>
                  <a:cubicBezTo>
                    <a:pt x="29615" y="92978"/>
                    <a:pt x="29615" y="92978"/>
                    <a:pt x="29615" y="92978"/>
                  </a:cubicBezTo>
                  <a:cubicBezTo>
                    <a:pt x="25000" y="92106"/>
                    <a:pt x="25000" y="92106"/>
                    <a:pt x="25000" y="92106"/>
                  </a:cubicBezTo>
                  <a:cubicBezTo>
                    <a:pt x="22307" y="91815"/>
                    <a:pt x="22307" y="91815"/>
                    <a:pt x="22307" y="91815"/>
                  </a:cubicBezTo>
                  <a:cubicBezTo>
                    <a:pt x="20384" y="90944"/>
                    <a:pt x="20384" y="90944"/>
                    <a:pt x="20384" y="90944"/>
                  </a:cubicBezTo>
                  <a:cubicBezTo>
                    <a:pt x="19230" y="89491"/>
                    <a:pt x="19230" y="89491"/>
                    <a:pt x="19230" y="89491"/>
                  </a:cubicBezTo>
                  <a:cubicBezTo>
                    <a:pt x="18076" y="90072"/>
                    <a:pt x="18076" y="90072"/>
                    <a:pt x="18076" y="90072"/>
                  </a:cubicBezTo>
                  <a:cubicBezTo>
                    <a:pt x="16923" y="90653"/>
                    <a:pt x="16923" y="90653"/>
                    <a:pt x="16923" y="90653"/>
                  </a:cubicBezTo>
                  <a:cubicBezTo>
                    <a:pt x="14230" y="90363"/>
                    <a:pt x="14230" y="90363"/>
                    <a:pt x="14230" y="90363"/>
                  </a:cubicBezTo>
                  <a:cubicBezTo>
                    <a:pt x="12307" y="88910"/>
                    <a:pt x="12307" y="88910"/>
                    <a:pt x="12307" y="88910"/>
                  </a:cubicBezTo>
                  <a:cubicBezTo>
                    <a:pt x="10769" y="89782"/>
                    <a:pt x="10769" y="89782"/>
                    <a:pt x="10769" y="89782"/>
                  </a:cubicBezTo>
                  <a:cubicBezTo>
                    <a:pt x="9230" y="88910"/>
                    <a:pt x="9230" y="88910"/>
                    <a:pt x="9230" y="88910"/>
                  </a:cubicBezTo>
                  <a:cubicBezTo>
                    <a:pt x="8076" y="87457"/>
                    <a:pt x="8076" y="87457"/>
                    <a:pt x="8076" y="87457"/>
                  </a:cubicBezTo>
                  <a:cubicBezTo>
                    <a:pt x="7692" y="86295"/>
                    <a:pt x="7692" y="86295"/>
                    <a:pt x="7692" y="86295"/>
                  </a:cubicBezTo>
                  <a:cubicBezTo>
                    <a:pt x="5769" y="84842"/>
                    <a:pt x="5769" y="84842"/>
                    <a:pt x="5769" y="84842"/>
                  </a:cubicBezTo>
                  <a:cubicBezTo>
                    <a:pt x="5000" y="84842"/>
                    <a:pt x="5000" y="84842"/>
                    <a:pt x="5000" y="84842"/>
                  </a:cubicBezTo>
                  <a:cubicBezTo>
                    <a:pt x="5000" y="84552"/>
                    <a:pt x="5000" y="84552"/>
                    <a:pt x="5000" y="84552"/>
                  </a:cubicBezTo>
                  <a:cubicBezTo>
                    <a:pt x="4615" y="82808"/>
                    <a:pt x="4615" y="82808"/>
                    <a:pt x="4615" y="82808"/>
                  </a:cubicBezTo>
                  <a:cubicBezTo>
                    <a:pt x="5769" y="82227"/>
                    <a:pt x="5769" y="82227"/>
                    <a:pt x="5769" y="82227"/>
                  </a:cubicBezTo>
                  <a:cubicBezTo>
                    <a:pt x="6538" y="81355"/>
                    <a:pt x="6538" y="81355"/>
                    <a:pt x="6538" y="81355"/>
                  </a:cubicBezTo>
                  <a:cubicBezTo>
                    <a:pt x="7307" y="80484"/>
                    <a:pt x="7307" y="80484"/>
                    <a:pt x="7307" y="80484"/>
                  </a:cubicBezTo>
                  <a:cubicBezTo>
                    <a:pt x="6923" y="79322"/>
                    <a:pt x="6923" y="79322"/>
                    <a:pt x="6923" y="79322"/>
                  </a:cubicBezTo>
                  <a:cubicBezTo>
                    <a:pt x="6923" y="79322"/>
                    <a:pt x="5384" y="79322"/>
                    <a:pt x="5000" y="79031"/>
                  </a:cubicBezTo>
                  <a:cubicBezTo>
                    <a:pt x="4615" y="79031"/>
                    <a:pt x="3461" y="78450"/>
                    <a:pt x="3461" y="78450"/>
                  </a:cubicBezTo>
                  <a:cubicBezTo>
                    <a:pt x="3076" y="76997"/>
                    <a:pt x="3076" y="76997"/>
                    <a:pt x="3076" y="76997"/>
                  </a:cubicBezTo>
                  <a:cubicBezTo>
                    <a:pt x="2307" y="76125"/>
                    <a:pt x="2307" y="76125"/>
                    <a:pt x="2307" y="76125"/>
                  </a:cubicBezTo>
                  <a:cubicBezTo>
                    <a:pt x="1923" y="74673"/>
                    <a:pt x="1923" y="74673"/>
                    <a:pt x="1923" y="74673"/>
                  </a:cubicBezTo>
                  <a:cubicBezTo>
                    <a:pt x="2307" y="73220"/>
                    <a:pt x="2307" y="73220"/>
                    <a:pt x="2307" y="73220"/>
                  </a:cubicBezTo>
                  <a:cubicBezTo>
                    <a:pt x="2307" y="73220"/>
                    <a:pt x="2307" y="73220"/>
                    <a:pt x="2307" y="73220"/>
                  </a:cubicBezTo>
                  <a:cubicBezTo>
                    <a:pt x="2307" y="73220"/>
                    <a:pt x="2307" y="73220"/>
                    <a:pt x="2307" y="73220"/>
                  </a:cubicBezTo>
                  <a:cubicBezTo>
                    <a:pt x="2692" y="73220"/>
                    <a:pt x="2692" y="73220"/>
                    <a:pt x="2692" y="73220"/>
                  </a:cubicBezTo>
                  <a:cubicBezTo>
                    <a:pt x="3076" y="72639"/>
                    <a:pt x="3076" y="72639"/>
                    <a:pt x="3076" y="72639"/>
                  </a:cubicBezTo>
                  <a:cubicBezTo>
                    <a:pt x="3076" y="72348"/>
                    <a:pt x="3076" y="72348"/>
                    <a:pt x="3076" y="72348"/>
                  </a:cubicBezTo>
                  <a:cubicBezTo>
                    <a:pt x="3076" y="72348"/>
                    <a:pt x="3461" y="72058"/>
                    <a:pt x="3846" y="72058"/>
                  </a:cubicBezTo>
                  <a:cubicBezTo>
                    <a:pt x="3846" y="72058"/>
                    <a:pt x="4230" y="72058"/>
                    <a:pt x="4230" y="72058"/>
                  </a:cubicBezTo>
                  <a:cubicBezTo>
                    <a:pt x="4615" y="72058"/>
                    <a:pt x="4615" y="71186"/>
                    <a:pt x="4615" y="71186"/>
                  </a:cubicBezTo>
                  <a:cubicBezTo>
                    <a:pt x="5384" y="71186"/>
                    <a:pt x="5384" y="71186"/>
                    <a:pt x="5384" y="71186"/>
                  </a:cubicBezTo>
                  <a:cubicBezTo>
                    <a:pt x="5384" y="71186"/>
                    <a:pt x="5769" y="70895"/>
                    <a:pt x="5769" y="70895"/>
                  </a:cubicBezTo>
                  <a:cubicBezTo>
                    <a:pt x="5769" y="70605"/>
                    <a:pt x="5769" y="70314"/>
                    <a:pt x="5769" y="70314"/>
                  </a:cubicBezTo>
                  <a:cubicBezTo>
                    <a:pt x="5769" y="70314"/>
                    <a:pt x="6153" y="69733"/>
                    <a:pt x="6153" y="69443"/>
                  </a:cubicBezTo>
                  <a:cubicBezTo>
                    <a:pt x="6153" y="69152"/>
                    <a:pt x="5769" y="68861"/>
                    <a:pt x="5769" y="68861"/>
                  </a:cubicBezTo>
                  <a:cubicBezTo>
                    <a:pt x="5769" y="68861"/>
                    <a:pt x="5384" y="68280"/>
                    <a:pt x="5000" y="68280"/>
                  </a:cubicBezTo>
                  <a:cubicBezTo>
                    <a:pt x="5000" y="68280"/>
                    <a:pt x="4230" y="68280"/>
                    <a:pt x="4230" y="68280"/>
                  </a:cubicBezTo>
                  <a:cubicBezTo>
                    <a:pt x="3846" y="68280"/>
                    <a:pt x="3461" y="67699"/>
                    <a:pt x="3461" y="67699"/>
                  </a:cubicBezTo>
                  <a:cubicBezTo>
                    <a:pt x="3461" y="67699"/>
                    <a:pt x="3846" y="67409"/>
                    <a:pt x="3846" y="67118"/>
                  </a:cubicBezTo>
                  <a:cubicBezTo>
                    <a:pt x="4230" y="67118"/>
                    <a:pt x="4230" y="66246"/>
                    <a:pt x="4230" y="66246"/>
                  </a:cubicBezTo>
                  <a:cubicBezTo>
                    <a:pt x="4230" y="66246"/>
                    <a:pt x="3846" y="65956"/>
                    <a:pt x="3461" y="65956"/>
                  </a:cubicBezTo>
                  <a:cubicBezTo>
                    <a:pt x="3461" y="65956"/>
                    <a:pt x="2692" y="65956"/>
                    <a:pt x="2692" y="65956"/>
                  </a:cubicBezTo>
                  <a:cubicBezTo>
                    <a:pt x="2692" y="65084"/>
                    <a:pt x="2692" y="65084"/>
                    <a:pt x="2692" y="65084"/>
                  </a:cubicBezTo>
                  <a:cubicBezTo>
                    <a:pt x="2692" y="65084"/>
                    <a:pt x="1923" y="64794"/>
                    <a:pt x="1538" y="64794"/>
                  </a:cubicBezTo>
                  <a:cubicBezTo>
                    <a:pt x="1538" y="64794"/>
                    <a:pt x="1538" y="64503"/>
                    <a:pt x="1153" y="64503"/>
                  </a:cubicBezTo>
                  <a:cubicBezTo>
                    <a:pt x="1538" y="64503"/>
                    <a:pt x="1538" y="64503"/>
                    <a:pt x="1538" y="64503"/>
                  </a:cubicBezTo>
                  <a:cubicBezTo>
                    <a:pt x="1538" y="64503"/>
                    <a:pt x="1538" y="64503"/>
                    <a:pt x="1538" y="64503"/>
                  </a:cubicBezTo>
                  <a:cubicBezTo>
                    <a:pt x="1538" y="64213"/>
                    <a:pt x="1153" y="63922"/>
                    <a:pt x="1153" y="63631"/>
                  </a:cubicBezTo>
                  <a:cubicBezTo>
                    <a:pt x="1153" y="63631"/>
                    <a:pt x="1538" y="63631"/>
                    <a:pt x="1538" y="63631"/>
                  </a:cubicBezTo>
                  <a:cubicBezTo>
                    <a:pt x="1538" y="63631"/>
                    <a:pt x="1538" y="63341"/>
                    <a:pt x="1923" y="63050"/>
                  </a:cubicBezTo>
                  <a:cubicBezTo>
                    <a:pt x="1923" y="63050"/>
                    <a:pt x="1923" y="63050"/>
                    <a:pt x="2307" y="63050"/>
                  </a:cubicBezTo>
                  <a:cubicBezTo>
                    <a:pt x="2307" y="63050"/>
                    <a:pt x="2307" y="62760"/>
                    <a:pt x="2692" y="62760"/>
                  </a:cubicBezTo>
                  <a:cubicBezTo>
                    <a:pt x="2692" y="62469"/>
                    <a:pt x="2692" y="61888"/>
                    <a:pt x="2692" y="61888"/>
                  </a:cubicBezTo>
                  <a:cubicBezTo>
                    <a:pt x="2692" y="61888"/>
                    <a:pt x="2692" y="61888"/>
                    <a:pt x="2307" y="61598"/>
                  </a:cubicBezTo>
                  <a:cubicBezTo>
                    <a:pt x="1923" y="61598"/>
                    <a:pt x="1923" y="61598"/>
                    <a:pt x="1923" y="61307"/>
                  </a:cubicBezTo>
                  <a:cubicBezTo>
                    <a:pt x="1538" y="61307"/>
                    <a:pt x="1923" y="61016"/>
                    <a:pt x="1923" y="61016"/>
                  </a:cubicBezTo>
                  <a:cubicBezTo>
                    <a:pt x="1923" y="61016"/>
                    <a:pt x="1153" y="60726"/>
                    <a:pt x="1153" y="60726"/>
                  </a:cubicBezTo>
                  <a:cubicBezTo>
                    <a:pt x="1153" y="60726"/>
                    <a:pt x="384" y="60726"/>
                    <a:pt x="384" y="60726"/>
                  </a:cubicBezTo>
                  <a:cubicBezTo>
                    <a:pt x="384" y="60726"/>
                    <a:pt x="384" y="60726"/>
                    <a:pt x="384" y="60726"/>
                  </a:cubicBezTo>
                  <a:cubicBezTo>
                    <a:pt x="384" y="60145"/>
                    <a:pt x="384" y="60145"/>
                    <a:pt x="384" y="60145"/>
                  </a:cubicBezTo>
                  <a:cubicBezTo>
                    <a:pt x="0" y="59564"/>
                    <a:pt x="0" y="59564"/>
                    <a:pt x="0" y="59564"/>
                  </a:cubicBezTo>
                  <a:cubicBezTo>
                    <a:pt x="384" y="59273"/>
                    <a:pt x="384" y="59273"/>
                    <a:pt x="384" y="59273"/>
                  </a:cubicBezTo>
                  <a:cubicBezTo>
                    <a:pt x="1153" y="59854"/>
                    <a:pt x="1153" y="59854"/>
                    <a:pt x="1153" y="59854"/>
                  </a:cubicBezTo>
                  <a:cubicBezTo>
                    <a:pt x="1153" y="59854"/>
                    <a:pt x="1153" y="59564"/>
                    <a:pt x="1153" y="59273"/>
                  </a:cubicBezTo>
                  <a:cubicBezTo>
                    <a:pt x="1538" y="59273"/>
                    <a:pt x="1923" y="58692"/>
                    <a:pt x="1923" y="58692"/>
                  </a:cubicBezTo>
                  <a:cubicBezTo>
                    <a:pt x="2692" y="58692"/>
                    <a:pt x="2692" y="58692"/>
                    <a:pt x="2692" y="58692"/>
                  </a:cubicBezTo>
                  <a:cubicBezTo>
                    <a:pt x="2692" y="58692"/>
                    <a:pt x="4230" y="58692"/>
                    <a:pt x="4230" y="58692"/>
                  </a:cubicBezTo>
                  <a:cubicBezTo>
                    <a:pt x="4615" y="58401"/>
                    <a:pt x="3846" y="57820"/>
                    <a:pt x="3846" y="57820"/>
                  </a:cubicBezTo>
                  <a:cubicBezTo>
                    <a:pt x="3846" y="57820"/>
                    <a:pt x="3076" y="58401"/>
                    <a:pt x="3076" y="58401"/>
                  </a:cubicBezTo>
                  <a:cubicBezTo>
                    <a:pt x="2692" y="58401"/>
                    <a:pt x="2692" y="57530"/>
                    <a:pt x="2692" y="57530"/>
                  </a:cubicBezTo>
                  <a:cubicBezTo>
                    <a:pt x="2692" y="56949"/>
                    <a:pt x="2692" y="56949"/>
                    <a:pt x="2692" y="56949"/>
                  </a:cubicBezTo>
                  <a:cubicBezTo>
                    <a:pt x="3461" y="56658"/>
                    <a:pt x="3461" y="56658"/>
                    <a:pt x="3461" y="56658"/>
                  </a:cubicBezTo>
                  <a:cubicBezTo>
                    <a:pt x="3846" y="56077"/>
                    <a:pt x="3846" y="56077"/>
                    <a:pt x="3846" y="56077"/>
                  </a:cubicBezTo>
                  <a:cubicBezTo>
                    <a:pt x="3846" y="56077"/>
                    <a:pt x="4615" y="55496"/>
                    <a:pt x="4615" y="55496"/>
                  </a:cubicBezTo>
                  <a:cubicBezTo>
                    <a:pt x="5000" y="55205"/>
                    <a:pt x="4615" y="54624"/>
                    <a:pt x="4615" y="54624"/>
                  </a:cubicBezTo>
                  <a:cubicBezTo>
                    <a:pt x="5000" y="53753"/>
                    <a:pt x="5000" y="53753"/>
                    <a:pt x="5000" y="53753"/>
                  </a:cubicBezTo>
                  <a:cubicBezTo>
                    <a:pt x="4230" y="52881"/>
                    <a:pt x="4230" y="52881"/>
                    <a:pt x="4230" y="52881"/>
                  </a:cubicBezTo>
                  <a:cubicBezTo>
                    <a:pt x="4230" y="52009"/>
                    <a:pt x="4230" y="52009"/>
                    <a:pt x="4230" y="52009"/>
                  </a:cubicBezTo>
                  <a:cubicBezTo>
                    <a:pt x="3461" y="51138"/>
                    <a:pt x="3461" y="51138"/>
                    <a:pt x="3461" y="51138"/>
                  </a:cubicBezTo>
                  <a:cubicBezTo>
                    <a:pt x="3461" y="50847"/>
                    <a:pt x="3461" y="50847"/>
                    <a:pt x="3461" y="50847"/>
                  </a:cubicBezTo>
                  <a:cubicBezTo>
                    <a:pt x="3076" y="50266"/>
                    <a:pt x="3076" y="50266"/>
                    <a:pt x="3076" y="50266"/>
                  </a:cubicBezTo>
                  <a:cubicBezTo>
                    <a:pt x="3076" y="49685"/>
                    <a:pt x="3076" y="49685"/>
                    <a:pt x="3076" y="49685"/>
                  </a:cubicBezTo>
                  <a:cubicBezTo>
                    <a:pt x="3076" y="49685"/>
                    <a:pt x="2307" y="49104"/>
                    <a:pt x="1923" y="49104"/>
                  </a:cubicBezTo>
                  <a:cubicBezTo>
                    <a:pt x="1538" y="49104"/>
                    <a:pt x="1923" y="48813"/>
                    <a:pt x="1923" y="48813"/>
                  </a:cubicBezTo>
                  <a:cubicBezTo>
                    <a:pt x="1923" y="48232"/>
                    <a:pt x="1923" y="48232"/>
                    <a:pt x="1923" y="48232"/>
                  </a:cubicBezTo>
                  <a:cubicBezTo>
                    <a:pt x="1923" y="47360"/>
                    <a:pt x="1923" y="47360"/>
                    <a:pt x="1923" y="47360"/>
                  </a:cubicBezTo>
                  <a:cubicBezTo>
                    <a:pt x="3846" y="47651"/>
                    <a:pt x="3846" y="47651"/>
                    <a:pt x="3846" y="47651"/>
                  </a:cubicBezTo>
                  <a:cubicBezTo>
                    <a:pt x="4615" y="47651"/>
                    <a:pt x="4615" y="47651"/>
                    <a:pt x="4615" y="47651"/>
                  </a:cubicBezTo>
                  <a:cubicBezTo>
                    <a:pt x="3461" y="47070"/>
                    <a:pt x="3461" y="47070"/>
                    <a:pt x="3461" y="47070"/>
                  </a:cubicBezTo>
                  <a:cubicBezTo>
                    <a:pt x="4615" y="46779"/>
                    <a:pt x="4615" y="46779"/>
                    <a:pt x="4615" y="46779"/>
                  </a:cubicBezTo>
                  <a:cubicBezTo>
                    <a:pt x="5384" y="47360"/>
                    <a:pt x="5384" y="47360"/>
                    <a:pt x="5384" y="47360"/>
                  </a:cubicBezTo>
                  <a:cubicBezTo>
                    <a:pt x="6538" y="47651"/>
                    <a:pt x="6538" y="47651"/>
                    <a:pt x="6538" y="47651"/>
                  </a:cubicBezTo>
                  <a:cubicBezTo>
                    <a:pt x="6923" y="48232"/>
                    <a:pt x="6923" y="48232"/>
                    <a:pt x="6923" y="48232"/>
                  </a:cubicBezTo>
                  <a:cubicBezTo>
                    <a:pt x="7307" y="47651"/>
                    <a:pt x="7307" y="47651"/>
                    <a:pt x="7307" y="47651"/>
                  </a:cubicBezTo>
                  <a:cubicBezTo>
                    <a:pt x="8461" y="47651"/>
                    <a:pt x="8461" y="47651"/>
                    <a:pt x="8461" y="47651"/>
                  </a:cubicBezTo>
                  <a:cubicBezTo>
                    <a:pt x="8846" y="47651"/>
                    <a:pt x="8846" y="47651"/>
                    <a:pt x="8846" y="47651"/>
                  </a:cubicBezTo>
                  <a:cubicBezTo>
                    <a:pt x="10000" y="47360"/>
                    <a:pt x="10000" y="47360"/>
                    <a:pt x="10000" y="47360"/>
                  </a:cubicBezTo>
                  <a:cubicBezTo>
                    <a:pt x="11153" y="47360"/>
                    <a:pt x="11153" y="47360"/>
                    <a:pt x="11153" y="47360"/>
                  </a:cubicBezTo>
                  <a:cubicBezTo>
                    <a:pt x="11538" y="46779"/>
                    <a:pt x="11538" y="46779"/>
                    <a:pt x="11538" y="46779"/>
                  </a:cubicBezTo>
                  <a:cubicBezTo>
                    <a:pt x="12307" y="46489"/>
                    <a:pt x="12307" y="46489"/>
                    <a:pt x="12307" y="46489"/>
                  </a:cubicBezTo>
                  <a:cubicBezTo>
                    <a:pt x="12692" y="46198"/>
                    <a:pt x="12692" y="46198"/>
                    <a:pt x="12692" y="46198"/>
                  </a:cubicBezTo>
                  <a:cubicBezTo>
                    <a:pt x="11538" y="45617"/>
                    <a:pt x="11538" y="45617"/>
                    <a:pt x="11538" y="45617"/>
                  </a:cubicBezTo>
                  <a:cubicBezTo>
                    <a:pt x="10769" y="44745"/>
                    <a:pt x="10769" y="44745"/>
                    <a:pt x="10769" y="44745"/>
                  </a:cubicBezTo>
                  <a:cubicBezTo>
                    <a:pt x="11538" y="44745"/>
                    <a:pt x="11538" y="44745"/>
                    <a:pt x="11538" y="44745"/>
                  </a:cubicBezTo>
                  <a:cubicBezTo>
                    <a:pt x="11538" y="43874"/>
                    <a:pt x="11538" y="43874"/>
                    <a:pt x="11538" y="43874"/>
                  </a:cubicBezTo>
                  <a:cubicBezTo>
                    <a:pt x="11538" y="43874"/>
                    <a:pt x="13076" y="44164"/>
                    <a:pt x="13076" y="44164"/>
                  </a:cubicBezTo>
                  <a:cubicBezTo>
                    <a:pt x="13076" y="43874"/>
                    <a:pt x="13076" y="43874"/>
                    <a:pt x="13461" y="43583"/>
                  </a:cubicBezTo>
                  <a:cubicBezTo>
                    <a:pt x="13846" y="43583"/>
                    <a:pt x="14615" y="43292"/>
                    <a:pt x="14615" y="43292"/>
                  </a:cubicBezTo>
                  <a:cubicBezTo>
                    <a:pt x="15000" y="42711"/>
                    <a:pt x="15000" y="42711"/>
                    <a:pt x="15000" y="42711"/>
                  </a:cubicBezTo>
                  <a:cubicBezTo>
                    <a:pt x="15000" y="42711"/>
                    <a:pt x="15769" y="42421"/>
                    <a:pt x="15769" y="42421"/>
                  </a:cubicBezTo>
                  <a:cubicBezTo>
                    <a:pt x="16153" y="42421"/>
                    <a:pt x="15769" y="42130"/>
                    <a:pt x="15769" y="41840"/>
                  </a:cubicBezTo>
                  <a:cubicBezTo>
                    <a:pt x="15769" y="41549"/>
                    <a:pt x="15769" y="40968"/>
                    <a:pt x="15769" y="40968"/>
                  </a:cubicBezTo>
                  <a:cubicBezTo>
                    <a:pt x="16153" y="40387"/>
                    <a:pt x="16153" y="40387"/>
                    <a:pt x="16153" y="40387"/>
                  </a:cubicBezTo>
                  <a:cubicBezTo>
                    <a:pt x="15384" y="39225"/>
                    <a:pt x="15384" y="39225"/>
                    <a:pt x="15384" y="39225"/>
                  </a:cubicBezTo>
                  <a:cubicBezTo>
                    <a:pt x="14230" y="39515"/>
                    <a:pt x="14230" y="39515"/>
                    <a:pt x="14230" y="39515"/>
                  </a:cubicBezTo>
                  <a:cubicBezTo>
                    <a:pt x="13461" y="38934"/>
                    <a:pt x="13461" y="38934"/>
                    <a:pt x="13461" y="38934"/>
                  </a:cubicBezTo>
                  <a:cubicBezTo>
                    <a:pt x="13461" y="38934"/>
                    <a:pt x="12307" y="38934"/>
                    <a:pt x="12307" y="38644"/>
                  </a:cubicBezTo>
                  <a:cubicBezTo>
                    <a:pt x="11923" y="38353"/>
                    <a:pt x="11538" y="37772"/>
                    <a:pt x="11538" y="37772"/>
                  </a:cubicBezTo>
                  <a:cubicBezTo>
                    <a:pt x="11538" y="37191"/>
                    <a:pt x="11538" y="37191"/>
                    <a:pt x="11538" y="37191"/>
                  </a:cubicBezTo>
                  <a:cubicBezTo>
                    <a:pt x="12692" y="37191"/>
                    <a:pt x="12692" y="37191"/>
                    <a:pt x="12692" y="37191"/>
                  </a:cubicBezTo>
                  <a:cubicBezTo>
                    <a:pt x="11923" y="36900"/>
                    <a:pt x="11923" y="36900"/>
                    <a:pt x="11923" y="36900"/>
                  </a:cubicBezTo>
                  <a:cubicBezTo>
                    <a:pt x="11923" y="36029"/>
                    <a:pt x="11923" y="36029"/>
                    <a:pt x="11923" y="36029"/>
                  </a:cubicBezTo>
                  <a:cubicBezTo>
                    <a:pt x="13461" y="35738"/>
                    <a:pt x="13461" y="35738"/>
                    <a:pt x="13461" y="35738"/>
                  </a:cubicBezTo>
                  <a:cubicBezTo>
                    <a:pt x="13461" y="35738"/>
                    <a:pt x="15384" y="36319"/>
                    <a:pt x="15769" y="36319"/>
                  </a:cubicBezTo>
                  <a:cubicBezTo>
                    <a:pt x="16153" y="36610"/>
                    <a:pt x="16153" y="35447"/>
                    <a:pt x="16153" y="35447"/>
                  </a:cubicBezTo>
                  <a:cubicBezTo>
                    <a:pt x="16538" y="33995"/>
                    <a:pt x="16538" y="33995"/>
                    <a:pt x="16538" y="33995"/>
                  </a:cubicBezTo>
                  <a:cubicBezTo>
                    <a:pt x="16538" y="33995"/>
                    <a:pt x="16153" y="32832"/>
                    <a:pt x="16538" y="32542"/>
                  </a:cubicBezTo>
                  <a:cubicBezTo>
                    <a:pt x="16923" y="32542"/>
                    <a:pt x="18076" y="30799"/>
                    <a:pt x="18076" y="30799"/>
                  </a:cubicBezTo>
                  <a:cubicBezTo>
                    <a:pt x="18076" y="30799"/>
                    <a:pt x="18076" y="29055"/>
                    <a:pt x="18076" y="28765"/>
                  </a:cubicBezTo>
                  <a:cubicBezTo>
                    <a:pt x="18076" y="28474"/>
                    <a:pt x="18076" y="27312"/>
                    <a:pt x="18076" y="27312"/>
                  </a:cubicBezTo>
                  <a:cubicBezTo>
                    <a:pt x="18076" y="27021"/>
                    <a:pt x="18076" y="27021"/>
                    <a:pt x="18076" y="27021"/>
                  </a:cubicBezTo>
                  <a:cubicBezTo>
                    <a:pt x="18076" y="27021"/>
                    <a:pt x="16923" y="26731"/>
                    <a:pt x="16538" y="26731"/>
                  </a:cubicBezTo>
                  <a:cubicBezTo>
                    <a:pt x="16538" y="26440"/>
                    <a:pt x="16923" y="25859"/>
                    <a:pt x="16923" y="25859"/>
                  </a:cubicBezTo>
                  <a:cubicBezTo>
                    <a:pt x="15000" y="25569"/>
                    <a:pt x="15000" y="25569"/>
                    <a:pt x="15000" y="25569"/>
                  </a:cubicBezTo>
                  <a:cubicBezTo>
                    <a:pt x="15384" y="24697"/>
                    <a:pt x="15769" y="23244"/>
                    <a:pt x="16153" y="23244"/>
                  </a:cubicBezTo>
                  <a:cubicBezTo>
                    <a:pt x="16538" y="22953"/>
                    <a:pt x="17307" y="22372"/>
                    <a:pt x="17307" y="22372"/>
                  </a:cubicBezTo>
                  <a:cubicBezTo>
                    <a:pt x="17307" y="21210"/>
                    <a:pt x="17307" y="21210"/>
                    <a:pt x="17307" y="21210"/>
                  </a:cubicBezTo>
                  <a:cubicBezTo>
                    <a:pt x="16538" y="20338"/>
                    <a:pt x="16538" y="20338"/>
                    <a:pt x="16538" y="20338"/>
                  </a:cubicBezTo>
                  <a:cubicBezTo>
                    <a:pt x="17307" y="19467"/>
                    <a:pt x="17307" y="19467"/>
                    <a:pt x="17307" y="19467"/>
                  </a:cubicBezTo>
                  <a:cubicBezTo>
                    <a:pt x="17307" y="19467"/>
                    <a:pt x="18846" y="18886"/>
                    <a:pt x="18846" y="18886"/>
                  </a:cubicBezTo>
                  <a:cubicBezTo>
                    <a:pt x="19230" y="18886"/>
                    <a:pt x="21538" y="18886"/>
                    <a:pt x="21538" y="18886"/>
                  </a:cubicBezTo>
                  <a:cubicBezTo>
                    <a:pt x="23076" y="18305"/>
                    <a:pt x="23076" y="18305"/>
                    <a:pt x="23076" y="18305"/>
                  </a:cubicBezTo>
                  <a:cubicBezTo>
                    <a:pt x="25384" y="18305"/>
                    <a:pt x="25384" y="18305"/>
                    <a:pt x="25384" y="18305"/>
                  </a:cubicBezTo>
                  <a:cubicBezTo>
                    <a:pt x="26923" y="18014"/>
                    <a:pt x="26923" y="18014"/>
                    <a:pt x="26923" y="18014"/>
                  </a:cubicBezTo>
                  <a:cubicBezTo>
                    <a:pt x="28076" y="18595"/>
                    <a:pt x="28076" y="18595"/>
                    <a:pt x="28076" y="18595"/>
                  </a:cubicBezTo>
                  <a:cubicBezTo>
                    <a:pt x="28076" y="18595"/>
                    <a:pt x="28846" y="19176"/>
                    <a:pt x="28846" y="19467"/>
                  </a:cubicBezTo>
                  <a:cubicBezTo>
                    <a:pt x="28846" y="19467"/>
                    <a:pt x="29615" y="20048"/>
                    <a:pt x="29615" y="20338"/>
                  </a:cubicBezTo>
                  <a:cubicBezTo>
                    <a:pt x="29230" y="20338"/>
                    <a:pt x="30000" y="21210"/>
                    <a:pt x="30000" y="21210"/>
                  </a:cubicBezTo>
                  <a:cubicBezTo>
                    <a:pt x="30000" y="21210"/>
                    <a:pt x="29615" y="21791"/>
                    <a:pt x="29615" y="22082"/>
                  </a:cubicBezTo>
                  <a:cubicBezTo>
                    <a:pt x="29615" y="22082"/>
                    <a:pt x="30000" y="23244"/>
                    <a:pt x="30000" y="23244"/>
                  </a:cubicBezTo>
                  <a:cubicBezTo>
                    <a:pt x="30000" y="23535"/>
                    <a:pt x="30769" y="23825"/>
                    <a:pt x="30769" y="23825"/>
                  </a:cubicBezTo>
                  <a:cubicBezTo>
                    <a:pt x="31538" y="23535"/>
                    <a:pt x="31538" y="23535"/>
                    <a:pt x="31538" y="23535"/>
                  </a:cubicBezTo>
                  <a:cubicBezTo>
                    <a:pt x="31923" y="22953"/>
                    <a:pt x="31923" y="22953"/>
                    <a:pt x="31923" y="22953"/>
                  </a:cubicBezTo>
                  <a:cubicBezTo>
                    <a:pt x="31153" y="22082"/>
                    <a:pt x="31153" y="22082"/>
                    <a:pt x="31153" y="22082"/>
                  </a:cubicBezTo>
                  <a:cubicBezTo>
                    <a:pt x="30769" y="22082"/>
                    <a:pt x="30769" y="22082"/>
                    <a:pt x="30769" y="22082"/>
                  </a:cubicBezTo>
                  <a:cubicBezTo>
                    <a:pt x="31153" y="20920"/>
                    <a:pt x="31153" y="20920"/>
                    <a:pt x="31153" y="20920"/>
                  </a:cubicBezTo>
                  <a:cubicBezTo>
                    <a:pt x="31153" y="20920"/>
                    <a:pt x="31923" y="20629"/>
                    <a:pt x="32307" y="20920"/>
                  </a:cubicBezTo>
                  <a:cubicBezTo>
                    <a:pt x="32692" y="20920"/>
                    <a:pt x="33846" y="21791"/>
                    <a:pt x="33846" y="21791"/>
                  </a:cubicBezTo>
                  <a:cubicBezTo>
                    <a:pt x="34615" y="22082"/>
                    <a:pt x="34615" y="22082"/>
                    <a:pt x="34615" y="22082"/>
                  </a:cubicBezTo>
                  <a:cubicBezTo>
                    <a:pt x="34615" y="22082"/>
                    <a:pt x="35769" y="21501"/>
                    <a:pt x="35769" y="21501"/>
                  </a:cubicBezTo>
                  <a:cubicBezTo>
                    <a:pt x="35769" y="21501"/>
                    <a:pt x="34615" y="20338"/>
                    <a:pt x="34615" y="20338"/>
                  </a:cubicBezTo>
                  <a:cubicBezTo>
                    <a:pt x="35000" y="18886"/>
                    <a:pt x="35000" y="18886"/>
                    <a:pt x="35000" y="18886"/>
                  </a:cubicBezTo>
                  <a:cubicBezTo>
                    <a:pt x="35384" y="17723"/>
                    <a:pt x="35384" y="17723"/>
                    <a:pt x="35384" y="17723"/>
                  </a:cubicBezTo>
                  <a:cubicBezTo>
                    <a:pt x="36923" y="16852"/>
                    <a:pt x="36923" y="16852"/>
                    <a:pt x="36923" y="16852"/>
                  </a:cubicBezTo>
                  <a:cubicBezTo>
                    <a:pt x="38076" y="17433"/>
                    <a:pt x="38076" y="17433"/>
                    <a:pt x="38076" y="17433"/>
                  </a:cubicBezTo>
                  <a:cubicBezTo>
                    <a:pt x="40000" y="17433"/>
                    <a:pt x="40000" y="17433"/>
                    <a:pt x="40000" y="17433"/>
                  </a:cubicBezTo>
                  <a:cubicBezTo>
                    <a:pt x="41923" y="17433"/>
                    <a:pt x="41923" y="17433"/>
                    <a:pt x="41923" y="17433"/>
                  </a:cubicBezTo>
                  <a:cubicBezTo>
                    <a:pt x="43076" y="17142"/>
                    <a:pt x="43076" y="17142"/>
                    <a:pt x="43076" y="17142"/>
                  </a:cubicBezTo>
                  <a:cubicBezTo>
                    <a:pt x="44615" y="17142"/>
                    <a:pt x="44615" y="17142"/>
                    <a:pt x="44615" y="17142"/>
                  </a:cubicBezTo>
                  <a:cubicBezTo>
                    <a:pt x="44615" y="17142"/>
                    <a:pt x="43846" y="16561"/>
                    <a:pt x="43846" y="16561"/>
                  </a:cubicBezTo>
                  <a:cubicBezTo>
                    <a:pt x="43461" y="16561"/>
                    <a:pt x="42692" y="15980"/>
                    <a:pt x="42692" y="15980"/>
                  </a:cubicBezTo>
                  <a:cubicBezTo>
                    <a:pt x="42692" y="15980"/>
                    <a:pt x="42307" y="16561"/>
                    <a:pt x="42307" y="16561"/>
                  </a:cubicBezTo>
                  <a:cubicBezTo>
                    <a:pt x="41923" y="16852"/>
                    <a:pt x="40769" y="16852"/>
                    <a:pt x="40769" y="16561"/>
                  </a:cubicBezTo>
                  <a:cubicBezTo>
                    <a:pt x="40384" y="16561"/>
                    <a:pt x="40000" y="15690"/>
                    <a:pt x="40000" y="15690"/>
                  </a:cubicBezTo>
                  <a:cubicBezTo>
                    <a:pt x="40000" y="14818"/>
                    <a:pt x="40000" y="14818"/>
                    <a:pt x="40000" y="14818"/>
                  </a:cubicBezTo>
                  <a:cubicBezTo>
                    <a:pt x="40769" y="14527"/>
                    <a:pt x="40769" y="14527"/>
                    <a:pt x="40769" y="14527"/>
                  </a:cubicBezTo>
                  <a:cubicBezTo>
                    <a:pt x="39615" y="13656"/>
                    <a:pt x="39615" y="13656"/>
                    <a:pt x="39615" y="13656"/>
                  </a:cubicBezTo>
                  <a:cubicBezTo>
                    <a:pt x="39615" y="13656"/>
                    <a:pt x="39615" y="12784"/>
                    <a:pt x="40000" y="12493"/>
                  </a:cubicBezTo>
                  <a:cubicBezTo>
                    <a:pt x="40384" y="12493"/>
                    <a:pt x="40384" y="11912"/>
                    <a:pt x="40384" y="11912"/>
                  </a:cubicBezTo>
                  <a:cubicBezTo>
                    <a:pt x="39230" y="11912"/>
                    <a:pt x="39230" y="11912"/>
                    <a:pt x="39230" y="11912"/>
                  </a:cubicBezTo>
                  <a:cubicBezTo>
                    <a:pt x="39230" y="11912"/>
                    <a:pt x="38846" y="11912"/>
                    <a:pt x="38846" y="11331"/>
                  </a:cubicBezTo>
                  <a:cubicBezTo>
                    <a:pt x="39230" y="10750"/>
                    <a:pt x="39230" y="10460"/>
                    <a:pt x="39230" y="10460"/>
                  </a:cubicBezTo>
                  <a:cubicBezTo>
                    <a:pt x="37692" y="10460"/>
                    <a:pt x="37692" y="10460"/>
                    <a:pt x="37692" y="10460"/>
                  </a:cubicBezTo>
                  <a:cubicBezTo>
                    <a:pt x="36923" y="10460"/>
                    <a:pt x="36923" y="10460"/>
                    <a:pt x="36923" y="10460"/>
                  </a:cubicBezTo>
                  <a:cubicBezTo>
                    <a:pt x="35769" y="9588"/>
                    <a:pt x="35769" y="9588"/>
                    <a:pt x="35769" y="9588"/>
                  </a:cubicBezTo>
                  <a:cubicBezTo>
                    <a:pt x="36153" y="8716"/>
                    <a:pt x="36153" y="8716"/>
                    <a:pt x="36153" y="8716"/>
                  </a:cubicBezTo>
                  <a:cubicBezTo>
                    <a:pt x="38461" y="8426"/>
                    <a:pt x="38461" y="8426"/>
                    <a:pt x="38461" y="8426"/>
                  </a:cubicBezTo>
                  <a:cubicBezTo>
                    <a:pt x="41153" y="7554"/>
                    <a:pt x="41153" y="7554"/>
                    <a:pt x="41153" y="7554"/>
                  </a:cubicBezTo>
                  <a:cubicBezTo>
                    <a:pt x="40769" y="6973"/>
                    <a:pt x="40769" y="6973"/>
                    <a:pt x="40769" y="6973"/>
                  </a:cubicBezTo>
                  <a:cubicBezTo>
                    <a:pt x="40000" y="7263"/>
                    <a:pt x="40000" y="7263"/>
                    <a:pt x="40000" y="7263"/>
                  </a:cubicBezTo>
                  <a:cubicBezTo>
                    <a:pt x="40000" y="7263"/>
                    <a:pt x="39615" y="7554"/>
                    <a:pt x="39615" y="7554"/>
                  </a:cubicBezTo>
                  <a:cubicBezTo>
                    <a:pt x="39230" y="7554"/>
                    <a:pt x="38461" y="7554"/>
                    <a:pt x="38461" y="7554"/>
                  </a:cubicBezTo>
                  <a:cubicBezTo>
                    <a:pt x="38461" y="6973"/>
                    <a:pt x="38461" y="6973"/>
                    <a:pt x="38461" y="6973"/>
                  </a:cubicBezTo>
                  <a:cubicBezTo>
                    <a:pt x="39615" y="6973"/>
                    <a:pt x="39615" y="6973"/>
                    <a:pt x="39615" y="6973"/>
                  </a:cubicBezTo>
                  <a:cubicBezTo>
                    <a:pt x="40384" y="6682"/>
                    <a:pt x="40384" y="6682"/>
                    <a:pt x="40384" y="6682"/>
                  </a:cubicBezTo>
                  <a:cubicBezTo>
                    <a:pt x="39615" y="6392"/>
                    <a:pt x="39615" y="6392"/>
                    <a:pt x="39615" y="6392"/>
                  </a:cubicBezTo>
                  <a:cubicBezTo>
                    <a:pt x="38461" y="5230"/>
                    <a:pt x="38461" y="5230"/>
                    <a:pt x="38461" y="5230"/>
                  </a:cubicBezTo>
                  <a:cubicBezTo>
                    <a:pt x="38076" y="4358"/>
                    <a:pt x="38076" y="4358"/>
                    <a:pt x="38076" y="4358"/>
                  </a:cubicBezTo>
                  <a:cubicBezTo>
                    <a:pt x="37307" y="4067"/>
                    <a:pt x="37307" y="4067"/>
                    <a:pt x="37307" y="4067"/>
                  </a:cubicBezTo>
                  <a:cubicBezTo>
                    <a:pt x="36538" y="3486"/>
                    <a:pt x="36538" y="3486"/>
                    <a:pt x="36538" y="3486"/>
                  </a:cubicBezTo>
                  <a:cubicBezTo>
                    <a:pt x="36538" y="2615"/>
                    <a:pt x="36538" y="2615"/>
                    <a:pt x="36538" y="2615"/>
                  </a:cubicBezTo>
                  <a:cubicBezTo>
                    <a:pt x="36153" y="290"/>
                    <a:pt x="36153" y="290"/>
                    <a:pt x="36153" y="290"/>
                  </a:cubicBezTo>
                  <a:cubicBezTo>
                    <a:pt x="37307" y="290"/>
                    <a:pt x="37307" y="290"/>
                    <a:pt x="37307" y="290"/>
                  </a:cubicBezTo>
                  <a:cubicBezTo>
                    <a:pt x="38076" y="0"/>
                    <a:pt x="38076" y="0"/>
                    <a:pt x="38076" y="0"/>
                  </a:cubicBezTo>
                  <a:cubicBezTo>
                    <a:pt x="38076" y="0"/>
                    <a:pt x="40000" y="581"/>
                    <a:pt x="40384" y="581"/>
                  </a:cubicBezTo>
                  <a:cubicBezTo>
                    <a:pt x="40769" y="581"/>
                    <a:pt x="41538" y="871"/>
                    <a:pt x="41538" y="871"/>
                  </a:cubicBezTo>
                  <a:cubicBezTo>
                    <a:pt x="43076" y="1452"/>
                    <a:pt x="43076" y="1452"/>
                    <a:pt x="43076" y="1452"/>
                  </a:cubicBezTo>
                  <a:cubicBezTo>
                    <a:pt x="44230" y="1743"/>
                    <a:pt x="44230" y="1743"/>
                    <a:pt x="44230" y="1743"/>
                  </a:cubicBezTo>
                  <a:cubicBezTo>
                    <a:pt x="44230" y="1743"/>
                    <a:pt x="44615" y="1743"/>
                    <a:pt x="44615" y="1743"/>
                  </a:cubicBezTo>
                  <a:cubicBezTo>
                    <a:pt x="45000" y="1743"/>
                    <a:pt x="45769" y="1452"/>
                    <a:pt x="45769" y="1452"/>
                  </a:cubicBezTo>
                  <a:cubicBezTo>
                    <a:pt x="45769" y="1452"/>
                    <a:pt x="46923" y="871"/>
                    <a:pt x="47307" y="871"/>
                  </a:cubicBezTo>
                  <a:cubicBezTo>
                    <a:pt x="47307" y="581"/>
                    <a:pt x="47692" y="581"/>
                    <a:pt x="47692" y="581"/>
                  </a:cubicBezTo>
                  <a:cubicBezTo>
                    <a:pt x="48461" y="1743"/>
                    <a:pt x="48461" y="1743"/>
                    <a:pt x="48461" y="1743"/>
                  </a:cubicBezTo>
                  <a:cubicBezTo>
                    <a:pt x="49230" y="1162"/>
                    <a:pt x="49230" y="1162"/>
                    <a:pt x="49230" y="1162"/>
                  </a:cubicBezTo>
                  <a:cubicBezTo>
                    <a:pt x="49615" y="581"/>
                    <a:pt x="49615" y="581"/>
                    <a:pt x="49615" y="581"/>
                  </a:cubicBezTo>
                  <a:cubicBezTo>
                    <a:pt x="52692" y="3196"/>
                    <a:pt x="52692" y="3196"/>
                    <a:pt x="52692" y="3196"/>
                  </a:cubicBezTo>
                  <a:cubicBezTo>
                    <a:pt x="53076" y="4358"/>
                    <a:pt x="53076" y="4358"/>
                    <a:pt x="53076" y="4358"/>
                  </a:cubicBezTo>
                  <a:cubicBezTo>
                    <a:pt x="53076" y="4358"/>
                    <a:pt x="53076" y="5230"/>
                    <a:pt x="53076" y="5230"/>
                  </a:cubicBezTo>
                  <a:cubicBezTo>
                    <a:pt x="52692" y="5230"/>
                    <a:pt x="52307" y="6392"/>
                    <a:pt x="52307" y="6392"/>
                  </a:cubicBezTo>
                  <a:cubicBezTo>
                    <a:pt x="52307" y="7263"/>
                    <a:pt x="52307" y="7263"/>
                    <a:pt x="52307" y="7263"/>
                  </a:cubicBezTo>
                  <a:cubicBezTo>
                    <a:pt x="53076" y="7554"/>
                    <a:pt x="53076" y="7554"/>
                    <a:pt x="53076" y="7554"/>
                  </a:cubicBezTo>
                  <a:cubicBezTo>
                    <a:pt x="54230" y="7554"/>
                    <a:pt x="54230" y="7554"/>
                    <a:pt x="54230" y="7554"/>
                  </a:cubicBezTo>
                  <a:cubicBezTo>
                    <a:pt x="55000" y="8135"/>
                    <a:pt x="55000" y="8135"/>
                    <a:pt x="55000" y="8135"/>
                  </a:cubicBezTo>
                  <a:cubicBezTo>
                    <a:pt x="55384" y="8426"/>
                    <a:pt x="55384" y="8426"/>
                    <a:pt x="55384" y="8426"/>
                  </a:cubicBezTo>
                  <a:cubicBezTo>
                    <a:pt x="56538" y="8426"/>
                    <a:pt x="56538" y="8426"/>
                    <a:pt x="56538" y="8426"/>
                  </a:cubicBezTo>
                  <a:cubicBezTo>
                    <a:pt x="56923" y="8135"/>
                    <a:pt x="56923" y="8135"/>
                    <a:pt x="56923" y="8135"/>
                  </a:cubicBezTo>
                  <a:cubicBezTo>
                    <a:pt x="58461" y="8426"/>
                    <a:pt x="58461" y="8426"/>
                    <a:pt x="58461" y="8426"/>
                  </a:cubicBezTo>
                  <a:cubicBezTo>
                    <a:pt x="59615" y="9007"/>
                    <a:pt x="59615" y="9007"/>
                    <a:pt x="59615" y="9007"/>
                  </a:cubicBezTo>
                  <a:cubicBezTo>
                    <a:pt x="60769" y="9588"/>
                    <a:pt x="60769" y="9588"/>
                    <a:pt x="60769" y="9588"/>
                  </a:cubicBezTo>
                  <a:cubicBezTo>
                    <a:pt x="62692" y="10169"/>
                    <a:pt x="62692" y="10169"/>
                    <a:pt x="62692" y="10169"/>
                  </a:cubicBezTo>
                  <a:cubicBezTo>
                    <a:pt x="63076" y="9297"/>
                    <a:pt x="63076" y="9297"/>
                    <a:pt x="63076" y="9297"/>
                  </a:cubicBezTo>
                  <a:cubicBezTo>
                    <a:pt x="63461" y="9007"/>
                    <a:pt x="63461" y="9007"/>
                    <a:pt x="63461" y="9007"/>
                  </a:cubicBezTo>
                  <a:cubicBezTo>
                    <a:pt x="64615" y="9007"/>
                    <a:pt x="64615" y="9007"/>
                    <a:pt x="64615" y="9007"/>
                  </a:cubicBezTo>
                  <a:cubicBezTo>
                    <a:pt x="65384" y="8716"/>
                    <a:pt x="65384" y="8716"/>
                    <a:pt x="65384" y="8716"/>
                  </a:cubicBezTo>
                  <a:cubicBezTo>
                    <a:pt x="65769" y="8426"/>
                    <a:pt x="65769" y="8426"/>
                    <a:pt x="65769" y="8426"/>
                  </a:cubicBezTo>
                  <a:cubicBezTo>
                    <a:pt x="64615" y="7554"/>
                    <a:pt x="64615" y="7554"/>
                    <a:pt x="64615" y="7554"/>
                  </a:cubicBezTo>
                  <a:cubicBezTo>
                    <a:pt x="64615" y="6682"/>
                    <a:pt x="64615" y="6682"/>
                    <a:pt x="64615" y="6682"/>
                  </a:cubicBezTo>
                  <a:cubicBezTo>
                    <a:pt x="64615" y="6682"/>
                    <a:pt x="65384" y="6101"/>
                    <a:pt x="65384" y="6101"/>
                  </a:cubicBezTo>
                  <a:cubicBezTo>
                    <a:pt x="65769" y="6101"/>
                    <a:pt x="67307" y="6392"/>
                    <a:pt x="67307" y="6392"/>
                  </a:cubicBezTo>
                  <a:cubicBezTo>
                    <a:pt x="67692" y="7263"/>
                    <a:pt x="67692" y="7263"/>
                    <a:pt x="67692" y="7263"/>
                  </a:cubicBezTo>
                  <a:cubicBezTo>
                    <a:pt x="68076" y="8135"/>
                    <a:pt x="68076" y="8135"/>
                    <a:pt x="68076" y="8135"/>
                  </a:cubicBezTo>
                  <a:cubicBezTo>
                    <a:pt x="66538" y="8426"/>
                    <a:pt x="66538" y="8426"/>
                    <a:pt x="66538" y="8426"/>
                  </a:cubicBezTo>
                  <a:cubicBezTo>
                    <a:pt x="66153" y="9007"/>
                    <a:pt x="66153" y="9007"/>
                    <a:pt x="66153" y="9007"/>
                  </a:cubicBezTo>
                  <a:cubicBezTo>
                    <a:pt x="66153" y="10169"/>
                    <a:pt x="66153" y="10169"/>
                    <a:pt x="66153" y="10169"/>
                  </a:cubicBezTo>
                  <a:cubicBezTo>
                    <a:pt x="66153" y="11331"/>
                    <a:pt x="66153" y="11331"/>
                    <a:pt x="66153" y="11331"/>
                  </a:cubicBezTo>
                  <a:cubicBezTo>
                    <a:pt x="66153" y="11331"/>
                    <a:pt x="66153" y="11912"/>
                    <a:pt x="65769" y="11912"/>
                  </a:cubicBezTo>
                  <a:cubicBezTo>
                    <a:pt x="65384" y="12203"/>
                    <a:pt x="64615" y="12203"/>
                    <a:pt x="64615" y="12203"/>
                  </a:cubicBezTo>
                  <a:cubicBezTo>
                    <a:pt x="64615" y="12784"/>
                    <a:pt x="64615" y="12784"/>
                    <a:pt x="64615" y="12784"/>
                  </a:cubicBezTo>
                  <a:cubicBezTo>
                    <a:pt x="63461" y="13365"/>
                    <a:pt x="63461" y="13365"/>
                    <a:pt x="63461" y="13365"/>
                  </a:cubicBezTo>
                  <a:cubicBezTo>
                    <a:pt x="62307" y="13365"/>
                    <a:pt x="62307" y="13365"/>
                    <a:pt x="62307" y="13365"/>
                  </a:cubicBezTo>
                  <a:cubicBezTo>
                    <a:pt x="61923" y="13656"/>
                    <a:pt x="61923" y="13656"/>
                    <a:pt x="61923" y="13656"/>
                  </a:cubicBezTo>
                  <a:cubicBezTo>
                    <a:pt x="62307" y="14527"/>
                    <a:pt x="62307" y="14527"/>
                    <a:pt x="62307" y="14527"/>
                  </a:cubicBezTo>
                  <a:cubicBezTo>
                    <a:pt x="63076" y="15108"/>
                    <a:pt x="63076" y="15108"/>
                    <a:pt x="63076" y="15108"/>
                  </a:cubicBezTo>
                  <a:cubicBezTo>
                    <a:pt x="64230" y="15399"/>
                    <a:pt x="64230" y="15399"/>
                    <a:pt x="64230" y="15399"/>
                  </a:cubicBezTo>
                  <a:cubicBezTo>
                    <a:pt x="65000" y="15108"/>
                    <a:pt x="65000" y="15108"/>
                    <a:pt x="65000" y="15108"/>
                  </a:cubicBezTo>
                  <a:cubicBezTo>
                    <a:pt x="65384" y="14527"/>
                    <a:pt x="65384" y="14527"/>
                    <a:pt x="65384" y="14527"/>
                  </a:cubicBezTo>
                  <a:cubicBezTo>
                    <a:pt x="66538" y="14237"/>
                    <a:pt x="66538" y="14237"/>
                    <a:pt x="66538" y="14237"/>
                  </a:cubicBezTo>
                  <a:cubicBezTo>
                    <a:pt x="68076" y="14818"/>
                    <a:pt x="68076" y="14818"/>
                    <a:pt x="68076" y="14818"/>
                  </a:cubicBezTo>
                  <a:cubicBezTo>
                    <a:pt x="68461" y="15399"/>
                    <a:pt x="68461" y="15399"/>
                    <a:pt x="68461" y="15399"/>
                  </a:cubicBezTo>
                  <a:cubicBezTo>
                    <a:pt x="68461" y="15399"/>
                    <a:pt x="70000" y="15399"/>
                    <a:pt x="70000" y="15399"/>
                  </a:cubicBezTo>
                  <a:cubicBezTo>
                    <a:pt x="70000" y="15399"/>
                    <a:pt x="70384" y="14527"/>
                    <a:pt x="70384" y="14527"/>
                  </a:cubicBezTo>
                  <a:cubicBezTo>
                    <a:pt x="70384" y="14527"/>
                    <a:pt x="70769" y="13946"/>
                    <a:pt x="71153" y="13946"/>
                  </a:cubicBezTo>
                  <a:cubicBezTo>
                    <a:pt x="71538" y="13946"/>
                    <a:pt x="71923" y="13365"/>
                    <a:pt x="72307" y="13365"/>
                  </a:cubicBezTo>
                  <a:cubicBezTo>
                    <a:pt x="72307" y="13075"/>
                    <a:pt x="72692" y="12493"/>
                    <a:pt x="72692" y="12493"/>
                  </a:cubicBezTo>
                  <a:cubicBezTo>
                    <a:pt x="72692" y="12493"/>
                    <a:pt x="73461" y="12203"/>
                    <a:pt x="73846" y="12203"/>
                  </a:cubicBezTo>
                  <a:cubicBezTo>
                    <a:pt x="74230" y="12203"/>
                    <a:pt x="76538" y="11912"/>
                    <a:pt x="76538" y="11912"/>
                  </a:cubicBezTo>
                  <a:cubicBezTo>
                    <a:pt x="76538" y="11912"/>
                    <a:pt x="78076" y="11622"/>
                    <a:pt x="78461" y="11331"/>
                  </a:cubicBezTo>
                  <a:cubicBezTo>
                    <a:pt x="78461" y="11331"/>
                    <a:pt x="80000" y="10460"/>
                    <a:pt x="80000" y="10460"/>
                  </a:cubicBezTo>
                  <a:cubicBezTo>
                    <a:pt x="80384" y="9588"/>
                    <a:pt x="80384" y="9588"/>
                    <a:pt x="80384" y="9588"/>
                  </a:cubicBezTo>
                  <a:cubicBezTo>
                    <a:pt x="81538" y="8716"/>
                    <a:pt x="81538" y="8716"/>
                    <a:pt x="81538" y="8716"/>
                  </a:cubicBezTo>
                  <a:cubicBezTo>
                    <a:pt x="81538" y="8716"/>
                    <a:pt x="81923" y="8716"/>
                    <a:pt x="81923" y="8426"/>
                  </a:cubicBezTo>
                  <a:cubicBezTo>
                    <a:pt x="81923" y="8135"/>
                    <a:pt x="82307" y="7263"/>
                    <a:pt x="82307" y="7263"/>
                  </a:cubicBezTo>
                  <a:cubicBezTo>
                    <a:pt x="83076" y="6973"/>
                    <a:pt x="83076" y="6973"/>
                    <a:pt x="83076" y="6973"/>
                  </a:cubicBezTo>
                  <a:cubicBezTo>
                    <a:pt x="83076" y="6973"/>
                    <a:pt x="83846" y="7263"/>
                    <a:pt x="83846" y="7554"/>
                  </a:cubicBezTo>
                  <a:cubicBezTo>
                    <a:pt x="83846" y="7554"/>
                    <a:pt x="83461" y="8135"/>
                    <a:pt x="83461" y="8135"/>
                  </a:cubicBezTo>
                  <a:cubicBezTo>
                    <a:pt x="83461" y="8135"/>
                    <a:pt x="82692" y="8426"/>
                    <a:pt x="82307" y="8716"/>
                  </a:cubicBezTo>
                  <a:cubicBezTo>
                    <a:pt x="82307" y="8716"/>
                    <a:pt x="82307" y="9297"/>
                    <a:pt x="82307" y="9297"/>
                  </a:cubicBezTo>
                  <a:cubicBezTo>
                    <a:pt x="83076" y="8716"/>
                    <a:pt x="83076" y="8716"/>
                    <a:pt x="83076" y="8716"/>
                  </a:cubicBezTo>
                  <a:cubicBezTo>
                    <a:pt x="83076" y="8716"/>
                    <a:pt x="83461" y="8426"/>
                    <a:pt x="83461" y="8426"/>
                  </a:cubicBezTo>
                  <a:cubicBezTo>
                    <a:pt x="83461" y="8426"/>
                    <a:pt x="85000" y="8135"/>
                    <a:pt x="85000" y="8135"/>
                  </a:cubicBezTo>
                  <a:cubicBezTo>
                    <a:pt x="85000" y="8135"/>
                    <a:pt x="85769" y="8426"/>
                    <a:pt x="85769" y="8426"/>
                  </a:cubicBezTo>
                  <a:cubicBezTo>
                    <a:pt x="85769" y="8426"/>
                    <a:pt x="86538" y="8716"/>
                    <a:pt x="86538" y="8716"/>
                  </a:cubicBezTo>
                  <a:cubicBezTo>
                    <a:pt x="88076" y="8426"/>
                    <a:pt x="88076" y="8426"/>
                    <a:pt x="88076" y="8426"/>
                  </a:cubicBezTo>
                  <a:cubicBezTo>
                    <a:pt x="88076" y="7845"/>
                    <a:pt x="88076" y="7845"/>
                    <a:pt x="88076" y="7845"/>
                  </a:cubicBezTo>
                  <a:cubicBezTo>
                    <a:pt x="88076" y="7845"/>
                    <a:pt x="88076" y="7554"/>
                    <a:pt x="88461" y="7554"/>
                  </a:cubicBezTo>
                  <a:cubicBezTo>
                    <a:pt x="88846" y="7263"/>
                    <a:pt x="89615" y="6973"/>
                    <a:pt x="89615" y="6973"/>
                  </a:cubicBezTo>
                  <a:cubicBezTo>
                    <a:pt x="89615" y="6973"/>
                    <a:pt x="89615" y="6392"/>
                    <a:pt x="89615" y="6101"/>
                  </a:cubicBezTo>
                  <a:cubicBezTo>
                    <a:pt x="89615" y="6101"/>
                    <a:pt x="90000" y="5520"/>
                    <a:pt x="90000" y="5520"/>
                  </a:cubicBezTo>
                  <a:cubicBezTo>
                    <a:pt x="90000" y="5520"/>
                    <a:pt x="90000" y="5520"/>
                    <a:pt x="90000" y="5520"/>
                  </a:cubicBezTo>
                  <a:cubicBezTo>
                    <a:pt x="90000" y="5520"/>
                    <a:pt x="90769" y="5230"/>
                    <a:pt x="90769" y="5230"/>
                  </a:cubicBezTo>
                  <a:cubicBezTo>
                    <a:pt x="90769" y="5230"/>
                    <a:pt x="91153" y="4358"/>
                    <a:pt x="91153" y="4358"/>
                  </a:cubicBezTo>
                  <a:cubicBezTo>
                    <a:pt x="91153" y="4358"/>
                    <a:pt x="91153" y="4067"/>
                    <a:pt x="91538" y="4067"/>
                  </a:cubicBezTo>
                  <a:cubicBezTo>
                    <a:pt x="91538" y="4067"/>
                    <a:pt x="92307" y="3486"/>
                    <a:pt x="92307" y="3486"/>
                  </a:cubicBezTo>
                  <a:cubicBezTo>
                    <a:pt x="92692" y="3196"/>
                    <a:pt x="92692" y="3196"/>
                    <a:pt x="93076" y="3196"/>
                  </a:cubicBezTo>
                  <a:cubicBezTo>
                    <a:pt x="93076" y="3196"/>
                    <a:pt x="93461" y="3777"/>
                    <a:pt x="93461" y="3777"/>
                  </a:cubicBezTo>
                  <a:cubicBezTo>
                    <a:pt x="93461" y="3777"/>
                    <a:pt x="93461" y="4067"/>
                    <a:pt x="93076" y="4358"/>
                  </a:cubicBezTo>
                  <a:cubicBezTo>
                    <a:pt x="92692" y="4358"/>
                    <a:pt x="92307" y="4648"/>
                    <a:pt x="92307" y="4648"/>
                  </a:cubicBezTo>
                  <a:cubicBezTo>
                    <a:pt x="92307" y="4648"/>
                    <a:pt x="93076" y="5230"/>
                    <a:pt x="93076" y="5230"/>
                  </a:cubicBezTo>
                  <a:cubicBezTo>
                    <a:pt x="93076" y="5230"/>
                    <a:pt x="93461" y="5520"/>
                    <a:pt x="93461" y="5520"/>
                  </a:cubicBezTo>
                  <a:cubicBezTo>
                    <a:pt x="93461" y="5811"/>
                    <a:pt x="93076" y="6101"/>
                    <a:pt x="93076" y="6101"/>
                  </a:cubicBezTo>
                  <a:cubicBezTo>
                    <a:pt x="93461" y="6101"/>
                    <a:pt x="94615" y="5811"/>
                    <a:pt x="94615" y="5811"/>
                  </a:cubicBezTo>
                  <a:cubicBezTo>
                    <a:pt x="94615" y="5811"/>
                    <a:pt x="94615" y="5230"/>
                    <a:pt x="94615" y="5230"/>
                  </a:cubicBezTo>
                  <a:cubicBezTo>
                    <a:pt x="94615" y="5230"/>
                    <a:pt x="95384" y="4648"/>
                    <a:pt x="95384" y="4648"/>
                  </a:cubicBezTo>
                  <a:cubicBezTo>
                    <a:pt x="95769" y="4648"/>
                    <a:pt x="96538" y="4939"/>
                    <a:pt x="96538" y="4939"/>
                  </a:cubicBezTo>
                  <a:cubicBezTo>
                    <a:pt x="96538" y="4939"/>
                    <a:pt x="96538" y="5230"/>
                    <a:pt x="96538" y="5520"/>
                  </a:cubicBezTo>
                  <a:cubicBezTo>
                    <a:pt x="96153" y="5520"/>
                    <a:pt x="95384" y="6101"/>
                    <a:pt x="95384" y="6101"/>
                  </a:cubicBezTo>
                  <a:cubicBezTo>
                    <a:pt x="95384" y="6392"/>
                    <a:pt x="95000" y="6392"/>
                    <a:pt x="95384" y="6392"/>
                  </a:cubicBezTo>
                  <a:cubicBezTo>
                    <a:pt x="95384" y="6682"/>
                    <a:pt x="96153" y="7263"/>
                    <a:pt x="96153" y="7263"/>
                  </a:cubicBezTo>
                  <a:cubicBezTo>
                    <a:pt x="97307" y="7845"/>
                    <a:pt x="97307" y="7845"/>
                    <a:pt x="97307" y="7845"/>
                  </a:cubicBezTo>
                  <a:cubicBezTo>
                    <a:pt x="97307" y="7845"/>
                    <a:pt x="97307" y="8135"/>
                    <a:pt x="97307" y="8426"/>
                  </a:cubicBezTo>
                  <a:cubicBezTo>
                    <a:pt x="97307" y="8426"/>
                    <a:pt x="95384" y="8426"/>
                    <a:pt x="95384" y="8426"/>
                  </a:cubicBezTo>
                  <a:cubicBezTo>
                    <a:pt x="95384" y="8426"/>
                    <a:pt x="95384" y="8426"/>
                    <a:pt x="95000" y="8716"/>
                  </a:cubicBezTo>
                  <a:cubicBezTo>
                    <a:pt x="95000" y="8716"/>
                    <a:pt x="94615" y="9007"/>
                    <a:pt x="93846" y="9297"/>
                  </a:cubicBezTo>
                  <a:cubicBezTo>
                    <a:pt x="93076" y="9297"/>
                    <a:pt x="93076" y="9297"/>
                    <a:pt x="93076" y="9588"/>
                  </a:cubicBezTo>
                  <a:cubicBezTo>
                    <a:pt x="93076" y="9878"/>
                    <a:pt x="92692" y="10169"/>
                    <a:pt x="93076" y="10460"/>
                  </a:cubicBezTo>
                  <a:cubicBezTo>
                    <a:pt x="93461" y="10750"/>
                    <a:pt x="94230" y="11041"/>
                    <a:pt x="94230" y="11041"/>
                  </a:cubicBezTo>
                  <a:cubicBezTo>
                    <a:pt x="94230" y="11041"/>
                    <a:pt x="96153" y="11622"/>
                    <a:pt x="96153" y="11331"/>
                  </a:cubicBezTo>
                  <a:cubicBezTo>
                    <a:pt x="96153" y="11331"/>
                    <a:pt x="98846" y="11331"/>
                    <a:pt x="98846" y="11331"/>
                  </a:cubicBezTo>
                  <a:cubicBezTo>
                    <a:pt x="100000" y="11331"/>
                    <a:pt x="100000" y="11331"/>
                    <a:pt x="100000" y="11331"/>
                  </a:cubicBezTo>
                  <a:cubicBezTo>
                    <a:pt x="100000" y="11331"/>
                    <a:pt x="100384" y="11912"/>
                    <a:pt x="100769" y="12203"/>
                  </a:cubicBezTo>
                  <a:cubicBezTo>
                    <a:pt x="100769" y="12203"/>
                    <a:pt x="102307" y="13075"/>
                    <a:pt x="102307" y="13075"/>
                  </a:cubicBezTo>
                  <a:cubicBezTo>
                    <a:pt x="103076" y="13075"/>
                    <a:pt x="103076" y="13075"/>
                    <a:pt x="103076" y="13075"/>
                  </a:cubicBezTo>
                  <a:cubicBezTo>
                    <a:pt x="103461" y="14237"/>
                    <a:pt x="103461" y="14237"/>
                    <a:pt x="103461" y="14237"/>
                  </a:cubicBezTo>
                  <a:cubicBezTo>
                    <a:pt x="103076" y="15108"/>
                    <a:pt x="103076" y="15108"/>
                    <a:pt x="103076" y="15108"/>
                  </a:cubicBezTo>
                  <a:cubicBezTo>
                    <a:pt x="101923" y="15399"/>
                    <a:pt x="101923" y="15399"/>
                    <a:pt x="101923" y="15399"/>
                  </a:cubicBezTo>
                  <a:cubicBezTo>
                    <a:pt x="100384" y="16271"/>
                    <a:pt x="100384" y="16271"/>
                    <a:pt x="100384" y="16271"/>
                  </a:cubicBezTo>
                  <a:cubicBezTo>
                    <a:pt x="99615" y="15980"/>
                    <a:pt x="99615" y="15980"/>
                    <a:pt x="99615" y="15980"/>
                  </a:cubicBezTo>
                  <a:cubicBezTo>
                    <a:pt x="99615" y="15980"/>
                    <a:pt x="100384" y="16561"/>
                    <a:pt x="100769" y="16561"/>
                  </a:cubicBezTo>
                  <a:cubicBezTo>
                    <a:pt x="101153" y="16561"/>
                    <a:pt x="101538" y="16852"/>
                    <a:pt x="101538" y="16852"/>
                  </a:cubicBezTo>
                  <a:cubicBezTo>
                    <a:pt x="101923" y="16852"/>
                    <a:pt x="103461" y="16852"/>
                    <a:pt x="105000" y="16852"/>
                  </a:cubicBezTo>
                  <a:cubicBezTo>
                    <a:pt x="105000" y="17142"/>
                    <a:pt x="105000" y="17142"/>
                    <a:pt x="105000" y="17433"/>
                  </a:cubicBezTo>
                  <a:cubicBezTo>
                    <a:pt x="105384" y="17723"/>
                    <a:pt x="105769" y="18886"/>
                    <a:pt x="105769" y="19176"/>
                  </a:cubicBezTo>
                  <a:cubicBezTo>
                    <a:pt x="105769" y="19176"/>
                    <a:pt x="106153" y="20338"/>
                    <a:pt x="106923" y="21210"/>
                  </a:cubicBezTo>
                  <a:cubicBezTo>
                    <a:pt x="108076" y="22372"/>
                    <a:pt x="107692" y="22663"/>
                    <a:pt x="107692" y="22663"/>
                  </a:cubicBezTo>
                  <a:cubicBezTo>
                    <a:pt x="107692" y="25278"/>
                    <a:pt x="107692" y="25278"/>
                    <a:pt x="107692" y="25278"/>
                  </a:cubicBezTo>
                  <a:cubicBezTo>
                    <a:pt x="107692" y="27602"/>
                    <a:pt x="107692" y="27602"/>
                    <a:pt x="107692" y="27602"/>
                  </a:cubicBezTo>
                  <a:cubicBezTo>
                    <a:pt x="105769" y="28765"/>
                    <a:pt x="105769" y="28765"/>
                    <a:pt x="105769" y="28765"/>
                  </a:cubicBezTo>
                  <a:cubicBezTo>
                    <a:pt x="105000" y="31380"/>
                    <a:pt x="105000" y="31380"/>
                    <a:pt x="105000" y="31380"/>
                  </a:cubicBezTo>
                  <a:cubicBezTo>
                    <a:pt x="105000" y="31380"/>
                    <a:pt x="105384" y="31670"/>
                    <a:pt x="105769" y="31670"/>
                  </a:cubicBezTo>
                  <a:cubicBezTo>
                    <a:pt x="106153" y="31961"/>
                    <a:pt x="107307" y="32832"/>
                    <a:pt x="107307" y="32832"/>
                  </a:cubicBezTo>
                  <a:cubicBezTo>
                    <a:pt x="107692" y="33123"/>
                    <a:pt x="110000" y="33995"/>
                    <a:pt x="111153" y="34285"/>
                  </a:cubicBezTo>
                  <a:cubicBezTo>
                    <a:pt x="112307" y="34866"/>
                    <a:pt x="111923" y="36319"/>
                    <a:pt x="111923" y="36319"/>
                  </a:cubicBezTo>
                  <a:cubicBezTo>
                    <a:pt x="111153" y="38353"/>
                    <a:pt x="111153" y="38353"/>
                    <a:pt x="111153" y="38353"/>
                  </a:cubicBezTo>
                  <a:cubicBezTo>
                    <a:pt x="111153" y="38353"/>
                    <a:pt x="111538" y="39515"/>
                    <a:pt x="112307" y="39515"/>
                  </a:cubicBezTo>
                  <a:cubicBezTo>
                    <a:pt x="112692" y="39225"/>
                    <a:pt x="113076" y="40968"/>
                    <a:pt x="113076" y="40968"/>
                  </a:cubicBezTo>
                  <a:cubicBezTo>
                    <a:pt x="113076" y="40968"/>
                    <a:pt x="113461" y="42711"/>
                    <a:pt x="113461" y="43002"/>
                  </a:cubicBezTo>
                  <a:cubicBezTo>
                    <a:pt x="113076" y="43292"/>
                    <a:pt x="113461" y="43583"/>
                    <a:pt x="113461" y="43583"/>
                  </a:cubicBezTo>
                  <a:cubicBezTo>
                    <a:pt x="114230" y="44745"/>
                    <a:pt x="114230" y="44745"/>
                    <a:pt x="114230" y="44745"/>
                  </a:cubicBezTo>
                  <a:cubicBezTo>
                    <a:pt x="114230" y="44745"/>
                    <a:pt x="113846" y="45617"/>
                    <a:pt x="113461" y="45907"/>
                  </a:cubicBezTo>
                  <a:cubicBezTo>
                    <a:pt x="113461" y="46489"/>
                    <a:pt x="113076" y="47070"/>
                    <a:pt x="113076" y="47070"/>
                  </a:cubicBezTo>
                  <a:cubicBezTo>
                    <a:pt x="113461" y="47941"/>
                    <a:pt x="113461" y="47941"/>
                    <a:pt x="113461" y="47941"/>
                  </a:cubicBezTo>
                  <a:cubicBezTo>
                    <a:pt x="115000" y="49394"/>
                    <a:pt x="115000" y="49394"/>
                    <a:pt x="115000" y="49394"/>
                  </a:cubicBezTo>
                  <a:cubicBezTo>
                    <a:pt x="115000" y="50847"/>
                    <a:pt x="115000" y="50847"/>
                    <a:pt x="115000" y="50847"/>
                  </a:cubicBezTo>
                  <a:cubicBezTo>
                    <a:pt x="115000" y="51719"/>
                    <a:pt x="115000" y="51719"/>
                    <a:pt x="115000" y="51719"/>
                  </a:cubicBezTo>
                  <a:cubicBezTo>
                    <a:pt x="115000" y="51719"/>
                    <a:pt x="116153" y="52009"/>
                    <a:pt x="116538" y="52009"/>
                  </a:cubicBezTo>
                  <a:cubicBezTo>
                    <a:pt x="116923" y="52009"/>
                    <a:pt x="117692" y="52590"/>
                    <a:pt x="117692" y="52590"/>
                  </a:cubicBezTo>
                  <a:cubicBezTo>
                    <a:pt x="117692" y="52590"/>
                    <a:pt x="117692" y="53171"/>
                    <a:pt x="117692" y="53462"/>
                  </a:cubicBezTo>
                  <a:cubicBezTo>
                    <a:pt x="117692" y="53462"/>
                    <a:pt x="118846" y="54624"/>
                    <a:pt x="118846" y="54624"/>
                  </a:cubicBezTo>
                  <a:cubicBezTo>
                    <a:pt x="119230" y="54915"/>
                    <a:pt x="120000" y="55786"/>
                    <a:pt x="120000" y="55786"/>
                  </a:cubicBezTo>
                  <a:cubicBezTo>
                    <a:pt x="120000" y="55786"/>
                    <a:pt x="120000" y="56368"/>
                    <a:pt x="118846" y="57239"/>
                  </a:cubicBezTo>
                  <a:cubicBezTo>
                    <a:pt x="118076" y="58111"/>
                    <a:pt x="118461" y="58111"/>
                    <a:pt x="118461" y="58401"/>
                  </a:cubicBezTo>
                  <a:cubicBezTo>
                    <a:pt x="118461" y="58692"/>
                    <a:pt x="118846" y="59273"/>
                    <a:pt x="118846" y="59273"/>
                  </a:cubicBezTo>
                  <a:cubicBezTo>
                    <a:pt x="118846" y="59273"/>
                    <a:pt x="118461" y="59564"/>
                    <a:pt x="118076" y="59854"/>
                  </a:cubicBezTo>
                  <a:cubicBezTo>
                    <a:pt x="118076" y="59854"/>
                    <a:pt x="117692" y="60435"/>
                    <a:pt x="117692" y="61016"/>
                  </a:cubicBezTo>
                  <a:cubicBezTo>
                    <a:pt x="116153" y="61888"/>
                    <a:pt x="116153" y="61888"/>
                    <a:pt x="116153" y="61888"/>
                  </a:cubicBezTo>
                  <a:cubicBezTo>
                    <a:pt x="116153" y="61888"/>
                    <a:pt x="116153" y="61888"/>
                    <a:pt x="115769" y="62179"/>
                  </a:cubicBezTo>
                  <a:cubicBezTo>
                    <a:pt x="115769" y="61888"/>
                    <a:pt x="115384" y="61888"/>
                    <a:pt x="115000" y="61888"/>
                  </a:cubicBezTo>
                  <a:cubicBezTo>
                    <a:pt x="114615" y="61598"/>
                    <a:pt x="114230" y="61307"/>
                    <a:pt x="114230" y="61307"/>
                  </a:cubicBezTo>
                  <a:cubicBezTo>
                    <a:pt x="114230" y="61307"/>
                    <a:pt x="114230" y="60726"/>
                    <a:pt x="114230" y="60145"/>
                  </a:cubicBezTo>
                  <a:cubicBezTo>
                    <a:pt x="114230" y="59564"/>
                    <a:pt x="114230" y="59854"/>
                    <a:pt x="114230" y="59564"/>
                  </a:cubicBezTo>
                  <a:cubicBezTo>
                    <a:pt x="113846" y="59273"/>
                    <a:pt x="113076" y="58983"/>
                    <a:pt x="112307" y="58692"/>
                  </a:cubicBezTo>
                  <a:cubicBezTo>
                    <a:pt x="111538" y="58692"/>
                    <a:pt x="110000" y="58692"/>
                    <a:pt x="109615" y="58983"/>
                  </a:cubicBezTo>
                  <a:cubicBezTo>
                    <a:pt x="109615" y="58983"/>
                    <a:pt x="109615" y="60145"/>
                    <a:pt x="109615" y="60145"/>
                  </a:cubicBezTo>
                  <a:cubicBezTo>
                    <a:pt x="110384" y="61016"/>
                    <a:pt x="110384" y="61016"/>
                    <a:pt x="110384" y="61016"/>
                  </a:cubicBezTo>
                  <a:cubicBezTo>
                    <a:pt x="110000" y="61598"/>
                    <a:pt x="110000" y="61598"/>
                    <a:pt x="110000" y="61598"/>
                  </a:cubicBezTo>
                  <a:cubicBezTo>
                    <a:pt x="110000" y="61598"/>
                    <a:pt x="106538" y="62179"/>
                    <a:pt x="105384" y="62179"/>
                  </a:cubicBezTo>
                  <a:cubicBezTo>
                    <a:pt x="104230" y="62179"/>
                    <a:pt x="104615" y="62760"/>
                    <a:pt x="104615" y="62760"/>
                  </a:cubicBezTo>
                  <a:cubicBezTo>
                    <a:pt x="103846" y="63922"/>
                    <a:pt x="103846" y="63922"/>
                    <a:pt x="103846" y="63922"/>
                  </a:cubicBezTo>
                  <a:cubicBezTo>
                    <a:pt x="103076" y="64503"/>
                    <a:pt x="103076" y="64503"/>
                    <a:pt x="103076" y="64503"/>
                  </a:cubicBezTo>
                  <a:cubicBezTo>
                    <a:pt x="100769" y="65084"/>
                    <a:pt x="100769" y="65084"/>
                    <a:pt x="100769" y="65084"/>
                  </a:cubicBezTo>
                  <a:cubicBezTo>
                    <a:pt x="100769" y="65084"/>
                    <a:pt x="98461" y="66537"/>
                    <a:pt x="98076" y="66537"/>
                  </a:cubicBezTo>
                  <a:cubicBezTo>
                    <a:pt x="96538" y="67409"/>
                    <a:pt x="96538" y="67409"/>
                    <a:pt x="96538" y="67409"/>
                  </a:cubicBezTo>
                  <a:cubicBezTo>
                    <a:pt x="96538" y="67409"/>
                    <a:pt x="96153" y="67409"/>
                    <a:pt x="95000" y="67990"/>
                  </a:cubicBezTo>
                  <a:cubicBezTo>
                    <a:pt x="93461" y="68280"/>
                    <a:pt x="94230" y="68861"/>
                    <a:pt x="93846" y="69152"/>
                  </a:cubicBezTo>
                  <a:cubicBezTo>
                    <a:pt x="93846" y="69733"/>
                    <a:pt x="93461" y="69733"/>
                    <a:pt x="92692" y="70024"/>
                  </a:cubicBezTo>
                  <a:cubicBezTo>
                    <a:pt x="92307" y="70024"/>
                    <a:pt x="91153" y="69733"/>
                    <a:pt x="90384" y="69733"/>
                  </a:cubicBezTo>
                  <a:cubicBezTo>
                    <a:pt x="90000" y="69733"/>
                    <a:pt x="88846" y="70314"/>
                    <a:pt x="88076" y="70314"/>
                  </a:cubicBezTo>
                  <a:cubicBezTo>
                    <a:pt x="86923" y="70314"/>
                    <a:pt x="86923" y="70314"/>
                    <a:pt x="86923" y="70314"/>
                  </a:cubicBezTo>
                  <a:cubicBezTo>
                    <a:pt x="85384" y="71767"/>
                    <a:pt x="85384" y="71767"/>
                    <a:pt x="85384" y="71767"/>
                  </a:cubicBezTo>
                  <a:cubicBezTo>
                    <a:pt x="84230" y="73510"/>
                    <a:pt x="84230" y="73510"/>
                    <a:pt x="84230" y="73510"/>
                  </a:cubicBezTo>
                  <a:cubicBezTo>
                    <a:pt x="83846" y="72639"/>
                    <a:pt x="83846" y="72639"/>
                    <a:pt x="83846" y="72639"/>
                  </a:cubicBezTo>
                  <a:cubicBezTo>
                    <a:pt x="83461" y="71476"/>
                    <a:pt x="83461" y="71476"/>
                    <a:pt x="83461" y="71476"/>
                  </a:cubicBezTo>
                  <a:cubicBezTo>
                    <a:pt x="81538" y="71476"/>
                    <a:pt x="81538" y="71476"/>
                    <a:pt x="81538" y="71476"/>
                  </a:cubicBezTo>
                  <a:cubicBezTo>
                    <a:pt x="81923" y="72348"/>
                    <a:pt x="81923" y="72348"/>
                    <a:pt x="81923" y="72348"/>
                  </a:cubicBezTo>
                  <a:cubicBezTo>
                    <a:pt x="81923" y="72348"/>
                    <a:pt x="82692" y="74382"/>
                    <a:pt x="83076" y="74673"/>
                  </a:cubicBezTo>
                  <a:cubicBezTo>
                    <a:pt x="83461" y="74963"/>
                    <a:pt x="83846" y="74963"/>
                    <a:pt x="84615" y="75254"/>
                  </a:cubicBezTo>
                  <a:cubicBezTo>
                    <a:pt x="85769" y="75835"/>
                    <a:pt x="85769" y="75835"/>
                    <a:pt x="86923" y="76416"/>
                  </a:cubicBezTo>
                  <a:cubicBezTo>
                    <a:pt x="88076" y="76997"/>
                    <a:pt x="87692" y="77578"/>
                    <a:pt x="87692" y="77869"/>
                  </a:cubicBezTo>
                  <a:cubicBezTo>
                    <a:pt x="87692" y="78450"/>
                    <a:pt x="87692" y="78450"/>
                    <a:pt x="86923" y="79031"/>
                  </a:cubicBezTo>
                  <a:cubicBezTo>
                    <a:pt x="86153" y="79903"/>
                    <a:pt x="86923" y="80484"/>
                    <a:pt x="86923" y="80484"/>
                  </a:cubicBezTo>
                  <a:cubicBezTo>
                    <a:pt x="86923" y="80484"/>
                    <a:pt x="87307" y="81065"/>
                    <a:pt x="88076" y="81646"/>
                  </a:cubicBezTo>
                  <a:cubicBezTo>
                    <a:pt x="88846" y="82227"/>
                    <a:pt x="88461" y="82518"/>
                    <a:pt x="88846" y="83389"/>
                  </a:cubicBezTo>
                  <a:cubicBezTo>
                    <a:pt x="88846" y="84261"/>
                    <a:pt x="88846" y="83970"/>
                    <a:pt x="89615" y="84842"/>
                  </a:cubicBezTo>
                  <a:cubicBezTo>
                    <a:pt x="90384" y="85423"/>
                    <a:pt x="90000" y="85133"/>
                    <a:pt x="90769" y="85714"/>
                  </a:cubicBezTo>
                  <a:cubicBezTo>
                    <a:pt x="91538" y="86295"/>
                    <a:pt x="91538" y="86585"/>
                    <a:pt x="91538" y="86585"/>
                  </a:cubicBezTo>
                  <a:cubicBezTo>
                    <a:pt x="91538" y="86585"/>
                    <a:pt x="93846" y="86004"/>
                    <a:pt x="94615" y="86585"/>
                  </a:cubicBezTo>
                  <a:cubicBezTo>
                    <a:pt x="95384" y="87167"/>
                    <a:pt x="95000" y="86876"/>
                    <a:pt x="96538" y="87748"/>
                  </a:cubicBezTo>
                  <a:cubicBezTo>
                    <a:pt x="97692" y="88910"/>
                    <a:pt x="96538" y="88329"/>
                    <a:pt x="96923" y="89200"/>
                  </a:cubicBezTo>
                  <a:cubicBezTo>
                    <a:pt x="97307" y="89782"/>
                    <a:pt x="97692" y="89491"/>
                    <a:pt x="97692" y="89491"/>
                  </a:cubicBezTo>
                  <a:cubicBezTo>
                    <a:pt x="97692" y="89491"/>
                    <a:pt x="98076" y="89782"/>
                    <a:pt x="98846" y="89782"/>
                  </a:cubicBezTo>
                  <a:cubicBezTo>
                    <a:pt x="99615" y="89782"/>
                    <a:pt x="99615" y="90363"/>
                    <a:pt x="99615" y="90944"/>
                  </a:cubicBezTo>
                  <a:cubicBezTo>
                    <a:pt x="100000" y="91525"/>
                    <a:pt x="100000" y="91525"/>
                    <a:pt x="100769" y="92106"/>
                  </a:cubicBezTo>
                  <a:cubicBezTo>
                    <a:pt x="101153" y="92397"/>
                    <a:pt x="101538" y="92106"/>
                    <a:pt x="102692" y="91815"/>
                  </a:cubicBezTo>
                  <a:cubicBezTo>
                    <a:pt x="103461" y="91815"/>
                    <a:pt x="103076" y="92397"/>
                    <a:pt x="103076" y="92687"/>
                  </a:cubicBezTo>
                  <a:cubicBezTo>
                    <a:pt x="103076" y="92978"/>
                    <a:pt x="103846" y="92978"/>
                    <a:pt x="104615" y="93268"/>
                  </a:cubicBezTo>
                  <a:cubicBezTo>
                    <a:pt x="105384" y="93559"/>
                    <a:pt x="105000" y="93559"/>
                    <a:pt x="105769" y="94140"/>
                  </a:cubicBezTo>
                  <a:cubicBezTo>
                    <a:pt x="105769" y="94140"/>
                    <a:pt x="105769" y="94140"/>
                    <a:pt x="105769" y="94430"/>
                  </a:cubicBezTo>
                  <a:close/>
                  <a:moveTo>
                    <a:pt x="21153" y="114479"/>
                  </a:moveTo>
                  <a:cubicBezTo>
                    <a:pt x="21153" y="114479"/>
                    <a:pt x="21153" y="114479"/>
                    <a:pt x="21153" y="114479"/>
                  </a:cubicBezTo>
                  <a:cubicBezTo>
                    <a:pt x="21153" y="114479"/>
                    <a:pt x="21153" y="114479"/>
                    <a:pt x="21153" y="114479"/>
                  </a:cubicBezTo>
                  <a:cubicBezTo>
                    <a:pt x="21153" y="114479"/>
                    <a:pt x="21153" y="114479"/>
                    <a:pt x="21153" y="114479"/>
                  </a:cubicBezTo>
                  <a:close/>
                  <a:moveTo>
                    <a:pt x="49230" y="116222"/>
                  </a:moveTo>
                  <a:cubicBezTo>
                    <a:pt x="49230" y="116222"/>
                    <a:pt x="49230" y="116222"/>
                    <a:pt x="49230" y="116222"/>
                  </a:cubicBezTo>
                  <a:cubicBezTo>
                    <a:pt x="49230" y="116222"/>
                    <a:pt x="49230" y="116222"/>
                    <a:pt x="49230" y="116222"/>
                  </a:cubicBezTo>
                  <a:cubicBezTo>
                    <a:pt x="49230" y="116222"/>
                    <a:pt x="49230" y="116222"/>
                    <a:pt x="49230" y="116222"/>
                  </a:cubicBezTo>
                  <a:cubicBezTo>
                    <a:pt x="49230" y="116222"/>
                    <a:pt x="49230" y="116222"/>
                    <a:pt x="49230" y="116222"/>
                  </a:cubicBezTo>
                  <a:close/>
                  <a:moveTo>
                    <a:pt x="120000" y="59273"/>
                  </a:moveTo>
                  <a:cubicBezTo>
                    <a:pt x="120000" y="59273"/>
                    <a:pt x="120000" y="59273"/>
                    <a:pt x="120000" y="59273"/>
                  </a:cubicBezTo>
                  <a:cubicBezTo>
                    <a:pt x="120000" y="59273"/>
                    <a:pt x="120000" y="59273"/>
                    <a:pt x="120000" y="59273"/>
                  </a:cubicBezTo>
                  <a:cubicBezTo>
                    <a:pt x="120000" y="59273"/>
                    <a:pt x="120000" y="59273"/>
                    <a:pt x="120000" y="59273"/>
                  </a:cubicBezTo>
                  <a:close/>
                </a:path>
              </a:pathLst>
            </a:custGeom>
            <a:pattFill prst="wdUpDiag">
              <a:fgClr>
                <a:srgbClr val="996633"/>
              </a:fgClr>
              <a:bgClr>
                <a:srgbClr val="00B050"/>
              </a:bgClr>
            </a:pattFill>
            <a:ln w="3175" cap="flat" cmpd="sng">
              <a:solidFill>
                <a:schemeClr val="tx1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endParaRPr kern="0">
                <a:solidFill>
                  <a:srgbClr val="7F7F7F"/>
                </a:solidFill>
                <a:latin typeface="Calibri" panose="020F0502020204030204" pitchFamily="34" charset="0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51" name="Shape 2047">
              <a:extLst>
                <a:ext uri="{FF2B5EF4-FFF2-40B4-BE49-F238E27FC236}">
                  <a16:creationId xmlns:a16="http://schemas.microsoft.com/office/drawing/2014/main" id="{24D49E8F-73B5-5048-8329-FC304485ADDF}"/>
                </a:ext>
              </a:extLst>
            </p:cNvPr>
            <p:cNvSpPr/>
            <p:nvPr/>
          </p:nvSpPr>
          <p:spPr>
            <a:xfrm>
              <a:off x="3890112" y="3370030"/>
              <a:ext cx="1033077" cy="114275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91707" y="101818"/>
                  </a:moveTo>
                  <a:cubicBezTo>
                    <a:pt x="91951" y="103315"/>
                    <a:pt x="91951" y="103315"/>
                    <a:pt x="91951" y="103315"/>
                  </a:cubicBezTo>
                  <a:cubicBezTo>
                    <a:pt x="91951" y="103315"/>
                    <a:pt x="90487" y="105454"/>
                    <a:pt x="90487" y="105668"/>
                  </a:cubicBezTo>
                  <a:cubicBezTo>
                    <a:pt x="90487" y="105882"/>
                    <a:pt x="90000" y="106737"/>
                    <a:pt x="89512" y="107379"/>
                  </a:cubicBezTo>
                  <a:cubicBezTo>
                    <a:pt x="89268" y="107807"/>
                    <a:pt x="87804" y="109518"/>
                    <a:pt x="87804" y="109518"/>
                  </a:cubicBezTo>
                  <a:cubicBezTo>
                    <a:pt x="87804" y="109518"/>
                    <a:pt x="87804" y="110160"/>
                    <a:pt x="88292" y="110588"/>
                  </a:cubicBezTo>
                  <a:cubicBezTo>
                    <a:pt x="88536" y="111016"/>
                    <a:pt x="89268" y="111657"/>
                    <a:pt x="89268" y="112299"/>
                  </a:cubicBezTo>
                  <a:cubicBezTo>
                    <a:pt x="89268" y="112727"/>
                    <a:pt x="90487" y="113368"/>
                    <a:pt x="90487" y="113368"/>
                  </a:cubicBezTo>
                  <a:cubicBezTo>
                    <a:pt x="90731" y="114652"/>
                    <a:pt x="90731" y="114652"/>
                    <a:pt x="90731" y="114652"/>
                  </a:cubicBezTo>
                  <a:cubicBezTo>
                    <a:pt x="90731" y="114652"/>
                    <a:pt x="91463" y="115294"/>
                    <a:pt x="91463" y="115508"/>
                  </a:cubicBezTo>
                  <a:cubicBezTo>
                    <a:pt x="91219" y="115721"/>
                    <a:pt x="90000" y="116791"/>
                    <a:pt x="90000" y="116791"/>
                  </a:cubicBezTo>
                  <a:cubicBezTo>
                    <a:pt x="89756" y="118074"/>
                    <a:pt x="89756" y="118074"/>
                    <a:pt x="89756" y="118074"/>
                  </a:cubicBezTo>
                  <a:cubicBezTo>
                    <a:pt x="89756" y="118716"/>
                    <a:pt x="89756" y="118716"/>
                    <a:pt x="89756" y="118716"/>
                  </a:cubicBezTo>
                  <a:cubicBezTo>
                    <a:pt x="89756" y="118716"/>
                    <a:pt x="90000" y="118716"/>
                    <a:pt x="89756" y="119358"/>
                  </a:cubicBezTo>
                  <a:cubicBezTo>
                    <a:pt x="89512" y="119786"/>
                    <a:pt x="89512" y="119786"/>
                    <a:pt x="89268" y="119786"/>
                  </a:cubicBezTo>
                  <a:cubicBezTo>
                    <a:pt x="89024" y="120000"/>
                    <a:pt x="86585" y="119786"/>
                    <a:pt x="86585" y="119786"/>
                  </a:cubicBezTo>
                  <a:cubicBezTo>
                    <a:pt x="84146" y="119358"/>
                    <a:pt x="84146" y="119358"/>
                    <a:pt x="84146" y="119358"/>
                  </a:cubicBezTo>
                  <a:cubicBezTo>
                    <a:pt x="84146" y="119358"/>
                    <a:pt x="82926" y="119144"/>
                    <a:pt x="82439" y="118930"/>
                  </a:cubicBezTo>
                  <a:cubicBezTo>
                    <a:pt x="82195" y="118716"/>
                    <a:pt x="81707" y="118502"/>
                    <a:pt x="81707" y="118502"/>
                  </a:cubicBezTo>
                  <a:cubicBezTo>
                    <a:pt x="80975" y="116577"/>
                    <a:pt x="80975" y="116577"/>
                    <a:pt x="80975" y="116577"/>
                  </a:cubicBezTo>
                  <a:cubicBezTo>
                    <a:pt x="79024" y="116363"/>
                    <a:pt x="79024" y="116363"/>
                    <a:pt x="79024" y="116363"/>
                  </a:cubicBezTo>
                  <a:cubicBezTo>
                    <a:pt x="74146" y="115721"/>
                    <a:pt x="74146" y="115721"/>
                    <a:pt x="74146" y="115721"/>
                  </a:cubicBezTo>
                  <a:cubicBezTo>
                    <a:pt x="74146" y="115721"/>
                    <a:pt x="72439" y="114438"/>
                    <a:pt x="72195" y="114224"/>
                  </a:cubicBezTo>
                  <a:cubicBezTo>
                    <a:pt x="71707" y="114010"/>
                    <a:pt x="71219" y="113368"/>
                    <a:pt x="71219" y="113368"/>
                  </a:cubicBezTo>
                  <a:cubicBezTo>
                    <a:pt x="70243" y="113155"/>
                    <a:pt x="70243" y="113155"/>
                    <a:pt x="70243" y="113155"/>
                  </a:cubicBezTo>
                  <a:cubicBezTo>
                    <a:pt x="68292" y="111443"/>
                    <a:pt x="68292" y="111443"/>
                    <a:pt x="68292" y="111443"/>
                  </a:cubicBezTo>
                  <a:cubicBezTo>
                    <a:pt x="66341" y="111443"/>
                    <a:pt x="66341" y="111443"/>
                    <a:pt x="66341" y="111443"/>
                  </a:cubicBezTo>
                  <a:cubicBezTo>
                    <a:pt x="64878" y="110588"/>
                    <a:pt x="64878" y="110588"/>
                    <a:pt x="64878" y="110588"/>
                  </a:cubicBezTo>
                  <a:cubicBezTo>
                    <a:pt x="63170" y="110588"/>
                    <a:pt x="63170" y="110588"/>
                    <a:pt x="63170" y="110588"/>
                  </a:cubicBezTo>
                  <a:cubicBezTo>
                    <a:pt x="63170" y="110588"/>
                    <a:pt x="61951" y="110374"/>
                    <a:pt x="61951" y="110160"/>
                  </a:cubicBezTo>
                  <a:cubicBezTo>
                    <a:pt x="61707" y="109732"/>
                    <a:pt x="60243" y="109090"/>
                    <a:pt x="60243" y="109090"/>
                  </a:cubicBezTo>
                  <a:cubicBezTo>
                    <a:pt x="60243" y="109090"/>
                    <a:pt x="60243" y="107807"/>
                    <a:pt x="60243" y="107593"/>
                  </a:cubicBezTo>
                  <a:cubicBezTo>
                    <a:pt x="60243" y="107379"/>
                    <a:pt x="60487" y="105240"/>
                    <a:pt x="60487" y="105240"/>
                  </a:cubicBezTo>
                  <a:cubicBezTo>
                    <a:pt x="61463" y="104171"/>
                    <a:pt x="61463" y="104171"/>
                    <a:pt x="61463" y="104171"/>
                  </a:cubicBezTo>
                  <a:cubicBezTo>
                    <a:pt x="62926" y="103743"/>
                    <a:pt x="62926" y="103743"/>
                    <a:pt x="62926" y="103743"/>
                  </a:cubicBezTo>
                  <a:cubicBezTo>
                    <a:pt x="63414" y="104598"/>
                    <a:pt x="63414" y="104598"/>
                    <a:pt x="63414" y="104598"/>
                  </a:cubicBezTo>
                  <a:cubicBezTo>
                    <a:pt x="65121" y="105240"/>
                    <a:pt x="65121" y="105240"/>
                    <a:pt x="65121" y="105240"/>
                  </a:cubicBezTo>
                  <a:cubicBezTo>
                    <a:pt x="66097" y="104598"/>
                    <a:pt x="66097" y="104598"/>
                    <a:pt x="66097" y="104598"/>
                  </a:cubicBezTo>
                  <a:cubicBezTo>
                    <a:pt x="66585" y="103315"/>
                    <a:pt x="66585" y="103315"/>
                    <a:pt x="66585" y="103315"/>
                  </a:cubicBezTo>
                  <a:cubicBezTo>
                    <a:pt x="68048" y="102887"/>
                    <a:pt x="68048" y="102887"/>
                    <a:pt x="68048" y="102887"/>
                  </a:cubicBezTo>
                  <a:cubicBezTo>
                    <a:pt x="69756" y="103529"/>
                    <a:pt x="69756" y="103529"/>
                    <a:pt x="69756" y="103529"/>
                  </a:cubicBezTo>
                  <a:cubicBezTo>
                    <a:pt x="70975" y="104598"/>
                    <a:pt x="70975" y="104598"/>
                    <a:pt x="70975" y="104598"/>
                  </a:cubicBezTo>
                  <a:cubicBezTo>
                    <a:pt x="73414" y="105240"/>
                    <a:pt x="73414" y="105240"/>
                    <a:pt x="73414" y="105240"/>
                  </a:cubicBezTo>
                  <a:cubicBezTo>
                    <a:pt x="75609" y="104812"/>
                    <a:pt x="75609" y="104812"/>
                    <a:pt x="75609" y="104812"/>
                  </a:cubicBezTo>
                  <a:cubicBezTo>
                    <a:pt x="77560" y="104598"/>
                    <a:pt x="77560" y="104598"/>
                    <a:pt x="77560" y="104598"/>
                  </a:cubicBezTo>
                  <a:cubicBezTo>
                    <a:pt x="77560" y="104598"/>
                    <a:pt x="78536" y="104598"/>
                    <a:pt x="79024" y="104598"/>
                  </a:cubicBezTo>
                  <a:cubicBezTo>
                    <a:pt x="79268" y="104385"/>
                    <a:pt x="80731" y="103957"/>
                    <a:pt x="80731" y="103957"/>
                  </a:cubicBezTo>
                  <a:cubicBezTo>
                    <a:pt x="83170" y="103315"/>
                    <a:pt x="83170" y="103315"/>
                    <a:pt x="83170" y="103315"/>
                  </a:cubicBezTo>
                  <a:cubicBezTo>
                    <a:pt x="84634" y="101604"/>
                    <a:pt x="84634" y="101604"/>
                    <a:pt x="84634" y="101604"/>
                  </a:cubicBezTo>
                  <a:cubicBezTo>
                    <a:pt x="86585" y="102245"/>
                    <a:pt x="86585" y="102245"/>
                    <a:pt x="86585" y="102245"/>
                  </a:cubicBezTo>
                  <a:cubicBezTo>
                    <a:pt x="88292" y="102459"/>
                    <a:pt x="88292" y="102459"/>
                    <a:pt x="88292" y="102459"/>
                  </a:cubicBezTo>
                  <a:cubicBezTo>
                    <a:pt x="89024" y="101390"/>
                    <a:pt x="89024" y="101390"/>
                    <a:pt x="89024" y="101390"/>
                  </a:cubicBezTo>
                  <a:cubicBezTo>
                    <a:pt x="90731" y="100534"/>
                    <a:pt x="90731" y="100534"/>
                    <a:pt x="90731" y="100534"/>
                  </a:cubicBezTo>
                  <a:cubicBezTo>
                    <a:pt x="91707" y="101818"/>
                    <a:pt x="91707" y="101818"/>
                    <a:pt x="91707" y="101818"/>
                  </a:cubicBezTo>
                  <a:close/>
                  <a:moveTo>
                    <a:pt x="94634" y="100320"/>
                  </a:moveTo>
                  <a:cubicBezTo>
                    <a:pt x="94634" y="100320"/>
                    <a:pt x="94634" y="100320"/>
                    <a:pt x="94634" y="100320"/>
                  </a:cubicBezTo>
                  <a:cubicBezTo>
                    <a:pt x="93658" y="101176"/>
                    <a:pt x="93658" y="101176"/>
                    <a:pt x="93658" y="101176"/>
                  </a:cubicBezTo>
                  <a:cubicBezTo>
                    <a:pt x="92682" y="101818"/>
                    <a:pt x="92682" y="101818"/>
                    <a:pt x="92682" y="101818"/>
                  </a:cubicBezTo>
                  <a:cubicBezTo>
                    <a:pt x="92682" y="101818"/>
                    <a:pt x="92926" y="102673"/>
                    <a:pt x="92926" y="103101"/>
                  </a:cubicBezTo>
                  <a:cubicBezTo>
                    <a:pt x="93170" y="103529"/>
                    <a:pt x="93902" y="104598"/>
                    <a:pt x="93902" y="104598"/>
                  </a:cubicBezTo>
                  <a:cubicBezTo>
                    <a:pt x="96341" y="104598"/>
                    <a:pt x="96341" y="104598"/>
                    <a:pt x="96341" y="104598"/>
                  </a:cubicBezTo>
                  <a:cubicBezTo>
                    <a:pt x="98048" y="103743"/>
                    <a:pt x="98048" y="103743"/>
                    <a:pt x="98048" y="103743"/>
                  </a:cubicBezTo>
                  <a:cubicBezTo>
                    <a:pt x="98292" y="102245"/>
                    <a:pt x="98292" y="102245"/>
                    <a:pt x="98292" y="102245"/>
                  </a:cubicBezTo>
                  <a:cubicBezTo>
                    <a:pt x="99024" y="100748"/>
                    <a:pt x="99024" y="100748"/>
                    <a:pt x="99024" y="100748"/>
                  </a:cubicBezTo>
                  <a:cubicBezTo>
                    <a:pt x="100487" y="99893"/>
                    <a:pt x="100487" y="99893"/>
                    <a:pt x="100487" y="99893"/>
                  </a:cubicBezTo>
                  <a:cubicBezTo>
                    <a:pt x="101707" y="98823"/>
                    <a:pt x="101707" y="98823"/>
                    <a:pt x="101707" y="98823"/>
                  </a:cubicBezTo>
                  <a:cubicBezTo>
                    <a:pt x="102439" y="97754"/>
                    <a:pt x="102439" y="97754"/>
                    <a:pt x="102439" y="97754"/>
                  </a:cubicBezTo>
                  <a:cubicBezTo>
                    <a:pt x="102682" y="94973"/>
                    <a:pt x="102682" y="94973"/>
                    <a:pt x="102682" y="94973"/>
                  </a:cubicBezTo>
                  <a:cubicBezTo>
                    <a:pt x="103414" y="92834"/>
                    <a:pt x="103414" y="92834"/>
                    <a:pt x="103414" y="92834"/>
                  </a:cubicBezTo>
                  <a:cubicBezTo>
                    <a:pt x="107317" y="91550"/>
                    <a:pt x="107317" y="91550"/>
                    <a:pt x="107317" y="91550"/>
                  </a:cubicBezTo>
                  <a:cubicBezTo>
                    <a:pt x="108048" y="91122"/>
                    <a:pt x="108048" y="91122"/>
                    <a:pt x="108048" y="91122"/>
                  </a:cubicBezTo>
                  <a:cubicBezTo>
                    <a:pt x="108048" y="91122"/>
                    <a:pt x="108048" y="90695"/>
                    <a:pt x="107804" y="90267"/>
                  </a:cubicBezTo>
                  <a:cubicBezTo>
                    <a:pt x="107804" y="90053"/>
                    <a:pt x="107073" y="89411"/>
                    <a:pt x="107073" y="89411"/>
                  </a:cubicBezTo>
                  <a:cubicBezTo>
                    <a:pt x="107073" y="89411"/>
                    <a:pt x="107317" y="88770"/>
                    <a:pt x="107317" y="88556"/>
                  </a:cubicBezTo>
                  <a:cubicBezTo>
                    <a:pt x="107317" y="88342"/>
                    <a:pt x="107073" y="86844"/>
                    <a:pt x="107073" y="86844"/>
                  </a:cubicBezTo>
                  <a:cubicBezTo>
                    <a:pt x="106585" y="85347"/>
                    <a:pt x="106585" y="85347"/>
                    <a:pt x="106585" y="85347"/>
                  </a:cubicBezTo>
                  <a:cubicBezTo>
                    <a:pt x="106585" y="85347"/>
                    <a:pt x="106097" y="85347"/>
                    <a:pt x="105365" y="84919"/>
                  </a:cubicBezTo>
                  <a:cubicBezTo>
                    <a:pt x="104634" y="84705"/>
                    <a:pt x="103414" y="84064"/>
                    <a:pt x="103414" y="84064"/>
                  </a:cubicBezTo>
                  <a:cubicBezTo>
                    <a:pt x="102195" y="83636"/>
                    <a:pt x="102195" y="83636"/>
                    <a:pt x="102195" y="83636"/>
                  </a:cubicBezTo>
                  <a:cubicBezTo>
                    <a:pt x="100731" y="83422"/>
                    <a:pt x="100731" y="83422"/>
                    <a:pt x="100731" y="83422"/>
                  </a:cubicBezTo>
                  <a:cubicBezTo>
                    <a:pt x="100243" y="82352"/>
                    <a:pt x="100243" y="82352"/>
                    <a:pt x="100243" y="82352"/>
                  </a:cubicBezTo>
                  <a:cubicBezTo>
                    <a:pt x="101219" y="79358"/>
                    <a:pt x="101219" y="79358"/>
                    <a:pt x="101219" y="79358"/>
                  </a:cubicBezTo>
                  <a:cubicBezTo>
                    <a:pt x="100487" y="77860"/>
                    <a:pt x="100487" y="77860"/>
                    <a:pt x="100487" y="77860"/>
                  </a:cubicBezTo>
                  <a:cubicBezTo>
                    <a:pt x="102682" y="75721"/>
                    <a:pt x="102682" y="75721"/>
                    <a:pt x="102682" y="75721"/>
                  </a:cubicBezTo>
                  <a:cubicBezTo>
                    <a:pt x="103658" y="74224"/>
                    <a:pt x="103658" y="74224"/>
                    <a:pt x="103658" y="74224"/>
                  </a:cubicBezTo>
                  <a:cubicBezTo>
                    <a:pt x="104878" y="73368"/>
                    <a:pt x="104878" y="73368"/>
                    <a:pt x="104878" y="73368"/>
                  </a:cubicBezTo>
                  <a:cubicBezTo>
                    <a:pt x="106829" y="73796"/>
                    <a:pt x="106829" y="73796"/>
                    <a:pt x="106829" y="73796"/>
                  </a:cubicBezTo>
                  <a:cubicBezTo>
                    <a:pt x="107560" y="74652"/>
                    <a:pt x="107560" y="74652"/>
                    <a:pt x="107560" y="74652"/>
                  </a:cubicBezTo>
                  <a:cubicBezTo>
                    <a:pt x="108780" y="74866"/>
                    <a:pt x="108780" y="74866"/>
                    <a:pt x="108780" y="74866"/>
                  </a:cubicBezTo>
                  <a:cubicBezTo>
                    <a:pt x="110975" y="74866"/>
                    <a:pt x="110975" y="74866"/>
                    <a:pt x="110975" y="74866"/>
                  </a:cubicBezTo>
                  <a:cubicBezTo>
                    <a:pt x="113414" y="75294"/>
                    <a:pt x="113414" y="75294"/>
                    <a:pt x="113414" y="75294"/>
                  </a:cubicBezTo>
                  <a:cubicBezTo>
                    <a:pt x="114390" y="76577"/>
                    <a:pt x="114390" y="76577"/>
                    <a:pt x="114390" y="76577"/>
                  </a:cubicBezTo>
                  <a:cubicBezTo>
                    <a:pt x="115365" y="78074"/>
                    <a:pt x="115365" y="78074"/>
                    <a:pt x="115365" y="78074"/>
                  </a:cubicBezTo>
                  <a:cubicBezTo>
                    <a:pt x="115365" y="78074"/>
                    <a:pt x="115853" y="78716"/>
                    <a:pt x="116097" y="78930"/>
                  </a:cubicBezTo>
                  <a:cubicBezTo>
                    <a:pt x="116097" y="78930"/>
                    <a:pt x="117073" y="79572"/>
                    <a:pt x="117317" y="79572"/>
                  </a:cubicBezTo>
                  <a:cubicBezTo>
                    <a:pt x="117560" y="79786"/>
                    <a:pt x="119024" y="80000"/>
                    <a:pt x="119024" y="80000"/>
                  </a:cubicBezTo>
                  <a:cubicBezTo>
                    <a:pt x="119024" y="80000"/>
                    <a:pt x="119024" y="78502"/>
                    <a:pt x="119268" y="78074"/>
                  </a:cubicBezTo>
                  <a:cubicBezTo>
                    <a:pt x="119512" y="77860"/>
                    <a:pt x="120000" y="77005"/>
                    <a:pt x="120000" y="76791"/>
                  </a:cubicBezTo>
                  <a:cubicBezTo>
                    <a:pt x="120000" y="76577"/>
                    <a:pt x="119512" y="75080"/>
                    <a:pt x="119512" y="75080"/>
                  </a:cubicBezTo>
                  <a:cubicBezTo>
                    <a:pt x="117804" y="73368"/>
                    <a:pt x="117804" y="73368"/>
                    <a:pt x="117804" y="73368"/>
                  </a:cubicBezTo>
                  <a:cubicBezTo>
                    <a:pt x="116097" y="72299"/>
                    <a:pt x="116097" y="72299"/>
                    <a:pt x="116097" y="72299"/>
                  </a:cubicBezTo>
                  <a:cubicBezTo>
                    <a:pt x="111951" y="69946"/>
                    <a:pt x="111951" y="69946"/>
                    <a:pt x="111951" y="69946"/>
                  </a:cubicBezTo>
                  <a:cubicBezTo>
                    <a:pt x="106097" y="68235"/>
                    <a:pt x="106097" y="68235"/>
                    <a:pt x="106097" y="68235"/>
                  </a:cubicBezTo>
                  <a:cubicBezTo>
                    <a:pt x="102195" y="66096"/>
                    <a:pt x="102195" y="66096"/>
                    <a:pt x="102195" y="66096"/>
                  </a:cubicBezTo>
                  <a:cubicBezTo>
                    <a:pt x="99024" y="65454"/>
                    <a:pt x="99024" y="65454"/>
                    <a:pt x="99024" y="65454"/>
                  </a:cubicBezTo>
                  <a:cubicBezTo>
                    <a:pt x="99024" y="65454"/>
                    <a:pt x="95609" y="63957"/>
                    <a:pt x="95365" y="63957"/>
                  </a:cubicBezTo>
                  <a:cubicBezTo>
                    <a:pt x="95121" y="63957"/>
                    <a:pt x="94390" y="63743"/>
                    <a:pt x="94390" y="63743"/>
                  </a:cubicBezTo>
                  <a:cubicBezTo>
                    <a:pt x="94390" y="63743"/>
                    <a:pt x="92439" y="63315"/>
                    <a:pt x="92439" y="63101"/>
                  </a:cubicBezTo>
                  <a:cubicBezTo>
                    <a:pt x="92195" y="62887"/>
                    <a:pt x="91951" y="62245"/>
                    <a:pt x="91707" y="62032"/>
                  </a:cubicBezTo>
                  <a:cubicBezTo>
                    <a:pt x="91707" y="61818"/>
                    <a:pt x="91951" y="61176"/>
                    <a:pt x="91951" y="61176"/>
                  </a:cubicBezTo>
                  <a:cubicBezTo>
                    <a:pt x="92926" y="60320"/>
                    <a:pt x="92926" y="60320"/>
                    <a:pt x="92926" y="60320"/>
                  </a:cubicBezTo>
                  <a:cubicBezTo>
                    <a:pt x="92926" y="60320"/>
                    <a:pt x="93902" y="59465"/>
                    <a:pt x="93902" y="59251"/>
                  </a:cubicBezTo>
                  <a:cubicBezTo>
                    <a:pt x="93902" y="59037"/>
                    <a:pt x="94146" y="57754"/>
                    <a:pt x="94146" y="57754"/>
                  </a:cubicBezTo>
                  <a:cubicBezTo>
                    <a:pt x="92926" y="57326"/>
                    <a:pt x="92926" y="57326"/>
                    <a:pt x="92926" y="57326"/>
                  </a:cubicBezTo>
                  <a:cubicBezTo>
                    <a:pt x="90000" y="57540"/>
                    <a:pt x="90000" y="57540"/>
                    <a:pt x="90000" y="57540"/>
                  </a:cubicBezTo>
                  <a:cubicBezTo>
                    <a:pt x="85365" y="57967"/>
                    <a:pt x="85365" y="57967"/>
                    <a:pt x="85365" y="57967"/>
                  </a:cubicBezTo>
                  <a:cubicBezTo>
                    <a:pt x="82926" y="57967"/>
                    <a:pt x="82926" y="57967"/>
                    <a:pt x="82926" y="57967"/>
                  </a:cubicBezTo>
                  <a:cubicBezTo>
                    <a:pt x="79756" y="56256"/>
                    <a:pt x="79756" y="56256"/>
                    <a:pt x="79756" y="56256"/>
                  </a:cubicBezTo>
                  <a:cubicBezTo>
                    <a:pt x="77073" y="54331"/>
                    <a:pt x="77073" y="54331"/>
                    <a:pt x="77073" y="54331"/>
                  </a:cubicBezTo>
                  <a:cubicBezTo>
                    <a:pt x="75365" y="53475"/>
                    <a:pt x="75365" y="53475"/>
                    <a:pt x="75365" y="53475"/>
                  </a:cubicBezTo>
                  <a:cubicBezTo>
                    <a:pt x="72926" y="51122"/>
                    <a:pt x="72926" y="51122"/>
                    <a:pt x="72926" y="51122"/>
                  </a:cubicBezTo>
                  <a:cubicBezTo>
                    <a:pt x="71707" y="49625"/>
                    <a:pt x="71707" y="49625"/>
                    <a:pt x="71707" y="49625"/>
                  </a:cubicBezTo>
                  <a:cubicBezTo>
                    <a:pt x="71707" y="49625"/>
                    <a:pt x="70975" y="47486"/>
                    <a:pt x="70731" y="46631"/>
                  </a:cubicBezTo>
                  <a:cubicBezTo>
                    <a:pt x="70487" y="45989"/>
                    <a:pt x="68536" y="43636"/>
                    <a:pt x="68536" y="43636"/>
                  </a:cubicBezTo>
                  <a:cubicBezTo>
                    <a:pt x="68536" y="43636"/>
                    <a:pt x="67560" y="41711"/>
                    <a:pt x="67560" y="41497"/>
                  </a:cubicBezTo>
                  <a:cubicBezTo>
                    <a:pt x="67560" y="41283"/>
                    <a:pt x="67073" y="39786"/>
                    <a:pt x="67073" y="39786"/>
                  </a:cubicBezTo>
                  <a:cubicBezTo>
                    <a:pt x="63902" y="38502"/>
                    <a:pt x="63902" y="38502"/>
                    <a:pt x="63902" y="38502"/>
                  </a:cubicBezTo>
                  <a:cubicBezTo>
                    <a:pt x="59756" y="36363"/>
                    <a:pt x="59756" y="36363"/>
                    <a:pt x="59756" y="36363"/>
                  </a:cubicBezTo>
                  <a:cubicBezTo>
                    <a:pt x="56341" y="34438"/>
                    <a:pt x="56341" y="34438"/>
                    <a:pt x="56341" y="34438"/>
                  </a:cubicBezTo>
                  <a:cubicBezTo>
                    <a:pt x="54634" y="32299"/>
                    <a:pt x="54634" y="32299"/>
                    <a:pt x="54634" y="32299"/>
                  </a:cubicBezTo>
                  <a:cubicBezTo>
                    <a:pt x="53170" y="28877"/>
                    <a:pt x="53170" y="28877"/>
                    <a:pt x="53170" y="28877"/>
                  </a:cubicBezTo>
                  <a:cubicBezTo>
                    <a:pt x="52926" y="26096"/>
                    <a:pt x="52926" y="26096"/>
                    <a:pt x="52926" y="26096"/>
                  </a:cubicBezTo>
                  <a:cubicBezTo>
                    <a:pt x="54634" y="25454"/>
                    <a:pt x="54634" y="25454"/>
                    <a:pt x="54634" y="25454"/>
                  </a:cubicBezTo>
                  <a:cubicBezTo>
                    <a:pt x="54634" y="24171"/>
                    <a:pt x="54634" y="24171"/>
                    <a:pt x="54634" y="24171"/>
                  </a:cubicBezTo>
                  <a:cubicBezTo>
                    <a:pt x="53170" y="23315"/>
                    <a:pt x="53170" y="23315"/>
                    <a:pt x="53170" y="23315"/>
                  </a:cubicBezTo>
                  <a:cubicBezTo>
                    <a:pt x="53170" y="22032"/>
                    <a:pt x="53170" y="22032"/>
                    <a:pt x="53170" y="22032"/>
                  </a:cubicBezTo>
                  <a:cubicBezTo>
                    <a:pt x="52439" y="21604"/>
                    <a:pt x="52439" y="21604"/>
                    <a:pt x="52439" y="21604"/>
                  </a:cubicBezTo>
                  <a:cubicBezTo>
                    <a:pt x="51463" y="20534"/>
                    <a:pt x="51463" y="20534"/>
                    <a:pt x="51463" y="20534"/>
                  </a:cubicBezTo>
                  <a:cubicBezTo>
                    <a:pt x="53414" y="19679"/>
                    <a:pt x="53414" y="19679"/>
                    <a:pt x="53414" y="19679"/>
                  </a:cubicBezTo>
                  <a:cubicBezTo>
                    <a:pt x="53414" y="19679"/>
                    <a:pt x="54146" y="18823"/>
                    <a:pt x="55121" y="18823"/>
                  </a:cubicBezTo>
                  <a:cubicBezTo>
                    <a:pt x="56097" y="18823"/>
                    <a:pt x="56829" y="17967"/>
                    <a:pt x="56829" y="17967"/>
                  </a:cubicBezTo>
                  <a:cubicBezTo>
                    <a:pt x="56829" y="17967"/>
                    <a:pt x="57560" y="17326"/>
                    <a:pt x="57804" y="17326"/>
                  </a:cubicBezTo>
                  <a:cubicBezTo>
                    <a:pt x="58292" y="17326"/>
                    <a:pt x="58780" y="17112"/>
                    <a:pt x="59268" y="16898"/>
                  </a:cubicBezTo>
                  <a:cubicBezTo>
                    <a:pt x="59512" y="16898"/>
                    <a:pt x="60243" y="16684"/>
                    <a:pt x="60243" y="16684"/>
                  </a:cubicBezTo>
                  <a:cubicBezTo>
                    <a:pt x="60243" y="16470"/>
                    <a:pt x="60487" y="14973"/>
                    <a:pt x="60731" y="14973"/>
                  </a:cubicBezTo>
                  <a:cubicBezTo>
                    <a:pt x="60975" y="14973"/>
                    <a:pt x="61463" y="15828"/>
                    <a:pt x="62195" y="15828"/>
                  </a:cubicBezTo>
                  <a:cubicBezTo>
                    <a:pt x="62439" y="15828"/>
                    <a:pt x="62926" y="16256"/>
                    <a:pt x="63170" y="16042"/>
                  </a:cubicBezTo>
                  <a:cubicBezTo>
                    <a:pt x="63658" y="15828"/>
                    <a:pt x="63902" y="15187"/>
                    <a:pt x="63902" y="15187"/>
                  </a:cubicBezTo>
                  <a:cubicBezTo>
                    <a:pt x="64146" y="14973"/>
                    <a:pt x="64390" y="14759"/>
                    <a:pt x="65121" y="14545"/>
                  </a:cubicBezTo>
                  <a:cubicBezTo>
                    <a:pt x="65121" y="14545"/>
                    <a:pt x="65121" y="14545"/>
                    <a:pt x="65121" y="14545"/>
                  </a:cubicBezTo>
                  <a:cubicBezTo>
                    <a:pt x="65121" y="14545"/>
                    <a:pt x="64634" y="14331"/>
                    <a:pt x="64634" y="14331"/>
                  </a:cubicBezTo>
                  <a:cubicBezTo>
                    <a:pt x="64634" y="14117"/>
                    <a:pt x="64634" y="14117"/>
                    <a:pt x="64878" y="13903"/>
                  </a:cubicBezTo>
                  <a:cubicBezTo>
                    <a:pt x="64878" y="13689"/>
                    <a:pt x="64878" y="13689"/>
                    <a:pt x="65121" y="13475"/>
                  </a:cubicBezTo>
                  <a:cubicBezTo>
                    <a:pt x="65121" y="13475"/>
                    <a:pt x="65121" y="13048"/>
                    <a:pt x="65121" y="13048"/>
                  </a:cubicBezTo>
                  <a:cubicBezTo>
                    <a:pt x="65121" y="13048"/>
                    <a:pt x="65365" y="12834"/>
                    <a:pt x="65121" y="12834"/>
                  </a:cubicBezTo>
                  <a:cubicBezTo>
                    <a:pt x="65121" y="12620"/>
                    <a:pt x="64878" y="12406"/>
                    <a:pt x="64878" y="12406"/>
                  </a:cubicBezTo>
                  <a:cubicBezTo>
                    <a:pt x="64878" y="12406"/>
                    <a:pt x="64878" y="12406"/>
                    <a:pt x="64634" y="12406"/>
                  </a:cubicBezTo>
                  <a:cubicBezTo>
                    <a:pt x="64634" y="12620"/>
                    <a:pt x="64634" y="12620"/>
                    <a:pt x="64634" y="12620"/>
                  </a:cubicBezTo>
                  <a:cubicBezTo>
                    <a:pt x="64146" y="12834"/>
                    <a:pt x="64146" y="12834"/>
                    <a:pt x="64146" y="12834"/>
                  </a:cubicBezTo>
                  <a:cubicBezTo>
                    <a:pt x="64146" y="12834"/>
                    <a:pt x="63902" y="12406"/>
                    <a:pt x="63902" y="12406"/>
                  </a:cubicBezTo>
                  <a:cubicBezTo>
                    <a:pt x="63658" y="12406"/>
                    <a:pt x="63658" y="12406"/>
                    <a:pt x="63658" y="12192"/>
                  </a:cubicBezTo>
                  <a:cubicBezTo>
                    <a:pt x="63658" y="12192"/>
                    <a:pt x="63902" y="11978"/>
                    <a:pt x="63902" y="11978"/>
                  </a:cubicBezTo>
                  <a:cubicBezTo>
                    <a:pt x="63902" y="11978"/>
                    <a:pt x="63658" y="11764"/>
                    <a:pt x="63658" y="11764"/>
                  </a:cubicBezTo>
                  <a:cubicBezTo>
                    <a:pt x="63658" y="11764"/>
                    <a:pt x="63902" y="11336"/>
                    <a:pt x="64146" y="11336"/>
                  </a:cubicBezTo>
                  <a:cubicBezTo>
                    <a:pt x="64390" y="11122"/>
                    <a:pt x="64878" y="10695"/>
                    <a:pt x="64878" y="10695"/>
                  </a:cubicBezTo>
                  <a:cubicBezTo>
                    <a:pt x="65121" y="10267"/>
                    <a:pt x="65121" y="10267"/>
                    <a:pt x="65121" y="10267"/>
                  </a:cubicBezTo>
                  <a:cubicBezTo>
                    <a:pt x="64878" y="10053"/>
                    <a:pt x="64878" y="10053"/>
                    <a:pt x="64878" y="10053"/>
                  </a:cubicBezTo>
                  <a:cubicBezTo>
                    <a:pt x="64878" y="10053"/>
                    <a:pt x="64634" y="10267"/>
                    <a:pt x="64634" y="10267"/>
                  </a:cubicBezTo>
                  <a:cubicBezTo>
                    <a:pt x="64146" y="10053"/>
                    <a:pt x="64146" y="10053"/>
                    <a:pt x="64146" y="10053"/>
                  </a:cubicBezTo>
                  <a:cubicBezTo>
                    <a:pt x="63658" y="9839"/>
                    <a:pt x="63658" y="9839"/>
                    <a:pt x="63658" y="9839"/>
                  </a:cubicBezTo>
                  <a:cubicBezTo>
                    <a:pt x="62926" y="9839"/>
                    <a:pt x="62926" y="9839"/>
                    <a:pt x="62926" y="9839"/>
                  </a:cubicBezTo>
                  <a:cubicBezTo>
                    <a:pt x="62439" y="9411"/>
                    <a:pt x="62439" y="9411"/>
                    <a:pt x="62439" y="9411"/>
                  </a:cubicBezTo>
                  <a:cubicBezTo>
                    <a:pt x="62682" y="8983"/>
                    <a:pt x="62682" y="8983"/>
                    <a:pt x="62682" y="8983"/>
                  </a:cubicBezTo>
                  <a:cubicBezTo>
                    <a:pt x="62682" y="8556"/>
                    <a:pt x="62682" y="8556"/>
                    <a:pt x="62682" y="8556"/>
                  </a:cubicBezTo>
                  <a:cubicBezTo>
                    <a:pt x="62682" y="8556"/>
                    <a:pt x="63170" y="8128"/>
                    <a:pt x="63170" y="8128"/>
                  </a:cubicBezTo>
                  <a:cubicBezTo>
                    <a:pt x="63414" y="7914"/>
                    <a:pt x="63902" y="7700"/>
                    <a:pt x="63902" y="7700"/>
                  </a:cubicBezTo>
                  <a:cubicBezTo>
                    <a:pt x="64146" y="7272"/>
                    <a:pt x="64146" y="7272"/>
                    <a:pt x="64146" y="7272"/>
                  </a:cubicBezTo>
                  <a:cubicBezTo>
                    <a:pt x="64146" y="7272"/>
                    <a:pt x="64390" y="7058"/>
                    <a:pt x="64634" y="7058"/>
                  </a:cubicBezTo>
                  <a:cubicBezTo>
                    <a:pt x="64878" y="7058"/>
                    <a:pt x="64878" y="7272"/>
                    <a:pt x="64878" y="7058"/>
                  </a:cubicBezTo>
                  <a:cubicBezTo>
                    <a:pt x="65121" y="7058"/>
                    <a:pt x="65121" y="6631"/>
                    <a:pt x="65121" y="6417"/>
                  </a:cubicBezTo>
                  <a:cubicBezTo>
                    <a:pt x="65121" y="5775"/>
                    <a:pt x="65121" y="5775"/>
                    <a:pt x="65121" y="5775"/>
                  </a:cubicBezTo>
                  <a:cubicBezTo>
                    <a:pt x="63902" y="5989"/>
                    <a:pt x="63902" y="5989"/>
                    <a:pt x="63902" y="5989"/>
                  </a:cubicBezTo>
                  <a:cubicBezTo>
                    <a:pt x="63902" y="5989"/>
                    <a:pt x="62682" y="5775"/>
                    <a:pt x="61951" y="5775"/>
                  </a:cubicBezTo>
                  <a:cubicBezTo>
                    <a:pt x="60975" y="5775"/>
                    <a:pt x="59024" y="5347"/>
                    <a:pt x="59024" y="5347"/>
                  </a:cubicBezTo>
                  <a:cubicBezTo>
                    <a:pt x="56585" y="4705"/>
                    <a:pt x="56585" y="4705"/>
                    <a:pt x="56585" y="4705"/>
                  </a:cubicBezTo>
                  <a:cubicBezTo>
                    <a:pt x="55121" y="4705"/>
                    <a:pt x="55121" y="4705"/>
                    <a:pt x="55121" y="4705"/>
                  </a:cubicBezTo>
                  <a:cubicBezTo>
                    <a:pt x="52926" y="4491"/>
                    <a:pt x="52926" y="4491"/>
                    <a:pt x="52926" y="4491"/>
                  </a:cubicBezTo>
                  <a:cubicBezTo>
                    <a:pt x="52926" y="4491"/>
                    <a:pt x="52682" y="4064"/>
                    <a:pt x="52439" y="3850"/>
                  </a:cubicBezTo>
                  <a:cubicBezTo>
                    <a:pt x="52439" y="3636"/>
                    <a:pt x="51707" y="3208"/>
                    <a:pt x="51707" y="3208"/>
                  </a:cubicBezTo>
                  <a:cubicBezTo>
                    <a:pt x="51707" y="2780"/>
                    <a:pt x="51707" y="2780"/>
                    <a:pt x="51707" y="2780"/>
                  </a:cubicBezTo>
                  <a:cubicBezTo>
                    <a:pt x="51219" y="1711"/>
                    <a:pt x="51219" y="1711"/>
                    <a:pt x="51219" y="1711"/>
                  </a:cubicBezTo>
                  <a:cubicBezTo>
                    <a:pt x="50731" y="855"/>
                    <a:pt x="50731" y="855"/>
                    <a:pt x="50731" y="855"/>
                  </a:cubicBezTo>
                  <a:cubicBezTo>
                    <a:pt x="51219" y="213"/>
                    <a:pt x="51219" y="213"/>
                    <a:pt x="51219" y="213"/>
                  </a:cubicBezTo>
                  <a:cubicBezTo>
                    <a:pt x="50731" y="0"/>
                    <a:pt x="50731" y="0"/>
                    <a:pt x="50731" y="0"/>
                  </a:cubicBezTo>
                  <a:cubicBezTo>
                    <a:pt x="50731" y="0"/>
                    <a:pt x="49756" y="213"/>
                    <a:pt x="49268" y="213"/>
                  </a:cubicBezTo>
                  <a:cubicBezTo>
                    <a:pt x="49024" y="427"/>
                    <a:pt x="47560" y="641"/>
                    <a:pt x="47560" y="641"/>
                  </a:cubicBezTo>
                  <a:cubicBezTo>
                    <a:pt x="47073" y="855"/>
                    <a:pt x="47073" y="855"/>
                    <a:pt x="47073" y="855"/>
                  </a:cubicBezTo>
                  <a:cubicBezTo>
                    <a:pt x="45121" y="855"/>
                    <a:pt x="45121" y="855"/>
                    <a:pt x="45121" y="855"/>
                  </a:cubicBezTo>
                  <a:cubicBezTo>
                    <a:pt x="43170" y="1069"/>
                    <a:pt x="43170" y="1069"/>
                    <a:pt x="43170" y="1069"/>
                  </a:cubicBezTo>
                  <a:cubicBezTo>
                    <a:pt x="42439" y="1497"/>
                    <a:pt x="42439" y="1497"/>
                    <a:pt x="42439" y="1497"/>
                  </a:cubicBezTo>
                  <a:cubicBezTo>
                    <a:pt x="40975" y="2139"/>
                    <a:pt x="40975" y="2139"/>
                    <a:pt x="40975" y="2139"/>
                  </a:cubicBezTo>
                  <a:cubicBezTo>
                    <a:pt x="40975" y="2994"/>
                    <a:pt x="40975" y="2994"/>
                    <a:pt x="40975" y="2994"/>
                  </a:cubicBezTo>
                  <a:cubicBezTo>
                    <a:pt x="40243" y="3850"/>
                    <a:pt x="40243" y="3850"/>
                    <a:pt x="40243" y="3850"/>
                  </a:cubicBezTo>
                  <a:cubicBezTo>
                    <a:pt x="39024" y="3850"/>
                    <a:pt x="39024" y="3850"/>
                    <a:pt x="39024" y="3850"/>
                  </a:cubicBezTo>
                  <a:cubicBezTo>
                    <a:pt x="37804" y="2994"/>
                    <a:pt x="37804" y="2994"/>
                    <a:pt x="37804" y="2994"/>
                  </a:cubicBezTo>
                  <a:cubicBezTo>
                    <a:pt x="37317" y="3422"/>
                    <a:pt x="37317" y="3422"/>
                    <a:pt x="37317" y="3422"/>
                  </a:cubicBezTo>
                  <a:cubicBezTo>
                    <a:pt x="36097" y="3208"/>
                    <a:pt x="36097" y="3208"/>
                    <a:pt x="36097" y="3208"/>
                  </a:cubicBezTo>
                  <a:cubicBezTo>
                    <a:pt x="35853" y="3208"/>
                    <a:pt x="35853" y="3208"/>
                    <a:pt x="35853" y="3208"/>
                  </a:cubicBezTo>
                  <a:cubicBezTo>
                    <a:pt x="35609" y="3208"/>
                    <a:pt x="35609" y="3208"/>
                    <a:pt x="35609" y="3208"/>
                  </a:cubicBezTo>
                  <a:cubicBezTo>
                    <a:pt x="35609" y="3208"/>
                    <a:pt x="35365" y="3422"/>
                    <a:pt x="35365" y="3422"/>
                  </a:cubicBezTo>
                  <a:cubicBezTo>
                    <a:pt x="35609" y="3850"/>
                    <a:pt x="35609" y="3850"/>
                    <a:pt x="35609" y="3850"/>
                  </a:cubicBezTo>
                  <a:cubicBezTo>
                    <a:pt x="35365" y="4064"/>
                    <a:pt x="35365" y="4064"/>
                    <a:pt x="35365" y="4064"/>
                  </a:cubicBezTo>
                  <a:cubicBezTo>
                    <a:pt x="35609" y="4491"/>
                    <a:pt x="35609" y="4491"/>
                    <a:pt x="35609" y="4491"/>
                  </a:cubicBezTo>
                  <a:cubicBezTo>
                    <a:pt x="35609" y="4491"/>
                    <a:pt x="35365" y="4705"/>
                    <a:pt x="35121" y="4919"/>
                  </a:cubicBezTo>
                  <a:cubicBezTo>
                    <a:pt x="34878" y="4919"/>
                    <a:pt x="35365" y="5347"/>
                    <a:pt x="35365" y="5347"/>
                  </a:cubicBezTo>
                  <a:cubicBezTo>
                    <a:pt x="35365" y="5347"/>
                    <a:pt x="35609" y="5347"/>
                    <a:pt x="36097" y="5561"/>
                  </a:cubicBezTo>
                  <a:cubicBezTo>
                    <a:pt x="36341" y="5775"/>
                    <a:pt x="36097" y="5775"/>
                    <a:pt x="36097" y="5775"/>
                  </a:cubicBezTo>
                  <a:cubicBezTo>
                    <a:pt x="36097" y="5989"/>
                    <a:pt x="36097" y="6203"/>
                    <a:pt x="35853" y="6203"/>
                  </a:cubicBezTo>
                  <a:cubicBezTo>
                    <a:pt x="35853" y="6417"/>
                    <a:pt x="35853" y="6417"/>
                    <a:pt x="35853" y="6417"/>
                  </a:cubicBezTo>
                  <a:cubicBezTo>
                    <a:pt x="35609" y="6417"/>
                    <a:pt x="35609" y="6417"/>
                    <a:pt x="35609" y="6417"/>
                  </a:cubicBezTo>
                  <a:cubicBezTo>
                    <a:pt x="35609" y="6417"/>
                    <a:pt x="34878" y="6631"/>
                    <a:pt x="34878" y="6417"/>
                  </a:cubicBezTo>
                  <a:cubicBezTo>
                    <a:pt x="34634" y="6417"/>
                    <a:pt x="34878" y="6417"/>
                    <a:pt x="34878" y="6417"/>
                  </a:cubicBezTo>
                  <a:cubicBezTo>
                    <a:pt x="34634" y="6417"/>
                    <a:pt x="34634" y="6417"/>
                    <a:pt x="34634" y="6417"/>
                  </a:cubicBezTo>
                  <a:cubicBezTo>
                    <a:pt x="34634" y="6417"/>
                    <a:pt x="33902" y="5989"/>
                    <a:pt x="33902" y="5989"/>
                  </a:cubicBezTo>
                  <a:cubicBezTo>
                    <a:pt x="33902" y="5775"/>
                    <a:pt x="33902" y="5775"/>
                    <a:pt x="33902" y="5775"/>
                  </a:cubicBezTo>
                  <a:cubicBezTo>
                    <a:pt x="33902" y="5775"/>
                    <a:pt x="33658" y="5561"/>
                    <a:pt x="33658" y="5561"/>
                  </a:cubicBezTo>
                  <a:cubicBezTo>
                    <a:pt x="33414" y="5561"/>
                    <a:pt x="33414" y="5775"/>
                    <a:pt x="33414" y="5775"/>
                  </a:cubicBezTo>
                  <a:cubicBezTo>
                    <a:pt x="33170" y="5775"/>
                    <a:pt x="32926" y="5775"/>
                    <a:pt x="32682" y="5775"/>
                  </a:cubicBezTo>
                  <a:cubicBezTo>
                    <a:pt x="32682" y="5775"/>
                    <a:pt x="32682" y="5989"/>
                    <a:pt x="32439" y="5989"/>
                  </a:cubicBezTo>
                  <a:cubicBezTo>
                    <a:pt x="32439" y="6203"/>
                    <a:pt x="32439" y="6203"/>
                    <a:pt x="32439" y="6417"/>
                  </a:cubicBezTo>
                  <a:cubicBezTo>
                    <a:pt x="32195" y="6417"/>
                    <a:pt x="32195" y="6631"/>
                    <a:pt x="32195" y="6631"/>
                  </a:cubicBezTo>
                  <a:cubicBezTo>
                    <a:pt x="32195" y="6844"/>
                    <a:pt x="32195" y="6844"/>
                    <a:pt x="32195" y="6844"/>
                  </a:cubicBezTo>
                  <a:cubicBezTo>
                    <a:pt x="31951" y="7272"/>
                    <a:pt x="31951" y="7272"/>
                    <a:pt x="31951" y="7272"/>
                  </a:cubicBezTo>
                  <a:cubicBezTo>
                    <a:pt x="32195" y="7272"/>
                    <a:pt x="32195" y="7272"/>
                    <a:pt x="32195" y="7272"/>
                  </a:cubicBezTo>
                  <a:cubicBezTo>
                    <a:pt x="32195" y="7272"/>
                    <a:pt x="32195" y="7700"/>
                    <a:pt x="32195" y="7700"/>
                  </a:cubicBezTo>
                  <a:cubicBezTo>
                    <a:pt x="32195" y="7914"/>
                    <a:pt x="32195" y="7914"/>
                    <a:pt x="32195" y="7914"/>
                  </a:cubicBezTo>
                  <a:cubicBezTo>
                    <a:pt x="32439" y="8128"/>
                    <a:pt x="32682" y="7914"/>
                    <a:pt x="32682" y="7914"/>
                  </a:cubicBezTo>
                  <a:cubicBezTo>
                    <a:pt x="32682" y="7914"/>
                    <a:pt x="32926" y="8128"/>
                    <a:pt x="32926" y="8342"/>
                  </a:cubicBezTo>
                  <a:cubicBezTo>
                    <a:pt x="33170" y="8342"/>
                    <a:pt x="32926" y="8556"/>
                    <a:pt x="32926" y="8556"/>
                  </a:cubicBezTo>
                  <a:cubicBezTo>
                    <a:pt x="32926" y="8556"/>
                    <a:pt x="32682" y="8770"/>
                    <a:pt x="32682" y="8770"/>
                  </a:cubicBezTo>
                  <a:cubicBezTo>
                    <a:pt x="32439" y="8770"/>
                    <a:pt x="32439" y="8770"/>
                    <a:pt x="32682" y="8983"/>
                  </a:cubicBezTo>
                  <a:cubicBezTo>
                    <a:pt x="32682" y="9197"/>
                    <a:pt x="32926" y="9197"/>
                    <a:pt x="32926" y="9197"/>
                  </a:cubicBezTo>
                  <a:cubicBezTo>
                    <a:pt x="33170" y="9197"/>
                    <a:pt x="33170" y="9839"/>
                    <a:pt x="33170" y="9839"/>
                  </a:cubicBezTo>
                  <a:cubicBezTo>
                    <a:pt x="33170" y="10053"/>
                    <a:pt x="32926" y="10267"/>
                    <a:pt x="32926" y="10267"/>
                  </a:cubicBezTo>
                  <a:cubicBezTo>
                    <a:pt x="32926" y="10267"/>
                    <a:pt x="32926" y="10267"/>
                    <a:pt x="32926" y="10267"/>
                  </a:cubicBezTo>
                  <a:cubicBezTo>
                    <a:pt x="32682" y="10267"/>
                    <a:pt x="32682" y="10267"/>
                    <a:pt x="32682" y="10481"/>
                  </a:cubicBezTo>
                  <a:cubicBezTo>
                    <a:pt x="32682" y="10481"/>
                    <a:pt x="32195" y="10481"/>
                    <a:pt x="32195" y="10481"/>
                  </a:cubicBezTo>
                  <a:cubicBezTo>
                    <a:pt x="32195" y="10481"/>
                    <a:pt x="32439" y="10053"/>
                    <a:pt x="32195" y="10053"/>
                  </a:cubicBezTo>
                  <a:cubicBezTo>
                    <a:pt x="32195" y="9839"/>
                    <a:pt x="31951" y="9839"/>
                    <a:pt x="31707" y="9625"/>
                  </a:cubicBezTo>
                  <a:cubicBezTo>
                    <a:pt x="31463" y="9197"/>
                    <a:pt x="31707" y="9197"/>
                    <a:pt x="31707" y="9197"/>
                  </a:cubicBezTo>
                  <a:cubicBezTo>
                    <a:pt x="31707" y="9197"/>
                    <a:pt x="31707" y="9197"/>
                    <a:pt x="31463" y="8983"/>
                  </a:cubicBezTo>
                  <a:cubicBezTo>
                    <a:pt x="31463" y="8770"/>
                    <a:pt x="31463" y="8556"/>
                    <a:pt x="31463" y="8556"/>
                  </a:cubicBezTo>
                  <a:cubicBezTo>
                    <a:pt x="31463" y="8556"/>
                    <a:pt x="30975" y="8556"/>
                    <a:pt x="30731" y="8556"/>
                  </a:cubicBezTo>
                  <a:cubicBezTo>
                    <a:pt x="30243" y="8556"/>
                    <a:pt x="30487" y="8770"/>
                    <a:pt x="30487" y="8770"/>
                  </a:cubicBezTo>
                  <a:cubicBezTo>
                    <a:pt x="30000" y="8770"/>
                    <a:pt x="30000" y="8770"/>
                    <a:pt x="30000" y="8770"/>
                  </a:cubicBezTo>
                  <a:cubicBezTo>
                    <a:pt x="30000" y="8770"/>
                    <a:pt x="29756" y="8983"/>
                    <a:pt x="29756" y="8983"/>
                  </a:cubicBezTo>
                  <a:cubicBezTo>
                    <a:pt x="29512" y="9197"/>
                    <a:pt x="29512" y="8983"/>
                    <a:pt x="29268" y="8983"/>
                  </a:cubicBezTo>
                  <a:cubicBezTo>
                    <a:pt x="29268" y="8983"/>
                    <a:pt x="29024" y="8983"/>
                    <a:pt x="29024" y="8983"/>
                  </a:cubicBezTo>
                  <a:cubicBezTo>
                    <a:pt x="29024" y="8983"/>
                    <a:pt x="28780" y="9197"/>
                    <a:pt x="29024" y="9411"/>
                  </a:cubicBezTo>
                  <a:cubicBezTo>
                    <a:pt x="29024" y="9625"/>
                    <a:pt x="29024" y="9625"/>
                    <a:pt x="28780" y="9625"/>
                  </a:cubicBezTo>
                  <a:cubicBezTo>
                    <a:pt x="28780" y="9839"/>
                    <a:pt x="28292" y="9625"/>
                    <a:pt x="27804" y="9625"/>
                  </a:cubicBezTo>
                  <a:cubicBezTo>
                    <a:pt x="27073" y="9625"/>
                    <a:pt x="27560" y="9411"/>
                    <a:pt x="27317" y="9411"/>
                  </a:cubicBezTo>
                  <a:cubicBezTo>
                    <a:pt x="27317" y="9197"/>
                    <a:pt x="26829" y="9197"/>
                    <a:pt x="26829" y="8983"/>
                  </a:cubicBezTo>
                  <a:cubicBezTo>
                    <a:pt x="26829" y="8556"/>
                    <a:pt x="26829" y="8556"/>
                    <a:pt x="26829" y="8342"/>
                  </a:cubicBezTo>
                  <a:cubicBezTo>
                    <a:pt x="26829" y="8128"/>
                    <a:pt x="26585" y="7914"/>
                    <a:pt x="26585" y="7914"/>
                  </a:cubicBezTo>
                  <a:cubicBezTo>
                    <a:pt x="26341" y="7700"/>
                    <a:pt x="26585" y="7486"/>
                    <a:pt x="26829" y="7486"/>
                  </a:cubicBezTo>
                  <a:cubicBezTo>
                    <a:pt x="26829" y="7272"/>
                    <a:pt x="26585" y="7272"/>
                    <a:pt x="26585" y="7272"/>
                  </a:cubicBezTo>
                  <a:cubicBezTo>
                    <a:pt x="26097" y="7486"/>
                    <a:pt x="26097" y="7486"/>
                    <a:pt x="26097" y="7486"/>
                  </a:cubicBezTo>
                  <a:cubicBezTo>
                    <a:pt x="25853" y="7486"/>
                    <a:pt x="25853" y="7486"/>
                    <a:pt x="25853" y="7486"/>
                  </a:cubicBezTo>
                  <a:cubicBezTo>
                    <a:pt x="25853" y="7486"/>
                    <a:pt x="25609" y="7272"/>
                    <a:pt x="25365" y="7272"/>
                  </a:cubicBezTo>
                  <a:cubicBezTo>
                    <a:pt x="25365" y="7058"/>
                    <a:pt x="25121" y="7272"/>
                    <a:pt x="25121" y="7272"/>
                  </a:cubicBezTo>
                  <a:cubicBezTo>
                    <a:pt x="24634" y="7700"/>
                    <a:pt x="24634" y="7700"/>
                    <a:pt x="24634" y="7700"/>
                  </a:cubicBezTo>
                  <a:cubicBezTo>
                    <a:pt x="24634" y="7914"/>
                    <a:pt x="24634" y="7914"/>
                    <a:pt x="24634" y="7914"/>
                  </a:cubicBezTo>
                  <a:cubicBezTo>
                    <a:pt x="24878" y="8342"/>
                    <a:pt x="24878" y="8342"/>
                    <a:pt x="24878" y="8342"/>
                  </a:cubicBezTo>
                  <a:cubicBezTo>
                    <a:pt x="24878" y="8770"/>
                    <a:pt x="24878" y="8770"/>
                    <a:pt x="24878" y="8770"/>
                  </a:cubicBezTo>
                  <a:cubicBezTo>
                    <a:pt x="24878" y="8770"/>
                    <a:pt x="24878" y="8983"/>
                    <a:pt x="24878" y="9197"/>
                  </a:cubicBezTo>
                  <a:cubicBezTo>
                    <a:pt x="24878" y="9197"/>
                    <a:pt x="24878" y="9411"/>
                    <a:pt x="24878" y="9411"/>
                  </a:cubicBezTo>
                  <a:cubicBezTo>
                    <a:pt x="24878" y="9625"/>
                    <a:pt x="24878" y="9625"/>
                    <a:pt x="24878" y="9625"/>
                  </a:cubicBezTo>
                  <a:cubicBezTo>
                    <a:pt x="24878" y="9625"/>
                    <a:pt x="24634" y="9839"/>
                    <a:pt x="24634" y="10053"/>
                  </a:cubicBezTo>
                  <a:cubicBezTo>
                    <a:pt x="24634" y="10053"/>
                    <a:pt x="24634" y="10267"/>
                    <a:pt x="24634" y="10481"/>
                  </a:cubicBezTo>
                  <a:cubicBezTo>
                    <a:pt x="24390" y="10695"/>
                    <a:pt x="24390" y="10695"/>
                    <a:pt x="24390" y="10695"/>
                  </a:cubicBezTo>
                  <a:cubicBezTo>
                    <a:pt x="24390" y="10695"/>
                    <a:pt x="24146" y="10909"/>
                    <a:pt x="24146" y="11122"/>
                  </a:cubicBezTo>
                  <a:cubicBezTo>
                    <a:pt x="24146" y="11122"/>
                    <a:pt x="23658" y="11122"/>
                    <a:pt x="23658" y="11122"/>
                  </a:cubicBezTo>
                  <a:cubicBezTo>
                    <a:pt x="23658" y="11122"/>
                    <a:pt x="23414" y="11550"/>
                    <a:pt x="23170" y="11550"/>
                  </a:cubicBezTo>
                  <a:cubicBezTo>
                    <a:pt x="23170" y="11550"/>
                    <a:pt x="23170" y="11978"/>
                    <a:pt x="23170" y="12192"/>
                  </a:cubicBezTo>
                  <a:cubicBezTo>
                    <a:pt x="23170" y="12192"/>
                    <a:pt x="23170" y="12406"/>
                    <a:pt x="23170" y="12406"/>
                  </a:cubicBezTo>
                  <a:cubicBezTo>
                    <a:pt x="22682" y="12620"/>
                    <a:pt x="22682" y="12620"/>
                    <a:pt x="22682" y="12620"/>
                  </a:cubicBezTo>
                  <a:cubicBezTo>
                    <a:pt x="22682" y="12620"/>
                    <a:pt x="22926" y="13048"/>
                    <a:pt x="22926" y="13048"/>
                  </a:cubicBezTo>
                  <a:cubicBezTo>
                    <a:pt x="22926" y="13262"/>
                    <a:pt x="22682" y="13262"/>
                    <a:pt x="22682" y="13262"/>
                  </a:cubicBezTo>
                  <a:cubicBezTo>
                    <a:pt x="22439" y="13475"/>
                    <a:pt x="22682" y="13475"/>
                    <a:pt x="22682" y="13689"/>
                  </a:cubicBezTo>
                  <a:cubicBezTo>
                    <a:pt x="22439" y="13903"/>
                    <a:pt x="22682" y="13903"/>
                    <a:pt x="22682" y="13903"/>
                  </a:cubicBezTo>
                  <a:cubicBezTo>
                    <a:pt x="22682" y="14117"/>
                    <a:pt x="23414" y="14331"/>
                    <a:pt x="23414" y="14331"/>
                  </a:cubicBezTo>
                  <a:cubicBezTo>
                    <a:pt x="23414" y="14331"/>
                    <a:pt x="23414" y="14331"/>
                    <a:pt x="23170" y="14545"/>
                  </a:cubicBezTo>
                  <a:cubicBezTo>
                    <a:pt x="22682" y="14759"/>
                    <a:pt x="22926" y="15187"/>
                    <a:pt x="22926" y="15187"/>
                  </a:cubicBezTo>
                  <a:cubicBezTo>
                    <a:pt x="22682" y="15401"/>
                    <a:pt x="22682" y="15401"/>
                    <a:pt x="22682" y="15401"/>
                  </a:cubicBezTo>
                  <a:cubicBezTo>
                    <a:pt x="22682" y="15401"/>
                    <a:pt x="22439" y="15187"/>
                    <a:pt x="22195" y="15187"/>
                  </a:cubicBezTo>
                  <a:cubicBezTo>
                    <a:pt x="22195" y="15187"/>
                    <a:pt x="22195" y="15187"/>
                    <a:pt x="21707" y="15187"/>
                  </a:cubicBezTo>
                  <a:cubicBezTo>
                    <a:pt x="21219" y="15187"/>
                    <a:pt x="21707" y="14973"/>
                    <a:pt x="21707" y="14973"/>
                  </a:cubicBezTo>
                  <a:cubicBezTo>
                    <a:pt x="21707" y="14973"/>
                    <a:pt x="21707" y="14545"/>
                    <a:pt x="21707" y="14331"/>
                  </a:cubicBezTo>
                  <a:cubicBezTo>
                    <a:pt x="21707" y="14331"/>
                    <a:pt x="21707" y="14331"/>
                    <a:pt x="21707" y="14331"/>
                  </a:cubicBezTo>
                  <a:cubicBezTo>
                    <a:pt x="21707" y="14331"/>
                    <a:pt x="21707" y="14117"/>
                    <a:pt x="21463" y="13903"/>
                  </a:cubicBezTo>
                  <a:cubicBezTo>
                    <a:pt x="21463" y="13689"/>
                    <a:pt x="21219" y="13689"/>
                    <a:pt x="21219" y="13689"/>
                  </a:cubicBezTo>
                  <a:cubicBezTo>
                    <a:pt x="20487" y="13262"/>
                    <a:pt x="20487" y="13262"/>
                    <a:pt x="20487" y="13262"/>
                  </a:cubicBezTo>
                  <a:cubicBezTo>
                    <a:pt x="20487" y="13262"/>
                    <a:pt x="20731" y="12834"/>
                    <a:pt x="20975" y="12620"/>
                  </a:cubicBezTo>
                  <a:cubicBezTo>
                    <a:pt x="20975" y="12620"/>
                    <a:pt x="20975" y="12620"/>
                    <a:pt x="20975" y="12620"/>
                  </a:cubicBezTo>
                  <a:cubicBezTo>
                    <a:pt x="20975" y="12620"/>
                    <a:pt x="20975" y="12620"/>
                    <a:pt x="21219" y="12406"/>
                  </a:cubicBezTo>
                  <a:cubicBezTo>
                    <a:pt x="21219" y="12192"/>
                    <a:pt x="20975" y="12192"/>
                    <a:pt x="20975" y="12192"/>
                  </a:cubicBezTo>
                  <a:cubicBezTo>
                    <a:pt x="20731" y="12192"/>
                    <a:pt x="20731" y="12192"/>
                    <a:pt x="20731" y="12192"/>
                  </a:cubicBezTo>
                  <a:cubicBezTo>
                    <a:pt x="20487" y="11978"/>
                    <a:pt x="20487" y="11978"/>
                    <a:pt x="20487" y="11978"/>
                  </a:cubicBezTo>
                  <a:cubicBezTo>
                    <a:pt x="20487" y="11978"/>
                    <a:pt x="20000" y="12192"/>
                    <a:pt x="20000" y="11978"/>
                  </a:cubicBezTo>
                  <a:cubicBezTo>
                    <a:pt x="19756" y="11978"/>
                    <a:pt x="19268" y="11978"/>
                    <a:pt x="19268" y="11764"/>
                  </a:cubicBezTo>
                  <a:cubicBezTo>
                    <a:pt x="19268" y="11764"/>
                    <a:pt x="19024" y="11764"/>
                    <a:pt x="18780" y="11764"/>
                  </a:cubicBezTo>
                  <a:cubicBezTo>
                    <a:pt x="18780" y="11764"/>
                    <a:pt x="18536" y="11764"/>
                    <a:pt x="18536" y="11764"/>
                  </a:cubicBezTo>
                  <a:cubicBezTo>
                    <a:pt x="18292" y="11550"/>
                    <a:pt x="18048" y="11336"/>
                    <a:pt x="18048" y="11336"/>
                  </a:cubicBezTo>
                  <a:cubicBezTo>
                    <a:pt x="18048" y="11122"/>
                    <a:pt x="17804" y="10909"/>
                    <a:pt x="17804" y="10909"/>
                  </a:cubicBezTo>
                  <a:cubicBezTo>
                    <a:pt x="17560" y="10909"/>
                    <a:pt x="17560" y="10909"/>
                    <a:pt x="17560" y="10909"/>
                  </a:cubicBezTo>
                  <a:cubicBezTo>
                    <a:pt x="17560" y="10909"/>
                    <a:pt x="17317" y="10481"/>
                    <a:pt x="17073" y="10481"/>
                  </a:cubicBezTo>
                  <a:cubicBezTo>
                    <a:pt x="17073" y="10481"/>
                    <a:pt x="17073" y="10267"/>
                    <a:pt x="17073" y="10267"/>
                  </a:cubicBezTo>
                  <a:cubicBezTo>
                    <a:pt x="16829" y="10053"/>
                    <a:pt x="16829" y="10053"/>
                    <a:pt x="16829" y="10053"/>
                  </a:cubicBezTo>
                  <a:cubicBezTo>
                    <a:pt x="16829" y="10053"/>
                    <a:pt x="16829" y="9839"/>
                    <a:pt x="16829" y="9625"/>
                  </a:cubicBezTo>
                  <a:cubicBezTo>
                    <a:pt x="16829" y="9625"/>
                    <a:pt x="17073" y="9197"/>
                    <a:pt x="17073" y="9197"/>
                  </a:cubicBezTo>
                  <a:cubicBezTo>
                    <a:pt x="17073" y="9197"/>
                    <a:pt x="16829" y="8770"/>
                    <a:pt x="16829" y="8556"/>
                  </a:cubicBezTo>
                  <a:cubicBezTo>
                    <a:pt x="16829" y="8342"/>
                    <a:pt x="17073" y="7914"/>
                    <a:pt x="17073" y="7914"/>
                  </a:cubicBezTo>
                  <a:cubicBezTo>
                    <a:pt x="17073" y="7914"/>
                    <a:pt x="16097" y="8128"/>
                    <a:pt x="15853" y="8342"/>
                  </a:cubicBezTo>
                  <a:cubicBezTo>
                    <a:pt x="15609" y="8342"/>
                    <a:pt x="15609" y="8556"/>
                    <a:pt x="15609" y="8556"/>
                  </a:cubicBezTo>
                  <a:cubicBezTo>
                    <a:pt x="15609" y="8556"/>
                    <a:pt x="15609" y="8770"/>
                    <a:pt x="15609" y="8983"/>
                  </a:cubicBezTo>
                  <a:cubicBezTo>
                    <a:pt x="15365" y="8983"/>
                    <a:pt x="15365" y="8983"/>
                    <a:pt x="15365" y="8983"/>
                  </a:cubicBezTo>
                  <a:cubicBezTo>
                    <a:pt x="15365" y="8983"/>
                    <a:pt x="14878" y="9411"/>
                    <a:pt x="14634" y="9411"/>
                  </a:cubicBezTo>
                  <a:cubicBezTo>
                    <a:pt x="14634" y="9625"/>
                    <a:pt x="14634" y="9625"/>
                    <a:pt x="14390" y="9625"/>
                  </a:cubicBezTo>
                  <a:cubicBezTo>
                    <a:pt x="14146" y="9625"/>
                    <a:pt x="13902" y="9839"/>
                    <a:pt x="13902" y="9839"/>
                  </a:cubicBezTo>
                  <a:cubicBezTo>
                    <a:pt x="13658" y="10053"/>
                    <a:pt x="13658" y="10053"/>
                    <a:pt x="13658" y="10053"/>
                  </a:cubicBezTo>
                  <a:cubicBezTo>
                    <a:pt x="13902" y="10267"/>
                    <a:pt x="13902" y="10267"/>
                    <a:pt x="13902" y="10267"/>
                  </a:cubicBezTo>
                  <a:cubicBezTo>
                    <a:pt x="14146" y="10909"/>
                    <a:pt x="14146" y="10909"/>
                    <a:pt x="14146" y="10909"/>
                  </a:cubicBezTo>
                  <a:cubicBezTo>
                    <a:pt x="13902" y="11336"/>
                    <a:pt x="13902" y="11336"/>
                    <a:pt x="13902" y="11336"/>
                  </a:cubicBezTo>
                  <a:cubicBezTo>
                    <a:pt x="13902" y="11336"/>
                    <a:pt x="13902" y="11336"/>
                    <a:pt x="13902" y="11550"/>
                  </a:cubicBezTo>
                  <a:cubicBezTo>
                    <a:pt x="13658" y="11978"/>
                    <a:pt x="13658" y="11978"/>
                    <a:pt x="13658" y="11978"/>
                  </a:cubicBezTo>
                  <a:cubicBezTo>
                    <a:pt x="13414" y="12192"/>
                    <a:pt x="13414" y="12192"/>
                    <a:pt x="13414" y="12192"/>
                  </a:cubicBezTo>
                  <a:cubicBezTo>
                    <a:pt x="13170" y="12406"/>
                    <a:pt x="13170" y="12406"/>
                    <a:pt x="13170" y="12406"/>
                  </a:cubicBezTo>
                  <a:cubicBezTo>
                    <a:pt x="13170" y="12406"/>
                    <a:pt x="13170" y="12620"/>
                    <a:pt x="13170" y="12834"/>
                  </a:cubicBezTo>
                  <a:cubicBezTo>
                    <a:pt x="13170" y="12834"/>
                    <a:pt x="13170" y="13048"/>
                    <a:pt x="12926" y="13262"/>
                  </a:cubicBezTo>
                  <a:cubicBezTo>
                    <a:pt x="12682" y="13475"/>
                    <a:pt x="12682" y="13475"/>
                    <a:pt x="12682" y="13475"/>
                  </a:cubicBezTo>
                  <a:cubicBezTo>
                    <a:pt x="12682" y="13475"/>
                    <a:pt x="12439" y="13475"/>
                    <a:pt x="12195" y="13475"/>
                  </a:cubicBezTo>
                  <a:cubicBezTo>
                    <a:pt x="11951" y="13475"/>
                    <a:pt x="11951" y="13689"/>
                    <a:pt x="11707" y="13689"/>
                  </a:cubicBezTo>
                  <a:cubicBezTo>
                    <a:pt x="11219" y="13689"/>
                    <a:pt x="11463" y="13903"/>
                    <a:pt x="11463" y="14117"/>
                  </a:cubicBezTo>
                  <a:cubicBezTo>
                    <a:pt x="11463" y="14117"/>
                    <a:pt x="11463" y="14117"/>
                    <a:pt x="11463" y="14331"/>
                  </a:cubicBezTo>
                  <a:cubicBezTo>
                    <a:pt x="11219" y="14331"/>
                    <a:pt x="10731" y="14331"/>
                    <a:pt x="10731" y="14117"/>
                  </a:cubicBezTo>
                  <a:cubicBezTo>
                    <a:pt x="10487" y="14117"/>
                    <a:pt x="10487" y="14117"/>
                    <a:pt x="10243" y="14117"/>
                  </a:cubicBezTo>
                  <a:cubicBezTo>
                    <a:pt x="10243" y="14331"/>
                    <a:pt x="10000" y="13903"/>
                    <a:pt x="10000" y="13903"/>
                  </a:cubicBezTo>
                  <a:cubicBezTo>
                    <a:pt x="10000" y="13903"/>
                    <a:pt x="9756" y="13689"/>
                    <a:pt x="9756" y="13689"/>
                  </a:cubicBezTo>
                  <a:cubicBezTo>
                    <a:pt x="9756" y="13475"/>
                    <a:pt x="9268" y="13689"/>
                    <a:pt x="9268" y="13689"/>
                  </a:cubicBezTo>
                  <a:cubicBezTo>
                    <a:pt x="9024" y="13475"/>
                    <a:pt x="8536" y="13475"/>
                    <a:pt x="8536" y="13475"/>
                  </a:cubicBezTo>
                  <a:cubicBezTo>
                    <a:pt x="8292" y="13475"/>
                    <a:pt x="8536" y="13689"/>
                    <a:pt x="8536" y="13689"/>
                  </a:cubicBezTo>
                  <a:cubicBezTo>
                    <a:pt x="8536" y="13689"/>
                    <a:pt x="8292" y="13689"/>
                    <a:pt x="8048" y="13689"/>
                  </a:cubicBezTo>
                  <a:cubicBezTo>
                    <a:pt x="7804" y="13689"/>
                    <a:pt x="7804" y="13903"/>
                    <a:pt x="7804" y="13903"/>
                  </a:cubicBezTo>
                  <a:cubicBezTo>
                    <a:pt x="7804" y="14331"/>
                    <a:pt x="7804" y="14331"/>
                    <a:pt x="7804" y="14331"/>
                  </a:cubicBezTo>
                  <a:cubicBezTo>
                    <a:pt x="7804" y="14331"/>
                    <a:pt x="7073" y="14331"/>
                    <a:pt x="6829" y="14331"/>
                  </a:cubicBezTo>
                  <a:cubicBezTo>
                    <a:pt x="6585" y="14331"/>
                    <a:pt x="6341" y="14117"/>
                    <a:pt x="6097" y="14117"/>
                  </a:cubicBezTo>
                  <a:cubicBezTo>
                    <a:pt x="5853" y="14117"/>
                    <a:pt x="5609" y="14331"/>
                    <a:pt x="5609" y="14331"/>
                  </a:cubicBezTo>
                  <a:cubicBezTo>
                    <a:pt x="5609" y="14331"/>
                    <a:pt x="5121" y="14545"/>
                    <a:pt x="5121" y="14545"/>
                  </a:cubicBezTo>
                  <a:cubicBezTo>
                    <a:pt x="5121" y="14545"/>
                    <a:pt x="4878" y="14759"/>
                    <a:pt x="4634" y="14759"/>
                  </a:cubicBezTo>
                  <a:cubicBezTo>
                    <a:pt x="4390" y="14759"/>
                    <a:pt x="4390" y="14545"/>
                    <a:pt x="4390" y="14545"/>
                  </a:cubicBezTo>
                  <a:cubicBezTo>
                    <a:pt x="4390" y="14545"/>
                    <a:pt x="3902" y="14117"/>
                    <a:pt x="3902" y="14117"/>
                  </a:cubicBezTo>
                  <a:cubicBezTo>
                    <a:pt x="3902" y="14117"/>
                    <a:pt x="3902" y="14117"/>
                    <a:pt x="3902" y="14117"/>
                  </a:cubicBezTo>
                  <a:cubicBezTo>
                    <a:pt x="2926" y="14545"/>
                    <a:pt x="2926" y="14545"/>
                    <a:pt x="2926" y="14545"/>
                  </a:cubicBezTo>
                  <a:cubicBezTo>
                    <a:pt x="1707" y="15401"/>
                    <a:pt x="1707" y="15401"/>
                    <a:pt x="1707" y="15401"/>
                  </a:cubicBezTo>
                  <a:cubicBezTo>
                    <a:pt x="1707" y="16470"/>
                    <a:pt x="1707" y="16470"/>
                    <a:pt x="1707" y="16470"/>
                  </a:cubicBezTo>
                  <a:cubicBezTo>
                    <a:pt x="2682" y="16898"/>
                    <a:pt x="2195" y="17326"/>
                    <a:pt x="4390" y="18181"/>
                  </a:cubicBezTo>
                  <a:cubicBezTo>
                    <a:pt x="4634" y="18181"/>
                    <a:pt x="5121" y="19251"/>
                    <a:pt x="5121" y="19251"/>
                  </a:cubicBezTo>
                  <a:cubicBezTo>
                    <a:pt x="5121" y="19465"/>
                    <a:pt x="4634" y="21176"/>
                    <a:pt x="4390" y="21390"/>
                  </a:cubicBezTo>
                  <a:cubicBezTo>
                    <a:pt x="3902" y="21604"/>
                    <a:pt x="3414" y="22459"/>
                    <a:pt x="3414" y="22459"/>
                  </a:cubicBezTo>
                  <a:cubicBezTo>
                    <a:pt x="3414" y="22459"/>
                    <a:pt x="2439" y="23315"/>
                    <a:pt x="2195" y="23315"/>
                  </a:cubicBezTo>
                  <a:cubicBezTo>
                    <a:pt x="1951" y="23315"/>
                    <a:pt x="1219" y="23529"/>
                    <a:pt x="975" y="23529"/>
                  </a:cubicBezTo>
                  <a:cubicBezTo>
                    <a:pt x="975" y="23529"/>
                    <a:pt x="0" y="23529"/>
                    <a:pt x="243" y="23743"/>
                  </a:cubicBezTo>
                  <a:cubicBezTo>
                    <a:pt x="243" y="23743"/>
                    <a:pt x="243" y="24171"/>
                    <a:pt x="243" y="24171"/>
                  </a:cubicBezTo>
                  <a:cubicBezTo>
                    <a:pt x="487" y="24385"/>
                    <a:pt x="1219" y="25240"/>
                    <a:pt x="1219" y="25240"/>
                  </a:cubicBezTo>
                  <a:cubicBezTo>
                    <a:pt x="2439" y="25882"/>
                    <a:pt x="2439" y="25882"/>
                    <a:pt x="2439" y="25882"/>
                  </a:cubicBezTo>
                  <a:cubicBezTo>
                    <a:pt x="3170" y="26524"/>
                    <a:pt x="3170" y="26524"/>
                    <a:pt x="3170" y="26524"/>
                  </a:cubicBezTo>
                  <a:cubicBezTo>
                    <a:pt x="3414" y="28663"/>
                    <a:pt x="3414" y="28663"/>
                    <a:pt x="3414" y="28663"/>
                  </a:cubicBezTo>
                  <a:cubicBezTo>
                    <a:pt x="2439" y="29946"/>
                    <a:pt x="2439" y="29946"/>
                    <a:pt x="2439" y="29946"/>
                  </a:cubicBezTo>
                  <a:cubicBezTo>
                    <a:pt x="1463" y="31016"/>
                    <a:pt x="1951" y="30374"/>
                    <a:pt x="2195" y="31871"/>
                  </a:cubicBezTo>
                  <a:cubicBezTo>
                    <a:pt x="2926" y="31871"/>
                    <a:pt x="2926" y="31871"/>
                    <a:pt x="2926" y="31871"/>
                  </a:cubicBezTo>
                  <a:cubicBezTo>
                    <a:pt x="4146" y="33582"/>
                    <a:pt x="4146" y="33582"/>
                    <a:pt x="4146" y="33582"/>
                  </a:cubicBezTo>
                  <a:cubicBezTo>
                    <a:pt x="6585" y="34438"/>
                    <a:pt x="6585" y="34438"/>
                    <a:pt x="6585" y="34438"/>
                  </a:cubicBezTo>
                  <a:cubicBezTo>
                    <a:pt x="8780" y="34438"/>
                    <a:pt x="8780" y="34438"/>
                    <a:pt x="8780" y="34438"/>
                  </a:cubicBezTo>
                  <a:cubicBezTo>
                    <a:pt x="9756" y="35080"/>
                    <a:pt x="9756" y="35080"/>
                    <a:pt x="9756" y="35080"/>
                  </a:cubicBezTo>
                  <a:cubicBezTo>
                    <a:pt x="9024" y="37433"/>
                    <a:pt x="9024" y="37433"/>
                    <a:pt x="9024" y="37433"/>
                  </a:cubicBezTo>
                  <a:cubicBezTo>
                    <a:pt x="7560" y="38502"/>
                    <a:pt x="7560" y="38502"/>
                    <a:pt x="7560" y="38502"/>
                  </a:cubicBezTo>
                  <a:cubicBezTo>
                    <a:pt x="7560" y="38502"/>
                    <a:pt x="7560" y="38502"/>
                    <a:pt x="7317" y="38502"/>
                  </a:cubicBezTo>
                  <a:cubicBezTo>
                    <a:pt x="7317" y="38502"/>
                    <a:pt x="7560" y="38716"/>
                    <a:pt x="8292" y="38930"/>
                  </a:cubicBezTo>
                  <a:cubicBezTo>
                    <a:pt x="8780" y="38930"/>
                    <a:pt x="8780" y="39358"/>
                    <a:pt x="9512" y="39144"/>
                  </a:cubicBezTo>
                  <a:cubicBezTo>
                    <a:pt x="10243" y="38930"/>
                    <a:pt x="11219" y="38716"/>
                    <a:pt x="11463" y="38502"/>
                  </a:cubicBezTo>
                  <a:cubicBezTo>
                    <a:pt x="11707" y="38074"/>
                    <a:pt x="12195" y="37860"/>
                    <a:pt x="12439" y="37647"/>
                  </a:cubicBezTo>
                  <a:cubicBezTo>
                    <a:pt x="12682" y="37219"/>
                    <a:pt x="14146" y="35721"/>
                    <a:pt x="14390" y="35721"/>
                  </a:cubicBezTo>
                  <a:cubicBezTo>
                    <a:pt x="14390" y="35721"/>
                    <a:pt x="15853" y="34010"/>
                    <a:pt x="16097" y="33796"/>
                  </a:cubicBezTo>
                  <a:cubicBezTo>
                    <a:pt x="16341" y="33582"/>
                    <a:pt x="18292" y="32299"/>
                    <a:pt x="18292" y="32299"/>
                  </a:cubicBezTo>
                  <a:cubicBezTo>
                    <a:pt x="20975" y="31443"/>
                    <a:pt x="20975" y="31443"/>
                    <a:pt x="20975" y="31443"/>
                  </a:cubicBezTo>
                  <a:cubicBezTo>
                    <a:pt x="20975" y="31443"/>
                    <a:pt x="22195" y="32513"/>
                    <a:pt x="22439" y="32727"/>
                  </a:cubicBezTo>
                  <a:cubicBezTo>
                    <a:pt x="22682" y="32727"/>
                    <a:pt x="25365" y="33796"/>
                    <a:pt x="25365" y="33796"/>
                  </a:cubicBezTo>
                  <a:cubicBezTo>
                    <a:pt x="25365" y="33796"/>
                    <a:pt x="27073" y="34438"/>
                    <a:pt x="27317" y="34652"/>
                  </a:cubicBezTo>
                  <a:cubicBezTo>
                    <a:pt x="27317" y="34866"/>
                    <a:pt x="28780" y="35935"/>
                    <a:pt x="28780" y="35935"/>
                  </a:cubicBezTo>
                  <a:cubicBezTo>
                    <a:pt x="29756" y="36363"/>
                    <a:pt x="29756" y="36363"/>
                    <a:pt x="29756" y="36363"/>
                  </a:cubicBezTo>
                  <a:cubicBezTo>
                    <a:pt x="30487" y="35721"/>
                    <a:pt x="30487" y="35721"/>
                    <a:pt x="30487" y="35721"/>
                  </a:cubicBezTo>
                  <a:cubicBezTo>
                    <a:pt x="31463" y="36149"/>
                    <a:pt x="31463" y="36149"/>
                    <a:pt x="31463" y="36149"/>
                  </a:cubicBezTo>
                  <a:cubicBezTo>
                    <a:pt x="33170" y="37005"/>
                    <a:pt x="33170" y="37005"/>
                    <a:pt x="33170" y="37005"/>
                  </a:cubicBezTo>
                  <a:cubicBezTo>
                    <a:pt x="33902" y="38288"/>
                    <a:pt x="33902" y="38288"/>
                    <a:pt x="33902" y="38288"/>
                  </a:cubicBezTo>
                  <a:cubicBezTo>
                    <a:pt x="33902" y="38288"/>
                    <a:pt x="34390" y="40000"/>
                    <a:pt x="34390" y="40641"/>
                  </a:cubicBezTo>
                  <a:cubicBezTo>
                    <a:pt x="34390" y="41283"/>
                    <a:pt x="34634" y="42352"/>
                    <a:pt x="34634" y="42352"/>
                  </a:cubicBezTo>
                  <a:cubicBezTo>
                    <a:pt x="36829" y="43208"/>
                    <a:pt x="36829" y="43208"/>
                    <a:pt x="36829" y="43208"/>
                  </a:cubicBezTo>
                  <a:cubicBezTo>
                    <a:pt x="36829" y="43208"/>
                    <a:pt x="36829" y="45133"/>
                    <a:pt x="36829" y="45347"/>
                  </a:cubicBezTo>
                  <a:cubicBezTo>
                    <a:pt x="36829" y="45775"/>
                    <a:pt x="37073" y="46417"/>
                    <a:pt x="37073" y="47058"/>
                  </a:cubicBezTo>
                  <a:cubicBezTo>
                    <a:pt x="37073" y="47700"/>
                    <a:pt x="37073" y="48342"/>
                    <a:pt x="37073" y="48342"/>
                  </a:cubicBezTo>
                  <a:cubicBezTo>
                    <a:pt x="38048" y="48983"/>
                    <a:pt x="38048" y="48983"/>
                    <a:pt x="38048" y="48983"/>
                  </a:cubicBezTo>
                  <a:cubicBezTo>
                    <a:pt x="39268" y="49625"/>
                    <a:pt x="39268" y="49625"/>
                    <a:pt x="39268" y="49625"/>
                  </a:cubicBezTo>
                  <a:cubicBezTo>
                    <a:pt x="39512" y="50695"/>
                    <a:pt x="39512" y="50695"/>
                    <a:pt x="39512" y="50695"/>
                  </a:cubicBezTo>
                  <a:cubicBezTo>
                    <a:pt x="41463" y="51336"/>
                    <a:pt x="41463" y="51336"/>
                    <a:pt x="41463" y="51336"/>
                  </a:cubicBezTo>
                  <a:cubicBezTo>
                    <a:pt x="41951" y="52620"/>
                    <a:pt x="41951" y="52620"/>
                    <a:pt x="41951" y="52620"/>
                  </a:cubicBezTo>
                  <a:cubicBezTo>
                    <a:pt x="43170" y="53689"/>
                    <a:pt x="43170" y="53689"/>
                    <a:pt x="43170" y="53689"/>
                  </a:cubicBezTo>
                  <a:cubicBezTo>
                    <a:pt x="43170" y="54545"/>
                    <a:pt x="43170" y="54545"/>
                    <a:pt x="43170" y="54545"/>
                  </a:cubicBezTo>
                  <a:cubicBezTo>
                    <a:pt x="43170" y="54545"/>
                    <a:pt x="43170" y="54973"/>
                    <a:pt x="43658" y="54973"/>
                  </a:cubicBezTo>
                  <a:cubicBezTo>
                    <a:pt x="44146" y="54973"/>
                    <a:pt x="45853" y="54759"/>
                    <a:pt x="45853" y="54759"/>
                  </a:cubicBezTo>
                  <a:cubicBezTo>
                    <a:pt x="47560" y="56042"/>
                    <a:pt x="47560" y="56042"/>
                    <a:pt x="47560" y="56042"/>
                  </a:cubicBezTo>
                  <a:cubicBezTo>
                    <a:pt x="49512" y="57540"/>
                    <a:pt x="49512" y="57540"/>
                    <a:pt x="49512" y="57540"/>
                  </a:cubicBezTo>
                  <a:cubicBezTo>
                    <a:pt x="50487" y="59037"/>
                    <a:pt x="50487" y="59037"/>
                    <a:pt x="50487" y="59037"/>
                  </a:cubicBezTo>
                  <a:cubicBezTo>
                    <a:pt x="51951" y="59465"/>
                    <a:pt x="51951" y="59465"/>
                    <a:pt x="51951" y="59465"/>
                  </a:cubicBezTo>
                  <a:cubicBezTo>
                    <a:pt x="53902" y="60534"/>
                    <a:pt x="53902" y="60534"/>
                    <a:pt x="53902" y="60534"/>
                  </a:cubicBezTo>
                  <a:cubicBezTo>
                    <a:pt x="54634" y="62032"/>
                    <a:pt x="54634" y="62032"/>
                    <a:pt x="54634" y="62032"/>
                  </a:cubicBezTo>
                  <a:cubicBezTo>
                    <a:pt x="56341" y="63529"/>
                    <a:pt x="56341" y="63529"/>
                    <a:pt x="56341" y="63529"/>
                  </a:cubicBezTo>
                  <a:cubicBezTo>
                    <a:pt x="57317" y="63957"/>
                    <a:pt x="57317" y="63957"/>
                    <a:pt x="57317" y="63957"/>
                  </a:cubicBezTo>
                  <a:cubicBezTo>
                    <a:pt x="57804" y="64812"/>
                    <a:pt x="57804" y="64812"/>
                    <a:pt x="57804" y="64812"/>
                  </a:cubicBezTo>
                  <a:cubicBezTo>
                    <a:pt x="58780" y="65240"/>
                    <a:pt x="58780" y="65240"/>
                    <a:pt x="58780" y="65240"/>
                  </a:cubicBezTo>
                  <a:cubicBezTo>
                    <a:pt x="59756" y="65454"/>
                    <a:pt x="59756" y="65454"/>
                    <a:pt x="59756" y="65454"/>
                  </a:cubicBezTo>
                  <a:cubicBezTo>
                    <a:pt x="61219" y="65668"/>
                    <a:pt x="61219" y="65668"/>
                    <a:pt x="61219" y="65668"/>
                  </a:cubicBezTo>
                  <a:cubicBezTo>
                    <a:pt x="62195" y="66524"/>
                    <a:pt x="62195" y="66524"/>
                    <a:pt x="62195" y="66524"/>
                  </a:cubicBezTo>
                  <a:cubicBezTo>
                    <a:pt x="62195" y="66524"/>
                    <a:pt x="62682" y="66951"/>
                    <a:pt x="62682" y="67165"/>
                  </a:cubicBezTo>
                  <a:cubicBezTo>
                    <a:pt x="62682" y="67593"/>
                    <a:pt x="62195" y="67807"/>
                    <a:pt x="62926" y="67807"/>
                  </a:cubicBezTo>
                  <a:cubicBezTo>
                    <a:pt x="63658" y="67807"/>
                    <a:pt x="64390" y="67593"/>
                    <a:pt x="64390" y="67593"/>
                  </a:cubicBezTo>
                  <a:cubicBezTo>
                    <a:pt x="65853" y="67379"/>
                    <a:pt x="65853" y="67379"/>
                    <a:pt x="65853" y="67379"/>
                  </a:cubicBezTo>
                  <a:cubicBezTo>
                    <a:pt x="66829" y="67379"/>
                    <a:pt x="66829" y="67379"/>
                    <a:pt x="66829" y="67379"/>
                  </a:cubicBezTo>
                  <a:cubicBezTo>
                    <a:pt x="67804" y="67379"/>
                    <a:pt x="67804" y="67379"/>
                    <a:pt x="67804" y="67379"/>
                  </a:cubicBezTo>
                  <a:cubicBezTo>
                    <a:pt x="69512" y="67165"/>
                    <a:pt x="69512" y="67165"/>
                    <a:pt x="69512" y="67165"/>
                  </a:cubicBezTo>
                  <a:cubicBezTo>
                    <a:pt x="70487" y="67807"/>
                    <a:pt x="70487" y="67807"/>
                    <a:pt x="70487" y="67807"/>
                  </a:cubicBezTo>
                  <a:cubicBezTo>
                    <a:pt x="73170" y="70588"/>
                    <a:pt x="73170" y="70588"/>
                    <a:pt x="73170" y="70588"/>
                  </a:cubicBezTo>
                  <a:cubicBezTo>
                    <a:pt x="73170" y="70588"/>
                    <a:pt x="73902" y="71657"/>
                    <a:pt x="73902" y="72085"/>
                  </a:cubicBezTo>
                  <a:cubicBezTo>
                    <a:pt x="73902" y="72299"/>
                    <a:pt x="74878" y="72085"/>
                    <a:pt x="75121" y="72085"/>
                  </a:cubicBezTo>
                  <a:cubicBezTo>
                    <a:pt x="75365" y="72085"/>
                    <a:pt x="77317" y="72085"/>
                    <a:pt x="77317" y="72085"/>
                  </a:cubicBezTo>
                  <a:cubicBezTo>
                    <a:pt x="78780" y="72941"/>
                    <a:pt x="78780" y="72941"/>
                    <a:pt x="78780" y="72941"/>
                  </a:cubicBezTo>
                  <a:cubicBezTo>
                    <a:pt x="77804" y="74010"/>
                    <a:pt x="77804" y="74010"/>
                    <a:pt x="77804" y="74010"/>
                  </a:cubicBezTo>
                  <a:cubicBezTo>
                    <a:pt x="79268" y="74652"/>
                    <a:pt x="79268" y="74652"/>
                    <a:pt x="79268" y="74652"/>
                  </a:cubicBezTo>
                  <a:cubicBezTo>
                    <a:pt x="80000" y="73796"/>
                    <a:pt x="80000" y="73796"/>
                    <a:pt x="80000" y="73796"/>
                  </a:cubicBezTo>
                  <a:cubicBezTo>
                    <a:pt x="81463" y="74010"/>
                    <a:pt x="81463" y="74010"/>
                    <a:pt x="81463" y="74010"/>
                  </a:cubicBezTo>
                  <a:cubicBezTo>
                    <a:pt x="82682" y="74866"/>
                    <a:pt x="82682" y="74866"/>
                    <a:pt x="82682" y="74866"/>
                  </a:cubicBezTo>
                  <a:cubicBezTo>
                    <a:pt x="82926" y="75508"/>
                    <a:pt x="82926" y="75508"/>
                    <a:pt x="82926" y="75508"/>
                  </a:cubicBezTo>
                  <a:cubicBezTo>
                    <a:pt x="83658" y="75935"/>
                    <a:pt x="83658" y="75935"/>
                    <a:pt x="83658" y="75935"/>
                  </a:cubicBezTo>
                  <a:cubicBezTo>
                    <a:pt x="83414" y="77005"/>
                    <a:pt x="83414" y="77005"/>
                    <a:pt x="83414" y="77005"/>
                  </a:cubicBezTo>
                  <a:cubicBezTo>
                    <a:pt x="83414" y="77647"/>
                    <a:pt x="83414" y="77647"/>
                    <a:pt x="83414" y="77647"/>
                  </a:cubicBezTo>
                  <a:cubicBezTo>
                    <a:pt x="83902" y="78502"/>
                    <a:pt x="83902" y="78502"/>
                    <a:pt x="83902" y="78502"/>
                  </a:cubicBezTo>
                  <a:cubicBezTo>
                    <a:pt x="85121" y="78930"/>
                    <a:pt x="85121" y="78930"/>
                    <a:pt x="85121" y="78930"/>
                  </a:cubicBezTo>
                  <a:cubicBezTo>
                    <a:pt x="86341" y="79572"/>
                    <a:pt x="86341" y="79572"/>
                    <a:pt x="86341" y="79572"/>
                  </a:cubicBezTo>
                  <a:cubicBezTo>
                    <a:pt x="87073" y="80000"/>
                    <a:pt x="87073" y="80000"/>
                    <a:pt x="87073" y="80000"/>
                  </a:cubicBezTo>
                  <a:cubicBezTo>
                    <a:pt x="88048" y="80000"/>
                    <a:pt x="88048" y="80000"/>
                    <a:pt x="88048" y="80000"/>
                  </a:cubicBezTo>
                  <a:cubicBezTo>
                    <a:pt x="89512" y="79786"/>
                    <a:pt x="89512" y="79786"/>
                    <a:pt x="89512" y="79786"/>
                  </a:cubicBezTo>
                  <a:cubicBezTo>
                    <a:pt x="91219" y="80000"/>
                    <a:pt x="91219" y="80000"/>
                    <a:pt x="91219" y="80000"/>
                  </a:cubicBezTo>
                  <a:cubicBezTo>
                    <a:pt x="92682" y="82139"/>
                    <a:pt x="92682" y="82139"/>
                    <a:pt x="92682" y="82139"/>
                  </a:cubicBezTo>
                  <a:cubicBezTo>
                    <a:pt x="93414" y="84064"/>
                    <a:pt x="93414" y="84064"/>
                    <a:pt x="93414" y="84064"/>
                  </a:cubicBezTo>
                  <a:cubicBezTo>
                    <a:pt x="94390" y="85775"/>
                    <a:pt x="94390" y="85775"/>
                    <a:pt x="94390" y="85775"/>
                  </a:cubicBezTo>
                  <a:cubicBezTo>
                    <a:pt x="95121" y="86844"/>
                    <a:pt x="95121" y="86844"/>
                    <a:pt x="95121" y="86844"/>
                  </a:cubicBezTo>
                  <a:cubicBezTo>
                    <a:pt x="95609" y="88556"/>
                    <a:pt x="95609" y="88556"/>
                    <a:pt x="95609" y="88556"/>
                  </a:cubicBezTo>
                  <a:cubicBezTo>
                    <a:pt x="96341" y="89411"/>
                    <a:pt x="96341" y="89411"/>
                    <a:pt x="96341" y="89411"/>
                  </a:cubicBezTo>
                  <a:cubicBezTo>
                    <a:pt x="97560" y="91550"/>
                    <a:pt x="97560" y="91550"/>
                    <a:pt x="97560" y="91550"/>
                  </a:cubicBezTo>
                  <a:cubicBezTo>
                    <a:pt x="98048" y="92406"/>
                    <a:pt x="98048" y="92406"/>
                    <a:pt x="98048" y="92406"/>
                  </a:cubicBezTo>
                  <a:cubicBezTo>
                    <a:pt x="97560" y="93475"/>
                    <a:pt x="97560" y="93475"/>
                    <a:pt x="97560" y="93475"/>
                  </a:cubicBezTo>
                  <a:cubicBezTo>
                    <a:pt x="97560" y="93475"/>
                    <a:pt x="97073" y="94545"/>
                    <a:pt x="96829" y="94545"/>
                  </a:cubicBezTo>
                  <a:cubicBezTo>
                    <a:pt x="96829" y="94759"/>
                    <a:pt x="96097" y="94973"/>
                    <a:pt x="95853" y="94973"/>
                  </a:cubicBezTo>
                  <a:cubicBezTo>
                    <a:pt x="95609" y="95187"/>
                    <a:pt x="95365" y="95187"/>
                    <a:pt x="95121" y="95401"/>
                  </a:cubicBezTo>
                  <a:cubicBezTo>
                    <a:pt x="94878" y="95614"/>
                    <a:pt x="94634" y="96256"/>
                    <a:pt x="94634" y="96256"/>
                  </a:cubicBezTo>
                  <a:cubicBezTo>
                    <a:pt x="95365" y="97540"/>
                    <a:pt x="95365" y="97540"/>
                    <a:pt x="95365" y="97540"/>
                  </a:cubicBezTo>
                  <a:cubicBezTo>
                    <a:pt x="95121" y="99037"/>
                    <a:pt x="95121" y="99037"/>
                    <a:pt x="95121" y="99037"/>
                  </a:cubicBezTo>
                  <a:cubicBezTo>
                    <a:pt x="94634" y="100320"/>
                    <a:pt x="94634" y="100320"/>
                    <a:pt x="94634" y="100320"/>
                  </a:cubicBezTo>
                  <a:close/>
                  <a:moveTo>
                    <a:pt x="13902" y="73796"/>
                  </a:moveTo>
                  <a:cubicBezTo>
                    <a:pt x="13902" y="73796"/>
                    <a:pt x="13902" y="73796"/>
                    <a:pt x="13902" y="73796"/>
                  </a:cubicBezTo>
                  <a:cubicBezTo>
                    <a:pt x="14634" y="71657"/>
                    <a:pt x="14634" y="71657"/>
                    <a:pt x="14634" y="71657"/>
                  </a:cubicBezTo>
                  <a:cubicBezTo>
                    <a:pt x="15609" y="70802"/>
                    <a:pt x="15609" y="70802"/>
                    <a:pt x="15609" y="70802"/>
                  </a:cubicBezTo>
                  <a:cubicBezTo>
                    <a:pt x="15365" y="71871"/>
                    <a:pt x="15365" y="71871"/>
                    <a:pt x="15365" y="71871"/>
                  </a:cubicBezTo>
                  <a:cubicBezTo>
                    <a:pt x="15121" y="73155"/>
                    <a:pt x="15121" y="73155"/>
                    <a:pt x="15121" y="73155"/>
                  </a:cubicBezTo>
                  <a:cubicBezTo>
                    <a:pt x="15121" y="73155"/>
                    <a:pt x="17073" y="73796"/>
                    <a:pt x="17317" y="73796"/>
                  </a:cubicBezTo>
                  <a:cubicBezTo>
                    <a:pt x="17560" y="73796"/>
                    <a:pt x="17804" y="73368"/>
                    <a:pt x="18292" y="73155"/>
                  </a:cubicBezTo>
                  <a:cubicBezTo>
                    <a:pt x="18536" y="72941"/>
                    <a:pt x="20243" y="72941"/>
                    <a:pt x="20243" y="72941"/>
                  </a:cubicBezTo>
                  <a:cubicBezTo>
                    <a:pt x="20243" y="72941"/>
                    <a:pt x="20487" y="72299"/>
                    <a:pt x="20731" y="71871"/>
                  </a:cubicBezTo>
                  <a:cubicBezTo>
                    <a:pt x="20975" y="71443"/>
                    <a:pt x="22195" y="70374"/>
                    <a:pt x="22439" y="70160"/>
                  </a:cubicBezTo>
                  <a:cubicBezTo>
                    <a:pt x="22682" y="70160"/>
                    <a:pt x="23170" y="69732"/>
                    <a:pt x="23414" y="69732"/>
                  </a:cubicBezTo>
                  <a:cubicBezTo>
                    <a:pt x="23658" y="69518"/>
                    <a:pt x="24878" y="69090"/>
                    <a:pt x="24878" y="69090"/>
                  </a:cubicBezTo>
                  <a:cubicBezTo>
                    <a:pt x="28048" y="70160"/>
                    <a:pt x="28048" y="70160"/>
                    <a:pt x="28048" y="70160"/>
                  </a:cubicBezTo>
                  <a:cubicBezTo>
                    <a:pt x="28536" y="71871"/>
                    <a:pt x="28536" y="71871"/>
                    <a:pt x="28536" y="71871"/>
                  </a:cubicBezTo>
                  <a:cubicBezTo>
                    <a:pt x="30243" y="74652"/>
                    <a:pt x="30243" y="74652"/>
                    <a:pt x="30243" y="74652"/>
                  </a:cubicBezTo>
                  <a:cubicBezTo>
                    <a:pt x="30731" y="75935"/>
                    <a:pt x="30731" y="75935"/>
                    <a:pt x="30731" y="75935"/>
                  </a:cubicBezTo>
                  <a:cubicBezTo>
                    <a:pt x="30731" y="75935"/>
                    <a:pt x="31463" y="76577"/>
                    <a:pt x="31219" y="77219"/>
                  </a:cubicBezTo>
                  <a:cubicBezTo>
                    <a:pt x="30975" y="78074"/>
                    <a:pt x="29512" y="80213"/>
                    <a:pt x="29512" y="80213"/>
                  </a:cubicBezTo>
                  <a:cubicBezTo>
                    <a:pt x="29512" y="81497"/>
                    <a:pt x="29512" y="81497"/>
                    <a:pt x="29512" y="81497"/>
                  </a:cubicBezTo>
                  <a:cubicBezTo>
                    <a:pt x="30487" y="83208"/>
                    <a:pt x="30487" y="83208"/>
                    <a:pt x="30487" y="83208"/>
                  </a:cubicBezTo>
                  <a:cubicBezTo>
                    <a:pt x="29024" y="86417"/>
                    <a:pt x="29024" y="86417"/>
                    <a:pt x="29024" y="86417"/>
                  </a:cubicBezTo>
                  <a:cubicBezTo>
                    <a:pt x="29756" y="88770"/>
                    <a:pt x="29756" y="88770"/>
                    <a:pt x="29756" y="88770"/>
                  </a:cubicBezTo>
                  <a:cubicBezTo>
                    <a:pt x="29268" y="91978"/>
                    <a:pt x="29268" y="91978"/>
                    <a:pt x="29268" y="91978"/>
                  </a:cubicBezTo>
                  <a:cubicBezTo>
                    <a:pt x="29024" y="93689"/>
                    <a:pt x="29024" y="93689"/>
                    <a:pt x="29024" y="93689"/>
                  </a:cubicBezTo>
                  <a:cubicBezTo>
                    <a:pt x="29024" y="93689"/>
                    <a:pt x="28048" y="94545"/>
                    <a:pt x="27560" y="94331"/>
                  </a:cubicBezTo>
                  <a:cubicBezTo>
                    <a:pt x="27073" y="94117"/>
                    <a:pt x="24634" y="92620"/>
                    <a:pt x="24634" y="92620"/>
                  </a:cubicBezTo>
                  <a:cubicBezTo>
                    <a:pt x="23658" y="92406"/>
                    <a:pt x="23658" y="92406"/>
                    <a:pt x="23658" y="92406"/>
                  </a:cubicBezTo>
                  <a:cubicBezTo>
                    <a:pt x="22926" y="93903"/>
                    <a:pt x="22926" y="93903"/>
                    <a:pt x="22926" y="93903"/>
                  </a:cubicBezTo>
                  <a:cubicBezTo>
                    <a:pt x="23170" y="94973"/>
                    <a:pt x="23170" y="94973"/>
                    <a:pt x="23170" y="94973"/>
                  </a:cubicBezTo>
                  <a:cubicBezTo>
                    <a:pt x="21951" y="96898"/>
                    <a:pt x="21951" y="96898"/>
                    <a:pt x="21951" y="96898"/>
                  </a:cubicBezTo>
                  <a:cubicBezTo>
                    <a:pt x="20731" y="96898"/>
                    <a:pt x="20731" y="96898"/>
                    <a:pt x="20731" y="96898"/>
                  </a:cubicBezTo>
                  <a:cubicBezTo>
                    <a:pt x="19268" y="96470"/>
                    <a:pt x="19268" y="96470"/>
                    <a:pt x="19268" y="96470"/>
                  </a:cubicBezTo>
                  <a:cubicBezTo>
                    <a:pt x="17804" y="94759"/>
                    <a:pt x="17804" y="94759"/>
                    <a:pt x="17804" y="94759"/>
                  </a:cubicBezTo>
                  <a:cubicBezTo>
                    <a:pt x="17804" y="94759"/>
                    <a:pt x="17804" y="95187"/>
                    <a:pt x="17317" y="95401"/>
                  </a:cubicBezTo>
                  <a:cubicBezTo>
                    <a:pt x="16829" y="95401"/>
                    <a:pt x="16097" y="95187"/>
                    <a:pt x="16097" y="95187"/>
                  </a:cubicBezTo>
                  <a:cubicBezTo>
                    <a:pt x="16585" y="93903"/>
                    <a:pt x="16585" y="93903"/>
                    <a:pt x="16585" y="93903"/>
                  </a:cubicBezTo>
                  <a:cubicBezTo>
                    <a:pt x="16097" y="92406"/>
                    <a:pt x="16097" y="92406"/>
                    <a:pt x="16097" y="92406"/>
                  </a:cubicBezTo>
                  <a:cubicBezTo>
                    <a:pt x="16585" y="90909"/>
                    <a:pt x="16585" y="90909"/>
                    <a:pt x="16585" y="90909"/>
                  </a:cubicBezTo>
                  <a:cubicBezTo>
                    <a:pt x="16585" y="88770"/>
                    <a:pt x="16585" y="88770"/>
                    <a:pt x="16585" y="88770"/>
                  </a:cubicBezTo>
                  <a:cubicBezTo>
                    <a:pt x="17073" y="87914"/>
                    <a:pt x="17073" y="87914"/>
                    <a:pt x="17073" y="87914"/>
                  </a:cubicBezTo>
                  <a:cubicBezTo>
                    <a:pt x="17317" y="86844"/>
                    <a:pt x="17317" y="86844"/>
                    <a:pt x="17317" y="86844"/>
                  </a:cubicBezTo>
                  <a:cubicBezTo>
                    <a:pt x="18048" y="85561"/>
                    <a:pt x="18048" y="85561"/>
                    <a:pt x="18048" y="85561"/>
                  </a:cubicBezTo>
                  <a:cubicBezTo>
                    <a:pt x="17804" y="84491"/>
                    <a:pt x="17804" y="84491"/>
                    <a:pt x="17804" y="84491"/>
                  </a:cubicBezTo>
                  <a:cubicBezTo>
                    <a:pt x="17317" y="84705"/>
                    <a:pt x="17317" y="84705"/>
                    <a:pt x="17317" y="84705"/>
                  </a:cubicBezTo>
                  <a:cubicBezTo>
                    <a:pt x="15853" y="83422"/>
                    <a:pt x="15853" y="83422"/>
                    <a:pt x="15853" y="83422"/>
                  </a:cubicBezTo>
                  <a:cubicBezTo>
                    <a:pt x="15853" y="83422"/>
                    <a:pt x="16341" y="82994"/>
                    <a:pt x="16829" y="82566"/>
                  </a:cubicBezTo>
                  <a:cubicBezTo>
                    <a:pt x="17317" y="82139"/>
                    <a:pt x="17317" y="81925"/>
                    <a:pt x="17317" y="81497"/>
                  </a:cubicBezTo>
                  <a:cubicBezTo>
                    <a:pt x="17317" y="81069"/>
                    <a:pt x="17073" y="80000"/>
                    <a:pt x="16829" y="80000"/>
                  </a:cubicBezTo>
                  <a:cubicBezTo>
                    <a:pt x="16585" y="79786"/>
                    <a:pt x="16097" y="79358"/>
                    <a:pt x="16097" y="79358"/>
                  </a:cubicBezTo>
                  <a:cubicBezTo>
                    <a:pt x="16097" y="78074"/>
                    <a:pt x="16097" y="78074"/>
                    <a:pt x="16097" y="78074"/>
                  </a:cubicBezTo>
                  <a:cubicBezTo>
                    <a:pt x="16097" y="78074"/>
                    <a:pt x="15853" y="77433"/>
                    <a:pt x="15609" y="77433"/>
                  </a:cubicBezTo>
                  <a:cubicBezTo>
                    <a:pt x="15121" y="77219"/>
                    <a:pt x="13902" y="76577"/>
                    <a:pt x="13902" y="76577"/>
                  </a:cubicBezTo>
                  <a:cubicBezTo>
                    <a:pt x="14146" y="75080"/>
                    <a:pt x="14146" y="75080"/>
                    <a:pt x="14146" y="75080"/>
                  </a:cubicBezTo>
                  <a:cubicBezTo>
                    <a:pt x="13658" y="74652"/>
                    <a:pt x="13658" y="74652"/>
                    <a:pt x="13658" y="74652"/>
                  </a:cubicBezTo>
                  <a:lnTo>
                    <a:pt x="13902" y="7379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 cmpd="sng">
              <a:solidFill>
                <a:schemeClr val="tx1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defTabSz="457200"/>
              <a:endParaRPr kern="0">
                <a:solidFill>
                  <a:srgbClr val="7F7F7F"/>
                </a:solidFill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52" name="Shape 2048">
              <a:extLst>
                <a:ext uri="{FF2B5EF4-FFF2-40B4-BE49-F238E27FC236}">
                  <a16:creationId xmlns:a16="http://schemas.microsoft.com/office/drawing/2014/main" id="{FD70198C-DA0B-3CAF-9826-BB0E851D5768}"/>
                </a:ext>
              </a:extLst>
            </p:cNvPr>
            <p:cNvSpPr/>
            <p:nvPr/>
          </p:nvSpPr>
          <p:spPr>
            <a:xfrm>
              <a:off x="4965727" y="3091215"/>
              <a:ext cx="774808" cy="541922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22439" y="27518"/>
                  </a:moveTo>
                  <a:cubicBezTo>
                    <a:pt x="22439" y="27518"/>
                    <a:pt x="22439" y="27518"/>
                    <a:pt x="22439" y="27518"/>
                  </a:cubicBezTo>
                  <a:cubicBezTo>
                    <a:pt x="21463" y="27969"/>
                    <a:pt x="21463" y="27969"/>
                    <a:pt x="21463" y="27969"/>
                  </a:cubicBezTo>
                  <a:cubicBezTo>
                    <a:pt x="20813" y="28872"/>
                    <a:pt x="20813" y="28872"/>
                    <a:pt x="20813" y="28872"/>
                  </a:cubicBezTo>
                  <a:cubicBezTo>
                    <a:pt x="20162" y="31578"/>
                    <a:pt x="20162" y="31578"/>
                    <a:pt x="20162" y="31578"/>
                  </a:cubicBezTo>
                  <a:cubicBezTo>
                    <a:pt x="20162" y="31578"/>
                    <a:pt x="20162" y="31578"/>
                    <a:pt x="20162" y="31578"/>
                  </a:cubicBezTo>
                  <a:cubicBezTo>
                    <a:pt x="19186" y="32932"/>
                    <a:pt x="19186" y="32932"/>
                    <a:pt x="19186" y="32932"/>
                  </a:cubicBezTo>
                  <a:cubicBezTo>
                    <a:pt x="19186" y="32932"/>
                    <a:pt x="19186" y="32932"/>
                    <a:pt x="19186" y="32932"/>
                  </a:cubicBezTo>
                  <a:cubicBezTo>
                    <a:pt x="18861" y="35187"/>
                    <a:pt x="18861" y="35187"/>
                    <a:pt x="18861" y="35187"/>
                  </a:cubicBezTo>
                  <a:cubicBezTo>
                    <a:pt x="18861" y="35187"/>
                    <a:pt x="19186" y="36992"/>
                    <a:pt x="19186" y="37443"/>
                  </a:cubicBezTo>
                  <a:cubicBezTo>
                    <a:pt x="19186" y="37443"/>
                    <a:pt x="19186" y="37443"/>
                    <a:pt x="19186" y="37443"/>
                  </a:cubicBezTo>
                  <a:cubicBezTo>
                    <a:pt x="19186" y="37443"/>
                    <a:pt x="19186" y="37443"/>
                    <a:pt x="19186" y="37443"/>
                  </a:cubicBezTo>
                  <a:cubicBezTo>
                    <a:pt x="19186" y="37443"/>
                    <a:pt x="19186" y="37443"/>
                    <a:pt x="19186" y="37443"/>
                  </a:cubicBezTo>
                  <a:cubicBezTo>
                    <a:pt x="19186" y="37443"/>
                    <a:pt x="19186" y="37443"/>
                    <a:pt x="19186" y="37443"/>
                  </a:cubicBezTo>
                  <a:cubicBezTo>
                    <a:pt x="19186" y="37443"/>
                    <a:pt x="19186" y="37443"/>
                    <a:pt x="19186" y="37443"/>
                  </a:cubicBezTo>
                  <a:cubicBezTo>
                    <a:pt x="19186" y="37443"/>
                    <a:pt x="19186" y="37443"/>
                    <a:pt x="19186" y="37443"/>
                  </a:cubicBezTo>
                  <a:cubicBezTo>
                    <a:pt x="19186" y="37443"/>
                    <a:pt x="19186" y="37443"/>
                    <a:pt x="19186" y="37443"/>
                  </a:cubicBezTo>
                  <a:cubicBezTo>
                    <a:pt x="19186" y="37443"/>
                    <a:pt x="19186" y="37443"/>
                    <a:pt x="19186" y="37443"/>
                  </a:cubicBezTo>
                  <a:cubicBezTo>
                    <a:pt x="19186" y="37443"/>
                    <a:pt x="19186" y="37443"/>
                    <a:pt x="19186" y="37443"/>
                  </a:cubicBezTo>
                  <a:cubicBezTo>
                    <a:pt x="19186" y="37443"/>
                    <a:pt x="19186" y="37443"/>
                    <a:pt x="19186" y="37443"/>
                  </a:cubicBezTo>
                  <a:cubicBezTo>
                    <a:pt x="19186" y="37443"/>
                    <a:pt x="19186" y="37443"/>
                    <a:pt x="19186" y="37443"/>
                  </a:cubicBezTo>
                  <a:cubicBezTo>
                    <a:pt x="19186" y="37443"/>
                    <a:pt x="19186" y="37443"/>
                    <a:pt x="19186" y="37443"/>
                  </a:cubicBezTo>
                  <a:cubicBezTo>
                    <a:pt x="18861" y="37894"/>
                    <a:pt x="18861" y="37894"/>
                    <a:pt x="18861" y="37894"/>
                  </a:cubicBezTo>
                  <a:cubicBezTo>
                    <a:pt x="18861" y="37894"/>
                    <a:pt x="18861" y="37894"/>
                    <a:pt x="18861" y="37894"/>
                  </a:cubicBezTo>
                  <a:cubicBezTo>
                    <a:pt x="18861" y="37894"/>
                    <a:pt x="18861" y="37894"/>
                    <a:pt x="18861" y="37894"/>
                  </a:cubicBezTo>
                  <a:cubicBezTo>
                    <a:pt x="18861" y="37894"/>
                    <a:pt x="18861" y="37894"/>
                    <a:pt x="18861" y="37894"/>
                  </a:cubicBezTo>
                  <a:cubicBezTo>
                    <a:pt x="18861" y="37894"/>
                    <a:pt x="18861" y="37894"/>
                    <a:pt x="18861" y="37894"/>
                  </a:cubicBezTo>
                  <a:cubicBezTo>
                    <a:pt x="18861" y="37894"/>
                    <a:pt x="18861" y="37894"/>
                    <a:pt x="18861" y="37894"/>
                  </a:cubicBezTo>
                  <a:cubicBezTo>
                    <a:pt x="18861" y="37894"/>
                    <a:pt x="18861" y="37894"/>
                    <a:pt x="18861" y="37894"/>
                  </a:cubicBezTo>
                  <a:cubicBezTo>
                    <a:pt x="18861" y="37894"/>
                    <a:pt x="18861" y="37894"/>
                    <a:pt x="18861" y="37894"/>
                  </a:cubicBezTo>
                  <a:cubicBezTo>
                    <a:pt x="18861" y="37894"/>
                    <a:pt x="18861" y="37894"/>
                    <a:pt x="18861" y="37894"/>
                  </a:cubicBezTo>
                  <a:cubicBezTo>
                    <a:pt x="18861" y="37894"/>
                    <a:pt x="18861" y="37894"/>
                    <a:pt x="18861" y="37894"/>
                  </a:cubicBezTo>
                  <a:cubicBezTo>
                    <a:pt x="18861" y="37894"/>
                    <a:pt x="18861" y="37894"/>
                    <a:pt x="18861" y="37894"/>
                  </a:cubicBezTo>
                  <a:cubicBezTo>
                    <a:pt x="18861" y="37894"/>
                    <a:pt x="18861" y="37894"/>
                    <a:pt x="18861" y="37894"/>
                  </a:cubicBezTo>
                  <a:cubicBezTo>
                    <a:pt x="18861" y="37894"/>
                    <a:pt x="18861" y="37894"/>
                    <a:pt x="18861" y="37894"/>
                  </a:cubicBezTo>
                  <a:cubicBezTo>
                    <a:pt x="18861" y="37894"/>
                    <a:pt x="18861" y="37894"/>
                    <a:pt x="18861" y="37894"/>
                  </a:cubicBezTo>
                  <a:cubicBezTo>
                    <a:pt x="18861" y="37894"/>
                    <a:pt x="18861" y="37894"/>
                    <a:pt x="18861" y="37894"/>
                  </a:cubicBezTo>
                  <a:cubicBezTo>
                    <a:pt x="18536" y="37894"/>
                    <a:pt x="18211" y="37894"/>
                    <a:pt x="18211" y="37894"/>
                  </a:cubicBezTo>
                  <a:cubicBezTo>
                    <a:pt x="18211" y="37894"/>
                    <a:pt x="18211" y="37894"/>
                    <a:pt x="18211" y="37894"/>
                  </a:cubicBezTo>
                  <a:cubicBezTo>
                    <a:pt x="18211" y="37894"/>
                    <a:pt x="18211" y="37894"/>
                    <a:pt x="18211" y="37894"/>
                  </a:cubicBezTo>
                  <a:cubicBezTo>
                    <a:pt x="18211" y="37894"/>
                    <a:pt x="18211" y="37894"/>
                    <a:pt x="18211" y="37894"/>
                  </a:cubicBezTo>
                  <a:cubicBezTo>
                    <a:pt x="18211" y="37894"/>
                    <a:pt x="18211" y="37894"/>
                    <a:pt x="18211" y="37894"/>
                  </a:cubicBezTo>
                  <a:cubicBezTo>
                    <a:pt x="18211" y="37894"/>
                    <a:pt x="18211" y="37894"/>
                    <a:pt x="18211" y="37894"/>
                  </a:cubicBezTo>
                  <a:cubicBezTo>
                    <a:pt x="18211" y="37894"/>
                    <a:pt x="18211" y="37894"/>
                    <a:pt x="18211" y="37894"/>
                  </a:cubicBezTo>
                  <a:cubicBezTo>
                    <a:pt x="18211" y="37894"/>
                    <a:pt x="18211" y="37894"/>
                    <a:pt x="18211" y="37894"/>
                  </a:cubicBezTo>
                  <a:cubicBezTo>
                    <a:pt x="18211" y="37894"/>
                    <a:pt x="18211" y="37894"/>
                    <a:pt x="18211" y="37894"/>
                  </a:cubicBezTo>
                  <a:cubicBezTo>
                    <a:pt x="18211" y="38345"/>
                    <a:pt x="18211" y="38345"/>
                    <a:pt x="18211" y="38345"/>
                  </a:cubicBezTo>
                  <a:cubicBezTo>
                    <a:pt x="18211" y="38345"/>
                    <a:pt x="18211" y="38345"/>
                    <a:pt x="18211" y="38345"/>
                  </a:cubicBezTo>
                  <a:cubicBezTo>
                    <a:pt x="18211" y="38345"/>
                    <a:pt x="18211" y="38345"/>
                    <a:pt x="18211" y="38345"/>
                  </a:cubicBezTo>
                  <a:cubicBezTo>
                    <a:pt x="18211" y="38345"/>
                    <a:pt x="18211" y="38345"/>
                    <a:pt x="18211" y="38345"/>
                  </a:cubicBezTo>
                  <a:cubicBezTo>
                    <a:pt x="18211" y="38345"/>
                    <a:pt x="18211" y="38345"/>
                    <a:pt x="18211" y="38345"/>
                  </a:cubicBezTo>
                  <a:cubicBezTo>
                    <a:pt x="18211" y="38345"/>
                    <a:pt x="18211" y="38345"/>
                    <a:pt x="18211" y="38345"/>
                  </a:cubicBezTo>
                  <a:cubicBezTo>
                    <a:pt x="18211" y="38345"/>
                    <a:pt x="18211" y="38345"/>
                    <a:pt x="18211" y="38345"/>
                  </a:cubicBezTo>
                  <a:cubicBezTo>
                    <a:pt x="18211" y="38345"/>
                    <a:pt x="18211" y="38345"/>
                    <a:pt x="18211" y="38345"/>
                  </a:cubicBezTo>
                  <a:cubicBezTo>
                    <a:pt x="18211" y="38345"/>
                    <a:pt x="18211" y="38345"/>
                    <a:pt x="18211" y="38345"/>
                  </a:cubicBezTo>
                  <a:cubicBezTo>
                    <a:pt x="18211" y="38345"/>
                    <a:pt x="18211" y="38345"/>
                    <a:pt x="18211" y="38345"/>
                  </a:cubicBezTo>
                  <a:cubicBezTo>
                    <a:pt x="18211" y="38345"/>
                    <a:pt x="18211" y="38345"/>
                    <a:pt x="18211" y="38345"/>
                  </a:cubicBezTo>
                  <a:cubicBezTo>
                    <a:pt x="18211" y="38345"/>
                    <a:pt x="18211" y="38345"/>
                    <a:pt x="18211" y="38345"/>
                  </a:cubicBezTo>
                  <a:cubicBezTo>
                    <a:pt x="18211" y="38345"/>
                    <a:pt x="18211" y="38345"/>
                    <a:pt x="18211" y="38345"/>
                  </a:cubicBezTo>
                  <a:cubicBezTo>
                    <a:pt x="18211" y="38345"/>
                    <a:pt x="18211" y="38345"/>
                    <a:pt x="18211" y="38345"/>
                  </a:cubicBezTo>
                  <a:cubicBezTo>
                    <a:pt x="18211" y="38345"/>
                    <a:pt x="18211" y="38345"/>
                    <a:pt x="18211" y="38345"/>
                  </a:cubicBezTo>
                  <a:cubicBezTo>
                    <a:pt x="18211" y="38345"/>
                    <a:pt x="18211" y="38345"/>
                    <a:pt x="18211" y="38345"/>
                  </a:cubicBezTo>
                  <a:cubicBezTo>
                    <a:pt x="18211" y="38345"/>
                    <a:pt x="18211" y="38345"/>
                    <a:pt x="18211" y="38345"/>
                  </a:cubicBezTo>
                  <a:cubicBezTo>
                    <a:pt x="18211" y="38345"/>
                    <a:pt x="18211" y="38345"/>
                    <a:pt x="18211" y="38345"/>
                  </a:cubicBezTo>
                  <a:cubicBezTo>
                    <a:pt x="18211" y="38345"/>
                    <a:pt x="18211" y="38345"/>
                    <a:pt x="18211" y="38345"/>
                  </a:cubicBezTo>
                  <a:cubicBezTo>
                    <a:pt x="18211" y="38345"/>
                    <a:pt x="18211" y="38345"/>
                    <a:pt x="18211" y="38345"/>
                  </a:cubicBezTo>
                  <a:cubicBezTo>
                    <a:pt x="18211" y="38345"/>
                    <a:pt x="18211" y="38345"/>
                    <a:pt x="18211" y="38345"/>
                  </a:cubicBezTo>
                  <a:cubicBezTo>
                    <a:pt x="18211" y="38345"/>
                    <a:pt x="18211" y="38345"/>
                    <a:pt x="18211" y="38345"/>
                  </a:cubicBezTo>
                  <a:cubicBezTo>
                    <a:pt x="17886" y="41954"/>
                    <a:pt x="17886" y="41954"/>
                    <a:pt x="17886" y="41954"/>
                  </a:cubicBezTo>
                  <a:cubicBezTo>
                    <a:pt x="16585" y="43759"/>
                    <a:pt x="16585" y="43759"/>
                    <a:pt x="16585" y="43759"/>
                  </a:cubicBezTo>
                  <a:cubicBezTo>
                    <a:pt x="16260" y="46015"/>
                    <a:pt x="16260" y="46015"/>
                    <a:pt x="16260" y="46015"/>
                  </a:cubicBezTo>
                  <a:cubicBezTo>
                    <a:pt x="16260" y="47368"/>
                    <a:pt x="16260" y="47368"/>
                    <a:pt x="16260" y="47368"/>
                  </a:cubicBezTo>
                  <a:cubicBezTo>
                    <a:pt x="16260" y="47368"/>
                    <a:pt x="16260" y="47368"/>
                    <a:pt x="16260" y="47368"/>
                  </a:cubicBezTo>
                  <a:cubicBezTo>
                    <a:pt x="16260" y="47368"/>
                    <a:pt x="16260" y="47368"/>
                    <a:pt x="16260" y="47368"/>
                  </a:cubicBezTo>
                  <a:cubicBezTo>
                    <a:pt x="16260" y="47819"/>
                    <a:pt x="16260" y="47819"/>
                    <a:pt x="16260" y="47819"/>
                  </a:cubicBezTo>
                  <a:cubicBezTo>
                    <a:pt x="16260" y="47819"/>
                    <a:pt x="16260" y="47819"/>
                    <a:pt x="16260" y="47819"/>
                  </a:cubicBezTo>
                  <a:cubicBezTo>
                    <a:pt x="16260" y="47819"/>
                    <a:pt x="16260" y="47819"/>
                    <a:pt x="16260" y="47819"/>
                  </a:cubicBezTo>
                  <a:cubicBezTo>
                    <a:pt x="16260" y="47819"/>
                    <a:pt x="16260" y="47819"/>
                    <a:pt x="16260" y="47819"/>
                  </a:cubicBezTo>
                  <a:cubicBezTo>
                    <a:pt x="16260" y="47819"/>
                    <a:pt x="16260" y="47819"/>
                    <a:pt x="16260" y="47819"/>
                  </a:cubicBezTo>
                  <a:cubicBezTo>
                    <a:pt x="16260" y="47819"/>
                    <a:pt x="16260" y="47819"/>
                    <a:pt x="16260" y="47819"/>
                  </a:cubicBezTo>
                  <a:cubicBezTo>
                    <a:pt x="16260" y="47819"/>
                    <a:pt x="16260" y="47819"/>
                    <a:pt x="16260" y="47819"/>
                  </a:cubicBezTo>
                  <a:cubicBezTo>
                    <a:pt x="16260" y="47819"/>
                    <a:pt x="16260" y="47819"/>
                    <a:pt x="16260" y="47819"/>
                  </a:cubicBezTo>
                  <a:cubicBezTo>
                    <a:pt x="16260" y="47819"/>
                    <a:pt x="16260" y="47819"/>
                    <a:pt x="16260" y="47819"/>
                  </a:cubicBezTo>
                  <a:cubicBezTo>
                    <a:pt x="16260" y="47819"/>
                    <a:pt x="16260" y="47819"/>
                    <a:pt x="16260" y="47819"/>
                  </a:cubicBezTo>
                  <a:cubicBezTo>
                    <a:pt x="16260" y="47819"/>
                    <a:pt x="16260" y="47819"/>
                    <a:pt x="16260" y="47819"/>
                  </a:cubicBezTo>
                  <a:cubicBezTo>
                    <a:pt x="16260" y="47819"/>
                    <a:pt x="16260" y="47819"/>
                    <a:pt x="16260" y="47819"/>
                  </a:cubicBezTo>
                  <a:cubicBezTo>
                    <a:pt x="16260" y="47819"/>
                    <a:pt x="16260" y="47819"/>
                    <a:pt x="16260" y="47819"/>
                  </a:cubicBezTo>
                  <a:cubicBezTo>
                    <a:pt x="16260" y="47819"/>
                    <a:pt x="16260" y="47819"/>
                    <a:pt x="16260" y="47819"/>
                  </a:cubicBezTo>
                  <a:cubicBezTo>
                    <a:pt x="16260" y="47819"/>
                    <a:pt x="16260" y="47819"/>
                    <a:pt x="16260" y="47819"/>
                  </a:cubicBezTo>
                  <a:cubicBezTo>
                    <a:pt x="16260" y="47819"/>
                    <a:pt x="16260" y="47819"/>
                    <a:pt x="16260" y="47819"/>
                  </a:cubicBezTo>
                  <a:cubicBezTo>
                    <a:pt x="16260" y="47819"/>
                    <a:pt x="16260" y="47819"/>
                    <a:pt x="16260" y="47819"/>
                  </a:cubicBezTo>
                  <a:cubicBezTo>
                    <a:pt x="16260" y="47819"/>
                    <a:pt x="16260" y="47819"/>
                    <a:pt x="16260" y="47819"/>
                  </a:cubicBezTo>
                  <a:cubicBezTo>
                    <a:pt x="16260" y="48270"/>
                    <a:pt x="16260" y="48270"/>
                    <a:pt x="16260" y="48270"/>
                  </a:cubicBezTo>
                  <a:cubicBezTo>
                    <a:pt x="16260" y="48270"/>
                    <a:pt x="16260" y="48270"/>
                    <a:pt x="16260" y="48270"/>
                  </a:cubicBezTo>
                  <a:cubicBezTo>
                    <a:pt x="16260" y="48270"/>
                    <a:pt x="16260" y="48270"/>
                    <a:pt x="16260" y="48270"/>
                  </a:cubicBezTo>
                  <a:cubicBezTo>
                    <a:pt x="16260" y="48270"/>
                    <a:pt x="16260" y="48270"/>
                    <a:pt x="16260" y="48270"/>
                  </a:cubicBezTo>
                  <a:cubicBezTo>
                    <a:pt x="16260" y="48270"/>
                    <a:pt x="16260" y="48270"/>
                    <a:pt x="16260" y="48270"/>
                  </a:cubicBezTo>
                  <a:cubicBezTo>
                    <a:pt x="16260" y="48270"/>
                    <a:pt x="16260" y="48270"/>
                    <a:pt x="16260" y="48270"/>
                  </a:cubicBezTo>
                  <a:cubicBezTo>
                    <a:pt x="16260" y="48270"/>
                    <a:pt x="16260" y="48270"/>
                    <a:pt x="16260" y="48270"/>
                  </a:cubicBezTo>
                  <a:cubicBezTo>
                    <a:pt x="16260" y="48270"/>
                    <a:pt x="16260" y="48270"/>
                    <a:pt x="16260" y="48270"/>
                  </a:cubicBezTo>
                  <a:cubicBezTo>
                    <a:pt x="16260" y="48270"/>
                    <a:pt x="16260" y="48270"/>
                    <a:pt x="16260" y="48270"/>
                  </a:cubicBezTo>
                  <a:cubicBezTo>
                    <a:pt x="16260" y="48270"/>
                    <a:pt x="16260" y="48270"/>
                    <a:pt x="16260" y="48270"/>
                  </a:cubicBezTo>
                  <a:cubicBezTo>
                    <a:pt x="16260" y="48270"/>
                    <a:pt x="16260" y="48270"/>
                    <a:pt x="16260" y="48270"/>
                  </a:cubicBezTo>
                  <a:cubicBezTo>
                    <a:pt x="16260" y="48270"/>
                    <a:pt x="16260" y="48270"/>
                    <a:pt x="16260" y="48270"/>
                  </a:cubicBezTo>
                  <a:cubicBezTo>
                    <a:pt x="16260" y="48270"/>
                    <a:pt x="16260" y="48270"/>
                    <a:pt x="16260" y="48270"/>
                  </a:cubicBezTo>
                  <a:cubicBezTo>
                    <a:pt x="16260" y="48270"/>
                    <a:pt x="16260" y="48270"/>
                    <a:pt x="16260" y="48270"/>
                  </a:cubicBezTo>
                  <a:cubicBezTo>
                    <a:pt x="16260" y="48270"/>
                    <a:pt x="16260" y="48270"/>
                    <a:pt x="16260" y="48270"/>
                  </a:cubicBezTo>
                  <a:cubicBezTo>
                    <a:pt x="16260" y="48270"/>
                    <a:pt x="16260" y="48270"/>
                    <a:pt x="16260" y="48270"/>
                  </a:cubicBezTo>
                  <a:cubicBezTo>
                    <a:pt x="16260" y="48270"/>
                    <a:pt x="16260" y="48270"/>
                    <a:pt x="16260" y="48270"/>
                  </a:cubicBezTo>
                  <a:cubicBezTo>
                    <a:pt x="16260" y="48270"/>
                    <a:pt x="16260" y="48270"/>
                    <a:pt x="16260" y="48270"/>
                  </a:cubicBezTo>
                  <a:cubicBezTo>
                    <a:pt x="16260" y="48270"/>
                    <a:pt x="16260" y="48270"/>
                    <a:pt x="16260" y="48270"/>
                  </a:cubicBezTo>
                  <a:cubicBezTo>
                    <a:pt x="16260" y="48270"/>
                    <a:pt x="16260" y="48270"/>
                    <a:pt x="16260" y="48270"/>
                  </a:cubicBezTo>
                  <a:cubicBezTo>
                    <a:pt x="16260" y="48721"/>
                    <a:pt x="16260" y="48721"/>
                    <a:pt x="16260" y="48721"/>
                  </a:cubicBezTo>
                  <a:cubicBezTo>
                    <a:pt x="16260" y="48721"/>
                    <a:pt x="16260" y="48721"/>
                    <a:pt x="16260" y="48721"/>
                  </a:cubicBezTo>
                  <a:cubicBezTo>
                    <a:pt x="16260" y="48721"/>
                    <a:pt x="16260" y="48721"/>
                    <a:pt x="16260" y="48721"/>
                  </a:cubicBezTo>
                  <a:cubicBezTo>
                    <a:pt x="16260" y="48721"/>
                    <a:pt x="16260" y="48721"/>
                    <a:pt x="16260" y="48721"/>
                  </a:cubicBezTo>
                  <a:cubicBezTo>
                    <a:pt x="16260" y="48721"/>
                    <a:pt x="16260" y="48721"/>
                    <a:pt x="16260" y="48721"/>
                  </a:cubicBezTo>
                  <a:cubicBezTo>
                    <a:pt x="16260" y="48721"/>
                    <a:pt x="16260" y="48721"/>
                    <a:pt x="16260" y="48721"/>
                  </a:cubicBezTo>
                  <a:cubicBezTo>
                    <a:pt x="16260" y="48721"/>
                    <a:pt x="16260" y="48721"/>
                    <a:pt x="16260" y="48721"/>
                  </a:cubicBezTo>
                  <a:cubicBezTo>
                    <a:pt x="16260" y="48721"/>
                    <a:pt x="16260" y="48721"/>
                    <a:pt x="16260" y="48721"/>
                  </a:cubicBezTo>
                  <a:cubicBezTo>
                    <a:pt x="16260" y="48721"/>
                    <a:pt x="16260" y="48721"/>
                    <a:pt x="16260" y="48721"/>
                  </a:cubicBezTo>
                  <a:cubicBezTo>
                    <a:pt x="16260" y="48721"/>
                    <a:pt x="16260" y="48721"/>
                    <a:pt x="16260" y="48721"/>
                  </a:cubicBezTo>
                  <a:cubicBezTo>
                    <a:pt x="16260" y="48721"/>
                    <a:pt x="16260" y="48721"/>
                    <a:pt x="16260" y="48721"/>
                  </a:cubicBezTo>
                  <a:cubicBezTo>
                    <a:pt x="16260" y="48721"/>
                    <a:pt x="16260" y="48721"/>
                    <a:pt x="16260" y="48721"/>
                  </a:cubicBezTo>
                  <a:cubicBezTo>
                    <a:pt x="16260" y="48721"/>
                    <a:pt x="16260" y="48721"/>
                    <a:pt x="16260" y="48721"/>
                  </a:cubicBezTo>
                  <a:cubicBezTo>
                    <a:pt x="16260" y="49172"/>
                    <a:pt x="16260" y="49172"/>
                    <a:pt x="15934" y="49172"/>
                  </a:cubicBezTo>
                  <a:cubicBezTo>
                    <a:pt x="15284" y="49624"/>
                    <a:pt x="14959" y="50526"/>
                    <a:pt x="14959" y="50526"/>
                  </a:cubicBezTo>
                  <a:cubicBezTo>
                    <a:pt x="14959" y="53684"/>
                    <a:pt x="14959" y="53684"/>
                    <a:pt x="14959" y="53684"/>
                  </a:cubicBezTo>
                  <a:cubicBezTo>
                    <a:pt x="14634" y="54586"/>
                    <a:pt x="14634" y="54586"/>
                    <a:pt x="14634" y="54586"/>
                  </a:cubicBezTo>
                  <a:cubicBezTo>
                    <a:pt x="13983" y="55939"/>
                    <a:pt x="13983" y="55939"/>
                    <a:pt x="13983" y="55939"/>
                  </a:cubicBezTo>
                  <a:cubicBezTo>
                    <a:pt x="14308" y="57744"/>
                    <a:pt x="14308" y="57744"/>
                    <a:pt x="14308" y="57744"/>
                  </a:cubicBezTo>
                  <a:cubicBezTo>
                    <a:pt x="14308" y="57744"/>
                    <a:pt x="14308" y="57744"/>
                    <a:pt x="14308" y="57744"/>
                  </a:cubicBezTo>
                  <a:cubicBezTo>
                    <a:pt x="13658" y="59097"/>
                    <a:pt x="13658" y="59097"/>
                    <a:pt x="13658" y="59097"/>
                  </a:cubicBezTo>
                  <a:cubicBezTo>
                    <a:pt x="13983" y="61353"/>
                    <a:pt x="13983" y="61353"/>
                    <a:pt x="13983" y="61353"/>
                  </a:cubicBezTo>
                  <a:cubicBezTo>
                    <a:pt x="13333" y="62706"/>
                    <a:pt x="13333" y="62706"/>
                    <a:pt x="13333" y="62706"/>
                  </a:cubicBezTo>
                  <a:cubicBezTo>
                    <a:pt x="13008" y="63157"/>
                    <a:pt x="13008" y="63157"/>
                    <a:pt x="13008" y="63157"/>
                  </a:cubicBezTo>
                  <a:cubicBezTo>
                    <a:pt x="12682" y="64511"/>
                    <a:pt x="12682" y="64511"/>
                    <a:pt x="12682" y="64511"/>
                  </a:cubicBezTo>
                  <a:cubicBezTo>
                    <a:pt x="12032" y="66766"/>
                    <a:pt x="12032" y="66766"/>
                    <a:pt x="12032" y="66766"/>
                  </a:cubicBezTo>
                  <a:cubicBezTo>
                    <a:pt x="9430" y="69924"/>
                    <a:pt x="9430" y="69924"/>
                    <a:pt x="9430" y="69924"/>
                  </a:cubicBezTo>
                  <a:cubicBezTo>
                    <a:pt x="8455" y="69473"/>
                    <a:pt x="8455" y="69473"/>
                    <a:pt x="8455" y="69473"/>
                  </a:cubicBezTo>
                  <a:cubicBezTo>
                    <a:pt x="7804" y="69924"/>
                    <a:pt x="7804" y="69924"/>
                    <a:pt x="7804" y="69924"/>
                  </a:cubicBezTo>
                  <a:cubicBezTo>
                    <a:pt x="7154" y="70827"/>
                    <a:pt x="7154" y="70827"/>
                    <a:pt x="7154" y="70827"/>
                  </a:cubicBezTo>
                  <a:cubicBezTo>
                    <a:pt x="7154" y="70827"/>
                    <a:pt x="7479" y="70827"/>
                    <a:pt x="6829" y="71729"/>
                  </a:cubicBezTo>
                  <a:cubicBezTo>
                    <a:pt x="6178" y="72180"/>
                    <a:pt x="4878" y="72631"/>
                    <a:pt x="4878" y="72631"/>
                  </a:cubicBezTo>
                  <a:cubicBezTo>
                    <a:pt x="4227" y="72631"/>
                    <a:pt x="4227" y="72631"/>
                    <a:pt x="4227" y="72631"/>
                  </a:cubicBezTo>
                  <a:cubicBezTo>
                    <a:pt x="1951" y="72631"/>
                    <a:pt x="1951" y="72631"/>
                    <a:pt x="1951" y="72631"/>
                  </a:cubicBezTo>
                  <a:cubicBezTo>
                    <a:pt x="1951" y="72631"/>
                    <a:pt x="1951" y="72631"/>
                    <a:pt x="1951" y="72631"/>
                  </a:cubicBezTo>
                  <a:cubicBezTo>
                    <a:pt x="1951" y="72631"/>
                    <a:pt x="1951" y="72631"/>
                    <a:pt x="1951" y="72631"/>
                  </a:cubicBezTo>
                  <a:cubicBezTo>
                    <a:pt x="1951" y="72631"/>
                    <a:pt x="1626" y="72180"/>
                    <a:pt x="1300" y="72631"/>
                  </a:cubicBezTo>
                  <a:cubicBezTo>
                    <a:pt x="1300" y="72631"/>
                    <a:pt x="975" y="72631"/>
                    <a:pt x="975" y="72631"/>
                  </a:cubicBezTo>
                  <a:cubicBezTo>
                    <a:pt x="975" y="72631"/>
                    <a:pt x="975" y="72631"/>
                    <a:pt x="975" y="72631"/>
                  </a:cubicBezTo>
                  <a:cubicBezTo>
                    <a:pt x="650" y="72631"/>
                    <a:pt x="650" y="72631"/>
                    <a:pt x="650" y="72631"/>
                  </a:cubicBezTo>
                  <a:cubicBezTo>
                    <a:pt x="650" y="72631"/>
                    <a:pt x="650" y="72631"/>
                    <a:pt x="650" y="72631"/>
                  </a:cubicBezTo>
                  <a:cubicBezTo>
                    <a:pt x="650" y="72631"/>
                    <a:pt x="650" y="72631"/>
                    <a:pt x="650" y="72631"/>
                  </a:cubicBezTo>
                  <a:cubicBezTo>
                    <a:pt x="650" y="72631"/>
                    <a:pt x="650" y="72631"/>
                    <a:pt x="650" y="72631"/>
                  </a:cubicBezTo>
                  <a:cubicBezTo>
                    <a:pt x="650" y="72631"/>
                    <a:pt x="650" y="72631"/>
                    <a:pt x="650" y="72631"/>
                  </a:cubicBezTo>
                  <a:cubicBezTo>
                    <a:pt x="650" y="72631"/>
                    <a:pt x="650" y="72631"/>
                    <a:pt x="650" y="72631"/>
                  </a:cubicBezTo>
                  <a:cubicBezTo>
                    <a:pt x="650" y="72631"/>
                    <a:pt x="650" y="72631"/>
                    <a:pt x="650" y="72631"/>
                  </a:cubicBezTo>
                  <a:cubicBezTo>
                    <a:pt x="650" y="72631"/>
                    <a:pt x="650" y="72631"/>
                    <a:pt x="650" y="72631"/>
                  </a:cubicBezTo>
                  <a:cubicBezTo>
                    <a:pt x="650" y="72631"/>
                    <a:pt x="650" y="72631"/>
                    <a:pt x="650" y="72631"/>
                  </a:cubicBezTo>
                  <a:cubicBezTo>
                    <a:pt x="325" y="72631"/>
                    <a:pt x="325" y="72631"/>
                    <a:pt x="325" y="72631"/>
                  </a:cubicBezTo>
                  <a:cubicBezTo>
                    <a:pt x="325" y="72631"/>
                    <a:pt x="325" y="72631"/>
                    <a:pt x="325" y="72631"/>
                  </a:cubicBezTo>
                  <a:cubicBezTo>
                    <a:pt x="325" y="72631"/>
                    <a:pt x="325" y="72631"/>
                    <a:pt x="325" y="72631"/>
                  </a:cubicBezTo>
                  <a:cubicBezTo>
                    <a:pt x="325" y="72631"/>
                    <a:pt x="325" y="72631"/>
                    <a:pt x="325" y="72631"/>
                  </a:cubicBezTo>
                  <a:cubicBezTo>
                    <a:pt x="325" y="72631"/>
                    <a:pt x="325" y="72631"/>
                    <a:pt x="325" y="72631"/>
                  </a:cubicBezTo>
                  <a:cubicBezTo>
                    <a:pt x="325" y="72631"/>
                    <a:pt x="325" y="72631"/>
                    <a:pt x="325" y="72631"/>
                  </a:cubicBezTo>
                  <a:cubicBezTo>
                    <a:pt x="0" y="72631"/>
                    <a:pt x="0" y="72631"/>
                    <a:pt x="0" y="72631"/>
                  </a:cubicBezTo>
                  <a:cubicBezTo>
                    <a:pt x="0" y="72631"/>
                    <a:pt x="0" y="72631"/>
                    <a:pt x="0" y="72631"/>
                  </a:cubicBezTo>
                  <a:cubicBezTo>
                    <a:pt x="0" y="72631"/>
                    <a:pt x="0" y="72631"/>
                    <a:pt x="0" y="72631"/>
                  </a:cubicBezTo>
                  <a:cubicBezTo>
                    <a:pt x="0" y="72631"/>
                    <a:pt x="0" y="72631"/>
                    <a:pt x="0" y="72631"/>
                  </a:cubicBezTo>
                  <a:cubicBezTo>
                    <a:pt x="0" y="72631"/>
                    <a:pt x="0" y="72631"/>
                    <a:pt x="0" y="72631"/>
                  </a:cubicBezTo>
                  <a:cubicBezTo>
                    <a:pt x="0" y="72631"/>
                    <a:pt x="0" y="72631"/>
                    <a:pt x="0" y="72631"/>
                  </a:cubicBezTo>
                  <a:cubicBezTo>
                    <a:pt x="0" y="72631"/>
                    <a:pt x="0" y="72631"/>
                    <a:pt x="0" y="72631"/>
                  </a:cubicBezTo>
                  <a:cubicBezTo>
                    <a:pt x="0" y="72631"/>
                    <a:pt x="0" y="72631"/>
                    <a:pt x="0" y="72631"/>
                  </a:cubicBezTo>
                  <a:cubicBezTo>
                    <a:pt x="0" y="72631"/>
                    <a:pt x="0" y="72631"/>
                    <a:pt x="0" y="72631"/>
                  </a:cubicBezTo>
                  <a:cubicBezTo>
                    <a:pt x="0" y="72631"/>
                    <a:pt x="0" y="72631"/>
                    <a:pt x="0" y="72631"/>
                  </a:cubicBezTo>
                  <a:cubicBezTo>
                    <a:pt x="0" y="72631"/>
                    <a:pt x="0" y="72631"/>
                    <a:pt x="0" y="72631"/>
                  </a:cubicBezTo>
                  <a:cubicBezTo>
                    <a:pt x="0" y="72631"/>
                    <a:pt x="0" y="72631"/>
                    <a:pt x="0" y="72631"/>
                  </a:cubicBezTo>
                  <a:cubicBezTo>
                    <a:pt x="0" y="72631"/>
                    <a:pt x="325" y="73082"/>
                    <a:pt x="650" y="73082"/>
                  </a:cubicBezTo>
                  <a:cubicBezTo>
                    <a:pt x="1300" y="73533"/>
                    <a:pt x="1626" y="74887"/>
                    <a:pt x="1951" y="74887"/>
                  </a:cubicBezTo>
                  <a:cubicBezTo>
                    <a:pt x="2601" y="75338"/>
                    <a:pt x="3252" y="75338"/>
                    <a:pt x="3577" y="75338"/>
                  </a:cubicBezTo>
                  <a:cubicBezTo>
                    <a:pt x="3902" y="75789"/>
                    <a:pt x="4552" y="76240"/>
                    <a:pt x="4552" y="76240"/>
                  </a:cubicBezTo>
                  <a:cubicBezTo>
                    <a:pt x="4552" y="76240"/>
                    <a:pt x="6178" y="78496"/>
                    <a:pt x="6504" y="78496"/>
                  </a:cubicBezTo>
                  <a:cubicBezTo>
                    <a:pt x="6829" y="78496"/>
                    <a:pt x="6829" y="78496"/>
                    <a:pt x="7154" y="79398"/>
                  </a:cubicBezTo>
                  <a:cubicBezTo>
                    <a:pt x="7479" y="79849"/>
                    <a:pt x="8455" y="79398"/>
                    <a:pt x="8455" y="79398"/>
                  </a:cubicBezTo>
                  <a:cubicBezTo>
                    <a:pt x="8455" y="79398"/>
                    <a:pt x="8780" y="80751"/>
                    <a:pt x="8455" y="81203"/>
                  </a:cubicBezTo>
                  <a:cubicBezTo>
                    <a:pt x="8455" y="81654"/>
                    <a:pt x="8455" y="83007"/>
                    <a:pt x="8455" y="83007"/>
                  </a:cubicBezTo>
                  <a:cubicBezTo>
                    <a:pt x="8455" y="83007"/>
                    <a:pt x="8455" y="83458"/>
                    <a:pt x="8455" y="83909"/>
                  </a:cubicBezTo>
                  <a:cubicBezTo>
                    <a:pt x="8780" y="84812"/>
                    <a:pt x="9105" y="84812"/>
                    <a:pt x="9105" y="85714"/>
                  </a:cubicBezTo>
                  <a:cubicBezTo>
                    <a:pt x="9430" y="86165"/>
                    <a:pt x="9105" y="86165"/>
                    <a:pt x="9430" y="86616"/>
                  </a:cubicBezTo>
                  <a:cubicBezTo>
                    <a:pt x="9756" y="87067"/>
                    <a:pt x="10081" y="87969"/>
                    <a:pt x="10406" y="87969"/>
                  </a:cubicBezTo>
                  <a:cubicBezTo>
                    <a:pt x="10731" y="87969"/>
                    <a:pt x="11056" y="87969"/>
                    <a:pt x="12032" y="88421"/>
                  </a:cubicBezTo>
                  <a:cubicBezTo>
                    <a:pt x="13008" y="89323"/>
                    <a:pt x="13333" y="89323"/>
                    <a:pt x="13658" y="89774"/>
                  </a:cubicBezTo>
                  <a:cubicBezTo>
                    <a:pt x="14308" y="90225"/>
                    <a:pt x="13983" y="89774"/>
                    <a:pt x="14959" y="90225"/>
                  </a:cubicBezTo>
                  <a:cubicBezTo>
                    <a:pt x="16260" y="90676"/>
                    <a:pt x="15934" y="90225"/>
                    <a:pt x="16260" y="90676"/>
                  </a:cubicBezTo>
                  <a:cubicBezTo>
                    <a:pt x="16585" y="90676"/>
                    <a:pt x="16260" y="90225"/>
                    <a:pt x="16910" y="90676"/>
                  </a:cubicBezTo>
                  <a:cubicBezTo>
                    <a:pt x="17886" y="90676"/>
                    <a:pt x="18536" y="91127"/>
                    <a:pt x="18536" y="91127"/>
                  </a:cubicBezTo>
                  <a:cubicBezTo>
                    <a:pt x="18536" y="92030"/>
                    <a:pt x="18536" y="92030"/>
                    <a:pt x="18536" y="92030"/>
                  </a:cubicBezTo>
                  <a:cubicBezTo>
                    <a:pt x="17886" y="93834"/>
                    <a:pt x="17886" y="93834"/>
                    <a:pt x="17886" y="93834"/>
                  </a:cubicBezTo>
                  <a:cubicBezTo>
                    <a:pt x="17886" y="95187"/>
                    <a:pt x="17886" y="95187"/>
                    <a:pt x="17886" y="95187"/>
                  </a:cubicBezTo>
                  <a:cubicBezTo>
                    <a:pt x="17886" y="95187"/>
                    <a:pt x="17235" y="95187"/>
                    <a:pt x="17886" y="95639"/>
                  </a:cubicBezTo>
                  <a:cubicBezTo>
                    <a:pt x="18536" y="96090"/>
                    <a:pt x="19837" y="96541"/>
                    <a:pt x="19837" y="96541"/>
                  </a:cubicBezTo>
                  <a:cubicBezTo>
                    <a:pt x="20813" y="97443"/>
                    <a:pt x="20813" y="97443"/>
                    <a:pt x="20813" y="97443"/>
                  </a:cubicBezTo>
                  <a:cubicBezTo>
                    <a:pt x="20813" y="97443"/>
                    <a:pt x="20162" y="98796"/>
                    <a:pt x="19837" y="99248"/>
                  </a:cubicBezTo>
                  <a:cubicBezTo>
                    <a:pt x="19512" y="99248"/>
                    <a:pt x="18536" y="99248"/>
                    <a:pt x="18536" y="99248"/>
                  </a:cubicBezTo>
                  <a:cubicBezTo>
                    <a:pt x="18536" y="99248"/>
                    <a:pt x="18211" y="100601"/>
                    <a:pt x="18861" y="100601"/>
                  </a:cubicBezTo>
                  <a:cubicBezTo>
                    <a:pt x="19186" y="101052"/>
                    <a:pt x="19837" y="101052"/>
                    <a:pt x="20162" y="101052"/>
                  </a:cubicBezTo>
                  <a:cubicBezTo>
                    <a:pt x="20487" y="101052"/>
                    <a:pt x="21138" y="101503"/>
                    <a:pt x="21138" y="101503"/>
                  </a:cubicBezTo>
                  <a:cubicBezTo>
                    <a:pt x="21138" y="101503"/>
                    <a:pt x="21463" y="101503"/>
                    <a:pt x="21788" y="101954"/>
                  </a:cubicBezTo>
                  <a:cubicBezTo>
                    <a:pt x="21788" y="102857"/>
                    <a:pt x="22113" y="103308"/>
                    <a:pt x="22439" y="103308"/>
                  </a:cubicBezTo>
                  <a:cubicBezTo>
                    <a:pt x="22764" y="103308"/>
                    <a:pt x="23414" y="103308"/>
                    <a:pt x="23739" y="103308"/>
                  </a:cubicBezTo>
                  <a:cubicBezTo>
                    <a:pt x="24065" y="103308"/>
                    <a:pt x="24065" y="102857"/>
                    <a:pt x="24390" y="102857"/>
                  </a:cubicBezTo>
                  <a:cubicBezTo>
                    <a:pt x="24715" y="103308"/>
                    <a:pt x="26666" y="102857"/>
                    <a:pt x="26666" y="102857"/>
                  </a:cubicBezTo>
                  <a:cubicBezTo>
                    <a:pt x="26666" y="102857"/>
                    <a:pt x="26666" y="102857"/>
                    <a:pt x="26991" y="103759"/>
                  </a:cubicBezTo>
                  <a:cubicBezTo>
                    <a:pt x="27642" y="105112"/>
                    <a:pt x="28617" y="105563"/>
                    <a:pt x="28617" y="105563"/>
                  </a:cubicBezTo>
                  <a:cubicBezTo>
                    <a:pt x="28617" y="105563"/>
                    <a:pt x="28943" y="106015"/>
                    <a:pt x="28943" y="105563"/>
                  </a:cubicBezTo>
                  <a:cubicBezTo>
                    <a:pt x="28943" y="105112"/>
                    <a:pt x="29268" y="104661"/>
                    <a:pt x="29268" y="104661"/>
                  </a:cubicBezTo>
                  <a:cubicBezTo>
                    <a:pt x="29268" y="104661"/>
                    <a:pt x="29918" y="103308"/>
                    <a:pt x="29918" y="102857"/>
                  </a:cubicBezTo>
                  <a:cubicBezTo>
                    <a:pt x="30243" y="102406"/>
                    <a:pt x="30569" y="101052"/>
                    <a:pt x="30894" y="101052"/>
                  </a:cubicBezTo>
                  <a:cubicBezTo>
                    <a:pt x="31219" y="100601"/>
                    <a:pt x="32195" y="99699"/>
                    <a:pt x="32195" y="99699"/>
                  </a:cubicBezTo>
                  <a:cubicBezTo>
                    <a:pt x="32195" y="99699"/>
                    <a:pt x="32195" y="99248"/>
                    <a:pt x="32845" y="99699"/>
                  </a:cubicBezTo>
                  <a:cubicBezTo>
                    <a:pt x="33170" y="100601"/>
                    <a:pt x="34146" y="101503"/>
                    <a:pt x="34146" y="101503"/>
                  </a:cubicBezTo>
                  <a:cubicBezTo>
                    <a:pt x="35772" y="101503"/>
                    <a:pt x="35772" y="101503"/>
                    <a:pt x="35772" y="101503"/>
                  </a:cubicBezTo>
                  <a:cubicBezTo>
                    <a:pt x="35772" y="101503"/>
                    <a:pt x="36747" y="101954"/>
                    <a:pt x="36747" y="102406"/>
                  </a:cubicBezTo>
                  <a:cubicBezTo>
                    <a:pt x="36747" y="102857"/>
                    <a:pt x="36422" y="102857"/>
                    <a:pt x="35772" y="103308"/>
                  </a:cubicBezTo>
                  <a:cubicBezTo>
                    <a:pt x="35447" y="103308"/>
                    <a:pt x="34471" y="101954"/>
                    <a:pt x="34471" y="102406"/>
                  </a:cubicBezTo>
                  <a:cubicBezTo>
                    <a:pt x="34146" y="102857"/>
                    <a:pt x="34146" y="103759"/>
                    <a:pt x="34146" y="103759"/>
                  </a:cubicBezTo>
                  <a:cubicBezTo>
                    <a:pt x="32845" y="104661"/>
                    <a:pt x="32845" y="104661"/>
                    <a:pt x="32845" y="104661"/>
                  </a:cubicBezTo>
                  <a:cubicBezTo>
                    <a:pt x="33170" y="105563"/>
                    <a:pt x="33170" y="105563"/>
                    <a:pt x="33170" y="105563"/>
                  </a:cubicBezTo>
                  <a:cubicBezTo>
                    <a:pt x="33170" y="105563"/>
                    <a:pt x="34796" y="106466"/>
                    <a:pt x="34796" y="106917"/>
                  </a:cubicBezTo>
                  <a:cubicBezTo>
                    <a:pt x="34796" y="107368"/>
                    <a:pt x="34796" y="108270"/>
                    <a:pt x="34796" y="108270"/>
                  </a:cubicBezTo>
                  <a:cubicBezTo>
                    <a:pt x="35772" y="108721"/>
                    <a:pt x="35772" y="108721"/>
                    <a:pt x="35772" y="108721"/>
                  </a:cubicBezTo>
                  <a:cubicBezTo>
                    <a:pt x="36422" y="108270"/>
                    <a:pt x="36422" y="108270"/>
                    <a:pt x="36422" y="108270"/>
                  </a:cubicBezTo>
                  <a:cubicBezTo>
                    <a:pt x="36422" y="110075"/>
                    <a:pt x="36422" y="110075"/>
                    <a:pt x="36422" y="110075"/>
                  </a:cubicBezTo>
                  <a:cubicBezTo>
                    <a:pt x="36422" y="111879"/>
                    <a:pt x="36422" y="111879"/>
                    <a:pt x="36422" y="111879"/>
                  </a:cubicBezTo>
                  <a:cubicBezTo>
                    <a:pt x="36422" y="111879"/>
                    <a:pt x="36422" y="111879"/>
                    <a:pt x="36422" y="111879"/>
                  </a:cubicBezTo>
                  <a:cubicBezTo>
                    <a:pt x="36422" y="111879"/>
                    <a:pt x="36422" y="111879"/>
                    <a:pt x="36422" y="111879"/>
                  </a:cubicBezTo>
                  <a:cubicBezTo>
                    <a:pt x="38699" y="110977"/>
                    <a:pt x="40650" y="112781"/>
                    <a:pt x="41626" y="112781"/>
                  </a:cubicBezTo>
                  <a:cubicBezTo>
                    <a:pt x="43577" y="113233"/>
                    <a:pt x="39349" y="116390"/>
                    <a:pt x="40000" y="116390"/>
                  </a:cubicBezTo>
                  <a:cubicBezTo>
                    <a:pt x="40650" y="115939"/>
                    <a:pt x="40000" y="118646"/>
                    <a:pt x="40975" y="119097"/>
                  </a:cubicBezTo>
                  <a:cubicBezTo>
                    <a:pt x="42601" y="119548"/>
                    <a:pt x="43902" y="117744"/>
                    <a:pt x="45853" y="117744"/>
                  </a:cubicBezTo>
                  <a:cubicBezTo>
                    <a:pt x="47479" y="117293"/>
                    <a:pt x="49430" y="118646"/>
                    <a:pt x="50081" y="117744"/>
                  </a:cubicBezTo>
                  <a:cubicBezTo>
                    <a:pt x="51382" y="115488"/>
                    <a:pt x="56585" y="120000"/>
                    <a:pt x="59186" y="117744"/>
                  </a:cubicBezTo>
                  <a:cubicBezTo>
                    <a:pt x="60813" y="115939"/>
                    <a:pt x="67317" y="115037"/>
                    <a:pt x="69593" y="115037"/>
                  </a:cubicBezTo>
                  <a:cubicBezTo>
                    <a:pt x="75447" y="114586"/>
                    <a:pt x="75772" y="114586"/>
                    <a:pt x="78373" y="112330"/>
                  </a:cubicBezTo>
                  <a:cubicBezTo>
                    <a:pt x="78373" y="112330"/>
                    <a:pt x="80000" y="107368"/>
                    <a:pt x="80975" y="105112"/>
                  </a:cubicBezTo>
                  <a:cubicBezTo>
                    <a:pt x="81626" y="103308"/>
                    <a:pt x="83577" y="102406"/>
                    <a:pt x="85528" y="100601"/>
                  </a:cubicBezTo>
                  <a:cubicBezTo>
                    <a:pt x="87154" y="98796"/>
                    <a:pt x="91382" y="96992"/>
                    <a:pt x="92357" y="96541"/>
                  </a:cubicBezTo>
                  <a:cubicBezTo>
                    <a:pt x="93333" y="96541"/>
                    <a:pt x="100162" y="96992"/>
                    <a:pt x="100162" y="96992"/>
                  </a:cubicBezTo>
                  <a:cubicBezTo>
                    <a:pt x="103739" y="95639"/>
                    <a:pt x="103739" y="95639"/>
                    <a:pt x="103739" y="95639"/>
                  </a:cubicBezTo>
                  <a:cubicBezTo>
                    <a:pt x="103739" y="95639"/>
                    <a:pt x="104390" y="99248"/>
                    <a:pt x="105365" y="99699"/>
                  </a:cubicBezTo>
                  <a:cubicBezTo>
                    <a:pt x="109593" y="100601"/>
                    <a:pt x="112195" y="100150"/>
                    <a:pt x="112520" y="96992"/>
                  </a:cubicBezTo>
                  <a:cubicBezTo>
                    <a:pt x="112845" y="94736"/>
                    <a:pt x="111219" y="90676"/>
                    <a:pt x="110894" y="87518"/>
                  </a:cubicBezTo>
                  <a:cubicBezTo>
                    <a:pt x="110569" y="83909"/>
                    <a:pt x="111869" y="80300"/>
                    <a:pt x="111869" y="77142"/>
                  </a:cubicBezTo>
                  <a:cubicBezTo>
                    <a:pt x="111869" y="76691"/>
                    <a:pt x="111219" y="75789"/>
                    <a:pt x="113170" y="72180"/>
                  </a:cubicBezTo>
                  <a:cubicBezTo>
                    <a:pt x="114796" y="68571"/>
                    <a:pt x="119349" y="70375"/>
                    <a:pt x="120000" y="68120"/>
                  </a:cubicBezTo>
                  <a:cubicBezTo>
                    <a:pt x="118048" y="55488"/>
                    <a:pt x="118048" y="55488"/>
                    <a:pt x="118048" y="55488"/>
                  </a:cubicBezTo>
                  <a:cubicBezTo>
                    <a:pt x="117723" y="55488"/>
                    <a:pt x="117723" y="55488"/>
                    <a:pt x="117723" y="55488"/>
                  </a:cubicBezTo>
                  <a:cubicBezTo>
                    <a:pt x="117398" y="55488"/>
                    <a:pt x="117398" y="55488"/>
                    <a:pt x="117398" y="55488"/>
                  </a:cubicBezTo>
                  <a:cubicBezTo>
                    <a:pt x="116747" y="55037"/>
                    <a:pt x="116747" y="55037"/>
                    <a:pt x="116747" y="55037"/>
                  </a:cubicBezTo>
                  <a:cubicBezTo>
                    <a:pt x="116097" y="55037"/>
                    <a:pt x="116097" y="55037"/>
                    <a:pt x="116097" y="55037"/>
                  </a:cubicBezTo>
                  <a:cubicBezTo>
                    <a:pt x="115447" y="54586"/>
                    <a:pt x="115447" y="54586"/>
                    <a:pt x="115447" y="54586"/>
                  </a:cubicBezTo>
                  <a:cubicBezTo>
                    <a:pt x="114796" y="54135"/>
                    <a:pt x="114796" y="54135"/>
                    <a:pt x="114796" y="54135"/>
                  </a:cubicBezTo>
                  <a:cubicBezTo>
                    <a:pt x="114146" y="54135"/>
                    <a:pt x="114146" y="54135"/>
                    <a:pt x="114146" y="54135"/>
                  </a:cubicBezTo>
                  <a:cubicBezTo>
                    <a:pt x="114146" y="54135"/>
                    <a:pt x="114146" y="54135"/>
                    <a:pt x="114146" y="54135"/>
                  </a:cubicBezTo>
                  <a:cubicBezTo>
                    <a:pt x="113821" y="54135"/>
                    <a:pt x="113821" y="54135"/>
                    <a:pt x="113821" y="54135"/>
                  </a:cubicBezTo>
                  <a:cubicBezTo>
                    <a:pt x="111544" y="53684"/>
                    <a:pt x="108617" y="60902"/>
                    <a:pt x="108617" y="60902"/>
                  </a:cubicBezTo>
                  <a:cubicBezTo>
                    <a:pt x="107317" y="64060"/>
                    <a:pt x="107317" y="64060"/>
                    <a:pt x="107317" y="64060"/>
                  </a:cubicBezTo>
                  <a:cubicBezTo>
                    <a:pt x="104065" y="63157"/>
                    <a:pt x="100813" y="62706"/>
                    <a:pt x="98536" y="59097"/>
                  </a:cubicBezTo>
                  <a:cubicBezTo>
                    <a:pt x="98536" y="57744"/>
                    <a:pt x="98536" y="57744"/>
                    <a:pt x="98536" y="57744"/>
                  </a:cubicBezTo>
                  <a:cubicBezTo>
                    <a:pt x="98536" y="57744"/>
                    <a:pt x="98536" y="57744"/>
                    <a:pt x="98536" y="57744"/>
                  </a:cubicBezTo>
                  <a:cubicBezTo>
                    <a:pt x="98536" y="57744"/>
                    <a:pt x="98536" y="57744"/>
                    <a:pt x="98536" y="57744"/>
                  </a:cubicBezTo>
                  <a:cubicBezTo>
                    <a:pt x="98211" y="57293"/>
                    <a:pt x="98211" y="57293"/>
                    <a:pt x="98211" y="57293"/>
                  </a:cubicBezTo>
                  <a:cubicBezTo>
                    <a:pt x="98211" y="57293"/>
                    <a:pt x="97886" y="57293"/>
                    <a:pt x="97886" y="57293"/>
                  </a:cubicBezTo>
                  <a:cubicBezTo>
                    <a:pt x="97560" y="57293"/>
                    <a:pt x="97235" y="56842"/>
                    <a:pt x="97235" y="56842"/>
                  </a:cubicBezTo>
                  <a:cubicBezTo>
                    <a:pt x="97560" y="55939"/>
                    <a:pt x="97560" y="55939"/>
                    <a:pt x="97560" y="55939"/>
                  </a:cubicBezTo>
                  <a:cubicBezTo>
                    <a:pt x="97560" y="55939"/>
                    <a:pt x="97886" y="55488"/>
                    <a:pt x="97886" y="55488"/>
                  </a:cubicBezTo>
                  <a:cubicBezTo>
                    <a:pt x="98211" y="55488"/>
                    <a:pt x="97886" y="55488"/>
                    <a:pt x="97886" y="55037"/>
                  </a:cubicBezTo>
                  <a:cubicBezTo>
                    <a:pt x="97886" y="55037"/>
                    <a:pt x="97886" y="54135"/>
                    <a:pt x="97886" y="53684"/>
                  </a:cubicBezTo>
                  <a:cubicBezTo>
                    <a:pt x="97560" y="53233"/>
                    <a:pt x="97560" y="53233"/>
                    <a:pt x="97560" y="53233"/>
                  </a:cubicBezTo>
                  <a:cubicBezTo>
                    <a:pt x="97560" y="53233"/>
                    <a:pt x="97235" y="52330"/>
                    <a:pt x="96910" y="51879"/>
                  </a:cubicBezTo>
                  <a:cubicBezTo>
                    <a:pt x="96585" y="51879"/>
                    <a:pt x="96910" y="51428"/>
                    <a:pt x="96910" y="51428"/>
                  </a:cubicBezTo>
                  <a:cubicBezTo>
                    <a:pt x="96585" y="50977"/>
                    <a:pt x="96910" y="50977"/>
                    <a:pt x="96910" y="50526"/>
                  </a:cubicBezTo>
                  <a:cubicBezTo>
                    <a:pt x="96910" y="50526"/>
                    <a:pt x="96585" y="49624"/>
                    <a:pt x="96585" y="49624"/>
                  </a:cubicBezTo>
                  <a:cubicBezTo>
                    <a:pt x="96585" y="49624"/>
                    <a:pt x="95934" y="48270"/>
                    <a:pt x="95609" y="47368"/>
                  </a:cubicBezTo>
                  <a:cubicBezTo>
                    <a:pt x="95609" y="46917"/>
                    <a:pt x="95609" y="46466"/>
                    <a:pt x="95609" y="46466"/>
                  </a:cubicBezTo>
                  <a:cubicBezTo>
                    <a:pt x="95934" y="46015"/>
                    <a:pt x="95284" y="45563"/>
                    <a:pt x="95284" y="45563"/>
                  </a:cubicBezTo>
                  <a:cubicBezTo>
                    <a:pt x="95284" y="45563"/>
                    <a:pt x="95284" y="44661"/>
                    <a:pt x="95284" y="44661"/>
                  </a:cubicBezTo>
                  <a:cubicBezTo>
                    <a:pt x="95284" y="44661"/>
                    <a:pt x="95284" y="43759"/>
                    <a:pt x="95284" y="43759"/>
                  </a:cubicBezTo>
                  <a:cubicBezTo>
                    <a:pt x="95609" y="43308"/>
                    <a:pt x="95284" y="42857"/>
                    <a:pt x="95284" y="42406"/>
                  </a:cubicBezTo>
                  <a:cubicBezTo>
                    <a:pt x="95284" y="42406"/>
                    <a:pt x="94634" y="41954"/>
                    <a:pt x="94634" y="41954"/>
                  </a:cubicBezTo>
                  <a:cubicBezTo>
                    <a:pt x="94959" y="41052"/>
                    <a:pt x="94959" y="41052"/>
                    <a:pt x="94959" y="41052"/>
                  </a:cubicBezTo>
                  <a:cubicBezTo>
                    <a:pt x="94959" y="40601"/>
                    <a:pt x="94959" y="40601"/>
                    <a:pt x="94959" y="40601"/>
                  </a:cubicBezTo>
                  <a:cubicBezTo>
                    <a:pt x="94959" y="40601"/>
                    <a:pt x="95284" y="39699"/>
                    <a:pt x="95284" y="39699"/>
                  </a:cubicBezTo>
                  <a:cubicBezTo>
                    <a:pt x="95609" y="39248"/>
                    <a:pt x="95284" y="38796"/>
                    <a:pt x="94959" y="38796"/>
                  </a:cubicBezTo>
                  <a:cubicBezTo>
                    <a:pt x="94634" y="38796"/>
                    <a:pt x="94959" y="38345"/>
                    <a:pt x="94959" y="38345"/>
                  </a:cubicBezTo>
                  <a:cubicBezTo>
                    <a:pt x="95284" y="37443"/>
                    <a:pt x="95284" y="37443"/>
                    <a:pt x="95284" y="37443"/>
                  </a:cubicBezTo>
                  <a:cubicBezTo>
                    <a:pt x="94959" y="36090"/>
                    <a:pt x="94959" y="36090"/>
                    <a:pt x="94959" y="36090"/>
                  </a:cubicBezTo>
                  <a:cubicBezTo>
                    <a:pt x="94959" y="35639"/>
                    <a:pt x="94959" y="35639"/>
                    <a:pt x="94959" y="35639"/>
                  </a:cubicBezTo>
                  <a:cubicBezTo>
                    <a:pt x="94959" y="35639"/>
                    <a:pt x="94634" y="34736"/>
                    <a:pt x="94634" y="34736"/>
                  </a:cubicBezTo>
                  <a:cubicBezTo>
                    <a:pt x="94634" y="34285"/>
                    <a:pt x="94308" y="33383"/>
                    <a:pt x="94308" y="33383"/>
                  </a:cubicBezTo>
                  <a:cubicBezTo>
                    <a:pt x="94308" y="33383"/>
                    <a:pt x="94308" y="32932"/>
                    <a:pt x="94308" y="32932"/>
                  </a:cubicBezTo>
                  <a:cubicBezTo>
                    <a:pt x="94308" y="32481"/>
                    <a:pt x="94308" y="32481"/>
                    <a:pt x="94308" y="32481"/>
                  </a:cubicBezTo>
                  <a:cubicBezTo>
                    <a:pt x="94308" y="32030"/>
                    <a:pt x="93983" y="31578"/>
                    <a:pt x="93658" y="31127"/>
                  </a:cubicBezTo>
                  <a:cubicBezTo>
                    <a:pt x="93333" y="30225"/>
                    <a:pt x="93333" y="30225"/>
                    <a:pt x="93333" y="30225"/>
                  </a:cubicBezTo>
                  <a:cubicBezTo>
                    <a:pt x="93333" y="30225"/>
                    <a:pt x="92682" y="29323"/>
                    <a:pt x="92357" y="28872"/>
                  </a:cubicBezTo>
                  <a:cubicBezTo>
                    <a:pt x="92357" y="27969"/>
                    <a:pt x="92357" y="27969"/>
                    <a:pt x="92032" y="27518"/>
                  </a:cubicBezTo>
                  <a:cubicBezTo>
                    <a:pt x="92032" y="26616"/>
                    <a:pt x="91382" y="25714"/>
                    <a:pt x="91056" y="25714"/>
                  </a:cubicBezTo>
                  <a:cubicBezTo>
                    <a:pt x="91056" y="25714"/>
                    <a:pt x="90731" y="24360"/>
                    <a:pt x="90731" y="23909"/>
                  </a:cubicBezTo>
                  <a:cubicBezTo>
                    <a:pt x="90406" y="23909"/>
                    <a:pt x="89756" y="23458"/>
                    <a:pt x="89756" y="23458"/>
                  </a:cubicBezTo>
                  <a:cubicBezTo>
                    <a:pt x="89430" y="23458"/>
                    <a:pt x="88780" y="23007"/>
                    <a:pt x="88780" y="23007"/>
                  </a:cubicBezTo>
                  <a:cubicBezTo>
                    <a:pt x="87804" y="22556"/>
                    <a:pt x="87804" y="22556"/>
                    <a:pt x="87804" y="22556"/>
                  </a:cubicBezTo>
                  <a:cubicBezTo>
                    <a:pt x="86829" y="21203"/>
                    <a:pt x="86829" y="21203"/>
                    <a:pt x="86829" y="21203"/>
                  </a:cubicBezTo>
                  <a:cubicBezTo>
                    <a:pt x="86829" y="21203"/>
                    <a:pt x="86504" y="21203"/>
                    <a:pt x="86178" y="20751"/>
                  </a:cubicBezTo>
                  <a:cubicBezTo>
                    <a:pt x="86178" y="20751"/>
                    <a:pt x="85853" y="19849"/>
                    <a:pt x="85853" y="19849"/>
                  </a:cubicBezTo>
                  <a:cubicBezTo>
                    <a:pt x="85528" y="18947"/>
                    <a:pt x="85528" y="18947"/>
                    <a:pt x="85528" y="18947"/>
                  </a:cubicBezTo>
                  <a:cubicBezTo>
                    <a:pt x="83577" y="18045"/>
                    <a:pt x="83577" y="18045"/>
                    <a:pt x="83577" y="18045"/>
                  </a:cubicBezTo>
                  <a:cubicBezTo>
                    <a:pt x="83577" y="18045"/>
                    <a:pt x="83252" y="17142"/>
                    <a:pt x="83252" y="17142"/>
                  </a:cubicBezTo>
                  <a:cubicBezTo>
                    <a:pt x="83252" y="16691"/>
                    <a:pt x="82926" y="16691"/>
                    <a:pt x="82926" y="16240"/>
                  </a:cubicBezTo>
                  <a:cubicBezTo>
                    <a:pt x="82926" y="15789"/>
                    <a:pt x="82601" y="15789"/>
                    <a:pt x="82601" y="15338"/>
                  </a:cubicBezTo>
                  <a:cubicBezTo>
                    <a:pt x="82601" y="14887"/>
                    <a:pt x="82276" y="14887"/>
                    <a:pt x="82276" y="14887"/>
                  </a:cubicBezTo>
                  <a:cubicBezTo>
                    <a:pt x="81951" y="14887"/>
                    <a:pt x="81626" y="14887"/>
                    <a:pt x="81626" y="14887"/>
                  </a:cubicBezTo>
                  <a:cubicBezTo>
                    <a:pt x="81626" y="14887"/>
                    <a:pt x="81300" y="14436"/>
                    <a:pt x="81300" y="14436"/>
                  </a:cubicBezTo>
                  <a:cubicBezTo>
                    <a:pt x="81300" y="14436"/>
                    <a:pt x="80650" y="13533"/>
                    <a:pt x="80325" y="13533"/>
                  </a:cubicBezTo>
                  <a:cubicBezTo>
                    <a:pt x="80325" y="13082"/>
                    <a:pt x="80325" y="13082"/>
                    <a:pt x="80325" y="13082"/>
                  </a:cubicBezTo>
                  <a:cubicBezTo>
                    <a:pt x="80325" y="13082"/>
                    <a:pt x="80325" y="13082"/>
                    <a:pt x="80000" y="13082"/>
                  </a:cubicBezTo>
                  <a:cubicBezTo>
                    <a:pt x="79674" y="13082"/>
                    <a:pt x="79674" y="13082"/>
                    <a:pt x="79674" y="12631"/>
                  </a:cubicBezTo>
                  <a:cubicBezTo>
                    <a:pt x="79349" y="12631"/>
                    <a:pt x="79349" y="11729"/>
                    <a:pt x="79024" y="11729"/>
                  </a:cubicBezTo>
                  <a:cubicBezTo>
                    <a:pt x="79024" y="11729"/>
                    <a:pt x="79024" y="11729"/>
                    <a:pt x="78699" y="11729"/>
                  </a:cubicBezTo>
                  <a:cubicBezTo>
                    <a:pt x="78373" y="11729"/>
                    <a:pt x="78048" y="10827"/>
                    <a:pt x="78048" y="10827"/>
                  </a:cubicBezTo>
                  <a:cubicBezTo>
                    <a:pt x="77723" y="10827"/>
                    <a:pt x="78048" y="10375"/>
                    <a:pt x="78048" y="9924"/>
                  </a:cubicBezTo>
                  <a:cubicBezTo>
                    <a:pt x="78048" y="9473"/>
                    <a:pt x="77723" y="9473"/>
                    <a:pt x="77723" y="9473"/>
                  </a:cubicBezTo>
                  <a:cubicBezTo>
                    <a:pt x="77723" y="9473"/>
                    <a:pt x="77723" y="9473"/>
                    <a:pt x="77723" y="9473"/>
                  </a:cubicBezTo>
                  <a:cubicBezTo>
                    <a:pt x="77723" y="9473"/>
                    <a:pt x="77398" y="9473"/>
                    <a:pt x="77398" y="9022"/>
                  </a:cubicBezTo>
                  <a:cubicBezTo>
                    <a:pt x="77398" y="9022"/>
                    <a:pt x="77073" y="8571"/>
                    <a:pt x="77073" y="8120"/>
                  </a:cubicBezTo>
                  <a:cubicBezTo>
                    <a:pt x="77073" y="7669"/>
                    <a:pt x="77073" y="7669"/>
                    <a:pt x="77073" y="7669"/>
                  </a:cubicBezTo>
                  <a:cubicBezTo>
                    <a:pt x="77073" y="7669"/>
                    <a:pt x="76747" y="7218"/>
                    <a:pt x="76747" y="7218"/>
                  </a:cubicBezTo>
                  <a:cubicBezTo>
                    <a:pt x="76422" y="6766"/>
                    <a:pt x="76422" y="6766"/>
                    <a:pt x="76422" y="6766"/>
                  </a:cubicBezTo>
                  <a:cubicBezTo>
                    <a:pt x="76422" y="6315"/>
                    <a:pt x="76422" y="6315"/>
                    <a:pt x="76422" y="6315"/>
                  </a:cubicBezTo>
                  <a:cubicBezTo>
                    <a:pt x="76097" y="6315"/>
                    <a:pt x="76097" y="6315"/>
                    <a:pt x="76097" y="6315"/>
                  </a:cubicBezTo>
                  <a:cubicBezTo>
                    <a:pt x="75772" y="6315"/>
                    <a:pt x="75772" y="5864"/>
                    <a:pt x="75772" y="5413"/>
                  </a:cubicBezTo>
                  <a:cubicBezTo>
                    <a:pt x="75772" y="5413"/>
                    <a:pt x="75772" y="5413"/>
                    <a:pt x="75772" y="5413"/>
                  </a:cubicBezTo>
                  <a:cubicBezTo>
                    <a:pt x="75447" y="4962"/>
                    <a:pt x="75447" y="4962"/>
                    <a:pt x="75447" y="4962"/>
                  </a:cubicBezTo>
                  <a:cubicBezTo>
                    <a:pt x="75121" y="4511"/>
                    <a:pt x="75121" y="4511"/>
                    <a:pt x="75121" y="4511"/>
                  </a:cubicBezTo>
                  <a:cubicBezTo>
                    <a:pt x="74796" y="4060"/>
                    <a:pt x="74796" y="4060"/>
                    <a:pt x="74796" y="4060"/>
                  </a:cubicBezTo>
                  <a:cubicBezTo>
                    <a:pt x="74796" y="4060"/>
                    <a:pt x="74471" y="3609"/>
                    <a:pt x="74471" y="3609"/>
                  </a:cubicBezTo>
                  <a:cubicBezTo>
                    <a:pt x="74146" y="3157"/>
                    <a:pt x="73821" y="2706"/>
                    <a:pt x="73821" y="2706"/>
                  </a:cubicBezTo>
                  <a:cubicBezTo>
                    <a:pt x="73821" y="2706"/>
                    <a:pt x="73821" y="2255"/>
                    <a:pt x="73821" y="2255"/>
                  </a:cubicBezTo>
                  <a:cubicBezTo>
                    <a:pt x="73821" y="2255"/>
                    <a:pt x="73495" y="2255"/>
                    <a:pt x="73495" y="2255"/>
                  </a:cubicBezTo>
                  <a:cubicBezTo>
                    <a:pt x="72845" y="2255"/>
                    <a:pt x="72845" y="2255"/>
                    <a:pt x="72845" y="2255"/>
                  </a:cubicBezTo>
                  <a:cubicBezTo>
                    <a:pt x="72845" y="1353"/>
                    <a:pt x="72845" y="1353"/>
                    <a:pt x="72845" y="1353"/>
                  </a:cubicBezTo>
                  <a:cubicBezTo>
                    <a:pt x="72845" y="1353"/>
                    <a:pt x="72845" y="1353"/>
                    <a:pt x="72520" y="1353"/>
                  </a:cubicBezTo>
                  <a:cubicBezTo>
                    <a:pt x="72195" y="1353"/>
                    <a:pt x="72195" y="902"/>
                    <a:pt x="72195" y="902"/>
                  </a:cubicBezTo>
                  <a:cubicBezTo>
                    <a:pt x="72195" y="451"/>
                    <a:pt x="72195" y="451"/>
                    <a:pt x="72195" y="451"/>
                  </a:cubicBezTo>
                  <a:cubicBezTo>
                    <a:pt x="71219" y="902"/>
                    <a:pt x="71219" y="902"/>
                    <a:pt x="71219" y="902"/>
                  </a:cubicBezTo>
                  <a:cubicBezTo>
                    <a:pt x="71219" y="902"/>
                    <a:pt x="71219" y="902"/>
                    <a:pt x="71219" y="902"/>
                  </a:cubicBezTo>
                  <a:cubicBezTo>
                    <a:pt x="71219" y="902"/>
                    <a:pt x="70569" y="451"/>
                    <a:pt x="70569" y="451"/>
                  </a:cubicBezTo>
                  <a:cubicBezTo>
                    <a:pt x="70569" y="0"/>
                    <a:pt x="70243" y="0"/>
                    <a:pt x="70243" y="0"/>
                  </a:cubicBezTo>
                  <a:cubicBezTo>
                    <a:pt x="69918" y="451"/>
                    <a:pt x="69918" y="451"/>
                    <a:pt x="69918" y="451"/>
                  </a:cubicBezTo>
                  <a:cubicBezTo>
                    <a:pt x="69268" y="451"/>
                    <a:pt x="69268" y="451"/>
                    <a:pt x="69268" y="451"/>
                  </a:cubicBezTo>
                  <a:cubicBezTo>
                    <a:pt x="68943" y="451"/>
                    <a:pt x="68943" y="451"/>
                    <a:pt x="68943" y="451"/>
                  </a:cubicBezTo>
                  <a:cubicBezTo>
                    <a:pt x="68617" y="0"/>
                    <a:pt x="68617" y="0"/>
                    <a:pt x="68617" y="0"/>
                  </a:cubicBezTo>
                  <a:cubicBezTo>
                    <a:pt x="67642" y="451"/>
                    <a:pt x="67317" y="451"/>
                    <a:pt x="67317" y="451"/>
                  </a:cubicBezTo>
                  <a:cubicBezTo>
                    <a:pt x="66341" y="902"/>
                    <a:pt x="64715" y="2255"/>
                    <a:pt x="64715" y="3157"/>
                  </a:cubicBezTo>
                  <a:cubicBezTo>
                    <a:pt x="64390" y="4060"/>
                    <a:pt x="64715" y="6315"/>
                    <a:pt x="64065" y="6766"/>
                  </a:cubicBezTo>
                  <a:cubicBezTo>
                    <a:pt x="63089" y="6766"/>
                    <a:pt x="62113" y="9022"/>
                    <a:pt x="61788" y="9022"/>
                  </a:cubicBezTo>
                  <a:cubicBezTo>
                    <a:pt x="58861" y="11278"/>
                    <a:pt x="58861" y="11278"/>
                    <a:pt x="58861" y="11278"/>
                  </a:cubicBezTo>
                  <a:cubicBezTo>
                    <a:pt x="58861" y="11278"/>
                    <a:pt x="56585" y="12631"/>
                    <a:pt x="55284" y="12631"/>
                  </a:cubicBezTo>
                  <a:cubicBezTo>
                    <a:pt x="53983" y="13082"/>
                    <a:pt x="53008" y="14436"/>
                    <a:pt x="53008" y="14436"/>
                  </a:cubicBezTo>
                  <a:cubicBezTo>
                    <a:pt x="51382" y="17593"/>
                    <a:pt x="51382" y="17593"/>
                    <a:pt x="51382" y="17593"/>
                  </a:cubicBezTo>
                  <a:cubicBezTo>
                    <a:pt x="48780" y="18045"/>
                    <a:pt x="48780" y="18045"/>
                    <a:pt x="48780" y="18045"/>
                  </a:cubicBezTo>
                  <a:cubicBezTo>
                    <a:pt x="47479" y="16240"/>
                    <a:pt x="47479" y="16240"/>
                    <a:pt x="47479" y="16240"/>
                  </a:cubicBezTo>
                  <a:cubicBezTo>
                    <a:pt x="46178" y="16691"/>
                    <a:pt x="46178" y="16691"/>
                    <a:pt x="46178" y="16691"/>
                  </a:cubicBezTo>
                  <a:cubicBezTo>
                    <a:pt x="45853" y="16240"/>
                    <a:pt x="45853" y="16240"/>
                    <a:pt x="45853" y="16240"/>
                  </a:cubicBezTo>
                  <a:cubicBezTo>
                    <a:pt x="45203" y="16691"/>
                    <a:pt x="45203" y="16691"/>
                    <a:pt x="45203" y="16691"/>
                  </a:cubicBezTo>
                  <a:cubicBezTo>
                    <a:pt x="41300" y="16240"/>
                    <a:pt x="41300" y="16240"/>
                    <a:pt x="41300" y="16240"/>
                  </a:cubicBezTo>
                  <a:cubicBezTo>
                    <a:pt x="39349" y="17593"/>
                    <a:pt x="39349" y="17593"/>
                    <a:pt x="39349" y="17593"/>
                  </a:cubicBezTo>
                  <a:cubicBezTo>
                    <a:pt x="35772" y="17142"/>
                    <a:pt x="35772" y="17142"/>
                    <a:pt x="35772" y="17142"/>
                  </a:cubicBezTo>
                  <a:cubicBezTo>
                    <a:pt x="35772" y="17142"/>
                    <a:pt x="33170" y="17593"/>
                    <a:pt x="32520" y="17593"/>
                  </a:cubicBezTo>
                  <a:cubicBezTo>
                    <a:pt x="31544" y="17593"/>
                    <a:pt x="31544" y="17593"/>
                    <a:pt x="31544" y="17593"/>
                  </a:cubicBezTo>
                  <a:cubicBezTo>
                    <a:pt x="30894" y="17142"/>
                    <a:pt x="30243" y="16240"/>
                    <a:pt x="30243" y="16240"/>
                  </a:cubicBezTo>
                  <a:cubicBezTo>
                    <a:pt x="30243" y="16240"/>
                    <a:pt x="28943" y="16691"/>
                    <a:pt x="28617" y="17142"/>
                  </a:cubicBezTo>
                  <a:cubicBezTo>
                    <a:pt x="28292" y="17593"/>
                    <a:pt x="26991" y="19849"/>
                    <a:pt x="26991" y="19849"/>
                  </a:cubicBezTo>
                  <a:cubicBezTo>
                    <a:pt x="26991" y="20300"/>
                    <a:pt x="26991" y="20300"/>
                    <a:pt x="26991" y="20300"/>
                  </a:cubicBezTo>
                  <a:cubicBezTo>
                    <a:pt x="27642" y="22556"/>
                    <a:pt x="27642" y="22556"/>
                    <a:pt x="27642" y="22556"/>
                  </a:cubicBezTo>
                  <a:cubicBezTo>
                    <a:pt x="26341" y="23909"/>
                    <a:pt x="26341" y="23909"/>
                    <a:pt x="26341" y="23909"/>
                  </a:cubicBezTo>
                  <a:cubicBezTo>
                    <a:pt x="26341" y="23909"/>
                    <a:pt x="26341" y="23909"/>
                    <a:pt x="26341" y="23909"/>
                  </a:cubicBezTo>
                  <a:cubicBezTo>
                    <a:pt x="26341" y="23909"/>
                    <a:pt x="26341" y="23909"/>
                    <a:pt x="26341" y="23909"/>
                  </a:cubicBezTo>
                  <a:cubicBezTo>
                    <a:pt x="26341" y="23909"/>
                    <a:pt x="26341" y="23909"/>
                    <a:pt x="26341" y="23909"/>
                  </a:cubicBezTo>
                  <a:cubicBezTo>
                    <a:pt x="26341" y="23909"/>
                    <a:pt x="26341" y="23909"/>
                    <a:pt x="26341" y="23909"/>
                  </a:cubicBezTo>
                  <a:cubicBezTo>
                    <a:pt x="26341" y="24360"/>
                    <a:pt x="26341" y="24360"/>
                    <a:pt x="26341" y="24360"/>
                  </a:cubicBezTo>
                  <a:cubicBezTo>
                    <a:pt x="26341" y="24360"/>
                    <a:pt x="26341" y="24360"/>
                    <a:pt x="26341" y="24360"/>
                  </a:cubicBezTo>
                  <a:cubicBezTo>
                    <a:pt x="26341" y="24360"/>
                    <a:pt x="26341" y="24360"/>
                    <a:pt x="26341" y="24360"/>
                  </a:cubicBezTo>
                  <a:cubicBezTo>
                    <a:pt x="26341" y="24360"/>
                    <a:pt x="26341" y="24360"/>
                    <a:pt x="26341" y="24360"/>
                  </a:cubicBezTo>
                  <a:cubicBezTo>
                    <a:pt x="26341" y="24360"/>
                    <a:pt x="26341" y="24360"/>
                    <a:pt x="26341" y="24360"/>
                  </a:cubicBezTo>
                  <a:cubicBezTo>
                    <a:pt x="26341" y="24360"/>
                    <a:pt x="26341" y="24360"/>
                    <a:pt x="26341" y="24360"/>
                  </a:cubicBezTo>
                  <a:cubicBezTo>
                    <a:pt x="26341" y="24360"/>
                    <a:pt x="26341" y="24360"/>
                    <a:pt x="26341" y="24360"/>
                  </a:cubicBezTo>
                  <a:cubicBezTo>
                    <a:pt x="26341" y="24360"/>
                    <a:pt x="26341" y="24360"/>
                    <a:pt x="26341" y="24360"/>
                  </a:cubicBezTo>
                  <a:cubicBezTo>
                    <a:pt x="26341" y="24360"/>
                    <a:pt x="26341" y="24360"/>
                    <a:pt x="26341" y="24360"/>
                  </a:cubicBezTo>
                  <a:cubicBezTo>
                    <a:pt x="26341" y="24360"/>
                    <a:pt x="26341" y="24360"/>
                    <a:pt x="26341" y="24360"/>
                  </a:cubicBezTo>
                  <a:cubicBezTo>
                    <a:pt x="26341" y="24812"/>
                    <a:pt x="26016" y="24812"/>
                    <a:pt x="25691" y="24812"/>
                  </a:cubicBezTo>
                  <a:cubicBezTo>
                    <a:pt x="25691" y="25263"/>
                    <a:pt x="25365" y="25263"/>
                    <a:pt x="25040" y="25263"/>
                  </a:cubicBezTo>
                  <a:cubicBezTo>
                    <a:pt x="25040" y="25263"/>
                    <a:pt x="25040" y="25263"/>
                    <a:pt x="25040" y="25263"/>
                  </a:cubicBezTo>
                  <a:cubicBezTo>
                    <a:pt x="25040" y="25263"/>
                    <a:pt x="25040" y="25263"/>
                    <a:pt x="25040" y="25263"/>
                  </a:cubicBezTo>
                  <a:cubicBezTo>
                    <a:pt x="25040" y="25263"/>
                    <a:pt x="25040" y="25263"/>
                    <a:pt x="25040" y="25263"/>
                  </a:cubicBezTo>
                  <a:cubicBezTo>
                    <a:pt x="25040" y="25263"/>
                    <a:pt x="25040" y="25263"/>
                    <a:pt x="25040" y="25263"/>
                  </a:cubicBezTo>
                  <a:cubicBezTo>
                    <a:pt x="25040" y="25263"/>
                    <a:pt x="25040" y="25263"/>
                    <a:pt x="25040" y="25263"/>
                  </a:cubicBezTo>
                  <a:cubicBezTo>
                    <a:pt x="25040" y="25263"/>
                    <a:pt x="25040" y="25263"/>
                    <a:pt x="25040" y="25263"/>
                  </a:cubicBezTo>
                  <a:cubicBezTo>
                    <a:pt x="25040" y="25263"/>
                    <a:pt x="25040" y="25263"/>
                    <a:pt x="25040" y="25263"/>
                  </a:cubicBezTo>
                  <a:cubicBezTo>
                    <a:pt x="25040" y="25263"/>
                    <a:pt x="25040" y="25263"/>
                    <a:pt x="25040" y="25263"/>
                  </a:cubicBezTo>
                  <a:cubicBezTo>
                    <a:pt x="25040" y="25263"/>
                    <a:pt x="25040" y="25263"/>
                    <a:pt x="25040" y="25263"/>
                  </a:cubicBezTo>
                  <a:cubicBezTo>
                    <a:pt x="25040" y="25263"/>
                    <a:pt x="25040" y="25263"/>
                    <a:pt x="25040" y="25263"/>
                  </a:cubicBezTo>
                  <a:cubicBezTo>
                    <a:pt x="25040" y="25263"/>
                    <a:pt x="25040" y="25263"/>
                    <a:pt x="25040" y="25263"/>
                  </a:cubicBezTo>
                  <a:cubicBezTo>
                    <a:pt x="25040" y="25263"/>
                    <a:pt x="25040" y="25263"/>
                    <a:pt x="25040" y="25263"/>
                  </a:cubicBezTo>
                  <a:cubicBezTo>
                    <a:pt x="25040" y="25263"/>
                    <a:pt x="25040" y="25263"/>
                    <a:pt x="25040" y="25263"/>
                  </a:cubicBezTo>
                  <a:cubicBezTo>
                    <a:pt x="24715" y="25714"/>
                    <a:pt x="24715" y="25714"/>
                    <a:pt x="24715" y="25714"/>
                  </a:cubicBezTo>
                  <a:cubicBezTo>
                    <a:pt x="23739" y="27067"/>
                    <a:pt x="23739" y="27067"/>
                    <a:pt x="23739" y="27067"/>
                  </a:cubicBezTo>
                  <a:cubicBezTo>
                    <a:pt x="22439" y="27518"/>
                    <a:pt x="22439" y="27518"/>
                    <a:pt x="22439" y="27518"/>
                  </a:cubicBezTo>
                  <a:close/>
                </a:path>
              </a:pathLst>
            </a:custGeom>
            <a:solidFill>
              <a:srgbClr val="00B050"/>
            </a:solidFill>
            <a:ln w="3175" cap="flat" cmpd="sng">
              <a:solidFill>
                <a:schemeClr val="tx1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defTabSz="457200"/>
              <a:endParaRPr kern="0">
                <a:solidFill>
                  <a:srgbClr val="7F7F7F"/>
                </a:solidFill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53" name="Shape 2049">
              <a:extLst>
                <a:ext uri="{FF2B5EF4-FFF2-40B4-BE49-F238E27FC236}">
                  <a16:creationId xmlns:a16="http://schemas.microsoft.com/office/drawing/2014/main" id="{27A07021-4752-60BB-A4BD-16D187457B15}"/>
                </a:ext>
              </a:extLst>
            </p:cNvPr>
            <p:cNvSpPr/>
            <p:nvPr/>
          </p:nvSpPr>
          <p:spPr>
            <a:xfrm>
              <a:off x="5068022" y="2510023"/>
              <a:ext cx="1290333" cy="869825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27557" y="85714"/>
                  </a:moveTo>
                  <a:cubicBezTo>
                    <a:pt x="27752" y="85714"/>
                    <a:pt x="28338" y="84309"/>
                    <a:pt x="28925" y="84309"/>
                  </a:cubicBezTo>
                  <a:cubicBezTo>
                    <a:pt x="29315" y="84028"/>
                    <a:pt x="29120" y="82622"/>
                    <a:pt x="29315" y="82060"/>
                  </a:cubicBezTo>
                  <a:cubicBezTo>
                    <a:pt x="29511" y="81498"/>
                    <a:pt x="30488" y="80374"/>
                    <a:pt x="31074" y="80093"/>
                  </a:cubicBezTo>
                  <a:cubicBezTo>
                    <a:pt x="31270" y="80093"/>
                    <a:pt x="31270" y="80093"/>
                    <a:pt x="31270" y="80093"/>
                  </a:cubicBezTo>
                  <a:cubicBezTo>
                    <a:pt x="31270" y="79531"/>
                    <a:pt x="31270" y="79531"/>
                    <a:pt x="31270" y="79531"/>
                  </a:cubicBezTo>
                  <a:cubicBezTo>
                    <a:pt x="31270" y="79531"/>
                    <a:pt x="31856" y="79250"/>
                    <a:pt x="31856" y="78969"/>
                  </a:cubicBezTo>
                  <a:cubicBezTo>
                    <a:pt x="32052" y="78969"/>
                    <a:pt x="32052" y="79250"/>
                    <a:pt x="32052" y="79250"/>
                  </a:cubicBezTo>
                  <a:cubicBezTo>
                    <a:pt x="32052" y="79250"/>
                    <a:pt x="32247" y="79531"/>
                    <a:pt x="32442" y="79531"/>
                  </a:cubicBezTo>
                  <a:cubicBezTo>
                    <a:pt x="32442" y="79531"/>
                    <a:pt x="32638" y="79250"/>
                    <a:pt x="32638" y="79250"/>
                  </a:cubicBezTo>
                  <a:cubicBezTo>
                    <a:pt x="32638" y="78969"/>
                    <a:pt x="32638" y="78688"/>
                    <a:pt x="32638" y="78688"/>
                  </a:cubicBezTo>
                  <a:cubicBezTo>
                    <a:pt x="32442" y="78407"/>
                    <a:pt x="32442" y="78126"/>
                    <a:pt x="32442" y="78126"/>
                  </a:cubicBezTo>
                  <a:cubicBezTo>
                    <a:pt x="32442" y="78126"/>
                    <a:pt x="32442" y="78126"/>
                    <a:pt x="32442" y="78126"/>
                  </a:cubicBezTo>
                  <a:cubicBezTo>
                    <a:pt x="32442" y="78126"/>
                    <a:pt x="32638" y="78126"/>
                    <a:pt x="32638" y="78126"/>
                  </a:cubicBezTo>
                  <a:cubicBezTo>
                    <a:pt x="32638" y="78126"/>
                    <a:pt x="32833" y="77845"/>
                    <a:pt x="32833" y="77845"/>
                  </a:cubicBezTo>
                  <a:cubicBezTo>
                    <a:pt x="33224" y="78126"/>
                    <a:pt x="33224" y="78126"/>
                    <a:pt x="33224" y="78126"/>
                  </a:cubicBezTo>
                  <a:cubicBezTo>
                    <a:pt x="33224" y="78126"/>
                    <a:pt x="33420" y="78126"/>
                    <a:pt x="33420" y="78126"/>
                  </a:cubicBezTo>
                  <a:cubicBezTo>
                    <a:pt x="33615" y="78407"/>
                    <a:pt x="33811" y="77845"/>
                    <a:pt x="33811" y="77845"/>
                  </a:cubicBezTo>
                  <a:cubicBezTo>
                    <a:pt x="34006" y="77564"/>
                    <a:pt x="34006" y="77564"/>
                    <a:pt x="34006" y="77564"/>
                  </a:cubicBezTo>
                  <a:cubicBezTo>
                    <a:pt x="34006" y="77564"/>
                    <a:pt x="34006" y="77564"/>
                    <a:pt x="34006" y="77283"/>
                  </a:cubicBezTo>
                  <a:cubicBezTo>
                    <a:pt x="34006" y="77283"/>
                    <a:pt x="34201" y="77283"/>
                    <a:pt x="34397" y="77283"/>
                  </a:cubicBezTo>
                  <a:cubicBezTo>
                    <a:pt x="34397" y="77283"/>
                    <a:pt x="34788" y="77283"/>
                    <a:pt x="34983" y="77283"/>
                  </a:cubicBezTo>
                  <a:cubicBezTo>
                    <a:pt x="35179" y="77283"/>
                    <a:pt x="35179" y="77283"/>
                    <a:pt x="35179" y="77283"/>
                  </a:cubicBezTo>
                  <a:cubicBezTo>
                    <a:pt x="35570" y="77002"/>
                    <a:pt x="35570" y="77002"/>
                    <a:pt x="35570" y="77002"/>
                  </a:cubicBezTo>
                  <a:cubicBezTo>
                    <a:pt x="35570" y="77002"/>
                    <a:pt x="35765" y="76721"/>
                    <a:pt x="35765" y="76721"/>
                  </a:cubicBezTo>
                  <a:cubicBezTo>
                    <a:pt x="35765" y="76440"/>
                    <a:pt x="35765" y="76159"/>
                    <a:pt x="35765" y="76159"/>
                  </a:cubicBezTo>
                  <a:cubicBezTo>
                    <a:pt x="35765" y="75878"/>
                    <a:pt x="36156" y="75878"/>
                    <a:pt x="36156" y="75878"/>
                  </a:cubicBezTo>
                  <a:cubicBezTo>
                    <a:pt x="36156" y="75878"/>
                    <a:pt x="36156" y="75878"/>
                    <a:pt x="36156" y="75878"/>
                  </a:cubicBezTo>
                  <a:cubicBezTo>
                    <a:pt x="36351" y="75878"/>
                    <a:pt x="36351" y="76159"/>
                    <a:pt x="36351" y="76159"/>
                  </a:cubicBezTo>
                  <a:cubicBezTo>
                    <a:pt x="36351" y="76159"/>
                    <a:pt x="36547" y="75878"/>
                    <a:pt x="36547" y="75878"/>
                  </a:cubicBezTo>
                  <a:cubicBezTo>
                    <a:pt x="36547" y="75597"/>
                    <a:pt x="36742" y="75597"/>
                    <a:pt x="36742" y="75597"/>
                  </a:cubicBezTo>
                  <a:cubicBezTo>
                    <a:pt x="36742" y="75597"/>
                    <a:pt x="37133" y="75316"/>
                    <a:pt x="37133" y="75035"/>
                  </a:cubicBezTo>
                  <a:cubicBezTo>
                    <a:pt x="37328" y="74754"/>
                    <a:pt x="37328" y="75035"/>
                    <a:pt x="37328" y="74473"/>
                  </a:cubicBezTo>
                  <a:cubicBezTo>
                    <a:pt x="37328" y="74192"/>
                    <a:pt x="37524" y="74473"/>
                    <a:pt x="37524" y="74754"/>
                  </a:cubicBezTo>
                  <a:cubicBezTo>
                    <a:pt x="37524" y="74754"/>
                    <a:pt x="37524" y="74754"/>
                    <a:pt x="37719" y="75035"/>
                  </a:cubicBezTo>
                  <a:cubicBezTo>
                    <a:pt x="37719" y="75035"/>
                    <a:pt x="37719" y="75035"/>
                    <a:pt x="38110" y="75035"/>
                  </a:cubicBezTo>
                  <a:cubicBezTo>
                    <a:pt x="38306" y="75316"/>
                    <a:pt x="38306" y="74754"/>
                    <a:pt x="38697" y="74754"/>
                  </a:cubicBezTo>
                  <a:cubicBezTo>
                    <a:pt x="39087" y="74754"/>
                    <a:pt x="38892" y="74754"/>
                    <a:pt x="39087" y="75035"/>
                  </a:cubicBezTo>
                  <a:cubicBezTo>
                    <a:pt x="39283" y="75035"/>
                    <a:pt x="39283" y="75035"/>
                    <a:pt x="39478" y="75035"/>
                  </a:cubicBezTo>
                  <a:cubicBezTo>
                    <a:pt x="39674" y="75316"/>
                    <a:pt x="39674" y="75316"/>
                    <a:pt x="39674" y="75316"/>
                  </a:cubicBezTo>
                  <a:cubicBezTo>
                    <a:pt x="39674" y="75316"/>
                    <a:pt x="39869" y="75316"/>
                    <a:pt x="40065" y="75597"/>
                  </a:cubicBezTo>
                  <a:cubicBezTo>
                    <a:pt x="40065" y="75878"/>
                    <a:pt x="40456" y="75878"/>
                    <a:pt x="40456" y="75878"/>
                  </a:cubicBezTo>
                  <a:cubicBezTo>
                    <a:pt x="40456" y="75878"/>
                    <a:pt x="40456" y="75878"/>
                    <a:pt x="40456" y="75878"/>
                  </a:cubicBezTo>
                  <a:cubicBezTo>
                    <a:pt x="40456" y="75878"/>
                    <a:pt x="40456" y="75878"/>
                    <a:pt x="40456" y="75878"/>
                  </a:cubicBezTo>
                  <a:cubicBezTo>
                    <a:pt x="40456" y="75878"/>
                    <a:pt x="40456" y="75878"/>
                    <a:pt x="40456" y="75878"/>
                  </a:cubicBezTo>
                  <a:cubicBezTo>
                    <a:pt x="40456" y="75878"/>
                    <a:pt x="40456" y="75878"/>
                    <a:pt x="40456" y="75878"/>
                  </a:cubicBezTo>
                  <a:cubicBezTo>
                    <a:pt x="40456" y="75878"/>
                    <a:pt x="40456" y="75878"/>
                    <a:pt x="40456" y="75878"/>
                  </a:cubicBezTo>
                  <a:cubicBezTo>
                    <a:pt x="40456" y="75878"/>
                    <a:pt x="40456" y="75878"/>
                    <a:pt x="40456" y="75878"/>
                  </a:cubicBezTo>
                  <a:cubicBezTo>
                    <a:pt x="40456" y="75878"/>
                    <a:pt x="40456" y="75878"/>
                    <a:pt x="40456" y="75878"/>
                  </a:cubicBezTo>
                  <a:cubicBezTo>
                    <a:pt x="40456" y="75878"/>
                    <a:pt x="40456" y="75878"/>
                    <a:pt x="40456" y="75878"/>
                  </a:cubicBezTo>
                  <a:cubicBezTo>
                    <a:pt x="40456" y="75878"/>
                    <a:pt x="40456" y="75878"/>
                    <a:pt x="40456" y="75878"/>
                  </a:cubicBezTo>
                  <a:cubicBezTo>
                    <a:pt x="40651" y="75878"/>
                    <a:pt x="40651" y="75878"/>
                    <a:pt x="40651" y="75878"/>
                  </a:cubicBezTo>
                  <a:cubicBezTo>
                    <a:pt x="40651" y="75878"/>
                    <a:pt x="40651" y="75878"/>
                    <a:pt x="40651" y="75878"/>
                  </a:cubicBezTo>
                  <a:cubicBezTo>
                    <a:pt x="40651" y="75878"/>
                    <a:pt x="40651" y="75878"/>
                    <a:pt x="40651" y="75878"/>
                  </a:cubicBezTo>
                  <a:cubicBezTo>
                    <a:pt x="40651" y="75878"/>
                    <a:pt x="40651" y="75878"/>
                    <a:pt x="40651" y="75878"/>
                  </a:cubicBezTo>
                  <a:cubicBezTo>
                    <a:pt x="40651" y="75878"/>
                    <a:pt x="40651" y="75878"/>
                    <a:pt x="40651" y="75878"/>
                  </a:cubicBezTo>
                  <a:cubicBezTo>
                    <a:pt x="40651" y="75878"/>
                    <a:pt x="40651" y="75878"/>
                    <a:pt x="40651" y="75878"/>
                  </a:cubicBezTo>
                  <a:cubicBezTo>
                    <a:pt x="40651" y="75878"/>
                    <a:pt x="40651" y="75878"/>
                    <a:pt x="40651" y="75878"/>
                  </a:cubicBezTo>
                  <a:cubicBezTo>
                    <a:pt x="40651" y="75878"/>
                    <a:pt x="40651" y="75878"/>
                    <a:pt x="40651" y="75878"/>
                  </a:cubicBezTo>
                  <a:cubicBezTo>
                    <a:pt x="40651" y="75878"/>
                    <a:pt x="40651" y="75878"/>
                    <a:pt x="40651" y="75878"/>
                  </a:cubicBezTo>
                  <a:cubicBezTo>
                    <a:pt x="40651" y="75878"/>
                    <a:pt x="40651" y="75878"/>
                    <a:pt x="40651" y="75878"/>
                  </a:cubicBezTo>
                  <a:cubicBezTo>
                    <a:pt x="40651" y="75878"/>
                    <a:pt x="40651" y="75878"/>
                    <a:pt x="40651" y="75878"/>
                  </a:cubicBezTo>
                  <a:cubicBezTo>
                    <a:pt x="40651" y="75878"/>
                    <a:pt x="40651" y="75878"/>
                    <a:pt x="40651" y="75878"/>
                  </a:cubicBezTo>
                  <a:cubicBezTo>
                    <a:pt x="40651" y="75878"/>
                    <a:pt x="40651" y="75878"/>
                    <a:pt x="40651" y="75878"/>
                  </a:cubicBezTo>
                  <a:cubicBezTo>
                    <a:pt x="40651" y="75878"/>
                    <a:pt x="40651" y="75878"/>
                    <a:pt x="40651" y="75878"/>
                  </a:cubicBezTo>
                  <a:cubicBezTo>
                    <a:pt x="40651" y="75878"/>
                    <a:pt x="40651" y="75878"/>
                    <a:pt x="40651" y="75878"/>
                  </a:cubicBezTo>
                  <a:cubicBezTo>
                    <a:pt x="40846" y="75878"/>
                    <a:pt x="40846" y="75878"/>
                    <a:pt x="40846" y="75878"/>
                  </a:cubicBezTo>
                  <a:cubicBezTo>
                    <a:pt x="40846" y="75878"/>
                    <a:pt x="40846" y="75878"/>
                    <a:pt x="40846" y="75878"/>
                  </a:cubicBezTo>
                  <a:cubicBezTo>
                    <a:pt x="40846" y="75878"/>
                    <a:pt x="40846" y="75878"/>
                    <a:pt x="40846" y="75878"/>
                  </a:cubicBezTo>
                  <a:cubicBezTo>
                    <a:pt x="40846" y="75878"/>
                    <a:pt x="40846" y="75878"/>
                    <a:pt x="40846" y="75878"/>
                  </a:cubicBezTo>
                  <a:cubicBezTo>
                    <a:pt x="40846" y="75878"/>
                    <a:pt x="40846" y="75878"/>
                    <a:pt x="40846" y="75878"/>
                  </a:cubicBezTo>
                  <a:cubicBezTo>
                    <a:pt x="40846" y="75878"/>
                    <a:pt x="40846" y="75878"/>
                    <a:pt x="40846" y="75878"/>
                  </a:cubicBezTo>
                  <a:cubicBezTo>
                    <a:pt x="40846" y="75878"/>
                    <a:pt x="40846" y="75878"/>
                    <a:pt x="40846" y="75878"/>
                  </a:cubicBezTo>
                  <a:cubicBezTo>
                    <a:pt x="40846" y="75878"/>
                    <a:pt x="40846" y="75878"/>
                    <a:pt x="40846" y="75878"/>
                  </a:cubicBezTo>
                  <a:cubicBezTo>
                    <a:pt x="40846" y="75878"/>
                    <a:pt x="40846" y="75878"/>
                    <a:pt x="40846" y="75878"/>
                  </a:cubicBezTo>
                  <a:cubicBezTo>
                    <a:pt x="40846" y="75878"/>
                    <a:pt x="40846" y="75878"/>
                    <a:pt x="40846" y="75878"/>
                  </a:cubicBezTo>
                  <a:cubicBezTo>
                    <a:pt x="40846" y="75878"/>
                    <a:pt x="40846" y="75878"/>
                    <a:pt x="40846" y="75878"/>
                  </a:cubicBezTo>
                  <a:cubicBezTo>
                    <a:pt x="40846" y="75878"/>
                    <a:pt x="40846" y="75878"/>
                    <a:pt x="40846" y="75878"/>
                  </a:cubicBezTo>
                  <a:cubicBezTo>
                    <a:pt x="40846" y="75878"/>
                    <a:pt x="40846" y="75878"/>
                    <a:pt x="40846" y="75878"/>
                  </a:cubicBezTo>
                  <a:cubicBezTo>
                    <a:pt x="41042" y="75878"/>
                    <a:pt x="41042" y="75878"/>
                    <a:pt x="41042" y="75878"/>
                  </a:cubicBezTo>
                  <a:cubicBezTo>
                    <a:pt x="41042" y="75878"/>
                    <a:pt x="41042" y="75878"/>
                    <a:pt x="41042" y="75878"/>
                  </a:cubicBezTo>
                  <a:cubicBezTo>
                    <a:pt x="41042" y="75878"/>
                    <a:pt x="41042" y="75878"/>
                    <a:pt x="41042" y="75878"/>
                  </a:cubicBezTo>
                  <a:cubicBezTo>
                    <a:pt x="41042" y="75878"/>
                    <a:pt x="41042" y="75878"/>
                    <a:pt x="41042" y="75878"/>
                  </a:cubicBezTo>
                  <a:cubicBezTo>
                    <a:pt x="41042" y="75878"/>
                    <a:pt x="41042" y="75878"/>
                    <a:pt x="41042" y="75878"/>
                  </a:cubicBezTo>
                  <a:cubicBezTo>
                    <a:pt x="41042" y="75878"/>
                    <a:pt x="41042" y="75878"/>
                    <a:pt x="41042" y="75878"/>
                  </a:cubicBezTo>
                  <a:cubicBezTo>
                    <a:pt x="41042" y="75878"/>
                    <a:pt x="41042" y="75878"/>
                    <a:pt x="41042" y="75878"/>
                  </a:cubicBezTo>
                  <a:cubicBezTo>
                    <a:pt x="41042" y="75878"/>
                    <a:pt x="41042" y="75878"/>
                    <a:pt x="41042" y="75878"/>
                  </a:cubicBezTo>
                  <a:cubicBezTo>
                    <a:pt x="41042" y="75878"/>
                    <a:pt x="41042" y="75878"/>
                    <a:pt x="41042" y="75878"/>
                  </a:cubicBezTo>
                  <a:cubicBezTo>
                    <a:pt x="41042" y="75878"/>
                    <a:pt x="41042" y="75878"/>
                    <a:pt x="41042" y="75878"/>
                  </a:cubicBezTo>
                  <a:cubicBezTo>
                    <a:pt x="41042" y="75878"/>
                    <a:pt x="41042" y="75878"/>
                    <a:pt x="41042" y="75878"/>
                  </a:cubicBezTo>
                  <a:cubicBezTo>
                    <a:pt x="41042" y="75878"/>
                    <a:pt x="41042" y="75878"/>
                    <a:pt x="41042" y="75878"/>
                  </a:cubicBezTo>
                  <a:cubicBezTo>
                    <a:pt x="41042" y="75878"/>
                    <a:pt x="41042" y="75878"/>
                    <a:pt x="41042" y="75878"/>
                  </a:cubicBezTo>
                  <a:cubicBezTo>
                    <a:pt x="41042" y="75878"/>
                    <a:pt x="41042" y="75878"/>
                    <a:pt x="41042" y="75878"/>
                  </a:cubicBezTo>
                  <a:cubicBezTo>
                    <a:pt x="41042" y="75878"/>
                    <a:pt x="41042" y="75878"/>
                    <a:pt x="41042" y="75878"/>
                  </a:cubicBezTo>
                  <a:cubicBezTo>
                    <a:pt x="41042" y="75878"/>
                    <a:pt x="41042" y="75878"/>
                    <a:pt x="41042" y="75878"/>
                  </a:cubicBezTo>
                  <a:cubicBezTo>
                    <a:pt x="41042" y="75878"/>
                    <a:pt x="41042" y="75878"/>
                    <a:pt x="41042" y="75878"/>
                  </a:cubicBezTo>
                  <a:cubicBezTo>
                    <a:pt x="41042" y="75878"/>
                    <a:pt x="41042" y="75878"/>
                    <a:pt x="41042" y="75878"/>
                  </a:cubicBezTo>
                  <a:cubicBezTo>
                    <a:pt x="41237" y="75878"/>
                    <a:pt x="41237" y="75878"/>
                    <a:pt x="41237" y="75878"/>
                  </a:cubicBezTo>
                  <a:cubicBezTo>
                    <a:pt x="41237" y="75878"/>
                    <a:pt x="41237" y="75878"/>
                    <a:pt x="41237" y="75878"/>
                  </a:cubicBezTo>
                  <a:cubicBezTo>
                    <a:pt x="41237" y="75878"/>
                    <a:pt x="41237" y="75878"/>
                    <a:pt x="41237" y="75878"/>
                  </a:cubicBezTo>
                  <a:cubicBezTo>
                    <a:pt x="41237" y="75878"/>
                    <a:pt x="41237" y="75878"/>
                    <a:pt x="41237" y="75878"/>
                  </a:cubicBezTo>
                  <a:cubicBezTo>
                    <a:pt x="41237" y="75878"/>
                    <a:pt x="41237" y="75878"/>
                    <a:pt x="41237" y="75878"/>
                  </a:cubicBezTo>
                  <a:cubicBezTo>
                    <a:pt x="41237" y="75878"/>
                    <a:pt x="41237" y="75878"/>
                    <a:pt x="41237" y="75878"/>
                  </a:cubicBezTo>
                  <a:cubicBezTo>
                    <a:pt x="41237" y="75878"/>
                    <a:pt x="41237" y="75878"/>
                    <a:pt x="41237" y="75878"/>
                  </a:cubicBezTo>
                  <a:cubicBezTo>
                    <a:pt x="41237" y="75878"/>
                    <a:pt x="41237" y="75878"/>
                    <a:pt x="41237" y="75878"/>
                  </a:cubicBezTo>
                  <a:cubicBezTo>
                    <a:pt x="41237" y="75878"/>
                    <a:pt x="41237" y="75878"/>
                    <a:pt x="41237" y="75878"/>
                  </a:cubicBezTo>
                  <a:cubicBezTo>
                    <a:pt x="41433" y="76159"/>
                    <a:pt x="41433" y="76159"/>
                    <a:pt x="41433" y="76159"/>
                  </a:cubicBezTo>
                  <a:cubicBezTo>
                    <a:pt x="41433" y="76159"/>
                    <a:pt x="41433" y="76721"/>
                    <a:pt x="41628" y="76721"/>
                  </a:cubicBezTo>
                  <a:cubicBezTo>
                    <a:pt x="41628" y="77002"/>
                    <a:pt x="41628" y="77002"/>
                    <a:pt x="41824" y="77002"/>
                  </a:cubicBezTo>
                  <a:cubicBezTo>
                    <a:pt x="41824" y="77002"/>
                    <a:pt x="42019" y="76440"/>
                    <a:pt x="42019" y="76159"/>
                  </a:cubicBezTo>
                  <a:cubicBezTo>
                    <a:pt x="42019" y="76159"/>
                    <a:pt x="42214" y="76440"/>
                    <a:pt x="42214" y="76440"/>
                  </a:cubicBezTo>
                  <a:cubicBezTo>
                    <a:pt x="42214" y="76440"/>
                    <a:pt x="42214" y="77002"/>
                    <a:pt x="42410" y="77002"/>
                  </a:cubicBezTo>
                  <a:cubicBezTo>
                    <a:pt x="42410" y="76721"/>
                    <a:pt x="42605" y="76721"/>
                    <a:pt x="42605" y="76721"/>
                  </a:cubicBezTo>
                  <a:cubicBezTo>
                    <a:pt x="42801" y="76721"/>
                    <a:pt x="42605" y="76440"/>
                    <a:pt x="42605" y="76440"/>
                  </a:cubicBezTo>
                  <a:cubicBezTo>
                    <a:pt x="42605" y="76440"/>
                    <a:pt x="42801" y="76159"/>
                    <a:pt x="42801" y="76159"/>
                  </a:cubicBezTo>
                  <a:cubicBezTo>
                    <a:pt x="42996" y="76159"/>
                    <a:pt x="43387" y="76159"/>
                    <a:pt x="43387" y="76159"/>
                  </a:cubicBezTo>
                  <a:cubicBezTo>
                    <a:pt x="43583" y="76159"/>
                    <a:pt x="43583" y="76721"/>
                    <a:pt x="43583" y="76721"/>
                  </a:cubicBezTo>
                  <a:cubicBezTo>
                    <a:pt x="43583" y="76721"/>
                    <a:pt x="43387" y="77283"/>
                    <a:pt x="43387" y="77283"/>
                  </a:cubicBezTo>
                  <a:cubicBezTo>
                    <a:pt x="43387" y="77283"/>
                    <a:pt x="43192" y="77564"/>
                    <a:pt x="43192" y="77845"/>
                  </a:cubicBezTo>
                  <a:cubicBezTo>
                    <a:pt x="43192" y="77845"/>
                    <a:pt x="43192" y="77845"/>
                    <a:pt x="43387" y="77564"/>
                  </a:cubicBezTo>
                  <a:cubicBezTo>
                    <a:pt x="43778" y="77564"/>
                    <a:pt x="43583" y="77283"/>
                    <a:pt x="43583" y="77283"/>
                  </a:cubicBezTo>
                  <a:cubicBezTo>
                    <a:pt x="43778" y="76721"/>
                    <a:pt x="43778" y="76721"/>
                    <a:pt x="43778" y="76721"/>
                  </a:cubicBezTo>
                  <a:cubicBezTo>
                    <a:pt x="43778" y="76721"/>
                    <a:pt x="44169" y="77002"/>
                    <a:pt x="44169" y="77283"/>
                  </a:cubicBezTo>
                  <a:cubicBezTo>
                    <a:pt x="44169" y="77283"/>
                    <a:pt x="44169" y="77564"/>
                    <a:pt x="44169" y="77564"/>
                  </a:cubicBezTo>
                  <a:cubicBezTo>
                    <a:pt x="44169" y="77845"/>
                    <a:pt x="44364" y="77845"/>
                    <a:pt x="44364" y="78126"/>
                  </a:cubicBezTo>
                  <a:cubicBezTo>
                    <a:pt x="44560" y="78407"/>
                    <a:pt x="44364" y="78126"/>
                    <a:pt x="44364" y="78126"/>
                  </a:cubicBezTo>
                  <a:cubicBezTo>
                    <a:pt x="44364" y="77845"/>
                    <a:pt x="44560" y="77283"/>
                    <a:pt x="44560" y="77283"/>
                  </a:cubicBezTo>
                  <a:cubicBezTo>
                    <a:pt x="44755" y="76721"/>
                    <a:pt x="44755" y="76721"/>
                    <a:pt x="44755" y="76721"/>
                  </a:cubicBezTo>
                  <a:cubicBezTo>
                    <a:pt x="44755" y="76721"/>
                    <a:pt x="45537" y="76721"/>
                    <a:pt x="46319" y="76721"/>
                  </a:cubicBezTo>
                  <a:cubicBezTo>
                    <a:pt x="47100" y="76721"/>
                    <a:pt x="46514" y="76440"/>
                    <a:pt x="46514" y="76440"/>
                  </a:cubicBezTo>
                  <a:cubicBezTo>
                    <a:pt x="46905" y="76440"/>
                    <a:pt x="46905" y="76440"/>
                    <a:pt x="46905" y="76440"/>
                  </a:cubicBezTo>
                  <a:cubicBezTo>
                    <a:pt x="47100" y="77564"/>
                    <a:pt x="47100" y="77564"/>
                    <a:pt x="47100" y="77564"/>
                  </a:cubicBezTo>
                  <a:cubicBezTo>
                    <a:pt x="47100" y="77564"/>
                    <a:pt x="47491" y="78126"/>
                    <a:pt x="47687" y="78126"/>
                  </a:cubicBezTo>
                  <a:cubicBezTo>
                    <a:pt x="47882" y="78407"/>
                    <a:pt x="47882" y="78407"/>
                    <a:pt x="48273" y="78688"/>
                  </a:cubicBezTo>
                  <a:cubicBezTo>
                    <a:pt x="48859" y="78688"/>
                    <a:pt x="48664" y="78688"/>
                    <a:pt x="48664" y="78688"/>
                  </a:cubicBezTo>
                  <a:cubicBezTo>
                    <a:pt x="48859" y="78688"/>
                    <a:pt x="48859" y="78126"/>
                    <a:pt x="49055" y="77845"/>
                  </a:cubicBezTo>
                  <a:cubicBezTo>
                    <a:pt x="49055" y="77564"/>
                    <a:pt x="49250" y="77564"/>
                    <a:pt x="49250" y="77564"/>
                  </a:cubicBezTo>
                  <a:cubicBezTo>
                    <a:pt x="49250" y="77564"/>
                    <a:pt x="49641" y="78126"/>
                    <a:pt x="49641" y="78126"/>
                  </a:cubicBezTo>
                  <a:cubicBezTo>
                    <a:pt x="49837" y="78407"/>
                    <a:pt x="49837" y="78688"/>
                    <a:pt x="49837" y="78688"/>
                  </a:cubicBezTo>
                  <a:cubicBezTo>
                    <a:pt x="50423" y="78969"/>
                    <a:pt x="50423" y="78969"/>
                    <a:pt x="50423" y="78969"/>
                  </a:cubicBezTo>
                  <a:cubicBezTo>
                    <a:pt x="50423" y="79250"/>
                    <a:pt x="50423" y="79250"/>
                    <a:pt x="50423" y="79250"/>
                  </a:cubicBezTo>
                  <a:cubicBezTo>
                    <a:pt x="50423" y="80093"/>
                    <a:pt x="50423" y="80093"/>
                    <a:pt x="50423" y="80093"/>
                  </a:cubicBezTo>
                  <a:cubicBezTo>
                    <a:pt x="50814" y="80374"/>
                    <a:pt x="50814" y="80374"/>
                    <a:pt x="50814" y="80374"/>
                  </a:cubicBezTo>
                  <a:cubicBezTo>
                    <a:pt x="50618" y="80936"/>
                    <a:pt x="50618" y="80936"/>
                    <a:pt x="50618" y="80936"/>
                  </a:cubicBezTo>
                  <a:cubicBezTo>
                    <a:pt x="50618" y="80936"/>
                    <a:pt x="50814" y="81498"/>
                    <a:pt x="50814" y="81779"/>
                  </a:cubicBezTo>
                  <a:cubicBezTo>
                    <a:pt x="50814" y="81779"/>
                    <a:pt x="51009" y="82341"/>
                    <a:pt x="51009" y="82341"/>
                  </a:cubicBezTo>
                  <a:cubicBezTo>
                    <a:pt x="51009" y="83185"/>
                    <a:pt x="51009" y="83185"/>
                    <a:pt x="51009" y="83185"/>
                  </a:cubicBezTo>
                  <a:cubicBezTo>
                    <a:pt x="50814" y="83747"/>
                    <a:pt x="50814" y="83747"/>
                    <a:pt x="50814" y="83747"/>
                  </a:cubicBezTo>
                  <a:cubicBezTo>
                    <a:pt x="51009" y="84028"/>
                    <a:pt x="51009" y="84028"/>
                    <a:pt x="51009" y="84028"/>
                  </a:cubicBezTo>
                  <a:cubicBezTo>
                    <a:pt x="51009" y="84028"/>
                    <a:pt x="51009" y="84871"/>
                    <a:pt x="51205" y="85152"/>
                  </a:cubicBezTo>
                  <a:cubicBezTo>
                    <a:pt x="51400" y="85714"/>
                    <a:pt x="51596" y="84871"/>
                    <a:pt x="51596" y="84871"/>
                  </a:cubicBezTo>
                  <a:cubicBezTo>
                    <a:pt x="51986" y="84871"/>
                    <a:pt x="51986" y="84871"/>
                    <a:pt x="51986" y="84871"/>
                  </a:cubicBezTo>
                  <a:cubicBezTo>
                    <a:pt x="52377" y="85714"/>
                    <a:pt x="52377" y="85714"/>
                    <a:pt x="52377" y="85714"/>
                  </a:cubicBezTo>
                  <a:cubicBezTo>
                    <a:pt x="52573" y="85714"/>
                    <a:pt x="52573" y="85714"/>
                    <a:pt x="52573" y="85714"/>
                  </a:cubicBezTo>
                  <a:cubicBezTo>
                    <a:pt x="52964" y="85995"/>
                    <a:pt x="52964" y="85995"/>
                    <a:pt x="52964" y="85995"/>
                  </a:cubicBezTo>
                  <a:cubicBezTo>
                    <a:pt x="53159" y="86838"/>
                    <a:pt x="53159" y="86838"/>
                    <a:pt x="53159" y="86838"/>
                  </a:cubicBezTo>
                  <a:cubicBezTo>
                    <a:pt x="53550" y="86557"/>
                    <a:pt x="53550" y="86557"/>
                    <a:pt x="53550" y="86557"/>
                  </a:cubicBezTo>
                  <a:cubicBezTo>
                    <a:pt x="53745" y="85714"/>
                    <a:pt x="53745" y="85714"/>
                    <a:pt x="53745" y="85714"/>
                  </a:cubicBezTo>
                  <a:cubicBezTo>
                    <a:pt x="54136" y="85995"/>
                    <a:pt x="54136" y="85995"/>
                    <a:pt x="54136" y="85995"/>
                  </a:cubicBezTo>
                  <a:cubicBezTo>
                    <a:pt x="54527" y="85995"/>
                    <a:pt x="54527" y="85995"/>
                    <a:pt x="54527" y="85995"/>
                  </a:cubicBezTo>
                  <a:cubicBezTo>
                    <a:pt x="54527" y="87119"/>
                    <a:pt x="54527" y="87119"/>
                    <a:pt x="54527" y="87119"/>
                  </a:cubicBezTo>
                  <a:cubicBezTo>
                    <a:pt x="54527" y="87119"/>
                    <a:pt x="54723" y="87400"/>
                    <a:pt x="54723" y="87681"/>
                  </a:cubicBezTo>
                  <a:cubicBezTo>
                    <a:pt x="54723" y="87681"/>
                    <a:pt x="54723" y="88243"/>
                    <a:pt x="54723" y="88243"/>
                  </a:cubicBezTo>
                  <a:cubicBezTo>
                    <a:pt x="54918" y="88805"/>
                    <a:pt x="54918" y="88805"/>
                    <a:pt x="54918" y="88805"/>
                  </a:cubicBezTo>
                  <a:cubicBezTo>
                    <a:pt x="54332" y="89086"/>
                    <a:pt x="54332" y="89086"/>
                    <a:pt x="54332" y="89086"/>
                  </a:cubicBezTo>
                  <a:cubicBezTo>
                    <a:pt x="54723" y="89367"/>
                    <a:pt x="54723" y="89367"/>
                    <a:pt x="54723" y="89367"/>
                  </a:cubicBezTo>
                  <a:cubicBezTo>
                    <a:pt x="54723" y="89367"/>
                    <a:pt x="55114" y="89367"/>
                    <a:pt x="55309" y="89367"/>
                  </a:cubicBezTo>
                  <a:cubicBezTo>
                    <a:pt x="55504" y="89367"/>
                    <a:pt x="55504" y="90210"/>
                    <a:pt x="55504" y="90210"/>
                  </a:cubicBezTo>
                  <a:cubicBezTo>
                    <a:pt x="55504" y="90210"/>
                    <a:pt x="55504" y="90491"/>
                    <a:pt x="55309" y="90772"/>
                  </a:cubicBezTo>
                  <a:cubicBezTo>
                    <a:pt x="55309" y="90772"/>
                    <a:pt x="55309" y="91053"/>
                    <a:pt x="55309" y="91334"/>
                  </a:cubicBezTo>
                  <a:cubicBezTo>
                    <a:pt x="55504" y="91334"/>
                    <a:pt x="55895" y="91615"/>
                    <a:pt x="56091" y="91615"/>
                  </a:cubicBezTo>
                  <a:cubicBezTo>
                    <a:pt x="56482" y="91615"/>
                    <a:pt x="56482" y="91615"/>
                    <a:pt x="56482" y="91615"/>
                  </a:cubicBezTo>
                  <a:cubicBezTo>
                    <a:pt x="56872" y="91615"/>
                    <a:pt x="56872" y="91615"/>
                    <a:pt x="56872" y="91615"/>
                  </a:cubicBezTo>
                  <a:cubicBezTo>
                    <a:pt x="56872" y="91615"/>
                    <a:pt x="57068" y="91896"/>
                    <a:pt x="57263" y="91896"/>
                  </a:cubicBezTo>
                  <a:cubicBezTo>
                    <a:pt x="57263" y="91615"/>
                    <a:pt x="57654" y="91615"/>
                    <a:pt x="57654" y="91615"/>
                  </a:cubicBezTo>
                  <a:cubicBezTo>
                    <a:pt x="58045" y="92177"/>
                    <a:pt x="58045" y="92177"/>
                    <a:pt x="58045" y="92177"/>
                  </a:cubicBezTo>
                  <a:cubicBezTo>
                    <a:pt x="58436" y="91896"/>
                    <a:pt x="58436" y="91896"/>
                    <a:pt x="58436" y="91896"/>
                  </a:cubicBezTo>
                  <a:cubicBezTo>
                    <a:pt x="58436" y="92459"/>
                    <a:pt x="58436" y="92459"/>
                    <a:pt x="58436" y="92459"/>
                  </a:cubicBezTo>
                  <a:cubicBezTo>
                    <a:pt x="58436" y="92459"/>
                    <a:pt x="58827" y="93583"/>
                    <a:pt x="58827" y="93583"/>
                  </a:cubicBezTo>
                  <a:cubicBezTo>
                    <a:pt x="59022" y="93864"/>
                    <a:pt x="59022" y="94426"/>
                    <a:pt x="59022" y="94707"/>
                  </a:cubicBezTo>
                  <a:cubicBezTo>
                    <a:pt x="59022" y="94988"/>
                    <a:pt x="59218" y="95550"/>
                    <a:pt x="59218" y="95550"/>
                  </a:cubicBezTo>
                  <a:cubicBezTo>
                    <a:pt x="59218" y="95550"/>
                    <a:pt x="59022" y="95550"/>
                    <a:pt x="58827" y="95831"/>
                  </a:cubicBezTo>
                  <a:cubicBezTo>
                    <a:pt x="58631" y="96112"/>
                    <a:pt x="59022" y="96393"/>
                    <a:pt x="59022" y="96393"/>
                  </a:cubicBezTo>
                  <a:cubicBezTo>
                    <a:pt x="59413" y="96393"/>
                    <a:pt x="59413" y="96393"/>
                    <a:pt x="59413" y="96393"/>
                  </a:cubicBezTo>
                  <a:cubicBezTo>
                    <a:pt x="59413" y="96393"/>
                    <a:pt x="59804" y="96955"/>
                    <a:pt x="59804" y="97236"/>
                  </a:cubicBezTo>
                  <a:cubicBezTo>
                    <a:pt x="59999" y="97517"/>
                    <a:pt x="60390" y="97236"/>
                    <a:pt x="60586" y="97236"/>
                  </a:cubicBezTo>
                  <a:cubicBezTo>
                    <a:pt x="60781" y="96955"/>
                    <a:pt x="61172" y="97236"/>
                    <a:pt x="61172" y="97517"/>
                  </a:cubicBezTo>
                  <a:cubicBezTo>
                    <a:pt x="61172" y="97517"/>
                    <a:pt x="60586" y="97798"/>
                    <a:pt x="60390" y="97798"/>
                  </a:cubicBezTo>
                  <a:cubicBezTo>
                    <a:pt x="60195" y="98079"/>
                    <a:pt x="59609" y="98079"/>
                    <a:pt x="59609" y="98079"/>
                  </a:cubicBezTo>
                  <a:cubicBezTo>
                    <a:pt x="59413" y="98922"/>
                    <a:pt x="59413" y="98922"/>
                    <a:pt x="59413" y="98922"/>
                  </a:cubicBezTo>
                  <a:cubicBezTo>
                    <a:pt x="59022" y="99203"/>
                    <a:pt x="59022" y="99203"/>
                    <a:pt x="59022" y="99203"/>
                  </a:cubicBezTo>
                  <a:cubicBezTo>
                    <a:pt x="58827" y="98360"/>
                    <a:pt x="58827" y="98360"/>
                    <a:pt x="58827" y="98360"/>
                  </a:cubicBezTo>
                  <a:cubicBezTo>
                    <a:pt x="58045" y="97517"/>
                    <a:pt x="58045" y="97517"/>
                    <a:pt x="58045" y="97517"/>
                  </a:cubicBezTo>
                  <a:cubicBezTo>
                    <a:pt x="58045" y="98360"/>
                    <a:pt x="58045" y="98360"/>
                    <a:pt x="58045" y="98360"/>
                  </a:cubicBezTo>
                  <a:cubicBezTo>
                    <a:pt x="57654" y="98641"/>
                    <a:pt x="57654" y="98641"/>
                    <a:pt x="57654" y="98641"/>
                  </a:cubicBezTo>
                  <a:cubicBezTo>
                    <a:pt x="57654" y="98641"/>
                    <a:pt x="57654" y="98922"/>
                    <a:pt x="57654" y="99203"/>
                  </a:cubicBezTo>
                  <a:cubicBezTo>
                    <a:pt x="57654" y="99484"/>
                    <a:pt x="57459" y="99484"/>
                    <a:pt x="57459" y="99484"/>
                  </a:cubicBezTo>
                  <a:cubicBezTo>
                    <a:pt x="57068" y="99203"/>
                    <a:pt x="57068" y="99203"/>
                    <a:pt x="57068" y="99203"/>
                  </a:cubicBezTo>
                  <a:cubicBezTo>
                    <a:pt x="57068" y="99203"/>
                    <a:pt x="56677" y="99203"/>
                    <a:pt x="56482" y="99203"/>
                  </a:cubicBezTo>
                  <a:cubicBezTo>
                    <a:pt x="56286" y="99203"/>
                    <a:pt x="56286" y="98641"/>
                    <a:pt x="56286" y="98641"/>
                  </a:cubicBezTo>
                  <a:cubicBezTo>
                    <a:pt x="56091" y="98922"/>
                    <a:pt x="56091" y="98922"/>
                    <a:pt x="56091" y="98922"/>
                  </a:cubicBezTo>
                  <a:cubicBezTo>
                    <a:pt x="56091" y="98922"/>
                    <a:pt x="56091" y="99203"/>
                    <a:pt x="55895" y="99484"/>
                  </a:cubicBezTo>
                  <a:cubicBezTo>
                    <a:pt x="55895" y="99765"/>
                    <a:pt x="55895" y="99484"/>
                    <a:pt x="55504" y="99484"/>
                  </a:cubicBezTo>
                  <a:cubicBezTo>
                    <a:pt x="55309" y="99765"/>
                    <a:pt x="55309" y="99203"/>
                    <a:pt x="55114" y="98922"/>
                  </a:cubicBezTo>
                  <a:cubicBezTo>
                    <a:pt x="55114" y="98360"/>
                    <a:pt x="55114" y="98922"/>
                    <a:pt x="54918" y="98922"/>
                  </a:cubicBezTo>
                  <a:cubicBezTo>
                    <a:pt x="54723" y="98922"/>
                    <a:pt x="55114" y="99765"/>
                    <a:pt x="55114" y="99765"/>
                  </a:cubicBezTo>
                  <a:cubicBezTo>
                    <a:pt x="54918" y="100046"/>
                    <a:pt x="54918" y="100046"/>
                    <a:pt x="54918" y="100046"/>
                  </a:cubicBezTo>
                  <a:cubicBezTo>
                    <a:pt x="54918" y="100046"/>
                    <a:pt x="54918" y="100608"/>
                    <a:pt x="54527" y="100889"/>
                  </a:cubicBezTo>
                  <a:cubicBezTo>
                    <a:pt x="54332" y="100889"/>
                    <a:pt x="54527" y="100327"/>
                    <a:pt x="54527" y="100327"/>
                  </a:cubicBezTo>
                  <a:cubicBezTo>
                    <a:pt x="54527" y="99203"/>
                    <a:pt x="54527" y="99203"/>
                    <a:pt x="54527" y="99203"/>
                  </a:cubicBezTo>
                  <a:cubicBezTo>
                    <a:pt x="54136" y="97798"/>
                    <a:pt x="54136" y="97798"/>
                    <a:pt x="54136" y="97798"/>
                  </a:cubicBezTo>
                  <a:cubicBezTo>
                    <a:pt x="54136" y="97798"/>
                    <a:pt x="53355" y="98922"/>
                    <a:pt x="53159" y="98922"/>
                  </a:cubicBezTo>
                  <a:cubicBezTo>
                    <a:pt x="53159" y="99203"/>
                    <a:pt x="52768" y="100327"/>
                    <a:pt x="52573" y="100327"/>
                  </a:cubicBezTo>
                  <a:cubicBezTo>
                    <a:pt x="52573" y="100608"/>
                    <a:pt x="52573" y="101170"/>
                    <a:pt x="52573" y="101170"/>
                  </a:cubicBezTo>
                  <a:cubicBezTo>
                    <a:pt x="52964" y="102014"/>
                    <a:pt x="52964" y="102014"/>
                    <a:pt x="52964" y="102014"/>
                  </a:cubicBezTo>
                  <a:cubicBezTo>
                    <a:pt x="52964" y="102857"/>
                    <a:pt x="52964" y="102857"/>
                    <a:pt x="52964" y="102857"/>
                  </a:cubicBezTo>
                  <a:cubicBezTo>
                    <a:pt x="53355" y="103419"/>
                    <a:pt x="53355" y="103419"/>
                    <a:pt x="53355" y="103419"/>
                  </a:cubicBezTo>
                  <a:cubicBezTo>
                    <a:pt x="53355" y="103419"/>
                    <a:pt x="53745" y="103419"/>
                    <a:pt x="53941" y="103700"/>
                  </a:cubicBezTo>
                  <a:cubicBezTo>
                    <a:pt x="54136" y="103700"/>
                    <a:pt x="53941" y="104262"/>
                    <a:pt x="53941" y="104262"/>
                  </a:cubicBezTo>
                  <a:cubicBezTo>
                    <a:pt x="53745" y="105386"/>
                    <a:pt x="53745" y="105386"/>
                    <a:pt x="53745" y="105386"/>
                  </a:cubicBezTo>
                  <a:cubicBezTo>
                    <a:pt x="53745" y="105386"/>
                    <a:pt x="53941" y="105667"/>
                    <a:pt x="54136" y="105948"/>
                  </a:cubicBezTo>
                  <a:cubicBezTo>
                    <a:pt x="54136" y="106229"/>
                    <a:pt x="53745" y="106791"/>
                    <a:pt x="53745" y="106791"/>
                  </a:cubicBezTo>
                  <a:cubicBezTo>
                    <a:pt x="53550" y="106791"/>
                    <a:pt x="52964" y="107634"/>
                    <a:pt x="52964" y="107634"/>
                  </a:cubicBezTo>
                  <a:cubicBezTo>
                    <a:pt x="52964" y="107634"/>
                    <a:pt x="52768" y="107915"/>
                    <a:pt x="52573" y="107915"/>
                  </a:cubicBezTo>
                  <a:cubicBezTo>
                    <a:pt x="52377" y="107915"/>
                    <a:pt x="52768" y="108758"/>
                    <a:pt x="52768" y="108758"/>
                  </a:cubicBezTo>
                  <a:cubicBezTo>
                    <a:pt x="52964" y="109601"/>
                    <a:pt x="52964" y="109601"/>
                    <a:pt x="52964" y="109601"/>
                  </a:cubicBezTo>
                  <a:cubicBezTo>
                    <a:pt x="52964" y="109601"/>
                    <a:pt x="52768" y="109882"/>
                    <a:pt x="52768" y="109882"/>
                  </a:cubicBezTo>
                  <a:cubicBezTo>
                    <a:pt x="52573" y="110163"/>
                    <a:pt x="52573" y="110725"/>
                    <a:pt x="52573" y="110725"/>
                  </a:cubicBezTo>
                  <a:cubicBezTo>
                    <a:pt x="52182" y="110725"/>
                    <a:pt x="52182" y="110725"/>
                    <a:pt x="52182" y="110725"/>
                  </a:cubicBezTo>
                  <a:cubicBezTo>
                    <a:pt x="51986" y="111288"/>
                    <a:pt x="51986" y="111288"/>
                    <a:pt x="51986" y="111288"/>
                  </a:cubicBezTo>
                  <a:cubicBezTo>
                    <a:pt x="51986" y="111288"/>
                    <a:pt x="51986" y="112131"/>
                    <a:pt x="51791" y="112131"/>
                  </a:cubicBezTo>
                  <a:cubicBezTo>
                    <a:pt x="51596" y="112131"/>
                    <a:pt x="51791" y="112693"/>
                    <a:pt x="51791" y="112693"/>
                  </a:cubicBezTo>
                  <a:cubicBezTo>
                    <a:pt x="51596" y="113255"/>
                    <a:pt x="51596" y="113255"/>
                    <a:pt x="51596" y="113255"/>
                  </a:cubicBezTo>
                  <a:cubicBezTo>
                    <a:pt x="52377" y="113817"/>
                    <a:pt x="52377" y="113817"/>
                    <a:pt x="52377" y="113817"/>
                  </a:cubicBezTo>
                  <a:cubicBezTo>
                    <a:pt x="52182" y="114379"/>
                    <a:pt x="52182" y="114379"/>
                    <a:pt x="52182" y="114379"/>
                  </a:cubicBezTo>
                  <a:cubicBezTo>
                    <a:pt x="52182" y="114941"/>
                    <a:pt x="52182" y="114941"/>
                    <a:pt x="52182" y="114941"/>
                  </a:cubicBezTo>
                  <a:cubicBezTo>
                    <a:pt x="52377" y="114941"/>
                    <a:pt x="52377" y="114941"/>
                    <a:pt x="52377" y="114941"/>
                  </a:cubicBezTo>
                  <a:cubicBezTo>
                    <a:pt x="52377" y="114941"/>
                    <a:pt x="51986" y="115222"/>
                    <a:pt x="51791" y="115222"/>
                  </a:cubicBezTo>
                  <a:cubicBezTo>
                    <a:pt x="51596" y="115503"/>
                    <a:pt x="51400" y="115222"/>
                    <a:pt x="51205" y="115503"/>
                  </a:cubicBezTo>
                  <a:cubicBezTo>
                    <a:pt x="51009" y="115503"/>
                    <a:pt x="50423" y="115784"/>
                    <a:pt x="50423" y="115784"/>
                  </a:cubicBezTo>
                  <a:cubicBezTo>
                    <a:pt x="50228" y="116908"/>
                    <a:pt x="50228" y="116908"/>
                    <a:pt x="50228" y="116908"/>
                  </a:cubicBezTo>
                  <a:cubicBezTo>
                    <a:pt x="49837" y="116908"/>
                    <a:pt x="49837" y="116908"/>
                    <a:pt x="49837" y="116908"/>
                  </a:cubicBezTo>
                  <a:cubicBezTo>
                    <a:pt x="49837" y="116346"/>
                    <a:pt x="49837" y="116346"/>
                    <a:pt x="49837" y="116346"/>
                  </a:cubicBezTo>
                  <a:cubicBezTo>
                    <a:pt x="49641" y="116065"/>
                    <a:pt x="49641" y="116065"/>
                    <a:pt x="49641" y="116065"/>
                  </a:cubicBezTo>
                  <a:cubicBezTo>
                    <a:pt x="49641" y="116627"/>
                    <a:pt x="49641" y="116908"/>
                    <a:pt x="49641" y="116908"/>
                  </a:cubicBezTo>
                  <a:cubicBezTo>
                    <a:pt x="51596" y="118875"/>
                    <a:pt x="51596" y="118875"/>
                    <a:pt x="51596" y="118875"/>
                  </a:cubicBezTo>
                  <a:cubicBezTo>
                    <a:pt x="54918" y="120000"/>
                    <a:pt x="54918" y="120000"/>
                    <a:pt x="54918" y="120000"/>
                  </a:cubicBezTo>
                  <a:cubicBezTo>
                    <a:pt x="55700" y="118032"/>
                    <a:pt x="55700" y="118032"/>
                    <a:pt x="55700" y="118032"/>
                  </a:cubicBezTo>
                  <a:cubicBezTo>
                    <a:pt x="55700" y="118032"/>
                    <a:pt x="57459" y="113536"/>
                    <a:pt x="58827" y="113817"/>
                  </a:cubicBezTo>
                  <a:cubicBezTo>
                    <a:pt x="59804" y="114098"/>
                    <a:pt x="61172" y="114660"/>
                    <a:pt x="61368" y="114660"/>
                  </a:cubicBezTo>
                  <a:cubicBezTo>
                    <a:pt x="61172" y="112974"/>
                    <a:pt x="59022" y="110163"/>
                    <a:pt x="59413" y="109601"/>
                  </a:cubicBezTo>
                  <a:cubicBezTo>
                    <a:pt x="59804" y="108758"/>
                    <a:pt x="60781" y="106791"/>
                    <a:pt x="61368" y="105667"/>
                  </a:cubicBezTo>
                  <a:cubicBezTo>
                    <a:pt x="61758" y="104543"/>
                    <a:pt x="63713" y="103700"/>
                    <a:pt x="63713" y="103700"/>
                  </a:cubicBezTo>
                  <a:cubicBezTo>
                    <a:pt x="65276" y="99484"/>
                    <a:pt x="65276" y="99484"/>
                    <a:pt x="65276" y="99484"/>
                  </a:cubicBezTo>
                  <a:cubicBezTo>
                    <a:pt x="64885" y="93021"/>
                    <a:pt x="64495" y="91334"/>
                    <a:pt x="69185" y="90491"/>
                  </a:cubicBezTo>
                  <a:cubicBezTo>
                    <a:pt x="69967" y="90210"/>
                    <a:pt x="70944" y="89367"/>
                    <a:pt x="70944" y="89367"/>
                  </a:cubicBezTo>
                  <a:cubicBezTo>
                    <a:pt x="72508" y="88524"/>
                    <a:pt x="72508" y="88524"/>
                    <a:pt x="72508" y="88524"/>
                  </a:cubicBezTo>
                  <a:cubicBezTo>
                    <a:pt x="75439" y="87962"/>
                    <a:pt x="75439" y="87962"/>
                    <a:pt x="75439" y="87962"/>
                  </a:cubicBezTo>
                  <a:cubicBezTo>
                    <a:pt x="73094" y="89929"/>
                    <a:pt x="73094" y="89929"/>
                    <a:pt x="73094" y="89929"/>
                  </a:cubicBezTo>
                  <a:cubicBezTo>
                    <a:pt x="71335" y="92740"/>
                    <a:pt x="71335" y="92740"/>
                    <a:pt x="71335" y="92740"/>
                  </a:cubicBezTo>
                  <a:cubicBezTo>
                    <a:pt x="73680" y="93583"/>
                    <a:pt x="73680" y="93583"/>
                    <a:pt x="73680" y="93583"/>
                  </a:cubicBezTo>
                  <a:cubicBezTo>
                    <a:pt x="73680" y="93583"/>
                    <a:pt x="73680" y="96112"/>
                    <a:pt x="74853" y="95550"/>
                  </a:cubicBezTo>
                  <a:cubicBezTo>
                    <a:pt x="75830" y="94988"/>
                    <a:pt x="78175" y="93583"/>
                    <a:pt x="78566" y="93583"/>
                  </a:cubicBezTo>
                  <a:cubicBezTo>
                    <a:pt x="78957" y="93302"/>
                    <a:pt x="81107" y="92459"/>
                    <a:pt x="81693" y="92459"/>
                  </a:cubicBezTo>
                  <a:cubicBezTo>
                    <a:pt x="82280" y="92459"/>
                    <a:pt x="85407" y="91896"/>
                    <a:pt x="85407" y="91896"/>
                  </a:cubicBezTo>
                  <a:cubicBezTo>
                    <a:pt x="85798" y="94426"/>
                    <a:pt x="85798" y="94426"/>
                    <a:pt x="85798" y="94426"/>
                  </a:cubicBezTo>
                  <a:cubicBezTo>
                    <a:pt x="84429" y="96955"/>
                    <a:pt x="84429" y="96955"/>
                    <a:pt x="84429" y="96955"/>
                  </a:cubicBezTo>
                  <a:cubicBezTo>
                    <a:pt x="82671" y="99484"/>
                    <a:pt x="82671" y="99484"/>
                    <a:pt x="82671" y="99484"/>
                  </a:cubicBezTo>
                  <a:cubicBezTo>
                    <a:pt x="79934" y="103138"/>
                    <a:pt x="79934" y="103138"/>
                    <a:pt x="79934" y="103138"/>
                  </a:cubicBezTo>
                  <a:cubicBezTo>
                    <a:pt x="79934" y="103138"/>
                    <a:pt x="79153" y="105105"/>
                    <a:pt x="79543" y="105386"/>
                  </a:cubicBezTo>
                  <a:cubicBezTo>
                    <a:pt x="79934" y="105667"/>
                    <a:pt x="82866" y="105105"/>
                    <a:pt x="82866" y="105105"/>
                  </a:cubicBezTo>
                  <a:cubicBezTo>
                    <a:pt x="86188" y="105386"/>
                    <a:pt x="86188" y="105386"/>
                    <a:pt x="86188" y="105386"/>
                  </a:cubicBezTo>
                  <a:cubicBezTo>
                    <a:pt x="86188" y="105386"/>
                    <a:pt x="86775" y="105667"/>
                    <a:pt x="87166" y="107353"/>
                  </a:cubicBezTo>
                  <a:cubicBezTo>
                    <a:pt x="87752" y="109320"/>
                    <a:pt x="88143" y="110163"/>
                    <a:pt x="88338" y="110725"/>
                  </a:cubicBezTo>
                  <a:cubicBezTo>
                    <a:pt x="88729" y="111569"/>
                    <a:pt x="89511" y="113255"/>
                    <a:pt x="89511" y="113255"/>
                  </a:cubicBezTo>
                  <a:cubicBezTo>
                    <a:pt x="89511" y="113255"/>
                    <a:pt x="88729" y="114379"/>
                    <a:pt x="89706" y="114098"/>
                  </a:cubicBezTo>
                  <a:cubicBezTo>
                    <a:pt x="90879" y="114098"/>
                    <a:pt x="91661" y="113817"/>
                    <a:pt x="91661" y="113817"/>
                  </a:cubicBezTo>
                  <a:cubicBezTo>
                    <a:pt x="91661" y="113817"/>
                    <a:pt x="91856" y="112131"/>
                    <a:pt x="92247" y="111569"/>
                  </a:cubicBezTo>
                  <a:cubicBezTo>
                    <a:pt x="92833" y="111288"/>
                    <a:pt x="93420" y="110444"/>
                    <a:pt x="93420" y="110444"/>
                  </a:cubicBezTo>
                  <a:cubicBezTo>
                    <a:pt x="93420" y="110444"/>
                    <a:pt x="93224" y="108758"/>
                    <a:pt x="93811" y="108196"/>
                  </a:cubicBezTo>
                  <a:cubicBezTo>
                    <a:pt x="94397" y="107915"/>
                    <a:pt x="95179" y="107634"/>
                    <a:pt x="95960" y="107353"/>
                  </a:cubicBezTo>
                  <a:cubicBezTo>
                    <a:pt x="96742" y="106791"/>
                    <a:pt x="97524" y="104824"/>
                    <a:pt x="97524" y="104824"/>
                  </a:cubicBezTo>
                  <a:cubicBezTo>
                    <a:pt x="98501" y="103700"/>
                    <a:pt x="98501" y="103700"/>
                    <a:pt x="98501" y="103700"/>
                  </a:cubicBezTo>
                  <a:cubicBezTo>
                    <a:pt x="100846" y="102576"/>
                    <a:pt x="100846" y="102576"/>
                    <a:pt x="100846" y="102576"/>
                  </a:cubicBezTo>
                  <a:cubicBezTo>
                    <a:pt x="100651" y="99765"/>
                    <a:pt x="100651" y="99765"/>
                    <a:pt x="100651" y="99765"/>
                  </a:cubicBezTo>
                  <a:cubicBezTo>
                    <a:pt x="100651" y="99765"/>
                    <a:pt x="100846" y="99203"/>
                    <a:pt x="101433" y="99203"/>
                  </a:cubicBezTo>
                  <a:cubicBezTo>
                    <a:pt x="101824" y="98922"/>
                    <a:pt x="105928" y="96955"/>
                    <a:pt x="105928" y="96955"/>
                  </a:cubicBezTo>
                  <a:cubicBezTo>
                    <a:pt x="107100" y="94145"/>
                    <a:pt x="107100" y="94145"/>
                    <a:pt x="107100" y="94145"/>
                  </a:cubicBezTo>
                  <a:cubicBezTo>
                    <a:pt x="107100" y="91334"/>
                    <a:pt x="107100" y="91334"/>
                    <a:pt x="107100" y="91334"/>
                  </a:cubicBezTo>
                  <a:cubicBezTo>
                    <a:pt x="107100" y="91334"/>
                    <a:pt x="107491" y="89648"/>
                    <a:pt x="106710" y="89648"/>
                  </a:cubicBezTo>
                  <a:cubicBezTo>
                    <a:pt x="105928" y="89648"/>
                    <a:pt x="103973" y="92459"/>
                    <a:pt x="103973" y="92459"/>
                  </a:cubicBezTo>
                  <a:cubicBezTo>
                    <a:pt x="101824" y="92740"/>
                    <a:pt x="101824" y="92740"/>
                    <a:pt x="101824" y="92740"/>
                  </a:cubicBezTo>
                  <a:cubicBezTo>
                    <a:pt x="101824" y="92740"/>
                    <a:pt x="100846" y="95269"/>
                    <a:pt x="100456" y="95269"/>
                  </a:cubicBezTo>
                  <a:cubicBezTo>
                    <a:pt x="100065" y="95550"/>
                    <a:pt x="98892" y="96112"/>
                    <a:pt x="98501" y="95831"/>
                  </a:cubicBezTo>
                  <a:cubicBezTo>
                    <a:pt x="98110" y="95831"/>
                    <a:pt x="98697" y="98922"/>
                    <a:pt x="97328" y="95269"/>
                  </a:cubicBezTo>
                  <a:cubicBezTo>
                    <a:pt x="95960" y="91615"/>
                    <a:pt x="95374" y="91615"/>
                    <a:pt x="95374" y="91615"/>
                  </a:cubicBezTo>
                  <a:cubicBezTo>
                    <a:pt x="94006" y="91615"/>
                    <a:pt x="94006" y="91615"/>
                    <a:pt x="94006" y="91615"/>
                  </a:cubicBezTo>
                  <a:cubicBezTo>
                    <a:pt x="94006" y="91615"/>
                    <a:pt x="92833" y="92459"/>
                    <a:pt x="92638" y="91896"/>
                  </a:cubicBezTo>
                  <a:cubicBezTo>
                    <a:pt x="92638" y="91334"/>
                    <a:pt x="92052" y="89648"/>
                    <a:pt x="92052" y="89648"/>
                  </a:cubicBezTo>
                  <a:cubicBezTo>
                    <a:pt x="90097" y="89648"/>
                    <a:pt x="90097" y="89648"/>
                    <a:pt x="90097" y="89648"/>
                  </a:cubicBezTo>
                  <a:cubicBezTo>
                    <a:pt x="89315" y="90210"/>
                    <a:pt x="89315" y="90210"/>
                    <a:pt x="89315" y="90210"/>
                  </a:cubicBezTo>
                  <a:cubicBezTo>
                    <a:pt x="86384" y="89929"/>
                    <a:pt x="86384" y="89929"/>
                    <a:pt x="86384" y="89929"/>
                  </a:cubicBezTo>
                  <a:cubicBezTo>
                    <a:pt x="85211" y="88805"/>
                    <a:pt x="85211" y="88805"/>
                    <a:pt x="85211" y="88805"/>
                  </a:cubicBezTo>
                  <a:cubicBezTo>
                    <a:pt x="86775" y="87681"/>
                    <a:pt x="86775" y="87681"/>
                    <a:pt x="86775" y="87681"/>
                  </a:cubicBezTo>
                  <a:cubicBezTo>
                    <a:pt x="86775" y="87681"/>
                    <a:pt x="87361" y="88524"/>
                    <a:pt x="87557" y="88524"/>
                  </a:cubicBezTo>
                  <a:cubicBezTo>
                    <a:pt x="87947" y="88243"/>
                    <a:pt x="87557" y="87400"/>
                    <a:pt x="87947" y="87119"/>
                  </a:cubicBezTo>
                  <a:cubicBezTo>
                    <a:pt x="88534" y="86838"/>
                    <a:pt x="89120" y="85995"/>
                    <a:pt x="89706" y="86557"/>
                  </a:cubicBezTo>
                  <a:cubicBezTo>
                    <a:pt x="90293" y="86838"/>
                    <a:pt x="89706" y="88524"/>
                    <a:pt x="90684" y="87400"/>
                  </a:cubicBezTo>
                  <a:cubicBezTo>
                    <a:pt x="91661" y="86276"/>
                    <a:pt x="92638" y="86557"/>
                    <a:pt x="92638" y="86557"/>
                  </a:cubicBezTo>
                  <a:cubicBezTo>
                    <a:pt x="93811" y="83747"/>
                    <a:pt x="93811" y="83747"/>
                    <a:pt x="93811" y="83747"/>
                  </a:cubicBezTo>
                  <a:cubicBezTo>
                    <a:pt x="94592" y="81217"/>
                    <a:pt x="94592" y="81217"/>
                    <a:pt x="94592" y="81217"/>
                  </a:cubicBezTo>
                  <a:cubicBezTo>
                    <a:pt x="94592" y="81217"/>
                    <a:pt x="94983" y="81498"/>
                    <a:pt x="95374" y="81779"/>
                  </a:cubicBezTo>
                  <a:cubicBezTo>
                    <a:pt x="95960" y="81779"/>
                    <a:pt x="97328" y="78407"/>
                    <a:pt x="97328" y="78407"/>
                  </a:cubicBezTo>
                  <a:cubicBezTo>
                    <a:pt x="97328" y="78407"/>
                    <a:pt x="97524" y="75035"/>
                    <a:pt x="97915" y="75035"/>
                  </a:cubicBezTo>
                  <a:cubicBezTo>
                    <a:pt x="98306" y="74754"/>
                    <a:pt x="101237" y="73348"/>
                    <a:pt x="101237" y="73348"/>
                  </a:cubicBezTo>
                  <a:cubicBezTo>
                    <a:pt x="103192" y="71662"/>
                    <a:pt x="103192" y="71662"/>
                    <a:pt x="103192" y="71662"/>
                  </a:cubicBezTo>
                  <a:cubicBezTo>
                    <a:pt x="103192" y="71662"/>
                    <a:pt x="104169" y="69695"/>
                    <a:pt x="104560" y="69414"/>
                  </a:cubicBezTo>
                  <a:cubicBezTo>
                    <a:pt x="104951" y="69414"/>
                    <a:pt x="105342" y="68290"/>
                    <a:pt x="105732" y="66885"/>
                  </a:cubicBezTo>
                  <a:cubicBezTo>
                    <a:pt x="106319" y="65761"/>
                    <a:pt x="106710" y="64918"/>
                    <a:pt x="106710" y="64918"/>
                  </a:cubicBezTo>
                  <a:cubicBezTo>
                    <a:pt x="106710" y="64918"/>
                    <a:pt x="109055" y="64074"/>
                    <a:pt x="108859" y="63793"/>
                  </a:cubicBezTo>
                  <a:cubicBezTo>
                    <a:pt x="108859" y="63231"/>
                    <a:pt x="107882" y="62107"/>
                    <a:pt x="109055" y="62107"/>
                  </a:cubicBezTo>
                  <a:cubicBezTo>
                    <a:pt x="110228" y="62107"/>
                    <a:pt x="110228" y="62107"/>
                    <a:pt x="110814" y="61545"/>
                  </a:cubicBezTo>
                  <a:cubicBezTo>
                    <a:pt x="111205" y="61264"/>
                    <a:pt x="111009" y="60983"/>
                    <a:pt x="111205" y="60140"/>
                  </a:cubicBezTo>
                  <a:cubicBezTo>
                    <a:pt x="111596" y="59578"/>
                    <a:pt x="111791" y="58735"/>
                    <a:pt x="111791" y="58173"/>
                  </a:cubicBezTo>
                  <a:cubicBezTo>
                    <a:pt x="111596" y="57611"/>
                    <a:pt x="110618" y="55362"/>
                    <a:pt x="110618" y="54800"/>
                  </a:cubicBezTo>
                  <a:cubicBezTo>
                    <a:pt x="110423" y="53957"/>
                    <a:pt x="110618" y="52271"/>
                    <a:pt x="110618" y="52271"/>
                  </a:cubicBezTo>
                  <a:cubicBezTo>
                    <a:pt x="110618" y="52271"/>
                    <a:pt x="111205" y="51990"/>
                    <a:pt x="111791" y="51709"/>
                  </a:cubicBezTo>
                  <a:cubicBezTo>
                    <a:pt x="112182" y="51147"/>
                    <a:pt x="112964" y="49180"/>
                    <a:pt x="112964" y="49180"/>
                  </a:cubicBezTo>
                  <a:cubicBezTo>
                    <a:pt x="113159" y="47775"/>
                    <a:pt x="113159" y="47775"/>
                    <a:pt x="113159" y="47775"/>
                  </a:cubicBezTo>
                  <a:cubicBezTo>
                    <a:pt x="113159" y="47775"/>
                    <a:pt x="113941" y="46932"/>
                    <a:pt x="114136" y="46932"/>
                  </a:cubicBezTo>
                  <a:cubicBezTo>
                    <a:pt x="114527" y="46651"/>
                    <a:pt x="117654" y="44964"/>
                    <a:pt x="117850" y="44964"/>
                  </a:cubicBezTo>
                  <a:cubicBezTo>
                    <a:pt x="118045" y="44964"/>
                    <a:pt x="119999" y="45245"/>
                    <a:pt x="119413" y="43840"/>
                  </a:cubicBezTo>
                  <a:cubicBezTo>
                    <a:pt x="118827" y="42716"/>
                    <a:pt x="118631" y="42154"/>
                    <a:pt x="118436" y="41311"/>
                  </a:cubicBezTo>
                  <a:cubicBezTo>
                    <a:pt x="118241" y="40468"/>
                    <a:pt x="118241" y="38501"/>
                    <a:pt x="118241" y="38220"/>
                  </a:cubicBezTo>
                  <a:cubicBezTo>
                    <a:pt x="118436" y="37939"/>
                    <a:pt x="119999" y="37096"/>
                    <a:pt x="118241" y="36814"/>
                  </a:cubicBezTo>
                  <a:cubicBezTo>
                    <a:pt x="116482" y="36533"/>
                    <a:pt x="117850" y="35690"/>
                    <a:pt x="117459" y="35128"/>
                  </a:cubicBezTo>
                  <a:cubicBezTo>
                    <a:pt x="116872" y="34566"/>
                    <a:pt x="115700" y="33442"/>
                    <a:pt x="115700" y="33442"/>
                  </a:cubicBezTo>
                  <a:cubicBezTo>
                    <a:pt x="115114" y="33442"/>
                    <a:pt x="115114" y="33442"/>
                    <a:pt x="115114" y="33442"/>
                  </a:cubicBezTo>
                  <a:cubicBezTo>
                    <a:pt x="115309" y="30632"/>
                    <a:pt x="115309" y="30632"/>
                    <a:pt x="115309" y="30632"/>
                  </a:cubicBezTo>
                  <a:cubicBezTo>
                    <a:pt x="115309" y="30632"/>
                    <a:pt x="115895" y="29508"/>
                    <a:pt x="116091" y="29508"/>
                  </a:cubicBezTo>
                  <a:cubicBezTo>
                    <a:pt x="116286" y="29227"/>
                    <a:pt x="116482" y="28103"/>
                    <a:pt x="116091" y="28103"/>
                  </a:cubicBezTo>
                  <a:cubicBezTo>
                    <a:pt x="115700" y="28384"/>
                    <a:pt x="114527" y="28665"/>
                    <a:pt x="114527" y="28665"/>
                  </a:cubicBezTo>
                  <a:cubicBezTo>
                    <a:pt x="114527" y="28665"/>
                    <a:pt x="113550" y="28665"/>
                    <a:pt x="113745" y="28103"/>
                  </a:cubicBezTo>
                  <a:cubicBezTo>
                    <a:pt x="113745" y="27259"/>
                    <a:pt x="114136" y="27259"/>
                    <a:pt x="114723" y="26416"/>
                  </a:cubicBezTo>
                  <a:cubicBezTo>
                    <a:pt x="115309" y="25573"/>
                    <a:pt x="115504" y="25011"/>
                    <a:pt x="115504" y="25011"/>
                  </a:cubicBezTo>
                  <a:cubicBezTo>
                    <a:pt x="115309" y="23325"/>
                    <a:pt x="115309" y="23325"/>
                    <a:pt x="115309" y="23325"/>
                  </a:cubicBezTo>
                  <a:cubicBezTo>
                    <a:pt x="115309" y="23325"/>
                    <a:pt x="115309" y="22201"/>
                    <a:pt x="115114" y="22201"/>
                  </a:cubicBezTo>
                  <a:cubicBezTo>
                    <a:pt x="115114" y="21920"/>
                    <a:pt x="113941" y="18548"/>
                    <a:pt x="113941" y="18548"/>
                  </a:cubicBezTo>
                  <a:cubicBezTo>
                    <a:pt x="113941" y="18548"/>
                    <a:pt x="112768" y="17985"/>
                    <a:pt x="112573" y="18548"/>
                  </a:cubicBezTo>
                  <a:cubicBezTo>
                    <a:pt x="112573" y="19110"/>
                    <a:pt x="112182" y="20234"/>
                    <a:pt x="112182" y="20234"/>
                  </a:cubicBezTo>
                  <a:cubicBezTo>
                    <a:pt x="110814" y="20234"/>
                    <a:pt x="110814" y="20234"/>
                    <a:pt x="110814" y="20234"/>
                  </a:cubicBezTo>
                  <a:cubicBezTo>
                    <a:pt x="110032" y="19391"/>
                    <a:pt x="110032" y="19391"/>
                    <a:pt x="110032" y="19391"/>
                  </a:cubicBezTo>
                  <a:cubicBezTo>
                    <a:pt x="108469" y="18829"/>
                    <a:pt x="108469" y="18829"/>
                    <a:pt x="108469" y="18829"/>
                  </a:cubicBezTo>
                  <a:cubicBezTo>
                    <a:pt x="108469" y="18829"/>
                    <a:pt x="108273" y="19110"/>
                    <a:pt x="108078" y="19391"/>
                  </a:cubicBezTo>
                  <a:cubicBezTo>
                    <a:pt x="108078" y="19672"/>
                    <a:pt x="106514" y="18266"/>
                    <a:pt x="106514" y="18266"/>
                  </a:cubicBezTo>
                  <a:cubicBezTo>
                    <a:pt x="106514" y="18266"/>
                    <a:pt x="105928" y="19391"/>
                    <a:pt x="105732" y="19672"/>
                  </a:cubicBezTo>
                  <a:cubicBezTo>
                    <a:pt x="105732" y="19672"/>
                    <a:pt x="104169" y="19110"/>
                    <a:pt x="104169" y="19110"/>
                  </a:cubicBezTo>
                  <a:cubicBezTo>
                    <a:pt x="102605" y="19391"/>
                    <a:pt x="102605" y="19391"/>
                    <a:pt x="102605" y="19391"/>
                  </a:cubicBezTo>
                  <a:cubicBezTo>
                    <a:pt x="101237" y="19672"/>
                    <a:pt x="101237" y="19672"/>
                    <a:pt x="101237" y="19672"/>
                  </a:cubicBezTo>
                  <a:cubicBezTo>
                    <a:pt x="100065" y="18829"/>
                    <a:pt x="100065" y="18829"/>
                    <a:pt x="100065" y="18829"/>
                  </a:cubicBezTo>
                  <a:cubicBezTo>
                    <a:pt x="99674" y="19672"/>
                    <a:pt x="99674" y="19672"/>
                    <a:pt x="99674" y="19672"/>
                  </a:cubicBezTo>
                  <a:cubicBezTo>
                    <a:pt x="99869" y="21077"/>
                    <a:pt x="99869" y="21077"/>
                    <a:pt x="99869" y="21077"/>
                  </a:cubicBezTo>
                  <a:cubicBezTo>
                    <a:pt x="98892" y="21920"/>
                    <a:pt x="98892" y="21920"/>
                    <a:pt x="98892" y="21920"/>
                  </a:cubicBezTo>
                  <a:cubicBezTo>
                    <a:pt x="97719" y="20796"/>
                    <a:pt x="97719" y="20796"/>
                    <a:pt x="97719" y="20796"/>
                  </a:cubicBezTo>
                  <a:cubicBezTo>
                    <a:pt x="96742" y="20515"/>
                    <a:pt x="96742" y="20515"/>
                    <a:pt x="96742" y="20515"/>
                  </a:cubicBezTo>
                  <a:cubicBezTo>
                    <a:pt x="95374" y="18548"/>
                    <a:pt x="95374" y="18548"/>
                    <a:pt x="95374" y="18548"/>
                  </a:cubicBezTo>
                  <a:cubicBezTo>
                    <a:pt x="94201" y="17985"/>
                    <a:pt x="94201" y="17985"/>
                    <a:pt x="94201" y="17985"/>
                  </a:cubicBezTo>
                  <a:cubicBezTo>
                    <a:pt x="93029" y="17142"/>
                    <a:pt x="93029" y="17142"/>
                    <a:pt x="93029" y="17142"/>
                  </a:cubicBezTo>
                  <a:cubicBezTo>
                    <a:pt x="93029" y="17142"/>
                    <a:pt x="92442" y="19391"/>
                    <a:pt x="92247" y="19672"/>
                  </a:cubicBezTo>
                  <a:cubicBezTo>
                    <a:pt x="92052" y="19672"/>
                    <a:pt x="91074" y="20234"/>
                    <a:pt x="90879" y="20234"/>
                  </a:cubicBezTo>
                  <a:cubicBezTo>
                    <a:pt x="90488" y="20515"/>
                    <a:pt x="90293" y="21920"/>
                    <a:pt x="90293" y="21920"/>
                  </a:cubicBezTo>
                  <a:cubicBezTo>
                    <a:pt x="89315" y="22763"/>
                    <a:pt x="89315" y="22763"/>
                    <a:pt x="89315" y="22763"/>
                  </a:cubicBezTo>
                  <a:cubicBezTo>
                    <a:pt x="89315" y="22763"/>
                    <a:pt x="88729" y="22201"/>
                    <a:pt x="88338" y="22201"/>
                  </a:cubicBezTo>
                  <a:cubicBezTo>
                    <a:pt x="88143" y="22201"/>
                    <a:pt x="87947" y="22482"/>
                    <a:pt x="87947" y="22482"/>
                  </a:cubicBezTo>
                  <a:cubicBezTo>
                    <a:pt x="87557" y="23325"/>
                    <a:pt x="87557" y="23325"/>
                    <a:pt x="87557" y="23325"/>
                  </a:cubicBezTo>
                  <a:cubicBezTo>
                    <a:pt x="87557" y="23325"/>
                    <a:pt x="87361" y="23325"/>
                    <a:pt x="86775" y="22763"/>
                  </a:cubicBezTo>
                  <a:cubicBezTo>
                    <a:pt x="86384" y="22482"/>
                    <a:pt x="85798" y="21920"/>
                    <a:pt x="85798" y="21920"/>
                  </a:cubicBezTo>
                  <a:cubicBezTo>
                    <a:pt x="85211" y="21639"/>
                    <a:pt x="85211" y="21639"/>
                    <a:pt x="85211" y="21639"/>
                  </a:cubicBezTo>
                  <a:cubicBezTo>
                    <a:pt x="85211" y="21639"/>
                    <a:pt x="83452" y="22763"/>
                    <a:pt x="83257" y="23044"/>
                  </a:cubicBezTo>
                  <a:cubicBezTo>
                    <a:pt x="83257" y="23325"/>
                    <a:pt x="82866" y="24168"/>
                    <a:pt x="82866" y="24168"/>
                  </a:cubicBezTo>
                  <a:cubicBezTo>
                    <a:pt x="81889" y="23044"/>
                    <a:pt x="81889" y="23044"/>
                    <a:pt x="81889" y="23044"/>
                  </a:cubicBezTo>
                  <a:cubicBezTo>
                    <a:pt x="80716" y="21920"/>
                    <a:pt x="80716" y="21920"/>
                    <a:pt x="80716" y="21920"/>
                  </a:cubicBezTo>
                  <a:cubicBezTo>
                    <a:pt x="80521" y="19953"/>
                    <a:pt x="80521" y="19953"/>
                    <a:pt x="80521" y="19953"/>
                  </a:cubicBezTo>
                  <a:cubicBezTo>
                    <a:pt x="78371" y="17142"/>
                    <a:pt x="78371" y="17142"/>
                    <a:pt x="78371" y="17142"/>
                  </a:cubicBezTo>
                  <a:cubicBezTo>
                    <a:pt x="77980" y="14332"/>
                    <a:pt x="77980" y="14332"/>
                    <a:pt x="77980" y="14332"/>
                  </a:cubicBezTo>
                  <a:cubicBezTo>
                    <a:pt x="76416" y="12646"/>
                    <a:pt x="76416" y="12646"/>
                    <a:pt x="76416" y="12646"/>
                  </a:cubicBezTo>
                  <a:cubicBezTo>
                    <a:pt x="75439" y="14332"/>
                    <a:pt x="75439" y="14332"/>
                    <a:pt x="75439" y="14332"/>
                  </a:cubicBezTo>
                  <a:cubicBezTo>
                    <a:pt x="73876" y="14051"/>
                    <a:pt x="73876" y="14051"/>
                    <a:pt x="73876" y="14051"/>
                  </a:cubicBezTo>
                  <a:cubicBezTo>
                    <a:pt x="72312" y="14613"/>
                    <a:pt x="72312" y="14613"/>
                    <a:pt x="72312" y="14613"/>
                  </a:cubicBezTo>
                  <a:cubicBezTo>
                    <a:pt x="72312" y="14613"/>
                    <a:pt x="71335" y="16018"/>
                    <a:pt x="71335" y="15456"/>
                  </a:cubicBezTo>
                  <a:cubicBezTo>
                    <a:pt x="71140" y="14894"/>
                    <a:pt x="71530" y="13770"/>
                    <a:pt x="71530" y="13208"/>
                  </a:cubicBezTo>
                  <a:cubicBezTo>
                    <a:pt x="71335" y="12927"/>
                    <a:pt x="70358" y="13770"/>
                    <a:pt x="70553" y="12646"/>
                  </a:cubicBezTo>
                  <a:cubicBezTo>
                    <a:pt x="70749" y="12084"/>
                    <a:pt x="70553" y="11241"/>
                    <a:pt x="70358" y="10960"/>
                  </a:cubicBezTo>
                  <a:cubicBezTo>
                    <a:pt x="69967" y="10398"/>
                    <a:pt x="68794" y="10398"/>
                    <a:pt x="69185" y="9274"/>
                  </a:cubicBezTo>
                  <a:cubicBezTo>
                    <a:pt x="69576" y="8430"/>
                    <a:pt x="70553" y="7868"/>
                    <a:pt x="70553" y="7868"/>
                  </a:cubicBezTo>
                  <a:cubicBezTo>
                    <a:pt x="70553" y="7306"/>
                    <a:pt x="70553" y="7306"/>
                    <a:pt x="70553" y="7306"/>
                  </a:cubicBezTo>
                  <a:cubicBezTo>
                    <a:pt x="69771" y="6182"/>
                    <a:pt x="69771" y="6182"/>
                    <a:pt x="69771" y="6182"/>
                  </a:cubicBezTo>
                  <a:cubicBezTo>
                    <a:pt x="67622" y="4777"/>
                    <a:pt x="67622" y="4777"/>
                    <a:pt x="67622" y="4777"/>
                  </a:cubicBezTo>
                  <a:cubicBezTo>
                    <a:pt x="67622" y="4777"/>
                    <a:pt x="67426" y="3091"/>
                    <a:pt x="67035" y="3091"/>
                  </a:cubicBezTo>
                  <a:cubicBezTo>
                    <a:pt x="66840" y="2810"/>
                    <a:pt x="66254" y="1967"/>
                    <a:pt x="66254" y="1967"/>
                  </a:cubicBezTo>
                  <a:cubicBezTo>
                    <a:pt x="66254" y="1967"/>
                    <a:pt x="65667" y="843"/>
                    <a:pt x="64885" y="562"/>
                  </a:cubicBezTo>
                  <a:cubicBezTo>
                    <a:pt x="64104" y="0"/>
                    <a:pt x="63517" y="2529"/>
                    <a:pt x="63517" y="2529"/>
                  </a:cubicBezTo>
                  <a:cubicBezTo>
                    <a:pt x="62736" y="1405"/>
                    <a:pt x="62736" y="1405"/>
                    <a:pt x="62736" y="1405"/>
                  </a:cubicBezTo>
                  <a:cubicBezTo>
                    <a:pt x="61172" y="2248"/>
                    <a:pt x="61172" y="2248"/>
                    <a:pt x="61172" y="2248"/>
                  </a:cubicBezTo>
                  <a:cubicBezTo>
                    <a:pt x="59999" y="4777"/>
                    <a:pt x="59999" y="4777"/>
                    <a:pt x="59999" y="4777"/>
                  </a:cubicBezTo>
                  <a:cubicBezTo>
                    <a:pt x="59218" y="5058"/>
                    <a:pt x="59218" y="5058"/>
                    <a:pt x="59218" y="5058"/>
                  </a:cubicBezTo>
                  <a:cubicBezTo>
                    <a:pt x="58045" y="5339"/>
                    <a:pt x="58045" y="5339"/>
                    <a:pt x="58045" y="5339"/>
                  </a:cubicBezTo>
                  <a:cubicBezTo>
                    <a:pt x="56286" y="5901"/>
                    <a:pt x="56286" y="5901"/>
                    <a:pt x="56286" y="5901"/>
                  </a:cubicBezTo>
                  <a:cubicBezTo>
                    <a:pt x="55895" y="7587"/>
                    <a:pt x="55895" y="7587"/>
                    <a:pt x="55895" y="7587"/>
                  </a:cubicBezTo>
                  <a:cubicBezTo>
                    <a:pt x="56091" y="9274"/>
                    <a:pt x="56091" y="9274"/>
                    <a:pt x="56091" y="9274"/>
                  </a:cubicBezTo>
                  <a:cubicBezTo>
                    <a:pt x="55114" y="10398"/>
                    <a:pt x="55114" y="10398"/>
                    <a:pt x="55114" y="10398"/>
                  </a:cubicBezTo>
                  <a:cubicBezTo>
                    <a:pt x="52768" y="10117"/>
                    <a:pt x="52768" y="10117"/>
                    <a:pt x="52768" y="10117"/>
                  </a:cubicBezTo>
                  <a:cubicBezTo>
                    <a:pt x="51205" y="10679"/>
                    <a:pt x="51205" y="10679"/>
                    <a:pt x="51205" y="10679"/>
                  </a:cubicBezTo>
                  <a:cubicBezTo>
                    <a:pt x="50423" y="12365"/>
                    <a:pt x="50423" y="12365"/>
                    <a:pt x="50423" y="12365"/>
                  </a:cubicBezTo>
                  <a:cubicBezTo>
                    <a:pt x="48078" y="12365"/>
                    <a:pt x="48078" y="12365"/>
                    <a:pt x="48078" y="12365"/>
                  </a:cubicBezTo>
                  <a:cubicBezTo>
                    <a:pt x="47687" y="15737"/>
                    <a:pt x="47687" y="15737"/>
                    <a:pt x="47687" y="15737"/>
                  </a:cubicBezTo>
                  <a:cubicBezTo>
                    <a:pt x="47100" y="17985"/>
                    <a:pt x="47100" y="17985"/>
                    <a:pt x="47100" y="17985"/>
                  </a:cubicBezTo>
                  <a:cubicBezTo>
                    <a:pt x="46514" y="20515"/>
                    <a:pt x="46514" y="20515"/>
                    <a:pt x="46514" y="20515"/>
                  </a:cubicBezTo>
                  <a:cubicBezTo>
                    <a:pt x="46905" y="21920"/>
                    <a:pt x="46905" y="21920"/>
                    <a:pt x="46905" y="21920"/>
                  </a:cubicBezTo>
                  <a:cubicBezTo>
                    <a:pt x="47491" y="23887"/>
                    <a:pt x="47491" y="23887"/>
                    <a:pt x="47491" y="23887"/>
                  </a:cubicBezTo>
                  <a:cubicBezTo>
                    <a:pt x="48664" y="25854"/>
                    <a:pt x="48664" y="25854"/>
                    <a:pt x="48664" y="25854"/>
                  </a:cubicBezTo>
                  <a:cubicBezTo>
                    <a:pt x="48664" y="25854"/>
                    <a:pt x="48664" y="25854"/>
                    <a:pt x="48664" y="25854"/>
                  </a:cubicBezTo>
                  <a:cubicBezTo>
                    <a:pt x="47491" y="26416"/>
                    <a:pt x="47491" y="26416"/>
                    <a:pt x="47491" y="26416"/>
                  </a:cubicBezTo>
                  <a:cubicBezTo>
                    <a:pt x="46710" y="26697"/>
                    <a:pt x="46710" y="26697"/>
                    <a:pt x="46710" y="26697"/>
                  </a:cubicBezTo>
                  <a:cubicBezTo>
                    <a:pt x="45928" y="25011"/>
                    <a:pt x="45928" y="25011"/>
                    <a:pt x="45928" y="25011"/>
                  </a:cubicBezTo>
                  <a:cubicBezTo>
                    <a:pt x="44755" y="24449"/>
                    <a:pt x="44755" y="24449"/>
                    <a:pt x="44755" y="24449"/>
                  </a:cubicBezTo>
                  <a:cubicBezTo>
                    <a:pt x="43387" y="25292"/>
                    <a:pt x="43387" y="25292"/>
                    <a:pt x="43387" y="25292"/>
                  </a:cubicBezTo>
                  <a:cubicBezTo>
                    <a:pt x="42019" y="25854"/>
                    <a:pt x="42019" y="25854"/>
                    <a:pt x="42019" y="25854"/>
                  </a:cubicBezTo>
                  <a:cubicBezTo>
                    <a:pt x="41628" y="25854"/>
                    <a:pt x="41628" y="25854"/>
                    <a:pt x="41628" y="25854"/>
                  </a:cubicBezTo>
                  <a:cubicBezTo>
                    <a:pt x="41237" y="26978"/>
                    <a:pt x="41237" y="26978"/>
                    <a:pt x="41237" y="26978"/>
                  </a:cubicBezTo>
                  <a:cubicBezTo>
                    <a:pt x="40065" y="27822"/>
                    <a:pt x="40065" y="27822"/>
                    <a:pt x="40065" y="27822"/>
                  </a:cubicBezTo>
                  <a:cubicBezTo>
                    <a:pt x="40065" y="27822"/>
                    <a:pt x="39674" y="27259"/>
                    <a:pt x="39478" y="26978"/>
                  </a:cubicBezTo>
                  <a:cubicBezTo>
                    <a:pt x="39283" y="26697"/>
                    <a:pt x="38697" y="26135"/>
                    <a:pt x="38697" y="26135"/>
                  </a:cubicBezTo>
                  <a:cubicBezTo>
                    <a:pt x="38697" y="26135"/>
                    <a:pt x="38501" y="25573"/>
                    <a:pt x="38306" y="25292"/>
                  </a:cubicBezTo>
                  <a:cubicBezTo>
                    <a:pt x="38110" y="25292"/>
                    <a:pt x="36938" y="26416"/>
                    <a:pt x="36938" y="26416"/>
                  </a:cubicBezTo>
                  <a:cubicBezTo>
                    <a:pt x="36938" y="26416"/>
                    <a:pt x="35960" y="27259"/>
                    <a:pt x="35960" y="27540"/>
                  </a:cubicBezTo>
                  <a:cubicBezTo>
                    <a:pt x="36156" y="27540"/>
                    <a:pt x="35960" y="28946"/>
                    <a:pt x="35960" y="28946"/>
                  </a:cubicBezTo>
                  <a:cubicBezTo>
                    <a:pt x="34592" y="27259"/>
                    <a:pt x="34592" y="27259"/>
                    <a:pt x="34592" y="27259"/>
                  </a:cubicBezTo>
                  <a:cubicBezTo>
                    <a:pt x="33615" y="28384"/>
                    <a:pt x="33615" y="28384"/>
                    <a:pt x="33615" y="28384"/>
                  </a:cubicBezTo>
                  <a:cubicBezTo>
                    <a:pt x="32833" y="27540"/>
                    <a:pt x="32833" y="27540"/>
                    <a:pt x="32833" y="27540"/>
                  </a:cubicBezTo>
                  <a:cubicBezTo>
                    <a:pt x="32442" y="27259"/>
                    <a:pt x="32442" y="27259"/>
                    <a:pt x="32442" y="27259"/>
                  </a:cubicBezTo>
                  <a:cubicBezTo>
                    <a:pt x="31270" y="29227"/>
                    <a:pt x="31270" y="29227"/>
                    <a:pt x="31270" y="29227"/>
                  </a:cubicBezTo>
                  <a:cubicBezTo>
                    <a:pt x="30488" y="28665"/>
                    <a:pt x="30488" y="28665"/>
                    <a:pt x="30488" y="28665"/>
                  </a:cubicBezTo>
                  <a:cubicBezTo>
                    <a:pt x="30097" y="30632"/>
                    <a:pt x="30097" y="30632"/>
                    <a:pt x="30097" y="30632"/>
                  </a:cubicBezTo>
                  <a:cubicBezTo>
                    <a:pt x="29120" y="29508"/>
                    <a:pt x="29120" y="29508"/>
                    <a:pt x="29120" y="29508"/>
                  </a:cubicBezTo>
                  <a:cubicBezTo>
                    <a:pt x="29120" y="29508"/>
                    <a:pt x="28143" y="29227"/>
                    <a:pt x="27947" y="29227"/>
                  </a:cubicBezTo>
                  <a:cubicBezTo>
                    <a:pt x="27752" y="29227"/>
                    <a:pt x="27166" y="30351"/>
                    <a:pt x="27166" y="30351"/>
                  </a:cubicBezTo>
                  <a:cubicBezTo>
                    <a:pt x="26188" y="29227"/>
                    <a:pt x="26188" y="29227"/>
                    <a:pt x="26188" y="29227"/>
                  </a:cubicBezTo>
                  <a:cubicBezTo>
                    <a:pt x="25407" y="28384"/>
                    <a:pt x="25407" y="28384"/>
                    <a:pt x="25407" y="28384"/>
                  </a:cubicBezTo>
                  <a:cubicBezTo>
                    <a:pt x="25407" y="28384"/>
                    <a:pt x="23257" y="28665"/>
                    <a:pt x="23061" y="28665"/>
                  </a:cubicBezTo>
                  <a:cubicBezTo>
                    <a:pt x="22866" y="28665"/>
                    <a:pt x="21498" y="28384"/>
                    <a:pt x="21498" y="28384"/>
                  </a:cubicBezTo>
                  <a:cubicBezTo>
                    <a:pt x="19739" y="28946"/>
                    <a:pt x="19739" y="28946"/>
                    <a:pt x="19739" y="28946"/>
                  </a:cubicBezTo>
                  <a:cubicBezTo>
                    <a:pt x="17198" y="28946"/>
                    <a:pt x="17198" y="28946"/>
                    <a:pt x="17198" y="28946"/>
                  </a:cubicBezTo>
                  <a:cubicBezTo>
                    <a:pt x="14853" y="29227"/>
                    <a:pt x="14853" y="29227"/>
                    <a:pt x="14853" y="29227"/>
                  </a:cubicBezTo>
                  <a:cubicBezTo>
                    <a:pt x="13094" y="29227"/>
                    <a:pt x="13094" y="29227"/>
                    <a:pt x="13094" y="29227"/>
                  </a:cubicBezTo>
                  <a:cubicBezTo>
                    <a:pt x="11726" y="30632"/>
                    <a:pt x="11726" y="30632"/>
                    <a:pt x="11726" y="30632"/>
                  </a:cubicBezTo>
                  <a:cubicBezTo>
                    <a:pt x="10358" y="30913"/>
                    <a:pt x="10358" y="30913"/>
                    <a:pt x="10358" y="30913"/>
                  </a:cubicBezTo>
                  <a:cubicBezTo>
                    <a:pt x="8794" y="31194"/>
                    <a:pt x="8794" y="31194"/>
                    <a:pt x="8794" y="31194"/>
                  </a:cubicBezTo>
                  <a:cubicBezTo>
                    <a:pt x="8599" y="31194"/>
                    <a:pt x="8599" y="31194"/>
                    <a:pt x="8599" y="31194"/>
                  </a:cubicBezTo>
                  <a:cubicBezTo>
                    <a:pt x="8403" y="31475"/>
                    <a:pt x="8403" y="31475"/>
                    <a:pt x="8403" y="31475"/>
                  </a:cubicBezTo>
                  <a:cubicBezTo>
                    <a:pt x="7817" y="32037"/>
                    <a:pt x="7817" y="32037"/>
                    <a:pt x="7817" y="32037"/>
                  </a:cubicBezTo>
                  <a:cubicBezTo>
                    <a:pt x="7817" y="32318"/>
                    <a:pt x="7817" y="32318"/>
                    <a:pt x="7817" y="32318"/>
                  </a:cubicBezTo>
                  <a:cubicBezTo>
                    <a:pt x="7426" y="32880"/>
                    <a:pt x="7426" y="32880"/>
                    <a:pt x="7426" y="32880"/>
                  </a:cubicBezTo>
                  <a:cubicBezTo>
                    <a:pt x="7231" y="34285"/>
                    <a:pt x="7231" y="34285"/>
                    <a:pt x="7231" y="34285"/>
                  </a:cubicBezTo>
                  <a:cubicBezTo>
                    <a:pt x="7035" y="34847"/>
                    <a:pt x="6644" y="35409"/>
                    <a:pt x="6449" y="35971"/>
                  </a:cubicBezTo>
                  <a:cubicBezTo>
                    <a:pt x="6449" y="35971"/>
                    <a:pt x="6449" y="35971"/>
                    <a:pt x="6449" y="35971"/>
                  </a:cubicBezTo>
                  <a:cubicBezTo>
                    <a:pt x="6449" y="35971"/>
                    <a:pt x="5863" y="35690"/>
                    <a:pt x="5863" y="36252"/>
                  </a:cubicBezTo>
                  <a:cubicBezTo>
                    <a:pt x="5863" y="36533"/>
                    <a:pt x="5863" y="36533"/>
                    <a:pt x="5863" y="36533"/>
                  </a:cubicBezTo>
                  <a:cubicBezTo>
                    <a:pt x="5276" y="36814"/>
                    <a:pt x="4299" y="36252"/>
                    <a:pt x="4299" y="36252"/>
                  </a:cubicBezTo>
                  <a:cubicBezTo>
                    <a:pt x="3322" y="37096"/>
                    <a:pt x="3322" y="37096"/>
                    <a:pt x="3322" y="37096"/>
                  </a:cubicBezTo>
                  <a:cubicBezTo>
                    <a:pt x="3322" y="37377"/>
                    <a:pt x="3322" y="37658"/>
                    <a:pt x="3517" y="37658"/>
                  </a:cubicBezTo>
                  <a:cubicBezTo>
                    <a:pt x="3713" y="37939"/>
                    <a:pt x="3713" y="37939"/>
                    <a:pt x="3713" y="38220"/>
                  </a:cubicBezTo>
                  <a:cubicBezTo>
                    <a:pt x="3908" y="38220"/>
                    <a:pt x="3908" y="38501"/>
                    <a:pt x="3908" y="38501"/>
                  </a:cubicBezTo>
                  <a:cubicBezTo>
                    <a:pt x="4299" y="39906"/>
                    <a:pt x="4299" y="39906"/>
                    <a:pt x="4299" y="39906"/>
                  </a:cubicBezTo>
                  <a:cubicBezTo>
                    <a:pt x="4299" y="41030"/>
                    <a:pt x="4299" y="41030"/>
                    <a:pt x="4299" y="41030"/>
                  </a:cubicBezTo>
                  <a:cubicBezTo>
                    <a:pt x="4299" y="41030"/>
                    <a:pt x="4299" y="41873"/>
                    <a:pt x="4690" y="41873"/>
                  </a:cubicBezTo>
                  <a:cubicBezTo>
                    <a:pt x="5081" y="41873"/>
                    <a:pt x="5276" y="42154"/>
                    <a:pt x="5276" y="42716"/>
                  </a:cubicBezTo>
                  <a:cubicBezTo>
                    <a:pt x="5276" y="43278"/>
                    <a:pt x="6254" y="43840"/>
                    <a:pt x="6254" y="43840"/>
                  </a:cubicBezTo>
                  <a:cubicBezTo>
                    <a:pt x="6254" y="43840"/>
                    <a:pt x="6254" y="44964"/>
                    <a:pt x="6449" y="45245"/>
                  </a:cubicBezTo>
                  <a:cubicBezTo>
                    <a:pt x="6840" y="45526"/>
                    <a:pt x="7231" y="45807"/>
                    <a:pt x="7817" y="45807"/>
                  </a:cubicBezTo>
                  <a:cubicBezTo>
                    <a:pt x="8403" y="46088"/>
                    <a:pt x="8208" y="47213"/>
                    <a:pt x="8599" y="47494"/>
                  </a:cubicBezTo>
                  <a:cubicBezTo>
                    <a:pt x="8990" y="47775"/>
                    <a:pt x="9381" y="48337"/>
                    <a:pt x="8990" y="48337"/>
                  </a:cubicBezTo>
                  <a:cubicBezTo>
                    <a:pt x="8794" y="48618"/>
                    <a:pt x="8208" y="48618"/>
                    <a:pt x="8208" y="48618"/>
                  </a:cubicBezTo>
                  <a:cubicBezTo>
                    <a:pt x="8208" y="48618"/>
                    <a:pt x="8013" y="48899"/>
                    <a:pt x="8013" y="49461"/>
                  </a:cubicBezTo>
                  <a:cubicBezTo>
                    <a:pt x="8208" y="49742"/>
                    <a:pt x="8208" y="49742"/>
                    <a:pt x="8208" y="49742"/>
                  </a:cubicBezTo>
                  <a:cubicBezTo>
                    <a:pt x="8990" y="51147"/>
                    <a:pt x="8990" y="51147"/>
                    <a:pt x="8990" y="51147"/>
                  </a:cubicBezTo>
                  <a:cubicBezTo>
                    <a:pt x="8990" y="52833"/>
                    <a:pt x="8990" y="52833"/>
                    <a:pt x="8990" y="52833"/>
                  </a:cubicBezTo>
                  <a:cubicBezTo>
                    <a:pt x="8990" y="52833"/>
                    <a:pt x="8990" y="53395"/>
                    <a:pt x="8990" y="53957"/>
                  </a:cubicBezTo>
                  <a:cubicBezTo>
                    <a:pt x="8990" y="54238"/>
                    <a:pt x="8794" y="54800"/>
                    <a:pt x="8403" y="54800"/>
                  </a:cubicBezTo>
                  <a:cubicBezTo>
                    <a:pt x="8403" y="54800"/>
                    <a:pt x="8403" y="54800"/>
                    <a:pt x="8403" y="54800"/>
                  </a:cubicBezTo>
                  <a:cubicBezTo>
                    <a:pt x="8403" y="54800"/>
                    <a:pt x="8403" y="54800"/>
                    <a:pt x="8403" y="54800"/>
                  </a:cubicBezTo>
                  <a:cubicBezTo>
                    <a:pt x="8208" y="54800"/>
                    <a:pt x="8208" y="54800"/>
                    <a:pt x="8208" y="54800"/>
                  </a:cubicBezTo>
                  <a:cubicBezTo>
                    <a:pt x="8013" y="55081"/>
                    <a:pt x="8013" y="55644"/>
                    <a:pt x="7817" y="55644"/>
                  </a:cubicBezTo>
                  <a:cubicBezTo>
                    <a:pt x="7622" y="55925"/>
                    <a:pt x="7231" y="55081"/>
                    <a:pt x="7035" y="55925"/>
                  </a:cubicBezTo>
                  <a:cubicBezTo>
                    <a:pt x="6840" y="57049"/>
                    <a:pt x="6449" y="57892"/>
                    <a:pt x="6449" y="58173"/>
                  </a:cubicBezTo>
                  <a:cubicBezTo>
                    <a:pt x="6254" y="58454"/>
                    <a:pt x="5667" y="58735"/>
                    <a:pt x="5667" y="59297"/>
                  </a:cubicBezTo>
                  <a:cubicBezTo>
                    <a:pt x="5472" y="59859"/>
                    <a:pt x="5472" y="59297"/>
                    <a:pt x="5081" y="60702"/>
                  </a:cubicBezTo>
                  <a:cubicBezTo>
                    <a:pt x="4690" y="62107"/>
                    <a:pt x="4495" y="62669"/>
                    <a:pt x="4495" y="62669"/>
                  </a:cubicBezTo>
                  <a:cubicBezTo>
                    <a:pt x="2736" y="66042"/>
                    <a:pt x="2736" y="66042"/>
                    <a:pt x="2736" y="66042"/>
                  </a:cubicBezTo>
                  <a:cubicBezTo>
                    <a:pt x="2736" y="66042"/>
                    <a:pt x="1758" y="68290"/>
                    <a:pt x="1758" y="68571"/>
                  </a:cubicBezTo>
                  <a:cubicBezTo>
                    <a:pt x="1758" y="68852"/>
                    <a:pt x="1758" y="69976"/>
                    <a:pt x="1758" y="69976"/>
                  </a:cubicBezTo>
                  <a:cubicBezTo>
                    <a:pt x="2540" y="71100"/>
                    <a:pt x="2540" y="71100"/>
                    <a:pt x="2540" y="71100"/>
                  </a:cubicBezTo>
                  <a:cubicBezTo>
                    <a:pt x="2540" y="72224"/>
                    <a:pt x="2540" y="72224"/>
                    <a:pt x="2540" y="72224"/>
                  </a:cubicBezTo>
                  <a:cubicBezTo>
                    <a:pt x="2540" y="72224"/>
                    <a:pt x="2540" y="73067"/>
                    <a:pt x="2736" y="73348"/>
                  </a:cubicBezTo>
                  <a:cubicBezTo>
                    <a:pt x="2931" y="73348"/>
                    <a:pt x="2931" y="73348"/>
                    <a:pt x="2931" y="73348"/>
                  </a:cubicBezTo>
                  <a:cubicBezTo>
                    <a:pt x="2736" y="74192"/>
                    <a:pt x="2736" y="74192"/>
                    <a:pt x="2736" y="74192"/>
                  </a:cubicBezTo>
                  <a:cubicBezTo>
                    <a:pt x="2736" y="74192"/>
                    <a:pt x="2931" y="75035"/>
                    <a:pt x="3127" y="75035"/>
                  </a:cubicBezTo>
                  <a:cubicBezTo>
                    <a:pt x="3127" y="75035"/>
                    <a:pt x="3517" y="75316"/>
                    <a:pt x="3517" y="75316"/>
                  </a:cubicBezTo>
                  <a:cubicBezTo>
                    <a:pt x="3517" y="75316"/>
                    <a:pt x="3908" y="75878"/>
                    <a:pt x="3908" y="75878"/>
                  </a:cubicBezTo>
                  <a:cubicBezTo>
                    <a:pt x="4104" y="76159"/>
                    <a:pt x="3908" y="76721"/>
                    <a:pt x="3908" y="76721"/>
                  </a:cubicBezTo>
                  <a:cubicBezTo>
                    <a:pt x="3908" y="76721"/>
                    <a:pt x="3908" y="77002"/>
                    <a:pt x="3713" y="77002"/>
                  </a:cubicBezTo>
                  <a:cubicBezTo>
                    <a:pt x="3517" y="77002"/>
                    <a:pt x="3517" y="77002"/>
                    <a:pt x="3127" y="77002"/>
                  </a:cubicBezTo>
                  <a:cubicBezTo>
                    <a:pt x="3127" y="76721"/>
                    <a:pt x="3127" y="76721"/>
                    <a:pt x="2931" y="76721"/>
                  </a:cubicBezTo>
                  <a:cubicBezTo>
                    <a:pt x="2540" y="76721"/>
                    <a:pt x="2540" y="76721"/>
                    <a:pt x="2540" y="76721"/>
                  </a:cubicBezTo>
                  <a:cubicBezTo>
                    <a:pt x="2345" y="76721"/>
                    <a:pt x="2345" y="76721"/>
                    <a:pt x="2149" y="76721"/>
                  </a:cubicBezTo>
                  <a:cubicBezTo>
                    <a:pt x="1954" y="76721"/>
                    <a:pt x="1954" y="76721"/>
                    <a:pt x="1954" y="76721"/>
                  </a:cubicBezTo>
                  <a:cubicBezTo>
                    <a:pt x="1758" y="76721"/>
                    <a:pt x="1758" y="76721"/>
                    <a:pt x="1563" y="77002"/>
                  </a:cubicBezTo>
                  <a:cubicBezTo>
                    <a:pt x="1563" y="77283"/>
                    <a:pt x="1563" y="77283"/>
                    <a:pt x="1563" y="77283"/>
                  </a:cubicBezTo>
                  <a:cubicBezTo>
                    <a:pt x="1563" y="77283"/>
                    <a:pt x="1368" y="77564"/>
                    <a:pt x="1368" y="77845"/>
                  </a:cubicBezTo>
                  <a:cubicBezTo>
                    <a:pt x="1172" y="77845"/>
                    <a:pt x="1172" y="78407"/>
                    <a:pt x="1172" y="78407"/>
                  </a:cubicBezTo>
                  <a:cubicBezTo>
                    <a:pt x="1172" y="78407"/>
                    <a:pt x="1172" y="78688"/>
                    <a:pt x="1172" y="78688"/>
                  </a:cubicBezTo>
                  <a:cubicBezTo>
                    <a:pt x="1172" y="78688"/>
                    <a:pt x="1172" y="79250"/>
                    <a:pt x="1172" y="79250"/>
                  </a:cubicBezTo>
                  <a:cubicBezTo>
                    <a:pt x="977" y="79812"/>
                    <a:pt x="977" y="79812"/>
                    <a:pt x="977" y="79812"/>
                  </a:cubicBezTo>
                  <a:cubicBezTo>
                    <a:pt x="977" y="79812"/>
                    <a:pt x="781" y="80093"/>
                    <a:pt x="977" y="80374"/>
                  </a:cubicBezTo>
                  <a:cubicBezTo>
                    <a:pt x="977" y="80374"/>
                    <a:pt x="977" y="80655"/>
                    <a:pt x="977" y="80655"/>
                  </a:cubicBezTo>
                  <a:cubicBezTo>
                    <a:pt x="1172" y="80936"/>
                    <a:pt x="1172" y="80936"/>
                    <a:pt x="1172" y="80936"/>
                  </a:cubicBezTo>
                  <a:cubicBezTo>
                    <a:pt x="781" y="81498"/>
                    <a:pt x="781" y="81498"/>
                    <a:pt x="781" y="81498"/>
                  </a:cubicBezTo>
                  <a:cubicBezTo>
                    <a:pt x="781" y="82060"/>
                    <a:pt x="781" y="82060"/>
                    <a:pt x="781" y="82060"/>
                  </a:cubicBezTo>
                  <a:cubicBezTo>
                    <a:pt x="781" y="82060"/>
                    <a:pt x="977" y="82341"/>
                    <a:pt x="781" y="82622"/>
                  </a:cubicBezTo>
                  <a:cubicBezTo>
                    <a:pt x="781" y="82622"/>
                    <a:pt x="586" y="82903"/>
                    <a:pt x="586" y="82903"/>
                  </a:cubicBezTo>
                  <a:cubicBezTo>
                    <a:pt x="586" y="82903"/>
                    <a:pt x="195" y="83466"/>
                    <a:pt x="195" y="83466"/>
                  </a:cubicBezTo>
                  <a:cubicBezTo>
                    <a:pt x="195" y="83466"/>
                    <a:pt x="195" y="83747"/>
                    <a:pt x="195" y="83747"/>
                  </a:cubicBezTo>
                  <a:cubicBezTo>
                    <a:pt x="195" y="83747"/>
                    <a:pt x="0" y="84309"/>
                    <a:pt x="0" y="84309"/>
                  </a:cubicBezTo>
                  <a:cubicBezTo>
                    <a:pt x="0" y="84309"/>
                    <a:pt x="0" y="85152"/>
                    <a:pt x="0" y="85152"/>
                  </a:cubicBezTo>
                  <a:cubicBezTo>
                    <a:pt x="0" y="85152"/>
                    <a:pt x="195" y="85433"/>
                    <a:pt x="195" y="85433"/>
                  </a:cubicBezTo>
                  <a:cubicBezTo>
                    <a:pt x="195" y="85433"/>
                    <a:pt x="195" y="85714"/>
                    <a:pt x="195" y="85995"/>
                  </a:cubicBezTo>
                  <a:cubicBezTo>
                    <a:pt x="0" y="85995"/>
                    <a:pt x="195" y="86276"/>
                    <a:pt x="195" y="86557"/>
                  </a:cubicBezTo>
                  <a:cubicBezTo>
                    <a:pt x="195" y="86557"/>
                    <a:pt x="195" y="86838"/>
                    <a:pt x="195" y="86838"/>
                  </a:cubicBezTo>
                  <a:cubicBezTo>
                    <a:pt x="0" y="87400"/>
                    <a:pt x="0" y="87400"/>
                    <a:pt x="0" y="87400"/>
                  </a:cubicBezTo>
                  <a:cubicBezTo>
                    <a:pt x="0" y="87400"/>
                    <a:pt x="0" y="87400"/>
                    <a:pt x="0" y="87400"/>
                  </a:cubicBezTo>
                  <a:cubicBezTo>
                    <a:pt x="0" y="87681"/>
                    <a:pt x="0" y="87681"/>
                    <a:pt x="0" y="87681"/>
                  </a:cubicBezTo>
                  <a:cubicBezTo>
                    <a:pt x="0" y="88243"/>
                    <a:pt x="0" y="88243"/>
                    <a:pt x="0" y="88243"/>
                  </a:cubicBezTo>
                  <a:cubicBezTo>
                    <a:pt x="390" y="88243"/>
                    <a:pt x="390" y="88243"/>
                    <a:pt x="390" y="88243"/>
                  </a:cubicBezTo>
                  <a:cubicBezTo>
                    <a:pt x="586" y="87962"/>
                    <a:pt x="586" y="87962"/>
                    <a:pt x="586" y="87962"/>
                  </a:cubicBezTo>
                  <a:cubicBezTo>
                    <a:pt x="1563" y="87400"/>
                    <a:pt x="1563" y="87400"/>
                    <a:pt x="1563" y="87400"/>
                  </a:cubicBezTo>
                  <a:cubicBezTo>
                    <a:pt x="2149" y="88243"/>
                    <a:pt x="2149" y="88243"/>
                    <a:pt x="2149" y="88243"/>
                  </a:cubicBezTo>
                  <a:cubicBezTo>
                    <a:pt x="2736" y="89086"/>
                    <a:pt x="2736" y="89086"/>
                    <a:pt x="2736" y="89086"/>
                  </a:cubicBezTo>
                  <a:cubicBezTo>
                    <a:pt x="3713" y="89086"/>
                    <a:pt x="3713" y="89086"/>
                    <a:pt x="3713" y="89086"/>
                  </a:cubicBezTo>
                  <a:cubicBezTo>
                    <a:pt x="4299" y="90210"/>
                    <a:pt x="4299" y="90210"/>
                    <a:pt x="4299" y="90210"/>
                  </a:cubicBezTo>
                  <a:cubicBezTo>
                    <a:pt x="4885" y="91053"/>
                    <a:pt x="4885" y="91053"/>
                    <a:pt x="4885" y="91053"/>
                  </a:cubicBezTo>
                  <a:cubicBezTo>
                    <a:pt x="5863" y="90772"/>
                    <a:pt x="5863" y="90772"/>
                    <a:pt x="5863" y="90772"/>
                  </a:cubicBezTo>
                  <a:cubicBezTo>
                    <a:pt x="6840" y="91615"/>
                    <a:pt x="6840" y="91615"/>
                    <a:pt x="6840" y="91615"/>
                  </a:cubicBezTo>
                  <a:cubicBezTo>
                    <a:pt x="6644" y="92459"/>
                    <a:pt x="6644" y="92459"/>
                    <a:pt x="6644" y="92459"/>
                  </a:cubicBezTo>
                  <a:cubicBezTo>
                    <a:pt x="6644" y="92459"/>
                    <a:pt x="7426" y="91053"/>
                    <a:pt x="7622" y="90772"/>
                  </a:cubicBezTo>
                  <a:cubicBezTo>
                    <a:pt x="7817" y="90491"/>
                    <a:pt x="8599" y="90210"/>
                    <a:pt x="8599" y="90210"/>
                  </a:cubicBezTo>
                  <a:cubicBezTo>
                    <a:pt x="8599" y="90210"/>
                    <a:pt x="8990" y="90772"/>
                    <a:pt x="9381" y="91053"/>
                  </a:cubicBezTo>
                  <a:cubicBezTo>
                    <a:pt x="9967" y="91053"/>
                    <a:pt x="9967" y="91053"/>
                    <a:pt x="9967" y="91053"/>
                  </a:cubicBezTo>
                  <a:cubicBezTo>
                    <a:pt x="10358" y="91053"/>
                    <a:pt x="11921" y="90772"/>
                    <a:pt x="11921" y="90772"/>
                  </a:cubicBezTo>
                  <a:cubicBezTo>
                    <a:pt x="14071" y="91053"/>
                    <a:pt x="14071" y="91053"/>
                    <a:pt x="14071" y="91053"/>
                  </a:cubicBezTo>
                  <a:cubicBezTo>
                    <a:pt x="15244" y="90210"/>
                    <a:pt x="15244" y="90210"/>
                    <a:pt x="15244" y="90210"/>
                  </a:cubicBezTo>
                  <a:cubicBezTo>
                    <a:pt x="17589" y="90491"/>
                    <a:pt x="17589" y="90491"/>
                    <a:pt x="17589" y="90491"/>
                  </a:cubicBezTo>
                  <a:cubicBezTo>
                    <a:pt x="17980" y="90210"/>
                    <a:pt x="17980" y="90210"/>
                    <a:pt x="17980" y="90210"/>
                  </a:cubicBezTo>
                  <a:cubicBezTo>
                    <a:pt x="18175" y="90491"/>
                    <a:pt x="18175" y="90491"/>
                    <a:pt x="18175" y="90491"/>
                  </a:cubicBezTo>
                  <a:cubicBezTo>
                    <a:pt x="18957" y="90210"/>
                    <a:pt x="18957" y="90210"/>
                    <a:pt x="18957" y="90210"/>
                  </a:cubicBezTo>
                  <a:cubicBezTo>
                    <a:pt x="19739" y="91334"/>
                    <a:pt x="19739" y="91334"/>
                    <a:pt x="19739" y="91334"/>
                  </a:cubicBezTo>
                  <a:cubicBezTo>
                    <a:pt x="21302" y="91053"/>
                    <a:pt x="21302" y="91053"/>
                    <a:pt x="21302" y="91053"/>
                  </a:cubicBezTo>
                  <a:cubicBezTo>
                    <a:pt x="22280" y="89086"/>
                    <a:pt x="22280" y="89086"/>
                    <a:pt x="22280" y="89086"/>
                  </a:cubicBezTo>
                  <a:cubicBezTo>
                    <a:pt x="22280" y="89086"/>
                    <a:pt x="22866" y="88243"/>
                    <a:pt x="23648" y="87962"/>
                  </a:cubicBezTo>
                  <a:cubicBezTo>
                    <a:pt x="24429" y="87962"/>
                    <a:pt x="25798" y="87119"/>
                    <a:pt x="25798" y="87119"/>
                  </a:cubicBezTo>
                  <a:lnTo>
                    <a:pt x="27557" y="85714"/>
                  </a:lnTo>
                  <a:close/>
                </a:path>
              </a:pathLst>
            </a:custGeom>
            <a:solidFill>
              <a:srgbClr val="00B050"/>
            </a:solidFill>
            <a:ln w="3175" cap="flat" cmpd="sng">
              <a:solidFill>
                <a:schemeClr val="tx1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defTabSz="457200"/>
              <a:endParaRPr kern="0">
                <a:solidFill>
                  <a:srgbClr val="7F7F7F"/>
                </a:solidFill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54" name="Shape 2050">
              <a:extLst>
                <a:ext uri="{FF2B5EF4-FFF2-40B4-BE49-F238E27FC236}">
                  <a16:creationId xmlns:a16="http://schemas.microsoft.com/office/drawing/2014/main" id="{2E2C9B94-E975-5387-EF15-7BC87A94AA5C}"/>
                </a:ext>
              </a:extLst>
            </p:cNvPr>
            <p:cNvSpPr/>
            <p:nvPr/>
          </p:nvSpPr>
          <p:spPr>
            <a:xfrm>
              <a:off x="4205097" y="906834"/>
              <a:ext cx="592500" cy="1560974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8510" y="13785"/>
                  </a:moveTo>
                  <a:cubicBezTo>
                    <a:pt x="108510" y="13629"/>
                    <a:pt x="108510" y="13629"/>
                    <a:pt x="108510" y="13629"/>
                  </a:cubicBezTo>
                  <a:cubicBezTo>
                    <a:pt x="108510" y="13629"/>
                    <a:pt x="107659" y="13002"/>
                    <a:pt x="108085" y="12689"/>
                  </a:cubicBezTo>
                  <a:cubicBezTo>
                    <a:pt x="108085" y="12689"/>
                    <a:pt x="108085" y="12689"/>
                    <a:pt x="108085" y="12532"/>
                  </a:cubicBezTo>
                  <a:cubicBezTo>
                    <a:pt x="108085" y="12375"/>
                    <a:pt x="108085" y="12375"/>
                    <a:pt x="108085" y="12375"/>
                  </a:cubicBezTo>
                  <a:cubicBezTo>
                    <a:pt x="106382" y="12532"/>
                    <a:pt x="106382" y="12532"/>
                    <a:pt x="106382" y="12532"/>
                  </a:cubicBezTo>
                  <a:cubicBezTo>
                    <a:pt x="105106" y="11906"/>
                    <a:pt x="105106" y="11906"/>
                    <a:pt x="105106" y="11906"/>
                  </a:cubicBezTo>
                  <a:cubicBezTo>
                    <a:pt x="105531" y="11122"/>
                    <a:pt x="105531" y="11122"/>
                    <a:pt x="105531" y="11122"/>
                  </a:cubicBezTo>
                  <a:cubicBezTo>
                    <a:pt x="104680" y="9242"/>
                    <a:pt x="104680" y="9242"/>
                    <a:pt x="104680" y="9242"/>
                  </a:cubicBezTo>
                  <a:cubicBezTo>
                    <a:pt x="105531" y="8302"/>
                    <a:pt x="105531" y="8302"/>
                    <a:pt x="105531" y="8302"/>
                  </a:cubicBezTo>
                  <a:cubicBezTo>
                    <a:pt x="102978" y="7832"/>
                    <a:pt x="102978" y="7832"/>
                    <a:pt x="102978" y="7832"/>
                  </a:cubicBezTo>
                  <a:cubicBezTo>
                    <a:pt x="101276" y="6892"/>
                    <a:pt x="101276" y="6892"/>
                    <a:pt x="101276" y="6892"/>
                  </a:cubicBezTo>
                  <a:cubicBezTo>
                    <a:pt x="101276" y="6892"/>
                    <a:pt x="100851" y="7206"/>
                    <a:pt x="100425" y="7049"/>
                  </a:cubicBezTo>
                  <a:cubicBezTo>
                    <a:pt x="100000" y="6892"/>
                    <a:pt x="97872" y="5639"/>
                    <a:pt x="97872" y="5639"/>
                  </a:cubicBezTo>
                  <a:cubicBezTo>
                    <a:pt x="94042" y="5169"/>
                    <a:pt x="94042" y="5169"/>
                    <a:pt x="94042" y="5169"/>
                  </a:cubicBezTo>
                  <a:cubicBezTo>
                    <a:pt x="92340" y="4856"/>
                    <a:pt x="92340" y="4856"/>
                    <a:pt x="92340" y="4856"/>
                  </a:cubicBezTo>
                  <a:cubicBezTo>
                    <a:pt x="90212" y="4699"/>
                    <a:pt x="90212" y="4699"/>
                    <a:pt x="90212" y="4699"/>
                  </a:cubicBezTo>
                  <a:cubicBezTo>
                    <a:pt x="90212" y="4699"/>
                    <a:pt x="89787" y="5013"/>
                    <a:pt x="89361" y="4699"/>
                  </a:cubicBezTo>
                  <a:cubicBezTo>
                    <a:pt x="88936" y="4386"/>
                    <a:pt x="88085" y="4073"/>
                    <a:pt x="88085" y="4073"/>
                  </a:cubicBezTo>
                  <a:cubicBezTo>
                    <a:pt x="86382" y="4229"/>
                    <a:pt x="86382" y="4229"/>
                    <a:pt x="86382" y="4229"/>
                  </a:cubicBezTo>
                  <a:cubicBezTo>
                    <a:pt x="85106" y="3603"/>
                    <a:pt x="85106" y="3603"/>
                    <a:pt x="85106" y="3603"/>
                  </a:cubicBezTo>
                  <a:cubicBezTo>
                    <a:pt x="85106" y="3603"/>
                    <a:pt x="84680" y="3603"/>
                    <a:pt x="84255" y="3603"/>
                  </a:cubicBezTo>
                  <a:cubicBezTo>
                    <a:pt x="83829" y="3446"/>
                    <a:pt x="82978" y="3289"/>
                    <a:pt x="82978" y="3289"/>
                  </a:cubicBezTo>
                  <a:cubicBezTo>
                    <a:pt x="81702" y="2506"/>
                    <a:pt x="81702" y="2506"/>
                    <a:pt x="81702" y="2506"/>
                  </a:cubicBezTo>
                  <a:cubicBezTo>
                    <a:pt x="80000" y="2193"/>
                    <a:pt x="80000" y="2193"/>
                    <a:pt x="80000" y="2193"/>
                  </a:cubicBezTo>
                  <a:cubicBezTo>
                    <a:pt x="77872" y="1879"/>
                    <a:pt x="77872" y="1879"/>
                    <a:pt x="77872" y="1879"/>
                  </a:cubicBezTo>
                  <a:cubicBezTo>
                    <a:pt x="77872" y="1253"/>
                    <a:pt x="77872" y="1253"/>
                    <a:pt x="77872" y="1253"/>
                  </a:cubicBezTo>
                  <a:cubicBezTo>
                    <a:pt x="74893" y="626"/>
                    <a:pt x="74893" y="626"/>
                    <a:pt x="74893" y="626"/>
                  </a:cubicBezTo>
                  <a:cubicBezTo>
                    <a:pt x="74893" y="626"/>
                    <a:pt x="74468" y="313"/>
                    <a:pt x="74893" y="313"/>
                  </a:cubicBezTo>
                  <a:cubicBezTo>
                    <a:pt x="75319" y="156"/>
                    <a:pt x="76595" y="156"/>
                    <a:pt x="77446" y="156"/>
                  </a:cubicBezTo>
                  <a:cubicBezTo>
                    <a:pt x="75319" y="0"/>
                    <a:pt x="75319" y="0"/>
                    <a:pt x="75319" y="0"/>
                  </a:cubicBezTo>
                  <a:cubicBezTo>
                    <a:pt x="72765" y="783"/>
                    <a:pt x="72765" y="783"/>
                    <a:pt x="72765" y="783"/>
                  </a:cubicBezTo>
                  <a:cubicBezTo>
                    <a:pt x="71489" y="783"/>
                    <a:pt x="71489" y="783"/>
                    <a:pt x="71489" y="783"/>
                  </a:cubicBezTo>
                  <a:cubicBezTo>
                    <a:pt x="71489" y="783"/>
                    <a:pt x="70638" y="939"/>
                    <a:pt x="70638" y="1096"/>
                  </a:cubicBezTo>
                  <a:cubicBezTo>
                    <a:pt x="71063" y="1253"/>
                    <a:pt x="71914" y="2663"/>
                    <a:pt x="72340" y="2976"/>
                  </a:cubicBezTo>
                  <a:cubicBezTo>
                    <a:pt x="72765" y="3133"/>
                    <a:pt x="72765" y="4229"/>
                    <a:pt x="71063" y="5013"/>
                  </a:cubicBezTo>
                  <a:cubicBezTo>
                    <a:pt x="72765" y="5639"/>
                    <a:pt x="72765" y="5639"/>
                    <a:pt x="72765" y="5639"/>
                  </a:cubicBezTo>
                  <a:cubicBezTo>
                    <a:pt x="71063" y="6422"/>
                    <a:pt x="71063" y="6422"/>
                    <a:pt x="71063" y="6422"/>
                  </a:cubicBezTo>
                  <a:cubicBezTo>
                    <a:pt x="68510" y="6579"/>
                    <a:pt x="68510" y="6579"/>
                    <a:pt x="68510" y="6579"/>
                  </a:cubicBezTo>
                  <a:cubicBezTo>
                    <a:pt x="68510" y="6579"/>
                    <a:pt x="65957" y="6422"/>
                    <a:pt x="65531" y="6266"/>
                  </a:cubicBezTo>
                  <a:cubicBezTo>
                    <a:pt x="65106" y="6109"/>
                    <a:pt x="62978" y="5796"/>
                    <a:pt x="62553" y="5796"/>
                  </a:cubicBezTo>
                  <a:cubicBezTo>
                    <a:pt x="61702" y="5953"/>
                    <a:pt x="55744" y="5796"/>
                    <a:pt x="55744" y="5796"/>
                  </a:cubicBezTo>
                  <a:cubicBezTo>
                    <a:pt x="54468" y="6422"/>
                    <a:pt x="54893" y="9712"/>
                    <a:pt x="55319" y="10182"/>
                  </a:cubicBezTo>
                  <a:cubicBezTo>
                    <a:pt x="54468" y="10809"/>
                    <a:pt x="54468" y="10809"/>
                    <a:pt x="54468" y="10809"/>
                  </a:cubicBezTo>
                  <a:cubicBezTo>
                    <a:pt x="52340" y="10809"/>
                    <a:pt x="52340" y="10809"/>
                    <a:pt x="52340" y="10809"/>
                  </a:cubicBezTo>
                  <a:cubicBezTo>
                    <a:pt x="48085" y="10026"/>
                    <a:pt x="48085" y="10026"/>
                    <a:pt x="48085" y="10026"/>
                  </a:cubicBezTo>
                  <a:cubicBezTo>
                    <a:pt x="46382" y="11279"/>
                    <a:pt x="46382" y="11279"/>
                    <a:pt x="46382" y="11279"/>
                  </a:cubicBezTo>
                  <a:cubicBezTo>
                    <a:pt x="46382" y="11279"/>
                    <a:pt x="44680" y="11906"/>
                    <a:pt x="44680" y="12219"/>
                  </a:cubicBezTo>
                  <a:cubicBezTo>
                    <a:pt x="44680" y="12375"/>
                    <a:pt x="43829" y="13002"/>
                    <a:pt x="43829" y="13002"/>
                  </a:cubicBezTo>
                  <a:cubicBezTo>
                    <a:pt x="43829" y="13159"/>
                    <a:pt x="43829" y="14255"/>
                    <a:pt x="43829" y="14255"/>
                  </a:cubicBezTo>
                  <a:cubicBezTo>
                    <a:pt x="42978" y="14882"/>
                    <a:pt x="42978" y="14882"/>
                    <a:pt x="42978" y="14882"/>
                  </a:cubicBezTo>
                  <a:cubicBezTo>
                    <a:pt x="40425" y="15509"/>
                    <a:pt x="40425" y="15509"/>
                    <a:pt x="40425" y="15509"/>
                  </a:cubicBezTo>
                  <a:cubicBezTo>
                    <a:pt x="40425" y="16292"/>
                    <a:pt x="40425" y="16292"/>
                    <a:pt x="40425" y="16292"/>
                  </a:cubicBezTo>
                  <a:cubicBezTo>
                    <a:pt x="40425" y="16292"/>
                    <a:pt x="41702" y="17232"/>
                    <a:pt x="42553" y="17389"/>
                  </a:cubicBezTo>
                  <a:cubicBezTo>
                    <a:pt x="42978" y="17702"/>
                    <a:pt x="43829" y="18955"/>
                    <a:pt x="43829" y="18955"/>
                  </a:cubicBezTo>
                  <a:cubicBezTo>
                    <a:pt x="43829" y="18955"/>
                    <a:pt x="42553" y="20052"/>
                    <a:pt x="42127" y="20365"/>
                  </a:cubicBezTo>
                  <a:cubicBezTo>
                    <a:pt x="41702" y="20678"/>
                    <a:pt x="38297" y="22245"/>
                    <a:pt x="38297" y="22245"/>
                  </a:cubicBezTo>
                  <a:cubicBezTo>
                    <a:pt x="36170" y="24281"/>
                    <a:pt x="36170" y="24281"/>
                    <a:pt x="36170" y="24281"/>
                  </a:cubicBezTo>
                  <a:cubicBezTo>
                    <a:pt x="36170" y="25691"/>
                    <a:pt x="36170" y="25691"/>
                    <a:pt x="36170" y="25691"/>
                  </a:cubicBezTo>
                  <a:cubicBezTo>
                    <a:pt x="35744" y="26475"/>
                    <a:pt x="35744" y="26475"/>
                    <a:pt x="35744" y="26475"/>
                  </a:cubicBezTo>
                  <a:cubicBezTo>
                    <a:pt x="32765" y="27571"/>
                    <a:pt x="32765" y="27571"/>
                    <a:pt x="32765" y="27571"/>
                  </a:cubicBezTo>
                  <a:cubicBezTo>
                    <a:pt x="28936" y="27728"/>
                    <a:pt x="28936" y="27728"/>
                    <a:pt x="28936" y="27728"/>
                  </a:cubicBezTo>
                  <a:cubicBezTo>
                    <a:pt x="27659" y="28198"/>
                    <a:pt x="27659" y="28198"/>
                    <a:pt x="27659" y="28198"/>
                  </a:cubicBezTo>
                  <a:cubicBezTo>
                    <a:pt x="29787" y="30861"/>
                    <a:pt x="29787" y="30861"/>
                    <a:pt x="29787" y="30861"/>
                  </a:cubicBezTo>
                  <a:cubicBezTo>
                    <a:pt x="28936" y="32114"/>
                    <a:pt x="28936" y="32114"/>
                    <a:pt x="28936" y="32114"/>
                  </a:cubicBezTo>
                  <a:cubicBezTo>
                    <a:pt x="28510" y="33211"/>
                    <a:pt x="28510" y="33211"/>
                    <a:pt x="28510" y="33211"/>
                  </a:cubicBezTo>
                  <a:cubicBezTo>
                    <a:pt x="28510" y="33211"/>
                    <a:pt x="27659" y="34151"/>
                    <a:pt x="28085" y="34308"/>
                  </a:cubicBezTo>
                  <a:cubicBezTo>
                    <a:pt x="28510" y="34621"/>
                    <a:pt x="28936" y="35248"/>
                    <a:pt x="28936" y="35248"/>
                  </a:cubicBezTo>
                  <a:cubicBezTo>
                    <a:pt x="27234" y="35718"/>
                    <a:pt x="27234" y="35718"/>
                    <a:pt x="27234" y="35718"/>
                  </a:cubicBezTo>
                  <a:cubicBezTo>
                    <a:pt x="27659" y="36657"/>
                    <a:pt x="27659" y="36657"/>
                    <a:pt x="27659" y="36657"/>
                  </a:cubicBezTo>
                  <a:cubicBezTo>
                    <a:pt x="21276" y="40731"/>
                    <a:pt x="21276" y="40731"/>
                    <a:pt x="21276" y="40731"/>
                  </a:cubicBezTo>
                  <a:cubicBezTo>
                    <a:pt x="22127" y="41514"/>
                    <a:pt x="22127" y="41514"/>
                    <a:pt x="22127" y="41514"/>
                  </a:cubicBezTo>
                  <a:cubicBezTo>
                    <a:pt x="25957" y="41827"/>
                    <a:pt x="25957" y="41827"/>
                    <a:pt x="25957" y="41827"/>
                  </a:cubicBezTo>
                  <a:cubicBezTo>
                    <a:pt x="26382" y="44334"/>
                    <a:pt x="26382" y="44334"/>
                    <a:pt x="26382" y="44334"/>
                  </a:cubicBezTo>
                  <a:cubicBezTo>
                    <a:pt x="25106" y="45430"/>
                    <a:pt x="25106" y="45430"/>
                    <a:pt x="25106" y="45430"/>
                  </a:cubicBezTo>
                  <a:cubicBezTo>
                    <a:pt x="24680" y="45744"/>
                    <a:pt x="24680" y="45744"/>
                    <a:pt x="24680" y="45744"/>
                  </a:cubicBezTo>
                  <a:cubicBezTo>
                    <a:pt x="14468" y="45900"/>
                    <a:pt x="14468" y="45900"/>
                    <a:pt x="14468" y="45900"/>
                  </a:cubicBezTo>
                  <a:cubicBezTo>
                    <a:pt x="8936" y="48563"/>
                    <a:pt x="8936" y="48563"/>
                    <a:pt x="8936" y="48563"/>
                  </a:cubicBezTo>
                  <a:cubicBezTo>
                    <a:pt x="8085" y="50130"/>
                    <a:pt x="8085" y="50130"/>
                    <a:pt x="8085" y="50130"/>
                  </a:cubicBezTo>
                  <a:cubicBezTo>
                    <a:pt x="7659" y="51227"/>
                    <a:pt x="7659" y="51227"/>
                    <a:pt x="7659" y="51227"/>
                  </a:cubicBezTo>
                  <a:cubicBezTo>
                    <a:pt x="7659" y="51227"/>
                    <a:pt x="6382" y="51853"/>
                    <a:pt x="6382" y="52167"/>
                  </a:cubicBezTo>
                  <a:cubicBezTo>
                    <a:pt x="6382" y="52323"/>
                    <a:pt x="6382" y="53263"/>
                    <a:pt x="6382" y="53263"/>
                  </a:cubicBezTo>
                  <a:cubicBezTo>
                    <a:pt x="8085" y="54516"/>
                    <a:pt x="8085" y="54516"/>
                    <a:pt x="8085" y="54516"/>
                  </a:cubicBezTo>
                  <a:cubicBezTo>
                    <a:pt x="8085" y="55456"/>
                    <a:pt x="8085" y="55456"/>
                    <a:pt x="8085" y="55456"/>
                  </a:cubicBezTo>
                  <a:cubicBezTo>
                    <a:pt x="7234" y="55926"/>
                    <a:pt x="7234" y="55926"/>
                    <a:pt x="7234" y="55926"/>
                  </a:cubicBezTo>
                  <a:cubicBezTo>
                    <a:pt x="7659" y="57023"/>
                    <a:pt x="7659" y="57023"/>
                    <a:pt x="7659" y="57023"/>
                  </a:cubicBezTo>
                  <a:cubicBezTo>
                    <a:pt x="7659" y="57023"/>
                    <a:pt x="8085" y="57336"/>
                    <a:pt x="7659" y="57493"/>
                  </a:cubicBezTo>
                  <a:cubicBezTo>
                    <a:pt x="6808" y="57806"/>
                    <a:pt x="6808" y="58120"/>
                    <a:pt x="7234" y="58433"/>
                  </a:cubicBezTo>
                  <a:cubicBezTo>
                    <a:pt x="7234" y="58590"/>
                    <a:pt x="10212" y="60626"/>
                    <a:pt x="10212" y="60626"/>
                  </a:cubicBezTo>
                  <a:cubicBezTo>
                    <a:pt x="10638" y="65483"/>
                    <a:pt x="10638" y="65483"/>
                    <a:pt x="10638" y="65483"/>
                  </a:cubicBezTo>
                  <a:cubicBezTo>
                    <a:pt x="11914" y="66736"/>
                    <a:pt x="11914" y="66736"/>
                    <a:pt x="11914" y="66736"/>
                  </a:cubicBezTo>
                  <a:cubicBezTo>
                    <a:pt x="14893" y="67519"/>
                    <a:pt x="14893" y="67519"/>
                    <a:pt x="14893" y="67519"/>
                  </a:cubicBezTo>
                  <a:cubicBezTo>
                    <a:pt x="17446" y="68302"/>
                    <a:pt x="17446" y="68302"/>
                    <a:pt x="17446" y="68302"/>
                  </a:cubicBezTo>
                  <a:cubicBezTo>
                    <a:pt x="17872" y="69712"/>
                    <a:pt x="17872" y="69712"/>
                    <a:pt x="17872" y="69712"/>
                  </a:cubicBezTo>
                  <a:cubicBezTo>
                    <a:pt x="17872" y="69712"/>
                    <a:pt x="17021" y="70809"/>
                    <a:pt x="17021" y="70966"/>
                  </a:cubicBezTo>
                  <a:cubicBezTo>
                    <a:pt x="17446" y="71122"/>
                    <a:pt x="14893" y="71122"/>
                    <a:pt x="14893" y="71122"/>
                  </a:cubicBezTo>
                  <a:cubicBezTo>
                    <a:pt x="12765" y="71279"/>
                    <a:pt x="12765" y="71279"/>
                    <a:pt x="12765" y="71279"/>
                  </a:cubicBezTo>
                  <a:cubicBezTo>
                    <a:pt x="10638" y="72062"/>
                    <a:pt x="10638" y="72062"/>
                    <a:pt x="10638" y="72062"/>
                  </a:cubicBezTo>
                  <a:cubicBezTo>
                    <a:pt x="11489" y="73002"/>
                    <a:pt x="11489" y="73002"/>
                    <a:pt x="11489" y="73002"/>
                  </a:cubicBezTo>
                  <a:cubicBezTo>
                    <a:pt x="12765" y="74412"/>
                    <a:pt x="12765" y="74412"/>
                    <a:pt x="12765" y="74412"/>
                  </a:cubicBezTo>
                  <a:cubicBezTo>
                    <a:pt x="15319" y="75509"/>
                    <a:pt x="15319" y="75509"/>
                    <a:pt x="15319" y="75509"/>
                  </a:cubicBezTo>
                  <a:cubicBezTo>
                    <a:pt x="16170" y="76449"/>
                    <a:pt x="16170" y="76449"/>
                    <a:pt x="16170" y="76449"/>
                  </a:cubicBezTo>
                  <a:cubicBezTo>
                    <a:pt x="14893" y="77389"/>
                    <a:pt x="14893" y="77389"/>
                    <a:pt x="14893" y="77389"/>
                  </a:cubicBezTo>
                  <a:cubicBezTo>
                    <a:pt x="14042" y="77859"/>
                    <a:pt x="14042" y="77859"/>
                    <a:pt x="14042" y="77859"/>
                  </a:cubicBezTo>
                  <a:cubicBezTo>
                    <a:pt x="14893" y="78642"/>
                    <a:pt x="14893" y="78642"/>
                    <a:pt x="14893" y="78642"/>
                  </a:cubicBezTo>
                  <a:cubicBezTo>
                    <a:pt x="14893" y="79425"/>
                    <a:pt x="14893" y="79425"/>
                    <a:pt x="14893" y="79425"/>
                  </a:cubicBezTo>
                  <a:cubicBezTo>
                    <a:pt x="14893" y="79425"/>
                    <a:pt x="14042" y="79895"/>
                    <a:pt x="14042" y="80052"/>
                  </a:cubicBezTo>
                  <a:cubicBezTo>
                    <a:pt x="14042" y="80208"/>
                    <a:pt x="12340" y="80678"/>
                    <a:pt x="12340" y="80678"/>
                  </a:cubicBezTo>
                  <a:cubicBezTo>
                    <a:pt x="11063" y="81148"/>
                    <a:pt x="11063" y="81148"/>
                    <a:pt x="11063" y="81148"/>
                  </a:cubicBezTo>
                  <a:cubicBezTo>
                    <a:pt x="9787" y="81305"/>
                    <a:pt x="9787" y="81305"/>
                    <a:pt x="9787" y="81305"/>
                  </a:cubicBezTo>
                  <a:cubicBezTo>
                    <a:pt x="9787" y="81305"/>
                    <a:pt x="8936" y="81148"/>
                    <a:pt x="8510" y="81305"/>
                  </a:cubicBezTo>
                  <a:cubicBezTo>
                    <a:pt x="8510" y="81305"/>
                    <a:pt x="7659" y="81618"/>
                    <a:pt x="7659" y="81618"/>
                  </a:cubicBezTo>
                  <a:cubicBezTo>
                    <a:pt x="7659" y="82088"/>
                    <a:pt x="7659" y="82088"/>
                    <a:pt x="7659" y="82088"/>
                  </a:cubicBezTo>
                  <a:cubicBezTo>
                    <a:pt x="8510" y="82402"/>
                    <a:pt x="8510" y="82402"/>
                    <a:pt x="8510" y="82402"/>
                  </a:cubicBezTo>
                  <a:cubicBezTo>
                    <a:pt x="8085" y="83185"/>
                    <a:pt x="8085" y="83185"/>
                    <a:pt x="8085" y="83185"/>
                  </a:cubicBezTo>
                  <a:cubicBezTo>
                    <a:pt x="6808" y="83655"/>
                    <a:pt x="6808" y="83655"/>
                    <a:pt x="6808" y="83655"/>
                  </a:cubicBezTo>
                  <a:cubicBezTo>
                    <a:pt x="5531" y="83812"/>
                    <a:pt x="5531" y="83812"/>
                    <a:pt x="5531" y="83812"/>
                  </a:cubicBezTo>
                  <a:cubicBezTo>
                    <a:pt x="6382" y="84751"/>
                    <a:pt x="6382" y="84751"/>
                    <a:pt x="6382" y="84751"/>
                  </a:cubicBezTo>
                  <a:cubicBezTo>
                    <a:pt x="8085" y="85848"/>
                    <a:pt x="8085" y="85848"/>
                    <a:pt x="8085" y="85848"/>
                  </a:cubicBezTo>
                  <a:cubicBezTo>
                    <a:pt x="8085" y="86788"/>
                    <a:pt x="8085" y="86788"/>
                    <a:pt x="8085" y="86788"/>
                  </a:cubicBezTo>
                  <a:cubicBezTo>
                    <a:pt x="6808" y="87728"/>
                    <a:pt x="6808" y="87728"/>
                    <a:pt x="6808" y="87728"/>
                  </a:cubicBezTo>
                  <a:cubicBezTo>
                    <a:pt x="6382" y="88825"/>
                    <a:pt x="6382" y="88825"/>
                    <a:pt x="6382" y="88825"/>
                  </a:cubicBezTo>
                  <a:cubicBezTo>
                    <a:pt x="5957" y="89765"/>
                    <a:pt x="5957" y="89765"/>
                    <a:pt x="5957" y="89765"/>
                  </a:cubicBezTo>
                  <a:cubicBezTo>
                    <a:pt x="5106" y="89921"/>
                    <a:pt x="5106" y="89921"/>
                    <a:pt x="5106" y="89921"/>
                  </a:cubicBezTo>
                  <a:cubicBezTo>
                    <a:pt x="3829" y="89921"/>
                    <a:pt x="3829" y="89921"/>
                    <a:pt x="3829" y="89921"/>
                  </a:cubicBezTo>
                  <a:cubicBezTo>
                    <a:pt x="3829" y="89921"/>
                    <a:pt x="3829" y="88981"/>
                    <a:pt x="3404" y="88825"/>
                  </a:cubicBezTo>
                  <a:cubicBezTo>
                    <a:pt x="3404" y="88825"/>
                    <a:pt x="425" y="87885"/>
                    <a:pt x="425" y="87885"/>
                  </a:cubicBezTo>
                  <a:cubicBezTo>
                    <a:pt x="425" y="88825"/>
                    <a:pt x="425" y="88825"/>
                    <a:pt x="425" y="88825"/>
                  </a:cubicBezTo>
                  <a:cubicBezTo>
                    <a:pt x="0" y="89921"/>
                    <a:pt x="0" y="89921"/>
                    <a:pt x="0" y="89921"/>
                  </a:cubicBezTo>
                  <a:cubicBezTo>
                    <a:pt x="0" y="89921"/>
                    <a:pt x="425" y="90548"/>
                    <a:pt x="851" y="90704"/>
                  </a:cubicBezTo>
                  <a:cubicBezTo>
                    <a:pt x="1276" y="90861"/>
                    <a:pt x="1702" y="91958"/>
                    <a:pt x="1702" y="91958"/>
                  </a:cubicBezTo>
                  <a:cubicBezTo>
                    <a:pt x="1276" y="93054"/>
                    <a:pt x="1276" y="93054"/>
                    <a:pt x="1276" y="93054"/>
                  </a:cubicBezTo>
                  <a:cubicBezTo>
                    <a:pt x="1276" y="93054"/>
                    <a:pt x="2127" y="93838"/>
                    <a:pt x="2127" y="93838"/>
                  </a:cubicBezTo>
                  <a:cubicBezTo>
                    <a:pt x="2127" y="93994"/>
                    <a:pt x="2553" y="94621"/>
                    <a:pt x="2553" y="94621"/>
                  </a:cubicBezTo>
                  <a:cubicBezTo>
                    <a:pt x="4255" y="94464"/>
                    <a:pt x="4255" y="94464"/>
                    <a:pt x="4255" y="94464"/>
                  </a:cubicBezTo>
                  <a:cubicBezTo>
                    <a:pt x="3829" y="93994"/>
                    <a:pt x="3829" y="93994"/>
                    <a:pt x="3829" y="93994"/>
                  </a:cubicBezTo>
                  <a:cubicBezTo>
                    <a:pt x="5106" y="94621"/>
                    <a:pt x="5106" y="94621"/>
                    <a:pt x="5106" y="94621"/>
                  </a:cubicBezTo>
                  <a:cubicBezTo>
                    <a:pt x="5106" y="94621"/>
                    <a:pt x="4255" y="94778"/>
                    <a:pt x="5106" y="94621"/>
                  </a:cubicBezTo>
                  <a:cubicBezTo>
                    <a:pt x="5531" y="94621"/>
                    <a:pt x="6382" y="94308"/>
                    <a:pt x="6382" y="94308"/>
                  </a:cubicBezTo>
                  <a:cubicBezTo>
                    <a:pt x="5957" y="94778"/>
                    <a:pt x="5957" y="94778"/>
                    <a:pt x="5957" y="94778"/>
                  </a:cubicBezTo>
                  <a:cubicBezTo>
                    <a:pt x="5106" y="95404"/>
                    <a:pt x="5106" y="95404"/>
                    <a:pt x="5106" y="95404"/>
                  </a:cubicBezTo>
                  <a:cubicBezTo>
                    <a:pt x="5531" y="95561"/>
                    <a:pt x="5531" y="95561"/>
                    <a:pt x="5531" y="95561"/>
                  </a:cubicBezTo>
                  <a:cubicBezTo>
                    <a:pt x="6808" y="95718"/>
                    <a:pt x="6808" y="95718"/>
                    <a:pt x="6808" y="95718"/>
                  </a:cubicBezTo>
                  <a:cubicBezTo>
                    <a:pt x="5106" y="96501"/>
                    <a:pt x="5106" y="96501"/>
                    <a:pt x="5106" y="96501"/>
                  </a:cubicBezTo>
                  <a:cubicBezTo>
                    <a:pt x="5106" y="96501"/>
                    <a:pt x="5957" y="96971"/>
                    <a:pt x="6382" y="97127"/>
                  </a:cubicBezTo>
                  <a:cubicBezTo>
                    <a:pt x="6382" y="97127"/>
                    <a:pt x="8085" y="96657"/>
                    <a:pt x="8085" y="96657"/>
                  </a:cubicBezTo>
                  <a:cubicBezTo>
                    <a:pt x="8085" y="96657"/>
                    <a:pt x="8085" y="96814"/>
                    <a:pt x="8085" y="96971"/>
                  </a:cubicBezTo>
                  <a:cubicBezTo>
                    <a:pt x="8085" y="96971"/>
                    <a:pt x="6808" y="97441"/>
                    <a:pt x="6808" y="97754"/>
                  </a:cubicBezTo>
                  <a:cubicBezTo>
                    <a:pt x="7234" y="97911"/>
                    <a:pt x="9361" y="97597"/>
                    <a:pt x="8936" y="97754"/>
                  </a:cubicBezTo>
                  <a:cubicBezTo>
                    <a:pt x="8510" y="97911"/>
                    <a:pt x="8510" y="98224"/>
                    <a:pt x="8510" y="98224"/>
                  </a:cubicBezTo>
                  <a:cubicBezTo>
                    <a:pt x="8510" y="98224"/>
                    <a:pt x="7234" y="98694"/>
                    <a:pt x="8085" y="98851"/>
                  </a:cubicBezTo>
                  <a:cubicBezTo>
                    <a:pt x="8510" y="99007"/>
                    <a:pt x="9787" y="99164"/>
                    <a:pt x="9361" y="99164"/>
                  </a:cubicBezTo>
                  <a:cubicBezTo>
                    <a:pt x="9361" y="99321"/>
                    <a:pt x="8085" y="99634"/>
                    <a:pt x="8085" y="99634"/>
                  </a:cubicBezTo>
                  <a:cubicBezTo>
                    <a:pt x="8085" y="99634"/>
                    <a:pt x="7659" y="99947"/>
                    <a:pt x="8085" y="100104"/>
                  </a:cubicBezTo>
                  <a:cubicBezTo>
                    <a:pt x="8510" y="100261"/>
                    <a:pt x="9787" y="100261"/>
                    <a:pt x="9787" y="100261"/>
                  </a:cubicBezTo>
                  <a:cubicBezTo>
                    <a:pt x="9787" y="100261"/>
                    <a:pt x="9787" y="99947"/>
                    <a:pt x="9787" y="100104"/>
                  </a:cubicBezTo>
                  <a:cubicBezTo>
                    <a:pt x="9787" y="100261"/>
                    <a:pt x="9361" y="100574"/>
                    <a:pt x="9361" y="100574"/>
                  </a:cubicBezTo>
                  <a:cubicBezTo>
                    <a:pt x="9361" y="100574"/>
                    <a:pt x="8936" y="100887"/>
                    <a:pt x="9361" y="101044"/>
                  </a:cubicBezTo>
                  <a:cubicBezTo>
                    <a:pt x="9787" y="101044"/>
                    <a:pt x="10638" y="101044"/>
                    <a:pt x="10638" y="101044"/>
                  </a:cubicBezTo>
                  <a:cubicBezTo>
                    <a:pt x="10638" y="101044"/>
                    <a:pt x="10638" y="101201"/>
                    <a:pt x="10638" y="101514"/>
                  </a:cubicBezTo>
                  <a:cubicBezTo>
                    <a:pt x="10638" y="101671"/>
                    <a:pt x="10638" y="102140"/>
                    <a:pt x="10638" y="102140"/>
                  </a:cubicBezTo>
                  <a:cubicBezTo>
                    <a:pt x="10638" y="102297"/>
                    <a:pt x="10638" y="102610"/>
                    <a:pt x="10638" y="102610"/>
                  </a:cubicBezTo>
                  <a:cubicBezTo>
                    <a:pt x="10638" y="102610"/>
                    <a:pt x="10212" y="102767"/>
                    <a:pt x="11489" y="102767"/>
                  </a:cubicBezTo>
                  <a:cubicBezTo>
                    <a:pt x="12340" y="102767"/>
                    <a:pt x="12340" y="102610"/>
                    <a:pt x="12765" y="102610"/>
                  </a:cubicBezTo>
                  <a:cubicBezTo>
                    <a:pt x="13191" y="102610"/>
                    <a:pt x="13191" y="102767"/>
                    <a:pt x="13617" y="102924"/>
                  </a:cubicBezTo>
                  <a:cubicBezTo>
                    <a:pt x="13617" y="103237"/>
                    <a:pt x="13617" y="103394"/>
                    <a:pt x="13617" y="103550"/>
                  </a:cubicBezTo>
                  <a:cubicBezTo>
                    <a:pt x="14042" y="103707"/>
                    <a:pt x="15744" y="105274"/>
                    <a:pt x="15744" y="105274"/>
                  </a:cubicBezTo>
                  <a:cubicBezTo>
                    <a:pt x="15744" y="105274"/>
                    <a:pt x="16170" y="105900"/>
                    <a:pt x="16595" y="106057"/>
                  </a:cubicBezTo>
                  <a:cubicBezTo>
                    <a:pt x="16595" y="106214"/>
                    <a:pt x="17021" y="106370"/>
                    <a:pt x="17446" y="106527"/>
                  </a:cubicBezTo>
                  <a:cubicBezTo>
                    <a:pt x="17446" y="106527"/>
                    <a:pt x="18297" y="106997"/>
                    <a:pt x="18297" y="106997"/>
                  </a:cubicBezTo>
                  <a:cubicBezTo>
                    <a:pt x="19574" y="107310"/>
                    <a:pt x="19574" y="107310"/>
                    <a:pt x="19574" y="107310"/>
                  </a:cubicBezTo>
                  <a:cubicBezTo>
                    <a:pt x="21276" y="108407"/>
                    <a:pt x="21276" y="108407"/>
                    <a:pt x="21276" y="108407"/>
                  </a:cubicBezTo>
                  <a:cubicBezTo>
                    <a:pt x="21276" y="108407"/>
                    <a:pt x="22553" y="108877"/>
                    <a:pt x="22553" y="108877"/>
                  </a:cubicBezTo>
                  <a:cubicBezTo>
                    <a:pt x="22978" y="108877"/>
                    <a:pt x="23829" y="108563"/>
                    <a:pt x="23829" y="108563"/>
                  </a:cubicBezTo>
                  <a:cubicBezTo>
                    <a:pt x="23829" y="108563"/>
                    <a:pt x="25106" y="108720"/>
                    <a:pt x="25106" y="108877"/>
                  </a:cubicBezTo>
                  <a:cubicBezTo>
                    <a:pt x="24680" y="108877"/>
                    <a:pt x="24255" y="109503"/>
                    <a:pt x="24255" y="109660"/>
                  </a:cubicBezTo>
                  <a:cubicBezTo>
                    <a:pt x="24680" y="109817"/>
                    <a:pt x="24680" y="110130"/>
                    <a:pt x="24680" y="110130"/>
                  </a:cubicBezTo>
                  <a:cubicBezTo>
                    <a:pt x="23829" y="110287"/>
                    <a:pt x="23829" y="110287"/>
                    <a:pt x="23829" y="110287"/>
                  </a:cubicBezTo>
                  <a:cubicBezTo>
                    <a:pt x="22978" y="110443"/>
                    <a:pt x="22978" y="110443"/>
                    <a:pt x="22978" y="110443"/>
                  </a:cubicBezTo>
                  <a:cubicBezTo>
                    <a:pt x="21276" y="110443"/>
                    <a:pt x="21276" y="110443"/>
                    <a:pt x="21276" y="110443"/>
                  </a:cubicBezTo>
                  <a:cubicBezTo>
                    <a:pt x="20851" y="111070"/>
                    <a:pt x="20851" y="111070"/>
                    <a:pt x="20851" y="111070"/>
                  </a:cubicBezTo>
                  <a:cubicBezTo>
                    <a:pt x="22553" y="111383"/>
                    <a:pt x="22553" y="111383"/>
                    <a:pt x="22553" y="111383"/>
                  </a:cubicBezTo>
                  <a:cubicBezTo>
                    <a:pt x="22553" y="111383"/>
                    <a:pt x="23404" y="111697"/>
                    <a:pt x="23829" y="111697"/>
                  </a:cubicBezTo>
                  <a:cubicBezTo>
                    <a:pt x="23829" y="111853"/>
                    <a:pt x="23829" y="112480"/>
                    <a:pt x="23829" y="112480"/>
                  </a:cubicBezTo>
                  <a:cubicBezTo>
                    <a:pt x="23404" y="112480"/>
                    <a:pt x="21702" y="112480"/>
                    <a:pt x="21702" y="112480"/>
                  </a:cubicBezTo>
                  <a:cubicBezTo>
                    <a:pt x="21702" y="112480"/>
                    <a:pt x="20851" y="112950"/>
                    <a:pt x="20851" y="112950"/>
                  </a:cubicBezTo>
                  <a:cubicBezTo>
                    <a:pt x="20851" y="113107"/>
                    <a:pt x="20425" y="113107"/>
                    <a:pt x="21276" y="113577"/>
                  </a:cubicBezTo>
                  <a:cubicBezTo>
                    <a:pt x="21702" y="113890"/>
                    <a:pt x="23829" y="114830"/>
                    <a:pt x="23829" y="114830"/>
                  </a:cubicBezTo>
                  <a:cubicBezTo>
                    <a:pt x="23829" y="114830"/>
                    <a:pt x="25531" y="115770"/>
                    <a:pt x="25531" y="115770"/>
                  </a:cubicBezTo>
                  <a:cubicBezTo>
                    <a:pt x="25531" y="115926"/>
                    <a:pt x="26808" y="116553"/>
                    <a:pt x="26808" y="116553"/>
                  </a:cubicBezTo>
                  <a:cubicBezTo>
                    <a:pt x="27234" y="116553"/>
                    <a:pt x="27234" y="117180"/>
                    <a:pt x="27234" y="117180"/>
                  </a:cubicBezTo>
                  <a:cubicBezTo>
                    <a:pt x="26808" y="117493"/>
                    <a:pt x="26808" y="117493"/>
                    <a:pt x="26808" y="117493"/>
                  </a:cubicBezTo>
                  <a:cubicBezTo>
                    <a:pt x="26382" y="117963"/>
                    <a:pt x="26382" y="117963"/>
                    <a:pt x="26382" y="117963"/>
                  </a:cubicBezTo>
                  <a:cubicBezTo>
                    <a:pt x="25957" y="118433"/>
                    <a:pt x="25957" y="118433"/>
                    <a:pt x="25957" y="118433"/>
                  </a:cubicBezTo>
                  <a:cubicBezTo>
                    <a:pt x="26382" y="118746"/>
                    <a:pt x="26382" y="118746"/>
                    <a:pt x="26382" y="118746"/>
                  </a:cubicBezTo>
                  <a:cubicBezTo>
                    <a:pt x="25957" y="119060"/>
                    <a:pt x="25957" y="119060"/>
                    <a:pt x="25957" y="119060"/>
                  </a:cubicBezTo>
                  <a:cubicBezTo>
                    <a:pt x="25106" y="119530"/>
                    <a:pt x="25106" y="119530"/>
                    <a:pt x="25106" y="119530"/>
                  </a:cubicBezTo>
                  <a:cubicBezTo>
                    <a:pt x="27234" y="119686"/>
                    <a:pt x="27234" y="119686"/>
                    <a:pt x="27234" y="119686"/>
                  </a:cubicBezTo>
                  <a:cubicBezTo>
                    <a:pt x="29787" y="119530"/>
                    <a:pt x="29787" y="119530"/>
                    <a:pt x="29787" y="119530"/>
                  </a:cubicBezTo>
                  <a:cubicBezTo>
                    <a:pt x="29787" y="119530"/>
                    <a:pt x="30212" y="119843"/>
                    <a:pt x="30212" y="119843"/>
                  </a:cubicBezTo>
                  <a:cubicBezTo>
                    <a:pt x="30638" y="120000"/>
                    <a:pt x="32765" y="119843"/>
                    <a:pt x="32765" y="119843"/>
                  </a:cubicBezTo>
                  <a:cubicBezTo>
                    <a:pt x="34468" y="119530"/>
                    <a:pt x="34468" y="119530"/>
                    <a:pt x="34468" y="119530"/>
                  </a:cubicBezTo>
                  <a:cubicBezTo>
                    <a:pt x="35744" y="119216"/>
                    <a:pt x="35744" y="119216"/>
                    <a:pt x="35744" y="119216"/>
                  </a:cubicBezTo>
                  <a:cubicBezTo>
                    <a:pt x="35744" y="118903"/>
                    <a:pt x="35744" y="118903"/>
                    <a:pt x="35744" y="118903"/>
                  </a:cubicBezTo>
                  <a:cubicBezTo>
                    <a:pt x="35744" y="118903"/>
                    <a:pt x="36595" y="118433"/>
                    <a:pt x="36595" y="118433"/>
                  </a:cubicBezTo>
                  <a:cubicBezTo>
                    <a:pt x="37021" y="118433"/>
                    <a:pt x="38297" y="118590"/>
                    <a:pt x="38297" y="118590"/>
                  </a:cubicBezTo>
                  <a:cubicBezTo>
                    <a:pt x="38297" y="118590"/>
                    <a:pt x="39574" y="118590"/>
                    <a:pt x="39574" y="118746"/>
                  </a:cubicBezTo>
                  <a:cubicBezTo>
                    <a:pt x="39574" y="118903"/>
                    <a:pt x="40425" y="119060"/>
                    <a:pt x="40425" y="119060"/>
                  </a:cubicBezTo>
                  <a:cubicBezTo>
                    <a:pt x="41702" y="119060"/>
                    <a:pt x="41702" y="119060"/>
                    <a:pt x="41702" y="119060"/>
                  </a:cubicBezTo>
                  <a:cubicBezTo>
                    <a:pt x="42978" y="118903"/>
                    <a:pt x="42978" y="118903"/>
                    <a:pt x="42978" y="118903"/>
                  </a:cubicBezTo>
                  <a:cubicBezTo>
                    <a:pt x="44680" y="118746"/>
                    <a:pt x="44680" y="118746"/>
                    <a:pt x="44680" y="118746"/>
                  </a:cubicBezTo>
                  <a:cubicBezTo>
                    <a:pt x="44680" y="118746"/>
                    <a:pt x="44255" y="118433"/>
                    <a:pt x="44680" y="118433"/>
                  </a:cubicBezTo>
                  <a:cubicBezTo>
                    <a:pt x="45106" y="118433"/>
                    <a:pt x="46382" y="118433"/>
                    <a:pt x="46382" y="118433"/>
                  </a:cubicBezTo>
                  <a:cubicBezTo>
                    <a:pt x="46382" y="118433"/>
                    <a:pt x="46808" y="118746"/>
                    <a:pt x="47234" y="118746"/>
                  </a:cubicBezTo>
                  <a:cubicBezTo>
                    <a:pt x="47234" y="118746"/>
                    <a:pt x="48085" y="118433"/>
                    <a:pt x="47659" y="118276"/>
                  </a:cubicBezTo>
                  <a:cubicBezTo>
                    <a:pt x="47234" y="118120"/>
                    <a:pt x="45531" y="117806"/>
                    <a:pt x="45531" y="117806"/>
                  </a:cubicBezTo>
                  <a:cubicBezTo>
                    <a:pt x="45531" y="117806"/>
                    <a:pt x="44680" y="117336"/>
                    <a:pt x="44680" y="117180"/>
                  </a:cubicBezTo>
                  <a:cubicBezTo>
                    <a:pt x="44255" y="117023"/>
                    <a:pt x="44255" y="116553"/>
                    <a:pt x="43829" y="116396"/>
                  </a:cubicBezTo>
                  <a:cubicBezTo>
                    <a:pt x="43404" y="116396"/>
                    <a:pt x="42978" y="116240"/>
                    <a:pt x="42978" y="115926"/>
                  </a:cubicBezTo>
                  <a:cubicBezTo>
                    <a:pt x="43404" y="115456"/>
                    <a:pt x="43404" y="115300"/>
                    <a:pt x="43404" y="115300"/>
                  </a:cubicBezTo>
                  <a:cubicBezTo>
                    <a:pt x="43404" y="115143"/>
                    <a:pt x="43404" y="114516"/>
                    <a:pt x="43404" y="114516"/>
                  </a:cubicBezTo>
                  <a:cubicBezTo>
                    <a:pt x="43404" y="114516"/>
                    <a:pt x="42978" y="114203"/>
                    <a:pt x="44255" y="113890"/>
                  </a:cubicBezTo>
                  <a:cubicBezTo>
                    <a:pt x="45531" y="113577"/>
                    <a:pt x="45531" y="113263"/>
                    <a:pt x="45957" y="113420"/>
                  </a:cubicBezTo>
                  <a:cubicBezTo>
                    <a:pt x="46382" y="113577"/>
                    <a:pt x="47234" y="113890"/>
                    <a:pt x="47659" y="113890"/>
                  </a:cubicBezTo>
                  <a:cubicBezTo>
                    <a:pt x="47659" y="114046"/>
                    <a:pt x="48085" y="114046"/>
                    <a:pt x="48510" y="114203"/>
                  </a:cubicBezTo>
                  <a:cubicBezTo>
                    <a:pt x="48510" y="114360"/>
                    <a:pt x="48085" y="114516"/>
                    <a:pt x="48936" y="114516"/>
                  </a:cubicBezTo>
                  <a:cubicBezTo>
                    <a:pt x="49361" y="114516"/>
                    <a:pt x="50212" y="114516"/>
                    <a:pt x="50212" y="114516"/>
                  </a:cubicBezTo>
                  <a:cubicBezTo>
                    <a:pt x="50212" y="114516"/>
                    <a:pt x="50638" y="114516"/>
                    <a:pt x="50638" y="114360"/>
                  </a:cubicBezTo>
                  <a:cubicBezTo>
                    <a:pt x="50638" y="114203"/>
                    <a:pt x="50638" y="113733"/>
                    <a:pt x="50212" y="113733"/>
                  </a:cubicBezTo>
                  <a:cubicBezTo>
                    <a:pt x="49787" y="113577"/>
                    <a:pt x="49361" y="113420"/>
                    <a:pt x="49361" y="113420"/>
                  </a:cubicBezTo>
                  <a:cubicBezTo>
                    <a:pt x="49361" y="113420"/>
                    <a:pt x="50212" y="113263"/>
                    <a:pt x="48936" y="113107"/>
                  </a:cubicBezTo>
                  <a:cubicBezTo>
                    <a:pt x="47659" y="112793"/>
                    <a:pt x="47659" y="112637"/>
                    <a:pt x="48085" y="112480"/>
                  </a:cubicBezTo>
                  <a:cubicBezTo>
                    <a:pt x="48936" y="112323"/>
                    <a:pt x="50638" y="112480"/>
                    <a:pt x="50638" y="112480"/>
                  </a:cubicBezTo>
                  <a:cubicBezTo>
                    <a:pt x="51914" y="112323"/>
                    <a:pt x="51914" y="112323"/>
                    <a:pt x="51914" y="112323"/>
                  </a:cubicBezTo>
                  <a:cubicBezTo>
                    <a:pt x="51914" y="112323"/>
                    <a:pt x="52765" y="112010"/>
                    <a:pt x="53617" y="112167"/>
                  </a:cubicBezTo>
                  <a:cubicBezTo>
                    <a:pt x="54042" y="112323"/>
                    <a:pt x="55744" y="112167"/>
                    <a:pt x="55744" y="112167"/>
                  </a:cubicBezTo>
                  <a:cubicBezTo>
                    <a:pt x="57872" y="112323"/>
                    <a:pt x="57872" y="112323"/>
                    <a:pt x="57872" y="112323"/>
                  </a:cubicBezTo>
                  <a:cubicBezTo>
                    <a:pt x="58723" y="112010"/>
                    <a:pt x="58723" y="112010"/>
                    <a:pt x="58723" y="112010"/>
                  </a:cubicBezTo>
                  <a:cubicBezTo>
                    <a:pt x="60851" y="112323"/>
                    <a:pt x="60851" y="112323"/>
                    <a:pt x="60851" y="112323"/>
                  </a:cubicBezTo>
                  <a:cubicBezTo>
                    <a:pt x="60851" y="112323"/>
                    <a:pt x="60425" y="112323"/>
                    <a:pt x="61702" y="112480"/>
                  </a:cubicBezTo>
                  <a:cubicBezTo>
                    <a:pt x="62553" y="112480"/>
                    <a:pt x="63829" y="112167"/>
                    <a:pt x="63829" y="112010"/>
                  </a:cubicBezTo>
                  <a:cubicBezTo>
                    <a:pt x="64255" y="112010"/>
                    <a:pt x="65957" y="110913"/>
                    <a:pt x="65957" y="110913"/>
                  </a:cubicBezTo>
                  <a:cubicBezTo>
                    <a:pt x="67234" y="107780"/>
                    <a:pt x="67234" y="107780"/>
                    <a:pt x="67234" y="107780"/>
                  </a:cubicBezTo>
                  <a:cubicBezTo>
                    <a:pt x="67234" y="107780"/>
                    <a:pt x="68936" y="107310"/>
                    <a:pt x="68510" y="107310"/>
                  </a:cubicBezTo>
                  <a:cubicBezTo>
                    <a:pt x="68510" y="107154"/>
                    <a:pt x="68510" y="106057"/>
                    <a:pt x="68510" y="105900"/>
                  </a:cubicBezTo>
                  <a:cubicBezTo>
                    <a:pt x="68510" y="105744"/>
                    <a:pt x="69361" y="104647"/>
                    <a:pt x="69361" y="104647"/>
                  </a:cubicBezTo>
                  <a:cubicBezTo>
                    <a:pt x="69361" y="104647"/>
                    <a:pt x="71063" y="104177"/>
                    <a:pt x="70212" y="103707"/>
                  </a:cubicBezTo>
                  <a:cubicBezTo>
                    <a:pt x="69787" y="103237"/>
                    <a:pt x="69361" y="102454"/>
                    <a:pt x="69361" y="102454"/>
                  </a:cubicBezTo>
                  <a:cubicBezTo>
                    <a:pt x="69361" y="102454"/>
                    <a:pt x="68936" y="101671"/>
                    <a:pt x="68936" y="101514"/>
                  </a:cubicBezTo>
                  <a:cubicBezTo>
                    <a:pt x="68936" y="101357"/>
                    <a:pt x="70638" y="100574"/>
                    <a:pt x="70638" y="100574"/>
                  </a:cubicBezTo>
                  <a:cubicBezTo>
                    <a:pt x="69361" y="99164"/>
                    <a:pt x="69361" y="99164"/>
                    <a:pt x="69361" y="99164"/>
                  </a:cubicBezTo>
                  <a:cubicBezTo>
                    <a:pt x="69361" y="99164"/>
                    <a:pt x="70212" y="98694"/>
                    <a:pt x="70212" y="98537"/>
                  </a:cubicBezTo>
                  <a:cubicBezTo>
                    <a:pt x="70212" y="98381"/>
                    <a:pt x="69361" y="96971"/>
                    <a:pt x="69361" y="96971"/>
                  </a:cubicBezTo>
                  <a:cubicBezTo>
                    <a:pt x="69361" y="96657"/>
                    <a:pt x="69361" y="96657"/>
                    <a:pt x="69361" y="96657"/>
                  </a:cubicBezTo>
                  <a:cubicBezTo>
                    <a:pt x="69361" y="96657"/>
                    <a:pt x="70638" y="95874"/>
                    <a:pt x="70212" y="95718"/>
                  </a:cubicBezTo>
                  <a:cubicBezTo>
                    <a:pt x="70212" y="95561"/>
                    <a:pt x="70212" y="94778"/>
                    <a:pt x="70212" y="94778"/>
                  </a:cubicBezTo>
                  <a:cubicBezTo>
                    <a:pt x="69361" y="93838"/>
                    <a:pt x="69361" y="93838"/>
                    <a:pt x="69361" y="93838"/>
                  </a:cubicBezTo>
                  <a:cubicBezTo>
                    <a:pt x="69361" y="93838"/>
                    <a:pt x="70212" y="93681"/>
                    <a:pt x="69787" y="93524"/>
                  </a:cubicBezTo>
                  <a:cubicBezTo>
                    <a:pt x="69361" y="93211"/>
                    <a:pt x="68936" y="93054"/>
                    <a:pt x="68936" y="93054"/>
                  </a:cubicBezTo>
                  <a:cubicBezTo>
                    <a:pt x="68936" y="92741"/>
                    <a:pt x="68936" y="92741"/>
                    <a:pt x="68936" y="92741"/>
                  </a:cubicBezTo>
                  <a:cubicBezTo>
                    <a:pt x="69361" y="92428"/>
                    <a:pt x="69361" y="92428"/>
                    <a:pt x="69361" y="92428"/>
                  </a:cubicBezTo>
                  <a:cubicBezTo>
                    <a:pt x="70212" y="92114"/>
                    <a:pt x="70212" y="92114"/>
                    <a:pt x="70212" y="92114"/>
                  </a:cubicBezTo>
                  <a:cubicBezTo>
                    <a:pt x="69787" y="91174"/>
                    <a:pt x="69787" y="91174"/>
                    <a:pt x="69787" y="91174"/>
                  </a:cubicBezTo>
                  <a:cubicBezTo>
                    <a:pt x="68085" y="91018"/>
                    <a:pt x="68085" y="91018"/>
                    <a:pt x="68085" y="91018"/>
                  </a:cubicBezTo>
                  <a:cubicBezTo>
                    <a:pt x="68085" y="91018"/>
                    <a:pt x="68085" y="90704"/>
                    <a:pt x="68510" y="90704"/>
                  </a:cubicBezTo>
                  <a:cubicBezTo>
                    <a:pt x="69361" y="90548"/>
                    <a:pt x="72340" y="90078"/>
                    <a:pt x="72340" y="90078"/>
                  </a:cubicBezTo>
                  <a:cubicBezTo>
                    <a:pt x="72340" y="90078"/>
                    <a:pt x="73191" y="89608"/>
                    <a:pt x="73617" y="89608"/>
                  </a:cubicBezTo>
                  <a:cubicBezTo>
                    <a:pt x="73617" y="89451"/>
                    <a:pt x="77021" y="88668"/>
                    <a:pt x="77021" y="88668"/>
                  </a:cubicBezTo>
                  <a:cubicBezTo>
                    <a:pt x="77021" y="88668"/>
                    <a:pt x="77021" y="88198"/>
                    <a:pt x="77021" y="88041"/>
                  </a:cubicBezTo>
                  <a:cubicBezTo>
                    <a:pt x="77446" y="88041"/>
                    <a:pt x="77446" y="87885"/>
                    <a:pt x="77446" y="87571"/>
                  </a:cubicBezTo>
                  <a:cubicBezTo>
                    <a:pt x="77872" y="87571"/>
                    <a:pt x="77021" y="86161"/>
                    <a:pt x="77021" y="85691"/>
                  </a:cubicBezTo>
                  <a:cubicBezTo>
                    <a:pt x="77446" y="85378"/>
                    <a:pt x="78297" y="86005"/>
                    <a:pt x="78297" y="86005"/>
                  </a:cubicBezTo>
                  <a:cubicBezTo>
                    <a:pt x="78723" y="86475"/>
                    <a:pt x="78723" y="86475"/>
                    <a:pt x="78723" y="86475"/>
                  </a:cubicBezTo>
                  <a:cubicBezTo>
                    <a:pt x="78723" y="87415"/>
                    <a:pt x="78723" y="87415"/>
                    <a:pt x="78723" y="87415"/>
                  </a:cubicBezTo>
                  <a:cubicBezTo>
                    <a:pt x="80000" y="87571"/>
                    <a:pt x="80000" y="87571"/>
                    <a:pt x="80000" y="87571"/>
                  </a:cubicBezTo>
                  <a:cubicBezTo>
                    <a:pt x="80425" y="88041"/>
                    <a:pt x="80425" y="88041"/>
                    <a:pt x="80425" y="88041"/>
                  </a:cubicBezTo>
                  <a:cubicBezTo>
                    <a:pt x="80425" y="88041"/>
                    <a:pt x="80000" y="88511"/>
                    <a:pt x="80425" y="88511"/>
                  </a:cubicBezTo>
                  <a:cubicBezTo>
                    <a:pt x="80851" y="88355"/>
                    <a:pt x="80851" y="88355"/>
                    <a:pt x="80851" y="88355"/>
                  </a:cubicBezTo>
                  <a:cubicBezTo>
                    <a:pt x="81276" y="87415"/>
                    <a:pt x="81276" y="87415"/>
                    <a:pt x="81276" y="87415"/>
                  </a:cubicBezTo>
                  <a:cubicBezTo>
                    <a:pt x="81276" y="87415"/>
                    <a:pt x="82978" y="87415"/>
                    <a:pt x="82553" y="87101"/>
                  </a:cubicBezTo>
                  <a:cubicBezTo>
                    <a:pt x="82553" y="86945"/>
                    <a:pt x="82127" y="86631"/>
                    <a:pt x="82553" y="86631"/>
                  </a:cubicBezTo>
                  <a:cubicBezTo>
                    <a:pt x="85106" y="86475"/>
                    <a:pt x="84255" y="86475"/>
                    <a:pt x="85531" y="86161"/>
                  </a:cubicBezTo>
                  <a:cubicBezTo>
                    <a:pt x="85531" y="86161"/>
                    <a:pt x="86382" y="85535"/>
                    <a:pt x="86382" y="85535"/>
                  </a:cubicBezTo>
                  <a:cubicBezTo>
                    <a:pt x="86382" y="85378"/>
                    <a:pt x="86808" y="85065"/>
                    <a:pt x="86808" y="85065"/>
                  </a:cubicBezTo>
                  <a:cubicBezTo>
                    <a:pt x="85957" y="84908"/>
                    <a:pt x="85957" y="84908"/>
                    <a:pt x="85957" y="84908"/>
                  </a:cubicBezTo>
                  <a:cubicBezTo>
                    <a:pt x="85531" y="84438"/>
                    <a:pt x="85531" y="84438"/>
                    <a:pt x="85531" y="84438"/>
                  </a:cubicBezTo>
                  <a:cubicBezTo>
                    <a:pt x="85531" y="84438"/>
                    <a:pt x="85957" y="84125"/>
                    <a:pt x="86382" y="84281"/>
                  </a:cubicBezTo>
                  <a:cubicBezTo>
                    <a:pt x="86382" y="84438"/>
                    <a:pt x="86808" y="84751"/>
                    <a:pt x="87234" y="84751"/>
                  </a:cubicBezTo>
                  <a:cubicBezTo>
                    <a:pt x="87659" y="84751"/>
                    <a:pt x="88936" y="84281"/>
                    <a:pt x="88936" y="84281"/>
                  </a:cubicBezTo>
                  <a:cubicBezTo>
                    <a:pt x="88936" y="83812"/>
                    <a:pt x="85957" y="83185"/>
                    <a:pt x="85106" y="83028"/>
                  </a:cubicBezTo>
                  <a:cubicBezTo>
                    <a:pt x="85106" y="82402"/>
                    <a:pt x="89361" y="81618"/>
                    <a:pt x="89361" y="81462"/>
                  </a:cubicBezTo>
                  <a:cubicBezTo>
                    <a:pt x="89787" y="81305"/>
                    <a:pt x="89787" y="81305"/>
                    <a:pt x="89787" y="81148"/>
                  </a:cubicBezTo>
                  <a:cubicBezTo>
                    <a:pt x="89787" y="80992"/>
                    <a:pt x="89361" y="80835"/>
                    <a:pt x="88936" y="80992"/>
                  </a:cubicBezTo>
                  <a:cubicBezTo>
                    <a:pt x="88936" y="80992"/>
                    <a:pt x="88510" y="81305"/>
                    <a:pt x="88085" y="81305"/>
                  </a:cubicBezTo>
                  <a:cubicBezTo>
                    <a:pt x="88085" y="81305"/>
                    <a:pt x="87234" y="81305"/>
                    <a:pt x="87234" y="81305"/>
                  </a:cubicBezTo>
                  <a:cubicBezTo>
                    <a:pt x="87234" y="81305"/>
                    <a:pt x="86808" y="80992"/>
                    <a:pt x="87234" y="80835"/>
                  </a:cubicBezTo>
                  <a:cubicBezTo>
                    <a:pt x="87659" y="80678"/>
                    <a:pt x="87234" y="80678"/>
                    <a:pt x="88085" y="80522"/>
                  </a:cubicBezTo>
                  <a:cubicBezTo>
                    <a:pt x="88510" y="80365"/>
                    <a:pt x="88936" y="80365"/>
                    <a:pt x="89361" y="80365"/>
                  </a:cubicBezTo>
                  <a:cubicBezTo>
                    <a:pt x="89361" y="80208"/>
                    <a:pt x="89787" y="80052"/>
                    <a:pt x="90212" y="80052"/>
                  </a:cubicBezTo>
                  <a:cubicBezTo>
                    <a:pt x="90638" y="80052"/>
                    <a:pt x="92765" y="79582"/>
                    <a:pt x="92765" y="79582"/>
                  </a:cubicBezTo>
                  <a:cubicBezTo>
                    <a:pt x="93191" y="79268"/>
                    <a:pt x="93191" y="79268"/>
                    <a:pt x="93191" y="79268"/>
                  </a:cubicBezTo>
                  <a:cubicBezTo>
                    <a:pt x="93191" y="79268"/>
                    <a:pt x="91914" y="78798"/>
                    <a:pt x="91914" y="78798"/>
                  </a:cubicBezTo>
                  <a:cubicBezTo>
                    <a:pt x="91914" y="78798"/>
                    <a:pt x="89787" y="78172"/>
                    <a:pt x="89787" y="78172"/>
                  </a:cubicBezTo>
                  <a:cubicBezTo>
                    <a:pt x="89787" y="78172"/>
                    <a:pt x="88936" y="78172"/>
                    <a:pt x="88936" y="78015"/>
                  </a:cubicBezTo>
                  <a:cubicBezTo>
                    <a:pt x="88936" y="78015"/>
                    <a:pt x="88085" y="77702"/>
                    <a:pt x="88085" y="77702"/>
                  </a:cubicBezTo>
                  <a:cubicBezTo>
                    <a:pt x="87234" y="76919"/>
                    <a:pt x="86382" y="77545"/>
                    <a:pt x="84680" y="77232"/>
                  </a:cubicBezTo>
                  <a:cubicBezTo>
                    <a:pt x="84680" y="77232"/>
                    <a:pt x="83829" y="76605"/>
                    <a:pt x="83829" y="76605"/>
                  </a:cubicBezTo>
                  <a:cubicBezTo>
                    <a:pt x="83829" y="76605"/>
                    <a:pt x="84680" y="76605"/>
                    <a:pt x="84680" y="76449"/>
                  </a:cubicBezTo>
                  <a:cubicBezTo>
                    <a:pt x="84680" y="76135"/>
                    <a:pt x="83829" y="75822"/>
                    <a:pt x="83829" y="75822"/>
                  </a:cubicBezTo>
                  <a:cubicBezTo>
                    <a:pt x="82978" y="75509"/>
                    <a:pt x="82978" y="75509"/>
                    <a:pt x="82978" y="75509"/>
                  </a:cubicBezTo>
                  <a:cubicBezTo>
                    <a:pt x="81276" y="74882"/>
                    <a:pt x="81702" y="76292"/>
                    <a:pt x="80425" y="75039"/>
                  </a:cubicBezTo>
                  <a:cubicBezTo>
                    <a:pt x="80425" y="75039"/>
                    <a:pt x="80000" y="75039"/>
                    <a:pt x="79574" y="74725"/>
                  </a:cubicBezTo>
                  <a:cubicBezTo>
                    <a:pt x="79148" y="74569"/>
                    <a:pt x="77872" y="74099"/>
                    <a:pt x="77872" y="74099"/>
                  </a:cubicBezTo>
                  <a:cubicBezTo>
                    <a:pt x="77872" y="74099"/>
                    <a:pt x="77446" y="73629"/>
                    <a:pt x="77446" y="73629"/>
                  </a:cubicBezTo>
                  <a:cubicBezTo>
                    <a:pt x="77021" y="73629"/>
                    <a:pt x="76595" y="73159"/>
                    <a:pt x="76595" y="73159"/>
                  </a:cubicBezTo>
                  <a:cubicBezTo>
                    <a:pt x="74468" y="73629"/>
                    <a:pt x="74468" y="73629"/>
                    <a:pt x="74468" y="73629"/>
                  </a:cubicBezTo>
                  <a:cubicBezTo>
                    <a:pt x="73191" y="74099"/>
                    <a:pt x="73191" y="74099"/>
                    <a:pt x="73191" y="74099"/>
                  </a:cubicBezTo>
                  <a:cubicBezTo>
                    <a:pt x="73191" y="74099"/>
                    <a:pt x="72765" y="73785"/>
                    <a:pt x="72765" y="73785"/>
                  </a:cubicBezTo>
                  <a:cubicBezTo>
                    <a:pt x="72765" y="73785"/>
                    <a:pt x="72765" y="73159"/>
                    <a:pt x="72765" y="73159"/>
                  </a:cubicBezTo>
                  <a:cubicBezTo>
                    <a:pt x="72765" y="73159"/>
                    <a:pt x="71489" y="73002"/>
                    <a:pt x="71063" y="73002"/>
                  </a:cubicBezTo>
                  <a:cubicBezTo>
                    <a:pt x="71063" y="73002"/>
                    <a:pt x="69787" y="73002"/>
                    <a:pt x="69787" y="73002"/>
                  </a:cubicBezTo>
                  <a:cubicBezTo>
                    <a:pt x="68085" y="72845"/>
                    <a:pt x="68085" y="72845"/>
                    <a:pt x="68085" y="72845"/>
                  </a:cubicBezTo>
                  <a:cubicBezTo>
                    <a:pt x="68085" y="72375"/>
                    <a:pt x="68085" y="72375"/>
                    <a:pt x="68085" y="72375"/>
                  </a:cubicBezTo>
                  <a:cubicBezTo>
                    <a:pt x="68085" y="72375"/>
                    <a:pt x="68936" y="72062"/>
                    <a:pt x="68510" y="71906"/>
                  </a:cubicBezTo>
                  <a:cubicBezTo>
                    <a:pt x="68510" y="71749"/>
                    <a:pt x="67234" y="71436"/>
                    <a:pt x="67234" y="71436"/>
                  </a:cubicBezTo>
                  <a:cubicBezTo>
                    <a:pt x="67234" y="71122"/>
                    <a:pt x="67234" y="71122"/>
                    <a:pt x="67234" y="71122"/>
                  </a:cubicBezTo>
                  <a:cubicBezTo>
                    <a:pt x="65957" y="70496"/>
                    <a:pt x="65957" y="70496"/>
                    <a:pt x="65957" y="70496"/>
                  </a:cubicBezTo>
                  <a:cubicBezTo>
                    <a:pt x="65957" y="70496"/>
                    <a:pt x="66808" y="70026"/>
                    <a:pt x="66808" y="70026"/>
                  </a:cubicBezTo>
                  <a:cubicBezTo>
                    <a:pt x="66808" y="69869"/>
                    <a:pt x="65106" y="68459"/>
                    <a:pt x="65106" y="68459"/>
                  </a:cubicBezTo>
                  <a:cubicBezTo>
                    <a:pt x="65106" y="68459"/>
                    <a:pt x="65957" y="67832"/>
                    <a:pt x="65957" y="67676"/>
                  </a:cubicBezTo>
                  <a:cubicBezTo>
                    <a:pt x="65957" y="67676"/>
                    <a:pt x="65106" y="67049"/>
                    <a:pt x="65106" y="67049"/>
                  </a:cubicBezTo>
                  <a:cubicBezTo>
                    <a:pt x="64255" y="67049"/>
                    <a:pt x="64255" y="67049"/>
                    <a:pt x="64255" y="67049"/>
                  </a:cubicBezTo>
                  <a:cubicBezTo>
                    <a:pt x="64255" y="66422"/>
                    <a:pt x="64255" y="66422"/>
                    <a:pt x="64255" y="66422"/>
                  </a:cubicBezTo>
                  <a:cubicBezTo>
                    <a:pt x="64680" y="65953"/>
                    <a:pt x="64680" y="65953"/>
                    <a:pt x="64680" y="65953"/>
                  </a:cubicBezTo>
                  <a:cubicBezTo>
                    <a:pt x="63829" y="65639"/>
                    <a:pt x="63829" y="65639"/>
                    <a:pt x="63829" y="65639"/>
                  </a:cubicBezTo>
                  <a:cubicBezTo>
                    <a:pt x="63829" y="65639"/>
                    <a:pt x="64255" y="65326"/>
                    <a:pt x="64680" y="65326"/>
                  </a:cubicBezTo>
                  <a:cubicBezTo>
                    <a:pt x="64680" y="65326"/>
                    <a:pt x="64680" y="64699"/>
                    <a:pt x="64680" y="64699"/>
                  </a:cubicBezTo>
                  <a:cubicBezTo>
                    <a:pt x="64680" y="64699"/>
                    <a:pt x="65106" y="64386"/>
                    <a:pt x="65531" y="64386"/>
                  </a:cubicBezTo>
                  <a:cubicBezTo>
                    <a:pt x="65531" y="64386"/>
                    <a:pt x="66808" y="64699"/>
                    <a:pt x="66808" y="64699"/>
                  </a:cubicBezTo>
                  <a:cubicBezTo>
                    <a:pt x="66808" y="64699"/>
                    <a:pt x="68085" y="64856"/>
                    <a:pt x="68085" y="64699"/>
                  </a:cubicBezTo>
                  <a:cubicBezTo>
                    <a:pt x="68085" y="64699"/>
                    <a:pt x="67659" y="64229"/>
                    <a:pt x="67659" y="64229"/>
                  </a:cubicBezTo>
                  <a:cubicBezTo>
                    <a:pt x="67659" y="64073"/>
                    <a:pt x="66808" y="63759"/>
                    <a:pt x="66808" y="63759"/>
                  </a:cubicBezTo>
                  <a:cubicBezTo>
                    <a:pt x="66382" y="63603"/>
                    <a:pt x="66382" y="62819"/>
                    <a:pt x="66382" y="62819"/>
                  </a:cubicBezTo>
                  <a:cubicBezTo>
                    <a:pt x="66382" y="62819"/>
                    <a:pt x="65531" y="62193"/>
                    <a:pt x="65957" y="62193"/>
                  </a:cubicBezTo>
                  <a:cubicBezTo>
                    <a:pt x="65957" y="62193"/>
                    <a:pt x="66382" y="61879"/>
                    <a:pt x="66382" y="61879"/>
                  </a:cubicBezTo>
                  <a:cubicBezTo>
                    <a:pt x="66808" y="60783"/>
                    <a:pt x="66808" y="60783"/>
                    <a:pt x="66808" y="60783"/>
                  </a:cubicBezTo>
                  <a:cubicBezTo>
                    <a:pt x="67234" y="59843"/>
                    <a:pt x="67234" y="59843"/>
                    <a:pt x="67234" y="59843"/>
                  </a:cubicBezTo>
                  <a:cubicBezTo>
                    <a:pt x="65957" y="59373"/>
                    <a:pt x="65957" y="59373"/>
                    <a:pt x="65957" y="59373"/>
                  </a:cubicBezTo>
                  <a:cubicBezTo>
                    <a:pt x="65531" y="59060"/>
                    <a:pt x="65531" y="59060"/>
                    <a:pt x="65531" y="59060"/>
                  </a:cubicBezTo>
                  <a:cubicBezTo>
                    <a:pt x="64680" y="58746"/>
                    <a:pt x="64680" y="58746"/>
                    <a:pt x="64680" y="58746"/>
                  </a:cubicBezTo>
                  <a:cubicBezTo>
                    <a:pt x="65531" y="57806"/>
                    <a:pt x="65531" y="57806"/>
                    <a:pt x="65531" y="57806"/>
                  </a:cubicBezTo>
                  <a:cubicBezTo>
                    <a:pt x="67234" y="57806"/>
                    <a:pt x="67234" y="57806"/>
                    <a:pt x="67234" y="57806"/>
                  </a:cubicBezTo>
                  <a:cubicBezTo>
                    <a:pt x="68085" y="57336"/>
                    <a:pt x="68085" y="57336"/>
                    <a:pt x="68085" y="57336"/>
                  </a:cubicBezTo>
                  <a:cubicBezTo>
                    <a:pt x="68085" y="57336"/>
                    <a:pt x="69361" y="57023"/>
                    <a:pt x="69361" y="56866"/>
                  </a:cubicBezTo>
                  <a:cubicBezTo>
                    <a:pt x="69361" y="56866"/>
                    <a:pt x="69787" y="56240"/>
                    <a:pt x="69787" y="56240"/>
                  </a:cubicBezTo>
                  <a:cubicBezTo>
                    <a:pt x="69361" y="55770"/>
                    <a:pt x="69361" y="55770"/>
                    <a:pt x="69361" y="55770"/>
                  </a:cubicBezTo>
                  <a:cubicBezTo>
                    <a:pt x="70212" y="55926"/>
                    <a:pt x="70212" y="55926"/>
                    <a:pt x="70212" y="55926"/>
                  </a:cubicBezTo>
                  <a:cubicBezTo>
                    <a:pt x="70212" y="55456"/>
                    <a:pt x="70212" y="55456"/>
                    <a:pt x="70212" y="55456"/>
                  </a:cubicBezTo>
                  <a:cubicBezTo>
                    <a:pt x="70212" y="55456"/>
                    <a:pt x="70638" y="54986"/>
                    <a:pt x="70638" y="54986"/>
                  </a:cubicBezTo>
                  <a:cubicBezTo>
                    <a:pt x="71063" y="54986"/>
                    <a:pt x="71489" y="54830"/>
                    <a:pt x="71489" y="54830"/>
                  </a:cubicBezTo>
                  <a:cubicBezTo>
                    <a:pt x="71489" y="54830"/>
                    <a:pt x="72340" y="54203"/>
                    <a:pt x="72340" y="54203"/>
                  </a:cubicBezTo>
                  <a:cubicBezTo>
                    <a:pt x="72340" y="54203"/>
                    <a:pt x="72765" y="54360"/>
                    <a:pt x="73191" y="54203"/>
                  </a:cubicBezTo>
                  <a:cubicBezTo>
                    <a:pt x="73617" y="54046"/>
                    <a:pt x="73617" y="54046"/>
                    <a:pt x="73617" y="53890"/>
                  </a:cubicBezTo>
                  <a:cubicBezTo>
                    <a:pt x="74042" y="53577"/>
                    <a:pt x="74893" y="52950"/>
                    <a:pt x="74893" y="52950"/>
                  </a:cubicBezTo>
                  <a:cubicBezTo>
                    <a:pt x="74893" y="52950"/>
                    <a:pt x="74893" y="52793"/>
                    <a:pt x="74893" y="52637"/>
                  </a:cubicBezTo>
                  <a:cubicBezTo>
                    <a:pt x="75319" y="52637"/>
                    <a:pt x="76170" y="52637"/>
                    <a:pt x="76170" y="52480"/>
                  </a:cubicBezTo>
                  <a:cubicBezTo>
                    <a:pt x="75744" y="52323"/>
                    <a:pt x="74893" y="51853"/>
                    <a:pt x="74893" y="51853"/>
                  </a:cubicBezTo>
                  <a:cubicBezTo>
                    <a:pt x="76170" y="51383"/>
                    <a:pt x="76170" y="51383"/>
                    <a:pt x="76170" y="51383"/>
                  </a:cubicBezTo>
                  <a:cubicBezTo>
                    <a:pt x="76170" y="51383"/>
                    <a:pt x="77446" y="50913"/>
                    <a:pt x="77446" y="50913"/>
                  </a:cubicBezTo>
                  <a:cubicBezTo>
                    <a:pt x="77446" y="51070"/>
                    <a:pt x="77872" y="51070"/>
                    <a:pt x="78297" y="50913"/>
                  </a:cubicBezTo>
                  <a:cubicBezTo>
                    <a:pt x="78297" y="50913"/>
                    <a:pt x="78723" y="50757"/>
                    <a:pt x="79148" y="50600"/>
                  </a:cubicBezTo>
                  <a:cubicBezTo>
                    <a:pt x="79148" y="50600"/>
                    <a:pt x="79574" y="50443"/>
                    <a:pt x="80000" y="50443"/>
                  </a:cubicBezTo>
                  <a:cubicBezTo>
                    <a:pt x="80000" y="50287"/>
                    <a:pt x="80425" y="49973"/>
                    <a:pt x="80425" y="49817"/>
                  </a:cubicBezTo>
                  <a:cubicBezTo>
                    <a:pt x="80425" y="49817"/>
                    <a:pt x="81276" y="49033"/>
                    <a:pt x="81276" y="49033"/>
                  </a:cubicBezTo>
                  <a:cubicBezTo>
                    <a:pt x="81276" y="48563"/>
                    <a:pt x="81276" y="48563"/>
                    <a:pt x="81276" y="48563"/>
                  </a:cubicBezTo>
                  <a:cubicBezTo>
                    <a:pt x="81702" y="48407"/>
                    <a:pt x="81702" y="48407"/>
                    <a:pt x="81702" y="48407"/>
                  </a:cubicBezTo>
                  <a:cubicBezTo>
                    <a:pt x="82553" y="48093"/>
                    <a:pt x="82553" y="48093"/>
                    <a:pt x="82553" y="48093"/>
                  </a:cubicBezTo>
                  <a:cubicBezTo>
                    <a:pt x="82553" y="48093"/>
                    <a:pt x="83404" y="47937"/>
                    <a:pt x="83404" y="48093"/>
                  </a:cubicBezTo>
                  <a:cubicBezTo>
                    <a:pt x="83404" y="48093"/>
                    <a:pt x="82978" y="48407"/>
                    <a:pt x="82978" y="48407"/>
                  </a:cubicBezTo>
                  <a:cubicBezTo>
                    <a:pt x="84255" y="48407"/>
                    <a:pt x="84255" y="48407"/>
                    <a:pt x="84255" y="48407"/>
                  </a:cubicBezTo>
                  <a:cubicBezTo>
                    <a:pt x="84255" y="48407"/>
                    <a:pt x="84255" y="48093"/>
                    <a:pt x="84255" y="48250"/>
                  </a:cubicBezTo>
                  <a:cubicBezTo>
                    <a:pt x="84680" y="48250"/>
                    <a:pt x="85106" y="48407"/>
                    <a:pt x="85106" y="48407"/>
                  </a:cubicBezTo>
                  <a:cubicBezTo>
                    <a:pt x="85106" y="48250"/>
                    <a:pt x="85531" y="47937"/>
                    <a:pt x="85531" y="47937"/>
                  </a:cubicBezTo>
                  <a:cubicBezTo>
                    <a:pt x="85531" y="47467"/>
                    <a:pt x="85531" y="47467"/>
                    <a:pt x="85531" y="47467"/>
                  </a:cubicBezTo>
                  <a:cubicBezTo>
                    <a:pt x="85531" y="47467"/>
                    <a:pt x="86382" y="47154"/>
                    <a:pt x="86808" y="46997"/>
                  </a:cubicBezTo>
                  <a:cubicBezTo>
                    <a:pt x="86808" y="46840"/>
                    <a:pt x="88085" y="46370"/>
                    <a:pt x="88085" y="46370"/>
                  </a:cubicBezTo>
                  <a:cubicBezTo>
                    <a:pt x="89361" y="46214"/>
                    <a:pt x="89361" y="46214"/>
                    <a:pt x="89361" y="46214"/>
                  </a:cubicBezTo>
                  <a:cubicBezTo>
                    <a:pt x="89361" y="46214"/>
                    <a:pt x="89787" y="46057"/>
                    <a:pt x="90212" y="46057"/>
                  </a:cubicBezTo>
                  <a:cubicBezTo>
                    <a:pt x="90212" y="46057"/>
                    <a:pt x="91489" y="45430"/>
                    <a:pt x="91489" y="45430"/>
                  </a:cubicBezTo>
                  <a:cubicBezTo>
                    <a:pt x="91489" y="45430"/>
                    <a:pt x="91489" y="45274"/>
                    <a:pt x="91914" y="45117"/>
                  </a:cubicBezTo>
                  <a:cubicBezTo>
                    <a:pt x="91914" y="44960"/>
                    <a:pt x="92765" y="44960"/>
                    <a:pt x="92765" y="44804"/>
                  </a:cubicBezTo>
                  <a:cubicBezTo>
                    <a:pt x="93191" y="44804"/>
                    <a:pt x="94042" y="44020"/>
                    <a:pt x="94042" y="44020"/>
                  </a:cubicBezTo>
                  <a:cubicBezTo>
                    <a:pt x="94042" y="44020"/>
                    <a:pt x="94468" y="44020"/>
                    <a:pt x="94468" y="43864"/>
                  </a:cubicBezTo>
                  <a:cubicBezTo>
                    <a:pt x="94468" y="43550"/>
                    <a:pt x="94893" y="43237"/>
                    <a:pt x="94893" y="43237"/>
                  </a:cubicBezTo>
                  <a:cubicBezTo>
                    <a:pt x="95744" y="42610"/>
                    <a:pt x="95744" y="42610"/>
                    <a:pt x="95744" y="42610"/>
                  </a:cubicBezTo>
                  <a:cubicBezTo>
                    <a:pt x="95744" y="41671"/>
                    <a:pt x="95744" y="41671"/>
                    <a:pt x="95744" y="41671"/>
                  </a:cubicBezTo>
                  <a:cubicBezTo>
                    <a:pt x="96595" y="40887"/>
                    <a:pt x="96595" y="40887"/>
                    <a:pt x="96595" y="40887"/>
                  </a:cubicBezTo>
                  <a:cubicBezTo>
                    <a:pt x="96595" y="40887"/>
                    <a:pt x="97021" y="40731"/>
                    <a:pt x="97021" y="40574"/>
                  </a:cubicBezTo>
                  <a:cubicBezTo>
                    <a:pt x="97446" y="40574"/>
                    <a:pt x="97872" y="40104"/>
                    <a:pt x="97872" y="40104"/>
                  </a:cubicBezTo>
                  <a:cubicBezTo>
                    <a:pt x="97872" y="40104"/>
                    <a:pt x="99148" y="39477"/>
                    <a:pt x="99148" y="39477"/>
                  </a:cubicBezTo>
                  <a:cubicBezTo>
                    <a:pt x="99148" y="39477"/>
                    <a:pt x="99574" y="39007"/>
                    <a:pt x="99574" y="38851"/>
                  </a:cubicBezTo>
                  <a:cubicBezTo>
                    <a:pt x="100000" y="38851"/>
                    <a:pt x="100000" y="38851"/>
                    <a:pt x="100000" y="38851"/>
                  </a:cubicBezTo>
                  <a:cubicBezTo>
                    <a:pt x="100000" y="38381"/>
                    <a:pt x="100000" y="38381"/>
                    <a:pt x="100000" y="38381"/>
                  </a:cubicBezTo>
                  <a:cubicBezTo>
                    <a:pt x="99148" y="37754"/>
                    <a:pt x="99148" y="37754"/>
                    <a:pt x="99148" y="37754"/>
                  </a:cubicBezTo>
                  <a:cubicBezTo>
                    <a:pt x="97446" y="37284"/>
                    <a:pt x="97446" y="37284"/>
                    <a:pt x="97446" y="37284"/>
                  </a:cubicBezTo>
                  <a:cubicBezTo>
                    <a:pt x="96170" y="37284"/>
                    <a:pt x="96170" y="37284"/>
                    <a:pt x="96170" y="37284"/>
                  </a:cubicBezTo>
                  <a:cubicBezTo>
                    <a:pt x="95319" y="36971"/>
                    <a:pt x="95319" y="36971"/>
                    <a:pt x="95319" y="36971"/>
                  </a:cubicBezTo>
                  <a:cubicBezTo>
                    <a:pt x="95744" y="36657"/>
                    <a:pt x="95744" y="36657"/>
                    <a:pt x="95744" y="36657"/>
                  </a:cubicBezTo>
                  <a:cubicBezTo>
                    <a:pt x="94893" y="36187"/>
                    <a:pt x="94893" y="36187"/>
                    <a:pt x="94893" y="36187"/>
                  </a:cubicBezTo>
                  <a:cubicBezTo>
                    <a:pt x="94468" y="35874"/>
                    <a:pt x="94468" y="35874"/>
                    <a:pt x="94468" y="35874"/>
                  </a:cubicBezTo>
                  <a:cubicBezTo>
                    <a:pt x="93617" y="35561"/>
                    <a:pt x="93617" y="35561"/>
                    <a:pt x="93617" y="35561"/>
                  </a:cubicBezTo>
                  <a:cubicBezTo>
                    <a:pt x="93617" y="35561"/>
                    <a:pt x="94468" y="35091"/>
                    <a:pt x="94468" y="35091"/>
                  </a:cubicBezTo>
                  <a:cubicBezTo>
                    <a:pt x="94468" y="35091"/>
                    <a:pt x="94893" y="34934"/>
                    <a:pt x="94893" y="34778"/>
                  </a:cubicBezTo>
                  <a:cubicBezTo>
                    <a:pt x="94893" y="34778"/>
                    <a:pt x="95744" y="34308"/>
                    <a:pt x="95744" y="34308"/>
                  </a:cubicBezTo>
                  <a:cubicBezTo>
                    <a:pt x="95744" y="34308"/>
                    <a:pt x="96595" y="33838"/>
                    <a:pt x="96595" y="33838"/>
                  </a:cubicBezTo>
                  <a:cubicBezTo>
                    <a:pt x="96595" y="33838"/>
                    <a:pt x="97021" y="33681"/>
                    <a:pt x="97021" y="33524"/>
                  </a:cubicBezTo>
                  <a:cubicBezTo>
                    <a:pt x="97021" y="33368"/>
                    <a:pt x="96595" y="32741"/>
                    <a:pt x="96595" y="32741"/>
                  </a:cubicBezTo>
                  <a:cubicBezTo>
                    <a:pt x="96595" y="32741"/>
                    <a:pt x="96595" y="32271"/>
                    <a:pt x="97021" y="32271"/>
                  </a:cubicBezTo>
                  <a:cubicBezTo>
                    <a:pt x="97021" y="32114"/>
                    <a:pt x="97446" y="31958"/>
                    <a:pt x="97446" y="31958"/>
                  </a:cubicBezTo>
                  <a:cubicBezTo>
                    <a:pt x="97446" y="31958"/>
                    <a:pt x="97872" y="31958"/>
                    <a:pt x="98297" y="32114"/>
                  </a:cubicBezTo>
                  <a:cubicBezTo>
                    <a:pt x="98723" y="32114"/>
                    <a:pt x="98723" y="31801"/>
                    <a:pt x="98723" y="31801"/>
                  </a:cubicBezTo>
                  <a:cubicBezTo>
                    <a:pt x="98723" y="31801"/>
                    <a:pt x="98723" y="31331"/>
                    <a:pt x="98297" y="31331"/>
                  </a:cubicBezTo>
                  <a:cubicBezTo>
                    <a:pt x="97872" y="31331"/>
                    <a:pt x="97446" y="31018"/>
                    <a:pt x="97446" y="31018"/>
                  </a:cubicBezTo>
                  <a:cubicBezTo>
                    <a:pt x="97446" y="31018"/>
                    <a:pt x="97872" y="30861"/>
                    <a:pt x="97872" y="30861"/>
                  </a:cubicBezTo>
                  <a:cubicBezTo>
                    <a:pt x="97872" y="30704"/>
                    <a:pt x="98723" y="30548"/>
                    <a:pt x="98723" y="30548"/>
                  </a:cubicBezTo>
                  <a:cubicBezTo>
                    <a:pt x="100000" y="30391"/>
                    <a:pt x="100000" y="30391"/>
                    <a:pt x="100000" y="30391"/>
                  </a:cubicBezTo>
                  <a:cubicBezTo>
                    <a:pt x="99574" y="29921"/>
                    <a:pt x="99574" y="29921"/>
                    <a:pt x="99574" y="29921"/>
                  </a:cubicBezTo>
                  <a:cubicBezTo>
                    <a:pt x="99574" y="29451"/>
                    <a:pt x="99574" y="29451"/>
                    <a:pt x="99574" y="29451"/>
                  </a:cubicBezTo>
                  <a:cubicBezTo>
                    <a:pt x="99574" y="29451"/>
                    <a:pt x="101276" y="29608"/>
                    <a:pt x="101276" y="29608"/>
                  </a:cubicBezTo>
                  <a:cubicBezTo>
                    <a:pt x="101276" y="29765"/>
                    <a:pt x="101702" y="30078"/>
                    <a:pt x="102127" y="30078"/>
                  </a:cubicBezTo>
                  <a:cubicBezTo>
                    <a:pt x="102127" y="29921"/>
                    <a:pt x="102127" y="29608"/>
                    <a:pt x="102127" y="29608"/>
                  </a:cubicBezTo>
                  <a:cubicBezTo>
                    <a:pt x="102127" y="29608"/>
                    <a:pt x="102553" y="29138"/>
                    <a:pt x="102978" y="29295"/>
                  </a:cubicBezTo>
                  <a:cubicBezTo>
                    <a:pt x="103829" y="29451"/>
                    <a:pt x="104255" y="29138"/>
                    <a:pt x="104680" y="29138"/>
                  </a:cubicBezTo>
                  <a:cubicBezTo>
                    <a:pt x="104680" y="28981"/>
                    <a:pt x="105106" y="28668"/>
                    <a:pt x="105106" y="28668"/>
                  </a:cubicBezTo>
                  <a:cubicBezTo>
                    <a:pt x="105106" y="28668"/>
                    <a:pt x="105531" y="28198"/>
                    <a:pt x="105106" y="28041"/>
                  </a:cubicBezTo>
                  <a:cubicBezTo>
                    <a:pt x="104680" y="28041"/>
                    <a:pt x="104255" y="28041"/>
                    <a:pt x="104255" y="27885"/>
                  </a:cubicBezTo>
                  <a:cubicBezTo>
                    <a:pt x="104255" y="27885"/>
                    <a:pt x="104680" y="27571"/>
                    <a:pt x="105106" y="27571"/>
                  </a:cubicBezTo>
                  <a:cubicBezTo>
                    <a:pt x="105531" y="27571"/>
                    <a:pt x="105531" y="27571"/>
                    <a:pt x="106382" y="27415"/>
                  </a:cubicBezTo>
                  <a:cubicBezTo>
                    <a:pt x="106808" y="27258"/>
                    <a:pt x="106808" y="27101"/>
                    <a:pt x="106808" y="27101"/>
                  </a:cubicBezTo>
                  <a:cubicBezTo>
                    <a:pt x="106808" y="27101"/>
                    <a:pt x="108085" y="26945"/>
                    <a:pt x="108085" y="26945"/>
                  </a:cubicBezTo>
                  <a:cubicBezTo>
                    <a:pt x="109787" y="26631"/>
                    <a:pt x="109787" y="26631"/>
                    <a:pt x="109787" y="26631"/>
                  </a:cubicBezTo>
                  <a:cubicBezTo>
                    <a:pt x="109787" y="26318"/>
                    <a:pt x="109787" y="26318"/>
                    <a:pt x="109787" y="26318"/>
                  </a:cubicBezTo>
                  <a:cubicBezTo>
                    <a:pt x="109787" y="26318"/>
                    <a:pt x="110638" y="26318"/>
                    <a:pt x="110638" y="26318"/>
                  </a:cubicBezTo>
                  <a:cubicBezTo>
                    <a:pt x="111063" y="26318"/>
                    <a:pt x="111489" y="26475"/>
                    <a:pt x="111489" y="26475"/>
                  </a:cubicBezTo>
                  <a:cubicBezTo>
                    <a:pt x="111489" y="26475"/>
                    <a:pt x="112340" y="26475"/>
                    <a:pt x="112340" y="26475"/>
                  </a:cubicBezTo>
                  <a:cubicBezTo>
                    <a:pt x="112340" y="26318"/>
                    <a:pt x="111914" y="26161"/>
                    <a:pt x="112340" y="26161"/>
                  </a:cubicBezTo>
                  <a:cubicBezTo>
                    <a:pt x="112765" y="26318"/>
                    <a:pt x="112765" y="26318"/>
                    <a:pt x="112765" y="26475"/>
                  </a:cubicBezTo>
                  <a:cubicBezTo>
                    <a:pt x="113191" y="26475"/>
                    <a:pt x="113191" y="26475"/>
                    <a:pt x="113191" y="26475"/>
                  </a:cubicBezTo>
                  <a:cubicBezTo>
                    <a:pt x="113617" y="26475"/>
                    <a:pt x="114042" y="26631"/>
                    <a:pt x="114468" y="26788"/>
                  </a:cubicBezTo>
                  <a:cubicBezTo>
                    <a:pt x="114468" y="26788"/>
                    <a:pt x="114468" y="26945"/>
                    <a:pt x="114468" y="27101"/>
                  </a:cubicBezTo>
                  <a:cubicBezTo>
                    <a:pt x="114468" y="27258"/>
                    <a:pt x="114468" y="27258"/>
                    <a:pt x="114468" y="27415"/>
                  </a:cubicBezTo>
                  <a:cubicBezTo>
                    <a:pt x="114468" y="27571"/>
                    <a:pt x="114468" y="27571"/>
                    <a:pt x="114468" y="27571"/>
                  </a:cubicBezTo>
                  <a:cubicBezTo>
                    <a:pt x="114468" y="27571"/>
                    <a:pt x="115744" y="27885"/>
                    <a:pt x="115744" y="27728"/>
                  </a:cubicBezTo>
                  <a:cubicBezTo>
                    <a:pt x="115744" y="27571"/>
                    <a:pt x="115744" y="27728"/>
                    <a:pt x="115744" y="27415"/>
                  </a:cubicBezTo>
                  <a:cubicBezTo>
                    <a:pt x="115319" y="27258"/>
                    <a:pt x="115744" y="27101"/>
                    <a:pt x="115744" y="26945"/>
                  </a:cubicBezTo>
                  <a:cubicBezTo>
                    <a:pt x="115319" y="26788"/>
                    <a:pt x="114893" y="26475"/>
                    <a:pt x="114893" y="26318"/>
                  </a:cubicBezTo>
                  <a:cubicBezTo>
                    <a:pt x="114893" y="26318"/>
                    <a:pt x="115319" y="26161"/>
                    <a:pt x="115744" y="26161"/>
                  </a:cubicBezTo>
                  <a:cubicBezTo>
                    <a:pt x="116170" y="26161"/>
                    <a:pt x="115744" y="26005"/>
                    <a:pt x="116170" y="26161"/>
                  </a:cubicBezTo>
                  <a:cubicBezTo>
                    <a:pt x="116595" y="26318"/>
                    <a:pt x="116595" y="26475"/>
                    <a:pt x="117021" y="26475"/>
                  </a:cubicBezTo>
                  <a:cubicBezTo>
                    <a:pt x="117446" y="26475"/>
                    <a:pt x="117446" y="26475"/>
                    <a:pt x="117446" y="26475"/>
                  </a:cubicBezTo>
                  <a:cubicBezTo>
                    <a:pt x="117446" y="26631"/>
                    <a:pt x="117872" y="26788"/>
                    <a:pt x="117872" y="26945"/>
                  </a:cubicBezTo>
                  <a:cubicBezTo>
                    <a:pt x="117872" y="27101"/>
                    <a:pt x="117872" y="27101"/>
                    <a:pt x="117872" y="27258"/>
                  </a:cubicBezTo>
                  <a:cubicBezTo>
                    <a:pt x="117872" y="27258"/>
                    <a:pt x="118723" y="27728"/>
                    <a:pt x="118723" y="27728"/>
                  </a:cubicBezTo>
                  <a:cubicBezTo>
                    <a:pt x="118723" y="27728"/>
                    <a:pt x="119574" y="27415"/>
                    <a:pt x="119574" y="27415"/>
                  </a:cubicBezTo>
                  <a:cubicBezTo>
                    <a:pt x="119574" y="27258"/>
                    <a:pt x="119574" y="27101"/>
                    <a:pt x="119574" y="27101"/>
                  </a:cubicBezTo>
                  <a:cubicBezTo>
                    <a:pt x="119574" y="26945"/>
                    <a:pt x="119574" y="26788"/>
                    <a:pt x="119574" y="26788"/>
                  </a:cubicBezTo>
                  <a:cubicBezTo>
                    <a:pt x="119574" y="26631"/>
                    <a:pt x="118297" y="26161"/>
                    <a:pt x="118297" y="26161"/>
                  </a:cubicBezTo>
                  <a:cubicBezTo>
                    <a:pt x="118297" y="26161"/>
                    <a:pt x="118297" y="26005"/>
                    <a:pt x="118723" y="25848"/>
                  </a:cubicBezTo>
                  <a:cubicBezTo>
                    <a:pt x="118723" y="25848"/>
                    <a:pt x="119148" y="25691"/>
                    <a:pt x="120000" y="25535"/>
                  </a:cubicBezTo>
                  <a:cubicBezTo>
                    <a:pt x="117446" y="23498"/>
                    <a:pt x="117446" y="23498"/>
                    <a:pt x="117446" y="23498"/>
                  </a:cubicBezTo>
                  <a:cubicBezTo>
                    <a:pt x="114893" y="23028"/>
                    <a:pt x="114893" y="23028"/>
                    <a:pt x="114893" y="23028"/>
                  </a:cubicBezTo>
                  <a:cubicBezTo>
                    <a:pt x="113191" y="22402"/>
                    <a:pt x="113191" y="22402"/>
                    <a:pt x="113191" y="22402"/>
                  </a:cubicBezTo>
                  <a:cubicBezTo>
                    <a:pt x="113191" y="21618"/>
                    <a:pt x="113191" y="21618"/>
                    <a:pt x="113191" y="21618"/>
                  </a:cubicBezTo>
                  <a:cubicBezTo>
                    <a:pt x="111914" y="20992"/>
                    <a:pt x="111914" y="20992"/>
                    <a:pt x="111914" y="20992"/>
                  </a:cubicBezTo>
                  <a:cubicBezTo>
                    <a:pt x="111914" y="20992"/>
                    <a:pt x="112340" y="20522"/>
                    <a:pt x="112340" y="20365"/>
                  </a:cubicBezTo>
                  <a:cubicBezTo>
                    <a:pt x="112765" y="20208"/>
                    <a:pt x="113617" y="19425"/>
                    <a:pt x="113617" y="19425"/>
                  </a:cubicBezTo>
                  <a:cubicBezTo>
                    <a:pt x="113617" y="19425"/>
                    <a:pt x="113191" y="18798"/>
                    <a:pt x="113191" y="18642"/>
                  </a:cubicBezTo>
                  <a:cubicBezTo>
                    <a:pt x="113191" y="18485"/>
                    <a:pt x="113617" y="17702"/>
                    <a:pt x="113617" y="17702"/>
                  </a:cubicBezTo>
                  <a:cubicBezTo>
                    <a:pt x="113191" y="16919"/>
                    <a:pt x="113191" y="16919"/>
                    <a:pt x="113191" y="16919"/>
                  </a:cubicBezTo>
                  <a:cubicBezTo>
                    <a:pt x="108085" y="14725"/>
                    <a:pt x="108085" y="14725"/>
                    <a:pt x="108085" y="14725"/>
                  </a:cubicBezTo>
                  <a:cubicBezTo>
                    <a:pt x="108510" y="13785"/>
                    <a:pt x="108510" y="13785"/>
                    <a:pt x="108510" y="13785"/>
                  </a:cubicBezTo>
                  <a:cubicBezTo>
                    <a:pt x="108510" y="13785"/>
                    <a:pt x="108510" y="13785"/>
                    <a:pt x="108510" y="13785"/>
                  </a:cubicBezTo>
                  <a:close/>
                  <a:moveTo>
                    <a:pt x="70212" y="111227"/>
                  </a:moveTo>
                  <a:cubicBezTo>
                    <a:pt x="70212" y="111227"/>
                    <a:pt x="70212" y="111227"/>
                    <a:pt x="70212" y="111227"/>
                  </a:cubicBezTo>
                  <a:cubicBezTo>
                    <a:pt x="70638" y="109973"/>
                    <a:pt x="70638" y="109973"/>
                    <a:pt x="70638" y="109973"/>
                  </a:cubicBezTo>
                  <a:cubicBezTo>
                    <a:pt x="70638" y="109973"/>
                    <a:pt x="69787" y="109503"/>
                    <a:pt x="69787" y="109503"/>
                  </a:cubicBezTo>
                  <a:cubicBezTo>
                    <a:pt x="69787" y="109347"/>
                    <a:pt x="69361" y="109033"/>
                    <a:pt x="69361" y="108563"/>
                  </a:cubicBezTo>
                  <a:cubicBezTo>
                    <a:pt x="69787" y="108093"/>
                    <a:pt x="69787" y="107937"/>
                    <a:pt x="70212" y="107624"/>
                  </a:cubicBezTo>
                  <a:cubicBezTo>
                    <a:pt x="70212" y="107310"/>
                    <a:pt x="71063" y="107154"/>
                    <a:pt x="71063" y="106840"/>
                  </a:cubicBezTo>
                  <a:cubicBezTo>
                    <a:pt x="71063" y="106370"/>
                    <a:pt x="71063" y="106214"/>
                    <a:pt x="71489" y="105900"/>
                  </a:cubicBezTo>
                  <a:cubicBezTo>
                    <a:pt x="71489" y="105587"/>
                    <a:pt x="71914" y="105274"/>
                    <a:pt x="72340" y="105274"/>
                  </a:cubicBezTo>
                  <a:cubicBezTo>
                    <a:pt x="72340" y="105117"/>
                    <a:pt x="73191" y="104490"/>
                    <a:pt x="73191" y="104490"/>
                  </a:cubicBezTo>
                  <a:cubicBezTo>
                    <a:pt x="73617" y="103707"/>
                    <a:pt x="73617" y="103707"/>
                    <a:pt x="73617" y="103707"/>
                  </a:cubicBezTo>
                  <a:cubicBezTo>
                    <a:pt x="73617" y="103707"/>
                    <a:pt x="74468" y="102924"/>
                    <a:pt x="74468" y="102767"/>
                  </a:cubicBezTo>
                  <a:cubicBezTo>
                    <a:pt x="74468" y="102610"/>
                    <a:pt x="74042" y="101984"/>
                    <a:pt x="74042" y="101827"/>
                  </a:cubicBezTo>
                  <a:cubicBezTo>
                    <a:pt x="74468" y="101671"/>
                    <a:pt x="75319" y="101357"/>
                    <a:pt x="75319" y="101357"/>
                  </a:cubicBezTo>
                  <a:cubicBezTo>
                    <a:pt x="76595" y="101357"/>
                    <a:pt x="76595" y="101357"/>
                    <a:pt x="76595" y="101357"/>
                  </a:cubicBezTo>
                  <a:cubicBezTo>
                    <a:pt x="76595" y="101357"/>
                    <a:pt x="76595" y="101827"/>
                    <a:pt x="76170" y="101984"/>
                  </a:cubicBezTo>
                  <a:cubicBezTo>
                    <a:pt x="75744" y="101984"/>
                    <a:pt x="75319" y="102140"/>
                    <a:pt x="75319" y="102140"/>
                  </a:cubicBezTo>
                  <a:cubicBezTo>
                    <a:pt x="75319" y="102297"/>
                    <a:pt x="76170" y="102610"/>
                    <a:pt x="76170" y="102610"/>
                  </a:cubicBezTo>
                  <a:cubicBezTo>
                    <a:pt x="76170" y="103237"/>
                    <a:pt x="76170" y="103237"/>
                    <a:pt x="76170" y="103237"/>
                  </a:cubicBezTo>
                  <a:cubicBezTo>
                    <a:pt x="75319" y="103864"/>
                    <a:pt x="75319" y="103864"/>
                    <a:pt x="75319" y="103864"/>
                  </a:cubicBezTo>
                  <a:cubicBezTo>
                    <a:pt x="74468" y="104647"/>
                    <a:pt x="74468" y="104647"/>
                    <a:pt x="74468" y="104647"/>
                  </a:cubicBezTo>
                  <a:cubicBezTo>
                    <a:pt x="74468" y="105430"/>
                    <a:pt x="74468" y="105430"/>
                    <a:pt x="74468" y="105430"/>
                  </a:cubicBezTo>
                  <a:cubicBezTo>
                    <a:pt x="74042" y="105900"/>
                    <a:pt x="74042" y="105900"/>
                    <a:pt x="74042" y="105900"/>
                  </a:cubicBezTo>
                  <a:cubicBezTo>
                    <a:pt x="73617" y="106370"/>
                    <a:pt x="73617" y="106370"/>
                    <a:pt x="73617" y="106370"/>
                  </a:cubicBezTo>
                  <a:cubicBezTo>
                    <a:pt x="72765" y="107310"/>
                    <a:pt x="72765" y="107310"/>
                    <a:pt x="72765" y="107310"/>
                  </a:cubicBezTo>
                  <a:cubicBezTo>
                    <a:pt x="73191" y="108093"/>
                    <a:pt x="73191" y="108093"/>
                    <a:pt x="73191" y="108093"/>
                  </a:cubicBezTo>
                  <a:cubicBezTo>
                    <a:pt x="71914" y="109033"/>
                    <a:pt x="71914" y="109033"/>
                    <a:pt x="71914" y="109033"/>
                  </a:cubicBezTo>
                  <a:cubicBezTo>
                    <a:pt x="71914" y="109033"/>
                    <a:pt x="71914" y="109503"/>
                    <a:pt x="71914" y="109660"/>
                  </a:cubicBezTo>
                  <a:cubicBezTo>
                    <a:pt x="71914" y="109817"/>
                    <a:pt x="71914" y="110757"/>
                    <a:pt x="71914" y="110757"/>
                  </a:cubicBezTo>
                  <a:cubicBezTo>
                    <a:pt x="71914" y="110757"/>
                    <a:pt x="71914" y="111227"/>
                    <a:pt x="71489" y="111227"/>
                  </a:cubicBezTo>
                  <a:cubicBezTo>
                    <a:pt x="71063" y="111227"/>
                    <a:pt x="70212" y="111227"/>
                    <a:pt x="70212" y="111227"/>
                  </a:cubicBezTo>
                  <a:close/>
                  <a:moveTo>
                    <a:pt x="87659" y="101671"/>
                  </a:moveTo>
                  <a:cubicBezTo>
                    <a:pt x="87659" y="101671"/>
                    <a:pt x="87659" y="101671"/>
                    <a:pt x="87659" y="101671"/>
                  </a:cubicBezTo>
                  <a:cubicBezTo>
                    <a:pt x="87234" y="101357"/>
                    <a:pt x="87234" y="101357"/>
                    <a:pt x="87234" y="101357"/>
                  </a:cubicBezTo>
                  <a:cubicBezTo>
                    <a:pt x="88510" y="101201"/>
                    <a:pt x="88510" y="101201"/>
                    <a:pt x="88510" y="101201"/>
                  </a:cubicBezTo>
                  <a:cubicBezTo>
                    <a:pt x="88510" y="101201"/>
                    <a:pt x="88085" y="100574"/>
                    <a:pt x="88085" y="100417"/>
                  </a:cubicBezTo>
                  <a:cubicBezTo>
                    <a:pt x="88085" y="100261"/>
                    <a:pt x="87659" y="100417"/>
                    <a:pt x="87234" y="100104"/>
                  </a:cubicBezTo>
                  <a:cubicBezTo>
                    <a:pt x="86808" y="99947"/>
                    <a:pt x="86808" y="99477"/>
                    <a:pt x="86808" y="99477"/>
                  </a:cubicBezTo>
                  <a:cubicBezTo>
                    <a:pt x="86808" y="99321"/>
                    <a:pt x="87234" y="98851"/>
                    <a:pt x="87234" y="98851"/>
                  </a:cubicBezTo>
                  <a:cubicBezTo>
                    <a:pt x="87234" y="98851"/>
                    <a:pt x="88510" y="98224"/>
                    <a:pt x="89361" y="97911"/>
                  </a:cubicBezTo>
                  <a:cubicBezTo>
                    <a:pt x="90638" y="97441"/>
                    <a:pt x="90212" y="97441"/>
                    <a:pt x="90212" y="97127"/>
                  </a:cubicBezTo>
                  <a:cubicBezTo>
                    <a:pt x="89787" y="96971"/>
                    <a:pt x="90638" y="96814"/>
                    <a:pt x="90638" y="96814"/>
                  </a:cubicBezTo>
                  <a:cubicBezTo>
                    <a:pt x="91914" y="96344"/>
                    <a:pt x="91914" y="96344"/>
                    <a:pt x="91914" y="96344"/>
                  </a:cubicBezTo>
                  <a:cubicBezTo>
                    <a:pt x="92765" y="95561"/>
                    <a:pt x="92765" y="95561"/>
                    <a:pt x="92765" y="95561"/>
                  </a:cubicBezTo>
                  <a:cubicBezTo>
                    <a:pt x="92765" y="95561"/>
                    <a:pt x="94042" y="96031"/>
                    <a:pt x="94042" y="96031"/>
                  </a:cubicBezTo>
                  <a:cubicBezTo>
                    <a:pt x="94468" y="96031"/>
                    <a:pt x="94468" y="95874"/>
                    <a:pt x="94468" y="95718"/>
                  </a:cubicBezTo>
                  <a:cubicBezTo>
                    <a:pt x="94468" y="95561"/>
                    <a:pt x="95319" y="95561"/>
                    <a:pt x="95319" y="95561"/>
                  </a:cubicBezTo>
                  <a:cubicBezTo>
                    <a:pt x="95744" y="95561"/>
                    <a:pt x="97021" y="95404"/>
                    <a:pt x="97021" y="95404"/>
                  </a:cubicBezTo>
                  <a:cubicBezTo>
                    <a:pt x="97446" y="95091"/>
                    <a:pt x="97446" y="95091"/>
                    <a:pt x="97446" y="95091"/>
                  </a:cubicBezTo>
                  <a:cubicBezTo>
                    <a:pt x="97446" y="95091"/>
                    <a:pt x="99148" y="94934"/>
                    <a:pt x="100000" y="95091"/>
                  </a:cubicBezTo>
                  <a:cubicBezTo>
                    <a:pt x="100425" y="95248"/>
                    <a:pt x="99574" y="95248"/>
                    <a:pt x="99574" y="95404"/>
                  </a:cubicBezTo>
                  <a:cubicBezTo>
                    <a:pt x="99574" y="95561"/>
                    <a:pt x="99574" y="95561"/>
                    <a:pt x="99574" y="95718"/>
                  </a:cubicBezTo>
                  <a:cubicBezTo>
                    <a:pt x="99574" y="95874"/>
                    <a:pt x="99148" y="96031"/>
                    <a:pt x="97872" y="96031"/>
                  </a:cubicBezTo>
                  <a:cubicBezTo>
                    <a:pt x="96595" y="96187"/>
                    <a:pt x="97446" y="96501"/>
                    <a:pt x="97446" y="96501"/>
                  </a:cubicBezTo>
                  <a:cubicBezTo>
                    <a:pt x="97446" y="96501"/>
                    <a:pt x="97446" y="97127"/>
                    <a:pt x="97446" y="97127"/>
                  </a:cubicBezTo>
                  <a:cubicBezTo>
                    <a:pt x="97021" y="97284"/>
                    <a:pt x="96170" y="97597"/>
                    <a:pt x="95319" y="97597"/>
                  </a:cubicBezTo>
                  <a:cubicBezTo>
                    <a:pt x="94893" y="97754"/>
                    <a:pt x="94893" y="98067"/>
                    <a:pt x="94893" y="98067"/>
                  </a:cubicBezTo>
                  <a:cubicBezTo>
                    <a:pt x="94893" y="98224"/>
                    <a:pt x="95319" y="98537"/>
                    <a:pt x="95319" y="98851"/>
                  </a:cubicBezTo>
                  <a:cubicBezTo>
                    <a:pt x="95319" y="99007"/>
                    <a:pt x="95319" y="99007"/>
                    <a:pt x="95744" y="99321"/>
                  </a:cubicBezTo>
                  <a:cubicBezTo>
                    <a:pt x="95744" y="99477"/>
                    <a:pt x="96595" y="99477"/>
                    <a:pt x="97021" y="99477"/>
                  </a:cubicBezTo>
                  <a:cubicBezTo>
                    <a:pt x="97021" y="99634"/>
                    <a:pt x="97872" y="99947"/>
                    <a:pt x="97446" y="100104"/>
                  </a:cubicBezTo>
                  <a:cubicBezTo>
                    <a:pt x="97021" y="100261"/>
                    <a:pt x="96595" y="100417"/>
                    <a:pt x="96170" y="100417"/>
                  </a:cubicBezTo>
                  <a:cubicBezTo>
                    <a:pt x="96170" y="100574"/>
                    <a:pt x="95319" y="101044"/>
                    <a:pt x="95319" y="101044"/>
                  </a:cubicBezTo>
                  <a:cubicBezTo>
                    <a:pt x="95319" y="101044"/>
                    <a:pt x="95744" y="101357"/>
                    <a:pt x="95319" y="101671"/>
                  </a:cubicBezTo>
                  <a:cubicBezTo>
                    <a:pt x="95319" y="101984"/>
                    <a:pt x="94468" y="101827"/>
                    <a:pt x="94042" y="101984"/>
                  </a:cubicBezTo>
                  <a:cubicBezTo>
                    <a:pt x="94042" y="101984"/>
                    <a:pt x="92765" y="102454"/>
                    <a:pt x="92765" y="102454"/>
                  </a:cubicBezTo>
                  <a:cubicBezTo>
                    <a:pt x="92340" y="102454"/>
                    <a:pt x="91914" y="103080"/>
                    <a:pt x="91914" y="103394"/>
                  </a:cubicBezTo>
                  <a:cubicBezTo>
                    <a:pt x="91914" y="103550"/>
                    <a:pt x="91914" y="103864"/>
                    <a:pt x="91914" y="104020"/>
                  </a:cubicBezTo>
                  <a:cubicBezTo>
                    <a:pt x="91914" y="104177"/>
                    <a:pt x="91914" y="104020"/>
                    <a:pt x="91063" y="104490"/>
                  </a:cubicBezTo>
                  <a:cubicBezTo>
                    <a:pt x="89787" y="104960"/>
                    <a:pt x="90212" y="104647"/>
                    <a:pt x="88936" y="104490"/>
                  </a:cubicBezTo>
                  <a:cubicBezTo>
                    <a:pt x="87234" y="104490"/>
                    <a:pt x="88936" y="104334"/>
                    <a:pt x="89361" y="104020"/>
                  </a:cubicBezTo>
                  <a:cubicBezTo>
                    <a:pt x="89787" y="103707"/>
                    <a:pt x="90212" y="103394"/>
                    <a:pt x="90212" y="103394"/>
                  </a:cubicBezTo>
                  <a:cubicBezTo>
                    <a:pt x="89787" y="102767"/>
                    <a:pt x="89787" y="102767"/>
                    <a:pt x="89787" y="102767"/>
                  </a:cubicBezTo>
                  <a:cubicBezTo>
                    <a:pt x="88936" y="102297"/>
                    <a:pt x="88936" y="102297"/>
                    <a:pt x="88936" y="102297"/>
                  </a:cubicBezTo>
                  <a:lnTo>
                    <a:pt x="87659" y="101671"/>
                  </a:lnTo>
                  <a:close/>
                </a:path>
              </a:pathLst>
            </a:custGeom>
            <a:pattFill prst="dashHorz">
              <a:fgClr>
                <a:srgbClr val="FF0000"/>
              </a:fgClr>
              <a:bgClr>
                <a:srgbClr val="FFC000"/>
              </a:bgClr>
            </a:pattFill>
            <a:ln w="3175" cap="flat" cmpd="sng">
              <a:solidFill>
                <a:schemeClr val="tx1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endParaRPr kern="0">
                <a:solidFill>
                  <a:srgbClr val="7F7F7F"/>
                </a:solidFill>
                <a:latin typeface="Calibri" panose="020F0502020204030204" pitchFamily="34" charset="0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55" name="Shape 2051">
              <a:extLst>
                <a:ext uri="{FF2B5EF4-FFF2-40B4-BE49-F238E27FC236}">
                  <a16:creationId xmlns:a16="http://schemas.microsoft.com/office/drawing/2014/main" id="{35A58D07-136D-A85A-B9C6-4CB4EC7F939A}"/>
                </a:ext>
              </a:extLst>
            </p:cNvPr>
            <p:cNvSpPr/>
            <p:nvPr/>
          </p:nvSpPr>
          <p:spPr>
            <a:xfrm>
              <a:off x="3843522" y="628018"/>
              <a:ext cx="1130307" cy="1548211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82527" y="9000"/>
                  </a:moveTo>
                  <a:cubicBezTo>
                    <a:pt x="82081" y="9000"/>
                    <a:pt x="81412" y="9157"/>
                    <a:pt x="81412" y="8842"/>
                  </a:cubicBezTo>
                  <a:cubicBezTo>
                    <a:pt x="81412" y="8684"/>
                    <a:pt x="80743" y="8210"/>
                    <a:pt x="80743" y="8210"/>
                  </a:cubicBezTo>
                  <a:cubicBezTo>
                    <a:pt x="80743" y="8052"/>
                    <a:pt x="80297" y="7736"/>
                    <a:pt x="80966" y="7578"/>
                  </a:cubicBezTo>
                  <a:cubicBezTo>
                    <a:pt x="81412" y="7263"/>
                    <a:pt x="82973" y="6789"/>
                    <a:pt x="83197" y="6789"/>
                  </a:cubicBezTo>
                  <a:cubicBezTo>
                    <a:pt x="83197" y="6789"/>
                    <a:pt x="83866" y="6000"/>
                    <a:pt x="84089" y="5842"/>
                  </a:cubicBezTo>
                  <a:cubicBezTo>
                    <a:pt x="84312" y="5842"/>
                    <a:pt x="85650" y="5842"/>
                    <a:pt x="85650" y="5842"/>
                  </a:cubicBezTo>
                  <a:cubicBezTo>
                    <a:pt x="85650" y="5842"/>
                    <a:pt x="85873" y="6000"/>
                    <a:pt x="86319" y="6000"/>
                  </a:cubicBezTo>
                  <a:cubicBezTo>
                    <a:pt x="86765" y="6157"/>
                    <a:pt x="87657" y="5684"/>
                    <a:pt x="87211" y="6157"/>
                  </a:cubicBezTo>
                  <a:cubicBezTo>
                    <a:pt x="86542" y="6473"/>
                    <a:pt x="86319" y="6631"/>
                    <a:pt x="86096" y="6631"/>
                  </a:cubicBezTo>
                  <a:cubicBezTo>
                    <a:pt x="85873" y="6789"/>
                    <a:pt x="84758" y="7421"/>
                    <a:pt x="84758" y="7736"/>
                  </a:cubicBezTo>
                  <a:cubicBezTo>
                    <a:pt x="84535" y="8052"/>
                    <a:pt x="84758" y="8052"/>
                    <a:pt x="84535" y="8210"/>
                  </a:cubicBezTo>
                  <a:cubicBezTo>
                    <a:pt x="84089" y="8368"/>
                    <a:pt x="82750" y="8842"/>
                    <a:pt x="82527" y="9000"/>
                  </a:cubicBezTo>
                  <a:close/>
                  <a:moveTo>
                    <a:pt x="85427" y="9631"/>
                  </a:moveTo>
                  <a:cubicBezTo>
                    <a:pt x="85427" y="9631"/>
                    <a:pt x="85427" y="9631"/>
                    <a:pt x="85427" y="9631"/>
                  </a:cubicBezTo>
                  <a:cubicBezTo>
                    <a:pt x="85427" y="9631"/>
                    <a:pt x="86096" y="9789"/>
                    <a:pt x="86096" y="9631"/>
                  </a:cubicBezTo>
                  <a:cubicBezTo>
                    <a:pt x="86096" y="9631"/>
                    <a:pt x="86319" y="9315"/>
                    <a:pt x="86319" y="8842"/>
                  </a:cubicBezTo>
                  <a:cubicBezTo>
                    <a:pt x="86542" y="8368"/>
                    <a:pt x="86988" y="8368"/>
                    <a:pt x="87211" y="8210"/>
                  </a:cubicBezTo>
                  <a:cubicBezTo>
                    <a:pt x="87434" y="8052"/>
                    <a:pt x="87211" y="8052"/>
                    <a:pt x="87434" y="7736"/>
                  </a:cubicBezTo>
                  <a:cubicBezTo>
                    <a:pt x="87434" y="7421"/>
                    <a:pt x="87211" y="7421"/>
                    <a:pt x="86765" y="7263"/>
                  </a:cubicBezTo>
                  <a:cubicBezTo>
                    <a:pt x="86096" y="7263"/>
                    <a:pt x="86096" y="7578"/>
                    <a:pt x="85650" y="7578"/>
                  </a:cubicBezTo>
                  <a:cubicBezTo>
                    <a:pt x="85427" y="7736"/>
                    <a:pt x="85427" y="8052"/>
                    <a:pt x="85650" y="8210"/>
                  </a:cubicBezTo>
                  <a:cubicBezTo>
                    <a:pt x="85650" y="8368"/>
                    <a:pt x="85204" y="8526"/>
                    <a:pt x="84758" y="8684"/>
                  </a:cubicBezTo>
                  <a:cubicBezTo>
                    <a:pt x="84312" y="9000"/>
                    <a:pt x="84312" y="9315"/>
                    <a:pt x="84312" y="9315"/>
                  </a:cubicBezTo>
                  <a:cubicBezTo>
                    <a:pt x="85427" y="9631"/>
                    <a:pt x="85427" y="9631"/>
                    <a:pt x="85427" y="9631"/>
                  </a:cubicBezTo>
                  <a:close/>
                  <a:moveTo>
                    <a:pt x="80966" y="19894"/>
                  </a:moveTo>
                  <a:cubicBezTo>
                    <a:pt x="80966" y="19894"/>
                    <a:pt x="80966" y="19894"/>
                    <a:pt x="80966" y="19894"/>
                  </a:cubicBezTo>
                  <a:cubicBezTo>
                    <a:pt x="81858" y="20052"/>
                    <a:pt x="81858" y="20052"/>
                    <a:pt x="81858" y="20052"/>
                  </a:cubicBezTo>
                  <a:cubicBezTo>
                    <a:pt x="83420" y="21315"/>
                    <a:pt x="83420" y="21315"/>
                    <a:pt x="83420" y="21315"/>
                  </a:cubicBezTo>
                  <a:cubicBezTo>
                    <a:pt x="84758" y="22421"/>
                    <a:pt x="84758" y="22421"/>
                    <a:pt x="84758" y="22421"/>
                  </a:cubicBezTo>
                  <a:cubicBezTo>
                    <a:pt x="84758" y="22421"/>
                    <a:pt x="86765" y="23526"/>
                    <a:pt x="87211" y="23684"/>
                  </a:cubicBezTo>
                  <a:cubicBezTo>
                    <a:pt x="87657" y="23842"/>
                    <a:pt x="90111" y="24157"/>
                    <a:pt x="90334" y="24315"/>
                  </a:cubicBezTo>
                  <a:cubicBezTo>
                    <a:pt x="91003" y="23684"/>
                    <a:pt x="91003" y="23684"/>
                    <a:pt x="91003" y="23684"/>
                  </a:cubicBezTo>
                  <a:cubicBezTo>
                    <a:pt x="91895" y="23210"/>
                    <a:pt x="91895" y="23210"/>
                    <a:pt x="91895" y="23210"/>
                  </a:cubicBezTo>
                  <a:cubicBezTo>
                    <a:pt x="91672" y="22894"/>
                    <a:pt x="91672" y="22894"/>
                    <a:pt x="91672" y="22894"/>
                  </a:cubicBezTo>
                  <a:cubicBezTo>
                    <a:pt x="92788" y="22421"/>
                    <a:pt x="92788" y="22421"/>
                    <a:pt x="92788" y="22421"/>
                  </a:cubicBezTo>
                  <a:cubicBezTo>
                    <a:pt x="93680" y="22894"/>
                    <a:pt x="93680" y="22894"/>
                    <a:pt x="93680" y="22894"/>
                  </a:cubicBezTo>
                  <a:cubicBezTo>
                    <a:pt x="95910" y="23210"/>
                    <a:pt x="95910" y="23210"/>
                    <a:pt x="95910" y="23210"/>
                  </a:cubicBezTo>
                  <a:cubicBezTo>
                    <a:pt x="96802" y="23684"/>
                    <a:pt x="96802" y="23684"/>
                    <a:pt x="96802" y="23684"/>
                  </a:cubicBezTo>
                  <a:cubicBezTo>
                    <a:pt x="96802" y="23684"/>
                    <a:pt x="96802" y="23684"/>
                    <a:pt x="97026" y="23684"/>
                  </a:cubicBezTo>
                  <a:cubicBezTo>
                    <a:pt x="97026" y="23684"/>
                    <a:pt x="97026" y="23684"/>
                    <a:pt x="97026" y="23684"/>
                  </a:cubicBezTo>
                  <a:cubicBezTo>
                    <a:pt x="97026" y="23684"/>
                    <a:pt x="97026" y="23684"/>
                    <a:pt x="97026" y="23684"/>
                  </a:cubicBezTo>
                  <a:cubicBezTo>
                    <a:pt x="97249" y="23526"/>
                    <a:pt x="97249" y="23526"/>
                    <a:pt x="97249" y="23526"/>
                  </a:cubicBezTo>
                  <a:cubicBezTo>
                    <a:pt x="97249" y="23526"/>
                    <a:pt x="97249" y="23526"/>
                    <a:pt x="97249" y="23526"/>
                  </a:cubicBezTo>
                  <a:cubicBezTo>
                    <a:pt x="97249" y="23526"/>
                    <a:pt x="97249" y="23526"/>
                    <a:pt x="97249" y="23526"/>
                  </a:cubicBezTo>
                  <a:cubicBezTo>
                    <a:pt x="97249" y="23526"/>
                    <a:pt x="97249" y="23526"/>
                    <a:pt x="97249" y="23526"/>
                  </a:cubicBezTo>
                  <a:cubicBezTo>
                    <a:pt x="97249" y="23526"/>
                    <a:pt x="97472" y="23526"/>
                    <a:pt x="97472" y="23526"/>
                  </a:cubicBezTo>
                  <a:cubicBezTo>
                    <a:pt x="97472" y="23526"/>
                    <a:pt x="97472" y="23526"/>
                    <a:pt x="97472" y="23526"/>
                  </a:cubicBezTo>
                  <a:cubicBezTo>
                    <a:pt x="97472" y="23526"/>
                    <a:pt x="97472" y="23526"/>
                    <a:pt x="97472" y="23526"/>
                  </a:cubicBezTo>
                  <a:cubicBezTo>
                    <a:pt x="97472" y="23526"/>
                    <a:pt x="97472" y="23526"/>
                    <a:pt x="97472" y="23526"/>
                  </a:cubicBezTo>
                  <a:cubicBezTo>
                    <a:pt x="97472" y="23526"/>
                    <a:pt x="97472" y="23526"/>
                    <a:pt x="97472" y="23526"/>
                  </a:cubicBezTo>
                  <a:cubicBezTo>
                    <a:pt x="97695" y="23526"/>
                    <a:pt x="97695" y="23526"/>
                    <a:pt x="97695" y="23526"/>
                  </a:cubicBezTo>
                  <a:cubicBezTo>
                    <a:pt x="97695" y="23526"/>
                    <a:pt x="97695" y="23526"/>
                    <a:pt x="97695" y="23526"/>
                  </a:cubicBezTo>
                  <a:cubicBezTo>
                    <a:pt x="97695" y="23526"/>
                    <a:pt x="97695" y="23526"/>
                    <a:pt x="97695" y="23526"/>
                  </a:cubicBezTo>
                  <a:cubicBezTo>
                    <a:pt x="97695" y="23526"/>
                    <a:pt x="97695" y="23526"/>
                    <a:pt x="97695" y="23526"/>
                  </a:cubicBezTo>
                  <a:cubicBezTo>
                    <a:pt x="97695" y="23526"/>
                    <a:pt x="97695" y="23526"/>
                    <a:pt x="97695" y="23526"/>
                  </a:cubicBezTo>
                  <a:cubicBezTo>
                    <a:pt x="97695" y="23526"/>
                    <a:pt x="97695" y="23526"/>
                    <a:pt x="97695" y="23526"/>
                  </a:cubicBezTo>
                  <a:cubicBezTo>
                    <a:pt x="97695" y="23526"/>
                    <a:pt x="97695" y="23526"/>
                    <a:pt x="97695" y="23526"/>
                  </a:cubicBezTo>
                  <a:cubicBezTo>
                    <a:pt x="97695" y="23526"/>
                    <a:pt x="97695" y="23526"/>
                    <a:pt x="97695" y="23526"/>
                  </a:cubicBezTo>
                  <a:cubicBezTo>
                    <a:pt x="97695" y="23526"/>
                    <a:pt x="97695" y="23526"/>
                    <a:pt x="97695" y="23526"/>
                  </a:cubicBezTo>
                  <a:cubicBezTo>
                    <a:pt x="97695" y="23368"/>
                    <a:pt x="97695" y="23368"/>
                    <a:pt x="97695" y="23368"/>
                  </a:cubicBezTo>
                  <a:cubicBezTo>
                    <a:pt x="97695" y="23368"/>
                    <a:pt x="97695" y="23368"/>
                    <a:pt x="97695" y="23368"/>
                  </a:cubicBezTo>
                  <a:cubicBezTo>
                    <a:pt x="97695" y="23368"/>
                    <a:pt x="97695" y="23368"/>
                    <a:pt x="97695" y="23368"/>
                  </a:cubicBezTo>
                  <a:cubicBezTo>
                    <a:pt x="97695" y="23368"/>
                    <a:pt x="97695" y="23368"/>
                    <a:pt x="97695" y="23368"/>
                  </a:cubicBezTo>
                  <a:cubicBezTo>
                    <a:pt x="97695" y="23368"/>
                    <a:pt x="97695" y="23368"/>
                    <a:pt x="97695" y="23368"/>
                  </a:cubicBezTo>
                  <a:cubicBezTo>
                    <a:pt x="97695" y="23368"/>
                    <a:pt x="97695" y="23368"/>
                    <a:pt x="97695" y="23368"/>
                  </a:cubicBezTo>
                  <a:cubicBezTo>
                    <a:pt x="97695" y="23368"/>
                    <a:pt x="97695" y="23368"/>
                    <a:pt x="97695" y="23368"/>
                  </a:cubicBezTo>
                  <a:cubicBezTo>
                    <a:pt x="97695" y="23368"/>
                    <a:pt x="97695" y="23368"/>
                    <a:pt x="97695" y="23368"/>
                  </a:cubicBezTo>
                  <a:cubicBezTo>
                    <a:pt x="97695" y="23368"/>
                    <a:pt x="97695" y="23368"/>
                    <a:pt x="97695" y="23368"/>
                  </a:cubicBezTo>
                  <a:cubicBezTo>
                    <a:pt x="97695" y="23368"/>
                    <a:pt x="97695" y="23368"/>
                    <a:pt x="97695" y="23368"/>
                  </a:cubicBezTo>
                  <a:cubicBezTo>
                    <a:pt x="97695" y="23368"/>
                    <a:pt x="97695" y="23368"/>
                    <a:pt x="97695" y="23368"/>
                  </a:cubicBezTo>
                  <a:cubicBezTo>
                    <a:pt x="97695" y="23368"/>
                    <a:pt x="97695" y="23368"/>
                    <a:pt x="97695" y="23368"/>
                  </a:cubicBezTo>
                  <a:cubicBezTo>
                    <a:pt x="97695" y="23368"/>
                    <a:pt x="97695" y="23368"/>
                    <a:pt x="97695" y="23368"/>
                  </a:cubicBezTo>
                  <a:cubicBezTo>
                    <a:pt x="97695" y="23368"/>
                    <a:pt x="97695" y="23368"/>
                    <a:pt x="97695" y="23368"/>
                  </a:cubicBezTo>
                  <a:cubicBezTo>
                    <a:pt x="97695" y="23368"/>
                    <a:pt x="97695" y="23368"/>
                    <a:pt x="97695" y="23368"/>
                  </a:cubicBezTo>
                  <a:cubicBezTo>
                    <a:pt x="97695" y="23210"/>
                    <a:pt x="97695" y="23210"/>
                    <a:pt x="97695" y="23210"/>
                  </a:cubicBezTo>
                  <a:cubicBezTo>
                    <a:pt x="97695" y="23052"/>
                    <a:pt x="97695" y="22105"/>
                    <a:pt x="97695" y="22105"/>
                  </a:cubicBezTo>
                  <a:cubicBezTo>
                    <a:pt x="97695" y="22105"/>
                    <a:pt x="97026" y="21789"/>
                    <a:pt x="97695" y="21473"/>
                  </a:cubicBezTo>
                  <a:cubicBezTo>
                    <a:pt x="98364" y="21000"/>
                    <a:pt x="99256" y="20526"/>
                    <a:pt x="99256" y="20526"/>
                  </a:cubicBezTo>
                  <a:cubicBezTo>
                    <a:pt x="99256" y="20526"/>
                    <a:pt x="99702" y="20368"/>
                    <a:pt x="99702" y="19894"/>
                  </a:cubicBezTo>
                  <a:cubicBezTo>
                    <a:pt x="99702" y="19421"/>
                    <a:pt x="99256" y="18157"/>
                    <a:pt x="99256" y="18157"/>
                  </a:cubicBezTo>
                  <a:cubicBezTo>
                    <a:pt x="99256" y="18157"/>
                    <a:pt x="98810" y="17368"/>
                    <a:pt x="98810" y="17052"/>
                  </a:cubicBezTo>
                  <a:cubicBezTo>
                    <a:pt x="99256" y="15157"/>
                    <a:pt x="98141" y="13894"/>
                    <a:pt x="98810" y="13578"/>
                  </a:cubicBezTo>
                  <a:cubicBezTo>
                    <a:pt x="98810" y="13578"/>
                    <a:pt x="98810" y="13578"/>
                    <a:pt x="98810" y="13578"/>
                  </a:cubicBezTo>
                  <a:cubicBezTo>
                    <a:pt x="98810" y="13578"/>
                    <a:pt x="98810" y="13578"/>
                    <a:pt x="98810" y="13578"/>
                  </a:cubicBezTo>
                  <a:cubicBezTo>
                    <a:pt x="99256" y="13421"/>
                    <a:pt x="99256" y="13421"/>
                    <a:pt x="99256" y="13421"/>
                  </a:cubicBezTo>
                  <a:cubicBezTo>
                    <a:pt x="99925" y="13105"/>
                    <a:pt x="99925" y="13105"/>
                    <a:pt x="99925" y="13105"/>
                  </a:cubicBezTo>
                  <a:cubicBezTo>
                    <a:pt x="99925" y="13105"/>
                    <a:pt x="99925" y="12947"/>
                    <a:pt x="99925" y="12947"/>
                  </a:cubicBezTo>
                  <a:cubicBezTo>
                    <a:pt x="99925" y="12157"/>
                    <a:pt x="98587" y="11368"/>
                    <a:pt x="100148" y="11210"/>
                  </a:cubicBezTo>
                  <a:cubicBezTo>
                    <a:pt x="100817" y="10894"/>
                    <a:pt x="100817" y="10894"/>
                    <a:pt x="100817" y="10894"/>
                  </a:cubicBezTo>
                  <a:cubicBezTo>
                    <a:pt x="102825" y="10894"/>
                    <a:pt x="102825" y="10894"/>
                    <a:pt x="102825" y="10894"/>
                  </a:cubicBezTo>
                  <a:cubicBezTo>
                    <a:pt x="103271" y="9947"/>
                    <a:pt x="103271" y="9947"/>
                    <a:pt x="103271" y="9947"/>
                  </a:cubicBezTo>
                  <a:cubicBezTo>
                    <a:pt x="104163" y="9315"/>
                    <a:pt x="104163" y="9315"/>
                    <a:pt x="104163" y="9315"/>
                  </a:cubicBezTo>
                  <a:cubicBezTo>
                    <a:pt x="104832" y="9315"/>
                    <a:pt x="105724" y="9157"/>
                    <a:pt x="106171" y="9315"/>
                  </a:cubicBezTo>
                  <a:cubicBezTo>
                    <a:pt x="106617" y="9789"/>
                    <a:pt x="106617" y="10105"/>
                    <a:pt x="107509" y="10263"/>
                  </a:cubicBezTo>
                  <a:cubicBezTo>
                    <a:pt x="110185" y="10894"/>
                    <a:pt x="110185" y="10894"/>
                    <a:pt x="110185" y="10894"/>
                  </a:cubicBezTo>
                  <a:cubicBezTo>
                    <a:pt x="111524" y="11052"/>
                    <a:pt x="111524" y="11052"/>
                    <a:pt x="111524" y="11052"/>
                  </a:cubicBezTo>
                  <a:cubicBezTo>
                    <a:pt x="111524" y="11052"/>
                    <a:pt x="111524" y="11052"/>
                    <a:pt x="111524" y="11052"/>
                  </a:cubicBezTo>
                  <a:cubicBezTo>
                    <a:pt x="111747" y="11052"/>
                    <a:pt x="111747" y="11052"/>
                    <a:pt x="111747" y="11052"/>
                  </a:cubicBezTo>
                  <a:cubicBezTo>
                    <a:pt x="111747" y="11052"/>
                    <a:pt x="111747" y="11052"/>
                    <a:pt x="111747" y="11052"/>
                  </a:cubicBezTo>
                  <a:cubicBezTo>
                    <a:pt x="112193" y="11368"/>
                    <a:pt x="112193" y="11368"/>
                    <a:pt x="112193" y="11368"/>
                  </a:cubicBezTo>
                  <a:cubicBezTo>
                    <a:pt x="112193" y="11368"/>
                    <a:pt x="112193" y="11368"/>
                    <a:pt x="112193" y="11368"/>
                  </a:cubicBezTo>
                  <a:cubicBezTo>
                    <a:pt x="112193" y="11368"/>
                    <a:pt x="112193" y="11368"/>
                    <a:pt x="112193" y="11368"/>
                  </a:cubicBezTo>
                  <a:cubicBezTo>
                    <a:pt x="112193" y="11368"/>
                    <a:pt x="112193" y="11368"/>
                    <a:pt x="112193" y="11368"/>
                  </a:cubicBezTo>
                  <a:cubicBezTo>
                    <a:pt x="112193" y="11684"/>
                    <a:pt x="112193" y="12000"/>
                    <a:pt x="112416" y="12157"/>
                  </a:cubicBezTo>
                  <a:cubicBezTo>
                    <a:pt x="112416" y="12473"/>
                    <a:pt x="112639" y="12947"/>
                    <a:pt x="112639" y="12947"/>
                  </a:cubicBezTo>
                  <a:cubicBezTo>
                    <a:pt x="112639" y="12947"/>
                    <a:pt x="112416" y="13421"/>
                    <a:pt x="112416" y="13736"/>
                  </a:cubicBezTo>
                  <a:cubicBezTo>
                    <a:pt x="112193" y="13894"/>
                    <a:pt x="112193" y="14368"/>
                    <a:pt x="112193" y="14526"/>
                  </a:cubicBezTo>
                  <a:cubicBezTo>
                    <a:pt x="112193" y="14684"/>
                    <a:pt x="112193" y="14842"/>
                    <a:pt x="112193" y="15000"/>
                  </a:cubicBezTo>
                  <a:cubicBezTo>
                    <a:pt x="112193" y="15315"/>
                    <a:pt x="112416" y="15789"/>
                    <a:pt x="112639" y="15947"/>
                  </a:cubicBezTo>
                  <a:cubicBezTo>
                    <a:pt x="112639" y="16105"/>
                    <a:pt x="113754" y="16578"/>
                    <a:pt x="113754" y="16578"/>
                  </a:cubicBezTo>
                  <a:cubicBezTo>
                    <a:pt x="113754" y="16578"/>
                    <a:pt x="113754" y="16578"/>
                    <a:pt x="113531" y="16736"/>
                  </a:cubicBezTo>
                  <a:cubicBezTo>
                    <a:pt x="113531" y="16736"/>
                    <a:pt x="113531" y="16894"/>
                    <a:pt x="113754" y="16894"/>
                  </a:cubicBezTo>
                  <a:cubicBezTo>
                    <a:pt x="114200" y="16894"/>
                    <a:pt x="114869" y="16736"/>
                    <a:pt x="114869" y="16736"/>
                  </a:cubicBezTo>
                  <a:cubicBezTo>
                    <a:pt x="114869" y="16736"/>
                    <a:pt x="114869" y="15315"/>
                    <a:pt x="114646" y="14842"/>
                  </a:cubicBezTo>
                  <a:cubicBezTo>
                    <a:pt x="114423" y="14210"/>
                    <a:pt x="115539" y="13578"/>
                    <a:pt x="115539" y="13578"/>
                  </a:cubicBezTo>
                  <a:cubicBezTo>
                    <a:pt x="117100" y="12473"/>
                    <a:pt x="117100" y="12473"/>
                    <a:pt x="117100" y="12473"/>
                  </a:cubicBezTo>
                  <a:cubicBezTo>
                    <a:pt x="116877" y="11210"/>
                    <a:pt x="116877" y="11210"/>
                    <a:pt x="116877" y="11210"/>
                  </a:cubicBezTo>
                  <a:cubicBezTo>
                    <a:pt x="118661" y="11368"/>
                    <a:pt x="118661" y="11368"/>
                    <a:pt x="118661" y="11368"/>
                  </a:cubicBezTo>
                  <a:cubicBezTo>
                    <a:pt x="118661" y="11368"/>
                    <a:pt x="120000" y="10894"/>
                    <a:pt x="119553" y="10263"/>
                  </a:cubicBezTo>
                  <a:cubicBezTo>
                    <a:pt x="119107" y="9473"/>
                    <a:pt x="118661" y="8210"/>
                    <a:pt x="118215" y="8526"/>
                  </a:cubicBezTo>
                  <a:cubicBezTo>
                    <a:pt x="117546" y="8842"/>
                    <a:pt x="116431" y="9789"/>
                    <a:pt x="116431" y="9789"/>
                  </a:cubicBezTo>
                  <a:cubicBezTo>
                    <a:pt x="116208" y="8210"/>
                    <a:pt x="116208" y="8210"/>
                    <a:pt x="116208" y="8210"/>
                  </a:cubicBezTo>
                  <a:cubicBezTo>
                    <a:pt x="114423" y="8684"/>
                    <a:pt x="114423" y="8684"/>
                    <a:pt x="114423" y="8684"/>
                  </a:cubicBezTo>
                  <a:cubicBezTo>
                    <a:pt x="112639" y="8368"/>
                    <a:pt x="112639" y="8368"/>
                    <a:pt x="112639" y="8368"/>
                  </a:cubicBezTo>
                  <a:cubicBezTo>
                    <a:pt x="112639" y="8368"/>
                    <a:pt x="111970" y="7736"/>
                    <a:pt x="111301" y="7894"/>
                  </a:cubicBezTo>
                  <a:cubicBezTo>
                    <a:pt x="110631" y="7894"/>
                    <a:pt x="109516" y="7894"/>
                    <a:pt x="109516" y="7894"/>
                  </a:cubicBezTo>
                  <a:cubicBezTo>
                    <a:pt x="109516" y="7894"/>
                    <a:pt x="108624" y="7421"/>
                    <a:pt x="109070" y="7263"/>
                  </a:cubicBezTo>
                  <a:cubicBezTo>
                    <a:pt x="109739" y="7263"/>
                    <a:pt x="111078" y="7421"/>
                    <a:pt x="111747" y="7263"/>
                  </a:cubicBezTo>
                  <a:cubicBezTo>
                    <a:pt x="112193" y="7263"/>
                    <a:pt x="115762" y="6631"/>
                    <a:pt x="115762" y="6631"/>
                  </a:cubicBezTo>
                  <a:cubicBezTo>
                    <a:pt x="115985" y="5526"/>
                    <a:pt x="115985" y="5526"/>
                    <a:pt x="115985" y="5526"/>
                  </a:cubicBezTo>
                  <a:cubicBezTo>
                    <a:pt x="117546" y="4578"/>
                    <a:pt x="117546" y="4578"/>
                    <a:pt x="117546" y="4578"/>
                  </a:cubicBezTo>
                  <a:cubicBezTo>
                    <a:pt x="114869" y="3157"/>
                    <a:pt x="114869" y="3157"/>
                    <a:pt x="114869" y="3157"/>
                  </a:cubicBezTo>
                  <a:cubicBezTo>
                    <a:pt x="113754" y="1894"/>
                    <a:pt x="113754" y="1894"/>
                    <a:pt x="113754" y="1894"/>
                  </a:cubicBezTo>
                  <a:cubicBezTo>
                    <a:pt x="113754" y="1894"/>
                    <a:pt x="113531" y="1421"/>
                    <a:pt x="113085" y="1421"/>
                  </a:cubicBezTo>
                  <a:cubicBezTo>
                    <a:pt x="112416" y="1421"/>
                    <a:pt x="110631" y="2052"/>
                    <a:pt x="110631" y="2052"/>
                  </a:cubicBezTo>
                  <a:cubicBezTo>
                    <a:pt x="109293" y="1421"/>
                    <a:pt x="109293" y="1421"/>
                    <a:pt x="109293" y="1421"/>
                  </a:cubicBezTo>
                  <a:cubicBezTo>
                    <a:pt x="107286" y="1578"/>
                    <a:pt x="107286" y="1578"/>
                    <a:pt x="107286" y="1578"/>
                  </a:cubicBezTo>
                  <a:cubicBezTo>
                    <a:pt x="104386" y="947"/>
                    <a:pt x="104386" y="947"/>
                    <a:pt x="104386" y="947"/>
                  </a:cubicBezTo>
                  <a:cubicBezTo>
                    <a:pt x="104386" y="1421"/>
                    <a:pt x="104386" y="1421"/>
                    <a:pt x="104386" y="1421"/>
                  </a:cubicBezTo>
                  <a:cubicBezTo>
                    <a:pt x="104386" y="1421"/>
                    <a:pt x="103494" y="1263"/>
                    <a:pt x="103271" y="947"/>
                  </a:cubicBezTo>
                  <a:cubicBezTo>
                    <a:pt x="103271" y="631"/>
                    <a:pt x="103271" y="315"/>
                    <a:pt x="103271" y="315"/>
                  </a:cubicBezTo>
                  <a:cubicBezTo>
                    <a:pt x="102156" y="473"/>
                    <a:pt x="102156" y="473"/>
                    <a:pt x="102156" y="473"/>
                  </a:cubicBezTo>
                  <a:cubicBezTo>
                    <a:pt x="101710" y="473"/>
                    <a:pt x="101710" y="473"/>
                    <a:pt x="101710" y="473"/>
                  </a:cubicBezTo>
                  <a:cubicBezTo>
                    <a:pt x="100371" y="0"/>
                    <a:pt x="100371" y="0"/>
                    <a:pt x="100371" y="0"/>
                  </a:cubicBezTo>
                  <a:cubicBezTo>
                    <a:pt x="99702" y="947"/>
                    <a:pt x="99702" y="947"/>
                    <a:pt x="99702" y="947"/>
                  </a:cubicBezTo>
                  <a:cubicBezTo>
                    <a:pt x="100594" y="2052"/>
                    <a:pt x="100594" y="2052"/>
                    <a:pt x="100594" y="2052"/>
                  </a:cubicBezTo>
                  <a:cubicBezTo>
                    <a:pt x="99702" y="3315"/>
                    <a:pt x="99702" y="3315"/>
                    <a:pt x="99702" y="3315"/>
                  </a:cubicBezTo>
                  <a:cubicBezTo>
                    <a:pt x="100371" y="4105"/>
                    <a:pt x="100371" y="4105"/>
                    <a:pt x="100371" y="4105"/>
                  </a:cubicBezTo>
                  <a:cubicBezTo>
                    <a:pt x="100371" y="5210"/>
                    <a:pt x="100371" y="5210"/>
                    <a:pt x="100371" y="5210"/>
                  </a:cubicBezTo>
                  <a:cubicBezTo>
                    <a:pt x="99479" y="6473"/>
                    <a:pt x="99479" y="6473"/>
                    <a:pt x="99479" y="6473"/>
                  </a:cubicBezTo>
                  <a:cubicBezTo>
                    <a:pt x="98141" y="5684"/>
                    <a:pt x="98141" y="5684"/>
                    <a:pt x="98141" y="5684"/>
                  </a:cubicBezTo>
                  <a:cubicBezTo>
                    <a:pt x="98364" y="4578"/>
                    <a:pt x="98364" y="4578"/>
                    <a:pt x="98364" y="4578"/>
                  </a:cubicBezTo>
                  <a:cubicBezTo>
                    <a:pt x="99033" y="3315"/>
                    <a:pt x="99033" y="3315"/>
                    <a:pt x="99033" y="3315"/>
                  </a:cubicBezTo>
                  <a:cubicBezTo>
                    <a:pt x="98141" y="2052"/>
                    <a:pt x="98141" y="2052"/>
                    <a:pt x="98141" y="2052"/>
                  </a:cubicBezTo>
                  <a:cubicBezTo>
                    <a:pt x="96356" y="3157"/>
                    <a:pt x="96356" y="3157"/>
                    <a:pt x="96356" y="3157"/>
                  </a:cubicBezTo>
                  <a:cubicBezTo>
                    <a:pt x="96356" y="4736"/>
                    <a:pt x="96356" y="4736"/>
                    <a:pt x="96356" y="4736"/>
                  </a:cubicBezTo>
                  <a:cubicBezTo>
                    <a:pt x="95464" y="5842"/>
                    <a:pt x="95464" y="5842"/>
                    <a:pt x="95464" y="5842"/>
                  </a:cubicBezTo>
                  <a:cubicBezTo>
                    <a:pt x="95464" y="7263"/>
                    <a:pt x="95464" y="7263"/>
                    <a:pt x="95464" y="7263"/>
                  </a:cubicBezTo>
                  <a:cubicBezTo>
                    <a:pt x="95018" y="8368"/>
                    <a:pt x="95018" y="8368"/>
                    <a:pt x="95018" y="8368"/>
                  </a:cubicBezTo>
                  <a:cubicBezTo>
                    <a:pt x="94795" y="9789"/>
                    <a:pt x="94795" y="9789"/>
                    <a:pt x="94795" y="9789"/>
                  </a:cubicBezTo>
                  <a:cubicBezTo>
                    <a:pt x="94795" y="9789"/>
                    <a:pt x="94795" y="10105"/>
                    <a:pt x="94349" y="10105"/>
                  </a:cubicBezTo>
                  <a:cubicBezTo>
                    <a:pt x="93903" y="10263"/>
                    <a:pt x="93011" y="9947"/>
                    <a:pt x="93011" y="9947"/>
                  </a:cubicBezTo>
                  <a:cubicBezTo>
                    <a:pt x="93011" y="7894"/>
                    <a:pt x="93011" y="7894"/>
                    <a:pt x="93011" y="7894"/>
                  </a:cubicBezTo>
                  <a:cubicBezTo>
                    <a:pt x="93457" y="6789"/>
                    <a:pt x="93457" y="6789"/>
                    <a:pt x="93457" y="6789"/>
                  </a:cubicBezTo>
                  <a:cubicBezTo>
                    <a:pt x="94126" y="5842"/>
                    <a:pt x="94126" y="5842"/>
                    <a:pt x="94126" y="5842"/>
                  </a:cubicBezTo>
                  <a:cubicBezTo>
                    <a:pt x="95018" y="4578"/>
                    <a:pt x="95018" y="4578"/>
                    <a:pt x="95018" y="4578"/>
                  </a:cubicBezTo>
                  <a:cubicBezTo>
                    <a:pt x="95018" y="4578"/>
                    <a:pt x="95018" y="3789"/>
                    <a:pt x="94795" y="3631"/>
                  </a:cubicBezTo>
                  <a:cubicBezTo>
                    <a:pt x="94795" y="3631"/>
                    <a:pt x="94349" y="3473"/>
                    <a:pt x="94572" y="3473"/>
                  </a:cubicBezTo>
                  <a:cubicBezTo>
                    <a:pt x="94572" y="3315"/>
                    <a:pt x="95464" y="2684"/>
                    <a:pt x="95464" y="2684"/>
                  </a:cubicBezTo>
                  <a:cubicBezTo>
                    <a:pt x="95464" y="2684"/>
                    <a:pt x="95464" y="2210"/>
                    <a:pt x="94795" y="1894"/>
                  </a:cubicBezTo>
                  <a:cubicBezTo>
                    <a:pt x="94349" y="1736"/>
                    <a:pt x="93903" y="1421"/>
                    <a:pt x="93457" y="1578"/>
                  </a:cubicBezTo>
                  <a:cubicBezTo>
                    <a:pt x="93234" y="1736"/>
                    <a:pt x="92118" y="2052"/>
                    <a:pt x="92118" y="2210"/>
                  </a:cubicBezTo>
                  <a:cubicBezTo>
                    <a:pt x="91895" y="2368"/>
                    <a:pt x="92118" y="2684"/>
                    <a:pt x="92342" y="2842"/>
                  </a:cubicBezTo>
                  <a:cubicBezTo>
                    <a:pt x="92565" y="2842"/>
                    <a:pt x="92788" y="3000"/>
                    <a:pt x="93011" y="3000"/>
                  </a:cubicBezTo>
                  <a:cubicBezTo>
                    <a:pt x="93011" y="3157"/>
                    <a:pt x="93234" y="3631"/>
                    <a:pt x="93011" y="3789"/>
                  </a:cubicBezTo>
                  <a:cubicBezTo>
                    <a:pt x="92788" y="3947"/>
                    <a:pt x="93011" y="4421"/>
                    <a:pt x="92342" y="4263"/>
                  </a:cubicBezTo>
                  <a:cubicBezTo>
                    <a:pt x="91895" y="4105"/>
                    <a:pt x="90557" y="3473"/>
                    <a:pt x="90557" y="3473"/>
                  </a:cubicBezTo>
                  <a:cubicBezTo>
                    <a:pt x="90334" y="3473"/>
                    <a:pt x="90557" y="2842"/>
                    <a:pt x="90111" y="3473"/>
                  </a:cubicBezTo>
                  <a:cubicBezTo>
                    <a:pt x="89665" y="3947"/>
                    <a:pt x="89442" y="4105"/>
                    <a:pt x="89665" y="4421"/>
                  </a:cubicBezTo>
                  <a:cubicBezTo>
                    <a:pt x="89888" y="4736"/>
                    <a:pt x="90111" y="4736"/>
                    <a:pt x="90111" y="4894"/>
                  </a:cubicBezTo>
                  <a:cubicBezTo>
                    <a:pt x="90111" y="5052"/>
                    <a:pt x="89219" y="5052"/>
                    <a:pt x="89219" y="5210"/>
                  </a:cubicBezTo>
                  <a:cubicBezTo>
                    <a:pt x="89219" y="5368"/>
                    <a:pt x="88996" y="5526"/>
                    <a:pt x="89442" y="5842"/>
                  </a:cubicBezTo>
                  <a:cubicBezTo>
                    <a:pt x="89888" y="6000"/>
                    <a:pt x="90334" y="6157"/>
                    <a:pt x="90334" y="6157"/>
                  </a:cubicBezTo>
                  <a:cubicBezTo>
                    <a:pt x="90334" y="6157"/>
                    <a:pt x="90780" y="6631"/>
                    <a:pt x="90557" y="6631"/>
                  </a:cubicBezTo>
                  <a:cubicBezTo>
                    <a:pt x="90557" y="6789"/>
                    <a:pt x="89219" y="6631"/>
                    <a:pt x="89219" y="6789"/>
                  </a:cubicBezTo>
                  <a:cubicBezTo>
                    <a:pt x="89219" y="6947"/>
                    <a:pt x="89219" y="7263"/>
                    <a:pt x="89219" y="7421"/>
                  </a:cubicBezTo>
                  <a:cubicBezTo>
                    <a:pt x="89219" y="7578"/>
                    <a:pt x="89219" y="7894"/>
                    <a:pt x="89219" y="7894"/>
                  </a:cubicBezTo>
                  <a:cubicBezTo>
                    <a:pt x="89219" y="8052"/>
                    <a:pt x="88327" y="8052"/>
                    <a:pt x="88104" y="8210"/>
                  </a:cubicBezTo>
                  <a:cubicBezTo>
                    <a:pt x="87657" y="8368"/>
                    <a:pt x="87434" y="8842"/>
                    <a:pt x="87434" y="9157"/>
                  </a:cubicBezTo>
                  <a:cubicBezTo>
                    <a:pt x="87211" y="9473"/>
                    <a:pt x="87211" y="9789"/>
                    <a:pt x="87211" y="9947"/>
                  </a:cubicBezTo>
                  <a:cubicBezTo>
                    <a:pt x="87211" y="10105"/>
                    <a:pt x="86765" y="10421"/>
                    <a:pt x="86765" y="10421"/>
                  </a:cubicBezTo>
                  <a:cubicBezTo>
                    <a:pt x="86765" y="10421"/>
                    <a:pt x="86765" y="10578"/>
                    <a:pt x="86319" y="10421"/>
                  </a:cubicBezTo>
                  <a:cubicBezTo>
                    <a:pt x="85873" y="10421"/>
                    <a:pt x="84312" y="9789"/>
                    <a:pt x="84089" y="9789"/>
                  </a:cubicBezTo>
                  <a:cubicBezTo>
                    <a:pt x="83643" y="9789"/>
                    <a:pt x="83197" y="9947"/>
                    <a:pt x="83197" y="10263"/>
                  </a:cubicBezTo>
                  <a:cubicBezTo>
                    <a:pt x="83197" y="10421"/>
                    <a:pt x="83866" y="10894"/>
                    <a:pt x="84089" y="10894"/>
                  </a:cubicBezTo>
                  <a:cubicBezTo>
                    <a:pt x="84089" y="10894"/>
                    <a:pt x="85204" y="11052"/>
                    <a:pt x="85427" y="11210"/>
                  </a:cubicBezTo>
                  <a:cubicBezTo>
                    <a:pt x="85427" y="11368"/>
                    <a:pt x="85427" y="12473"/>
                    <a:pt x="85427" y="12473"/>
                  </a:cubicBezTo>
                  <a:cubicBezTo>
                    <a:pt x="85427" y="12473"/>
                    <a:pt x="86319" y="13736"/>
                    <a:pt x="84758" y="12631"/>
                  </a:cubicBezTo>
                  <a:cubicBezTo>
                    <a:pt x="82973" y="11526"/>
                    <a:pt x="82973" y="11368"/>
                    <a:pt x="82750" y="11210"/>
                  </a:cubicBezTo>
                  <a:cubicBezTo>
                    <a:pt x="82527" y="11210"/>
                    <a:pt x="80966" y="10894"/>
                    <a:pt x="80966" y="10894"/>
                  </a:cubicBezTo>
                  <a:cubicBezTo>
                    <a:pt x="80966" y="10894"/>
                    <a:pt x="80743" y="10421"/>
                    <a:pt x="80520" y="10894"/>
                  </a:cubicBezTo>
                  <a:cubicBezTo>
                    <a:pt x="80297" y="11210"/>
                    <a:pt x="80966" y="12000"/>
                    <a:pt x="80966" y="12000"/>
                  </a:cubicBezTo>
                  <a:cubicBezTo>
                    <a:pt x="80743" y="11842"/>
                    <a:pt x="80743" y="11842"/>
                    <a:pt x="80743" y="11842"/>
                  </a:cubicBezTo>
                  <a:cubicBezTo>
                    <a:pt x="80743" y="11842"/>
                    <a:pt x="80074" y="11526"/>
                    <a:pt x="79628" y="11368"/>
                  </a:cubicBezTo>
                  <a:cubicBezTo>
                    <a:pt x="79405" y="11052"/>
                    <a:pt x="78736" y="11368"/>
                    <a:pt x="78736" y="11368"/>
                  </a:cubicBezTo>
                  <a:cubicBezTo>
                    <a:pt x="78736" y="11368"/>
                    <a:pt x="78513" y="11526"/>
                    <a:pt x="78066" y="11842"/>
                  </a:cubicBezTo>
                  <a:cubicBezTo>
                    <a:pt x="77843" y="12000"/>
                    <a:pt x="76951" y="11368"/>
                    <a:pt x="77843" y="12157"/>
                  </a:cubicBezTo>
                  <a:cubicBezTo>
                    <a:pt x="78513" y="12789"/>
                    <a:pt x="79182" y="12947"/>
                    <a:pt x="79405" y="13105"/>
                  </a:cubicBezTo>
                  <a:cubicBezTo>
                    <a:pt x="79405" y="13105"/>
                    <a:pt x="80297" y="13263"/>
                    <a:pt x="80520" y="13421"/>
                  </a:cubicBezTo>
                  <a:cubicBezTo>
                    <a:pt x="80743" y="13578"/>
                    <a:pt x="80743" y="14052"/>
                    <a:pt x="80743" y="14210"/>
                  </a:cubicBezTo>
                  <a:cubicBezTo>
                    <a:pt x="80743" y="14210"/>
                    <a:pt x="81412" y="14842"/>
                    <a:pt x="80297" y="14368"/>
                  </a:cubicBezTo>
                  <a:cubicBezTo>
                    <a:pt x="79182" y="13736"/>
                    <a:pt x="79182" y="13578"/>
                    <a:pt x="78736" y="13578"/>
                  </a:cubicBezTo>
                  <a:cubicBezTo>
                    <a:pt x="78513" y="13578"/>
                    <a:pt x="78066" y="13894"/>
                    <a:pt x="78066" y="13894"/>
                  </a:cubicBezTo>
                  <a:cubicBezTo>
                    <a:pt x="78066" y="13894"/>
                    <a:pt x="76728" y="13736"/>
                    <a:pt x="76728" y="13263"/>
                  </a:cubicBezTo>
                  <a:cubicBezTo>
                    <a:pt x="76505" y="12789"/>
                    <a:pt x="76951" y="12000"/>
                    <a:pt x="76059" y="12157"/>
                  </a:cubicBezTo>
                  <a:cubicBezTo>
                    <a:pt x="74944" y="12157"/>
                    <a:pt x="74721" y="12473"/>
                    <a:pt x="74721" y="12631"/>
                  </a:cubicBezTo>
                  <a:cubicBezTo>
                    <a:pt x="74721" y="12789"/>
                    <a:pt x="74052" y="12947"/>
                    <a:pt x="74721" y="13421"/>
                  </a:cubicBezTo>
                  <a:cubicBezTo>
                    <a:pt x="75390" y="13894"/>
                    <a:pt x="75836" y="14210"/>
                    <a:pt x="76059" y="14210"/>
                  </a:cubicBezTo>
                  <a:cubicBezTo>
                    <a:pt x="76059" y="14210"/>
                    <a:pt x="77397" y="14210"/>
                    <a:pt x="76728" y="14368"/>
                  </a:cubicBezTo>
                  <a:cubicBezTo>
                    <a:pt x="76282" y="14684"/>
                    <a:pt x="75390" y="14684"/>
                    <a:pt x="75167" y="14684"/>
                  </a:cubicBezTo>
                  <a:cubicBezTo>
                    <a:pt x="74944" y="14684"/>
                    <a:pt x="75167" y="14526"/>
                    <a:pt x="74944" y="14684"/>
                  </a:cubicBezTo>
                  <a:cubicBezTo>
                    <a:pt x="74498" y="14842"/>
                    <a:pt x="73382" y="15631"/>
                    <a:pt x="73382" y="15631"/>
                  </a:cubicBezTo>
                  <a:cubicBezTo>
                    <a:pt x="73382" y="15631"/>
                    <a:pt x="73159" y="15315"/>
                    <a:pt x="73159" y="15157"/>
                  </a:cubicBezTo>
                  <a:cubicBezTo>
                    <a:pt x="73159" y="15000"/>
                    <a:pt x="74052" y="14684"/>
                    <a:pt x="74052" y="14368"/>
                  </a:cubicBezTo>
                  <a:cubicBezTo>
                    <a:pt x="74052" y="14052"/>
                    <a:pt x="73605" y="12947"/>
                    <a:pt x="73605" y="12947"/>
                  </a:cubicBezTo>
                  <a:cubicBezTo>
                    <a:pt x="73605" y="12947"/>
                    <a:pt x="72713" y="12631"/>
                    <a:pt x="72713" y="12631"/>
                  </a:cubicBezTo>
                  <a:cubicBezTo>
                    <a:pt x="72490" y="12473"/>
                    <a:pt x="71821" y="12157"/>
                    <a:pt x="71598" y="12315"/>
                  </a:cubicBezTo>
                  <a:cubicBezTo>
                    <a:pt x="71375" y="12473"/>
                    <a:pt x="70929" y="12947"/>
                    <a:pt x="71375" y="13263"/>
                  </a:cubicBezTo>
                  <a:cubicBezTo>
                    <a:pt x="71821" y="13736"/>
                    <a:pt x="72267" y="14052"/>
                    <a:pt x="72044" y="14052"/>
                  </a:cubicBezTo>
                  <a:cubicBezTo>
                    <a:pt x="71598" y="14210"/>
                    <a:pt x="71375" y="14368"/>
                    <a:pt x="71152" y="14210"/>
                  </a:cubicBezTo>
                  <a:cubicBezTo>
                    <a:pt x="70929" y="14210"/>
                    <a:pt x="70483" y="13894"/>
                    <a:pt x="69814" y="14052"/>
                  </a:cubicBezTo>
                  <a:cubicBezTo>
                    <a:pt x="69144" y="14210"/>
                    <a:pt x="68475" y="15157"/>
                    <a:pt x="68475" y="15157"/>
                  </a:cubicBezTo>
                  <a:cubicBezTo>
                    <a:pt x="68475" y="15157"/>
                    <a:pt x="69144" y="16105"/>
                    <a:pt x="69368" y="16263"/>
                  </a:cubicBezTo>
                  <a:cubicBezTo>
                    <a:pt x="69591" y="16263"/>
                    <a:pt x="69814" y="16578"/>
                    <a:pt x="69814" y="16894"/>
                  </a:cubicBezTo>
                  <a:cubicBezTo>
                    <a:pt x="69591" y="17210"/>
                    <a:pt x="69814" y="16736"/>
                    <a:pt x="69368" y="16894"/>
                  </a:cubicBezTo>
                  <a:cubicBezTo>
                    <a:pt x="68698" y="17052"/>
                    <a:pt x="68475" y="17210"/>
                    <a:pt x="68029" y="17210"/>
                  </a:cubicBezTo>
                  <a:cubicBezTo>
                    <a:pt x="67583" y="17210"/>
                    <a:pt x="66468" y="18157"/>
                    <a:pt x="66468" y="18157"/>
                  </a:cubicBezTo>
                  <a:cubicBezTo>
                    <a:pt x="67137" y="18789"/>
                    <a:pt x="67137" y="18789"/>
                    <a:pt x="67137" y="18789"/>
                  </a:cubicBezTo>
                  <a:cubicBezTo>
                    <a:pt x="67137" y="18789"/>
                    <a:pt x="65353" y="19263"/>
                    <a:pt x="64907" y="19421"/>
                  </a:cubicBezTo>
                  <a:cubicBezTo>
                    <a:pt x="64684" y="19421"/>
                    <a:pt x="65576" y="19263"/>
                    <a:pt x="64460" y="19421"/>
                  </a:cubicBezTo>
                  <a:cubicBezTo>
                    <a:pt x="63568" y="19736"/>
                    <a:pt x="62899" y="20368"/>
                    <a:pt x="62676" y="20684"/>
                  </a:cubicBezTo>
                  <a:cubicBezTo>
                    <a:pt x="62676" y="20842"/>
                    <a:pt x="61784" y="20842"/>
                    <a:pt x="61784" y="21315"/>
                  </a:cubicBezTo>
                  <a:cubicBezTo>
                    <a:pt x="61784" y="21631"/>
                    <a:pt x="62007" y="22263"/>
                    <a:pt x="61784" y="22421"/>
                  </a:cubicBezTo>
                  <a:cubicBezTo>
                    <a:pt x="61784" y="22578"/>
                    <a:pt x="61784" y="22578"/>
                    <a:pt x="61784" y="22894"/>
                  </a:cubicBezTo>
                  <a:cubicBezTo>
                    <a:pt x="61784" y="23210"/>
                    <a:pt x="61561" y="23526"/>
                    <a:pt x="62230" y="23526"/>
                  </a:cubicBezTo>
                  <a:cubicBezTo>
                    <a:pt x="62899" y="23526"/>
                    <a:pt x="63791" y="23210"/>
                    <a:pt x="64014" y="23052"/>
                  </a:cubicBezTo>
                  <a:cubicBezTo>
                    <a:pt x="64014" y="22894"/>
                    <a:pt x="64237" y="22263"/>
                    <a:pt x="64460" y="22578"/>
                  </a:cubicBezTo>
                  <a:cubicBezTo>
                    <a:pt x="64907" y="22736"/>
                    <a:pt x="64907" y="23368"/>
                    <a:pt x="64907" y="23368"/>
                  </a:cubicBezTo>
                  <a:cubicBezTo>
                    <a:pt x="64907" y="23368"/>
                    <a:pt x="64907" y="24000"/>
                    <a:pt x="64907" y="24157"/>
                  </a:cubicBezTo>
                  <a:cubicBezTo>
                    <a:pt x="64684" y="24473"/>
                    <a:pt x="66245" y="24157"/>
                    <a:pt x="64684" y="24631"/>
                  </a:cubicBezTo>
                  <a:cubicBezTo>
                    <a:pt x="63122" y="25263"/>
                    <a:pt x="62676" y="25263"/>
                    <a:pt x="62676" y="25421"/>
                  </a:cubicBezTo>
                  <a:cubicBezTo>
                    <a:pt x="62676" y="25736"/>
                    <a:pt x="63568" y="26526"/>
                    <a:pt x="62453" y="26210"/>
                  </a:cubicBezTo>
                  <a:cubicBezTo>
                    <a:pt x="61338" y="26052"/>
                    <a:pt x="61338" y="26210"/>
                    <a:pt x="61338" y="26052"/>
                  </a:cubicBezTo>
                  <a:cubicBezTo>
                    <a:pt x="61115" y="25894"/>
                    <a:pt x="61561" y="26842"/>
                    <a:pt x="60223" y="25421"/>
                  </a:cubicBezTo>
                  <a:cubicBezTo>
                    <a:pt x="58884" y="24000"/>
                    <a:pt x="58884" y="24157"/>
                    <a:pt x="58884" y="23842"/>
                  </a:cubicBezTo>
                  <a:cubicBezTo>
                    <a:pt x="58884" y="23526"/>
                    <a:pt x="58661" y="22421"/>
                    <a:pt x="58661" y="22421"/>
                  </a:cubicBezTo>
                  <a:cubicBezTo>
                    <a:pt x="58661" y="22421"/>
                    <a:pt x="58438" y="21315"/>
                    <a:pt x="57769" y="21789"/>
                  </a:cubicBezTo>
                  <a:cubicBezTo>
                    <a:pt x="56877" y="22263"/>
                    <a:pt x="56877" y="23052"/>
                    <a:pt x="56877" y="23052"/>
                  </a:cubicBezTo>
                  <a:cubicBezTo>
                    <a:pt x="56877" y="23052"/>
                    <a:pt x="55762" y="23842"/>
                    <a:pt x="55539" y="24000"/>
                  </a:cubicBezTo>
                  <a:cubicBezTo>
                    <a:pt x="55315" y="24000"/>
                    <a:pt x="54869" y="24000"/>
                    <a:pt x="54200" y="24315"/>
                  </a:cubicBezTo>
                  <a:cubicBezTo>
                    <a:pt x="53754" y="24789"/>
                    <a:pt x="52193" y="26368"/>
                    <a:pt x="52193" y="26368"/>
                  </a:cubicBezTo>
                  <a:cubicBezTo>
                    <a:pt x="52193" y="26368"/>
                    <a:pt x="51301" y="27473"/>
                    <a:pt x="51524" y="27789"/>
                  </a:cubicBezTo>
                  <a:cubicBezTo>
                    <a:pt x="51747" y="28105"/>
                    <a:pt x="52416" y="28578"/>
                    <a:pt x="52416" y="28578"/>
                  </a:cubicBezTo>
                  <a:cubicBezTo>
                    <a:pt x="52416" y="28578"/>
                    <a:pt x="52639" y="28421"/>
                    <a:pt x="52639" y="28894"/>
                  </a:cubicBezTo>
                  <a:cubicBezTo>
                    <a:pt x="52639" y="29368"/>
                    <a:pt x="53754" y="29526"/>
                    <a:pt x="53754" y="29526"/>
                  </a:cubicBezTo>
                  <a:cubicBezTo>
                    <a:pt x="53754" y="29526"/>
                    <a:pt x="54200" y="29684"/>
                    <a:pt x="53754" y="30000"/>
                  </a:cubicBezTo>
                  <a:cubicBezTo>
                    <a:pt x="53085" y="30315"/>
                    <a:pt x="51301" y="30473"/>
                    <a:pt x="51301" y="30473"/>
                  </a:cubicBezTo>
                  <a:cubicBezTo>
                    <a:pt x="49516" y="30473"/>
                    <a:pt x="49516" y="30473"/>
                    <a:pt x="49516" y="30473"/>
                  </a:cubicBezTo>
                  <a:cubicBezTo>
                    <a:pt x="49516" y="30473"/>
                    <a:pt x="48624" y="31263"/>
                    <a:pt x="48401" y="31263"/>
                  </a:cubicBezTo>
                  <a:cubicBezTo>
                    <a:pt x="47955" y="31421"/>
                    <a:pt x="47286" y="31736"/>
                    <a:pt x="47063" y="32210"/>
                  </a:cubicBezTo>
                  <a:cubicBezTo>
                    <a:pt x="47063" y="32526"/>
                    <a:pt x="45055" y="33789"/>
                    <a:pt x="45055" y="33789"/>
                  </a:cubicBezTo>
                  <a:cubicBezTo>
                    <a:pt x="45055" y="33789"/>
                    <a:pt x="45055" y="34263"/>
                    <a:pt x="45055" y="34421"/>
                  </a:cubicBezTo>
                  <a:cubicBezTo>
                    <a:pt x="45055" y="34578"/>
                    <a:pt x="44163" y="34894"/>
                    <a:pt x="44609" y="35052"/>
                  </a:cubicBezTo>
                  <a:cubicBezTo>
                    <a:pt x="45055" y="35210"/>
                    <a:pt x="45724" y="35368"/>
                    <a:pt x="46171" y="34736"/>
                  </a:cubicBezTo>
                  <a:cubicBezTo>
                    <a:pt x="46617" y="34263"/>
                    <a:pt x="46617" y="33473"/>
                    <a:pt x="46617" y="33473"/>
                  </a:cubicBezTo>
                  <a:cubicBezTo>
                    <a:pt x="46617" y="33473"/>
                    <a:pt x="47063" y="33157"/>
                    <a:pt x="47509" y="33157"/>
                  </a:cubicBezTo>
                  <a:cubicBezTo>
                    <a:pt x="48178" y="33157"/>
                    <a:pt x="48847" y="32684"/>
                    <a:pt x="49516" y="32526"/>
                  </a:cubicBezTo>
                  <a:cubicBezTo>
                    <a:pt x="50185" y="32526"/>
                    <a:pt x="51078" y="31736"/>
                    <a:pt x="51301" y="31736"/>
                  </a:cubicBezTo>
                  <a:cubicBezTo>
                    <a:pt x="51747" y="31736"/>
                    <a:pt x="51524" y="31894"/>
                    <a:pt x="52416" y="31736"/>
                  </a:cubicBezTo>
                  <a:cubicBezTo>
                    <a:pt x="53308" y="31736"/>
                    <a:pt x="54200" y="31736"/>
                    <a:pt x="54423" y="31578"/>
                  </a:cubicBezTo>
                  <a:cubicBezTo>
                    <a:pt x="54869" y="31421"/>
                    <a:pt x="56654" y="32210"/>
                    <a:pt x="56877" y="32368"/>
                  </a:cubicBezTo>
                  <a:cubicBezTo>
                    <a:pt x="56877" y="32526"/>
                    <a:pt x="55315" y="32684"/>
                    <a:pt x="55985" y="33000"/>
                  </a:cubicBezTo>
                  <a:cubicBezTo>
                    <a:pt x="56877" y="33315"/>
                    <a:pt x="56877" y="33473"/>
                    <a:pt x="57100" y="33473"/>
                  </a:cubicBezTo>
                  <a:cubicBezTo>
                    <a:pt x="57323" y="33473"/>
                    <a:pt x="57769" y="33315"/>
                    <a:pt x="58438" y="33157"/>
                  </a:cubicBezTo>
                  <a:cubicBezTo>
                    <a:pt x="58884" y="32842"/>
                    <a:pt x="57992" y="32368"/>
                    <a:pt x="59330" y="32684"/>
                  </a:cubicBezTo>
                  <a:cubicBezTo>
                    <a:pt x="60446" y="33000"/>
                    <a:pt x="60446" y="33315"/>
                    <a:pt x="60446" y="33315"/>
                  </a:cubicBezTo>
                  <a:cubicBezTo>
                    <a:pt x="60223" y="33631"/>
                    <a:pt x="60223" y="33631"/>
                    <a:pt x="60223" y="33631"/>
                  </a:cubicBezTo>
                  <a:cubicBezTo>
                    <a:pt x="59330" y="33789"/>
                    <a:pt x="59330" y="33789"/>
                    <a:pt x="59330" y="33789"/>
                  </a:cubicBezTo>
                  <a:cubicBezTo>
                    <a:pt x="57992" y="33631"/>
                    <a:pt x="57992" y="33631"/>
                    <a:pt x="57992" y="33631"/>
                  </a:cubicBezTo>
                  <a:cubicBezTo>
                    <a:pt x="57100" y="33947"/>
                    <a:pt x="57100" y="33947"/>
                    <a:pt x="57100" y="33947"/>
                  </a:cubicBezTo>
                  <a:cubicBezTo>
                    <a:pt x="57100" y="33947"/>
                    <a:pt x="56877" y="34105"/>
                    <a:pt x="56654" y="34105"/>
                  </a:cubicBezTo>
                  <a:cubicBezTo>
                    <a:pt x="56654" y="34105"/>
                    <a:pt x="54646" y="34263"/>
                    <a:pt x="54646" y="34263"/>
                  </a:cubicBezTo>
                  <a:cubicBezTo>
                    <a:pt x="53754" y="35210"/>
                    <a:pt x="53754" y="35210"/>
                    <a:pt x="53754" y="35210"/>
                  </a:cubicBezTo>
                  <a:cubicBezTo>
                    <a:pt x="53754" y="35210"/>
                    <a:pt x="54423" y="35842"/>
                    <a:pt x="54423" y="35842"/>
                  </a:cubicBezTo>
                  <a:cubicBezTo>
                    <a:pt x="54646" y="35842"/>
                    <a:pt x="55985" y="35526"/>
                    <a:pt x="55985" y="35684"/>
                  </a:cubicBezTo>
                  <a:cubicBezTo>
                    <a:pt x="56208" y="35684"/>
                    <a:pt x="56431" y="36000"/>
                    <a:pt x="56208" y="36157"/>
                  </a:cubicBezTo>
                  <a:cubicBezTo>
                    <a:pt x="56208" y="36315"/>
                    <a:pt x="55315" y="36789"/>
                    <a:pt x="55315" y="36789"/>
                  </a:cubicBezTo>
                  <a:cubicBezTo>
                    <a:pt x="54869" y="37421"/>
                    <a:pt x="54869" y="37421"/>
                    <a:pt x="54869" y="37421"/>
                  </a:cubicBezTo>
                  <a:cubicBezTo>
                    <a:pt x="54869" y="37421"/>
                    <a:pt x="55762" y="37578"/>
                    <a:pt x="55985" y="37578"/>
                  </a:cubicBezTo>
                  <a:cubicBezTo>
                    <a:pt x="55985" y="37578"/>
                    <a:pt x="57323" y="37578"/>
                    <a:pt x="57100" y="37736"/>
                  </a:cubicBezTo>
                  <a:cubicBezTo>
                    <a:pt x="57100" y="37736"/>
                    <a:pt x="55092" y="37894"/>
                    <a:pt x="55092" y="37894"/>
                  </a:cubicBezTo>
                  <a:cubicBezTo>
                    <a:pt x="55092" y="37894"/>
                    <a:pt x="53308" y="37736"/>
                    <a:pt x="53531" y="37736"/>
                  </a:cubicBezTo>
                  <a:cubicBezTo>
                    <a:pt x="53531" y="37894"/>
                    <a:pt x="53308" y="38210"/>
                    <a:pt x="53308" y="38368"/>
                  </a:cubicBezTo>
                  <a:cubicBezTo>
                    <a:pt x="53308" y="38368"/>
                    <a:pt x="52862" y="38842"/>
                    <a:pt x="52862" y="38842"/>
                  </a:cubicBezTo>
                  <a:cubicBezTo>
                    <a:pt x="52639" y="38842"/>
                    <a:pt x="52193" y="38842"/>
                    <a:pt x="51970" y="39000"/>
                  </a:cubicBezTo>
                  <a:cubicBezTo>
                    <a:pt x="51970" y="39157"/>
                    <a:pt x="51747" y="39473"/>
                    <a:pt x="51747" y="39789"/>
                  </a:cubicBezTo>
                  <a:cubicBezTo>
                    <a:pt x="51747" y="39947"/>
                    <a:pt x="52416" y="40421"/>
                    <a:pt x="52416" y="40421"/>
                  </a:cubicBezTo>
                  <a:cubicBezTo>
                    <a:pt x="52193" y="40736"/>
                    <a:pt x="52193" y="40736"/>
                    <a:pt x="52193" y="40736"/>
                  </a:cubicBezTo>
                  <a:cubicBezTo>
                    <a:pt x="51301" y="41368"/>
                    <a:pt x="51301" y="41368"/>
                    <a:pt x="51301" y="41368"/>
                  </a:cubicBezTo>
                  <a:cubicBezTo>
                    <a:pt x="51301" y="41368"/>
                    <a:pt x="50855" y="41526"/>
                    <a:pt x="50855" y="41684"/>
                  </a:cubicBezTo>
                  <a:cubicBezTo>
                    <a:pt x="51078" y="41684"/>
                    <a:pt x="50185" y="42000"/>
                    <a:pt x="50185" y="42000"/>
                  </a:cubicBezTo>
                  <a:cubicBezTo>
                    <a:pt x="48624" y="42631"/>
                    <a:pt x="48624" y="42631"/>
                    <a:pt x="48624" y="42631"/>
                  </a:cubicBezTo>
                  <a:cubicBezTo>
                    <a:pt x="48624" y="42631"/>
                    <a:pt x="48847" y="43105"/>
                    <a:pt x="48847" y="43263"/>
                  </a:cubicBezTo>
                  <a:cubicBezTo>
                    <a:pt x="48847" y="43263"/>
                    <a:pt x="49516" y="43578"/>
                    <a:pt x="49070" y="43894"/>
                  </a:cubicBezTo>
                  <a:cubicBezTo>
                    <a:pt x="48624" y="44052"/>
                    <a:pt x="48178" y="44210"/>
                    <a:pt x="47955" y="44368"/>
                  </a:cubicBezTo>
                  <a:cubicBezTo>
                    <a:pt x="47955" y="44368"/>
                    <a:pt x="47509" y="44526"/>
                    <a:pt x="47509" y="45000"/>
                  </a:cubicBezTo>
                  <a:cubicBezTo>
                    <a:pt x="47732" y="45315"/>
                    <a:pt x="47286" y="45789"/>
                    <a:pt x="47063" y="45789"/>
                  </a:cubicBezTo>
                  <a:cubicBezTo>
                    <a:pt x="47063" y="45789"/>
                    <a:pt x="46617" y="45947"/>
                    <a:pt x="46617" y="46421"/>
                  </a:cubicBezTo>
                  <a:cubicBezTo>
                    <a:pt x="46840" y="46736"/>
                    <a:pt x="46617" y="47842"/>
                    <a:pt x="46617" y="47842"/>
                  </a:cubicBezTo>
                  <a:cubicBezTo>
                    <a:pt x="46617" y="47842"/>
                    <a:pt x="47286" y="48473"/>
                    <a:pt x="47509" y="48473"/>
                  </a:cubicBezTo>
                  <a:cubicBezTo>
                    <a:pt x="47509" y="48473"/>
                    <a:pt x="48624" y="48157"/>
                    <a:pt x="48847" y="48315"/>
                  </a:cubicBezTo>
                  <a:cubicBezTo>
                    <a:pt x="49293" y="48315"/>
                    <a:pt x="49962" y="48631"/>
                    <a:pt x="49962" y="48631"/>
                  </a:cubicBezTo>
                  <a:cubicBezTo>
                    <a:pt x="49962" y="48631"/>
                    <a:pt x="49739" y="49421"/>
                    <a:pt x="49516" y="49578"/>
                  </a:cubicBezTo>
                  <a:cubicBezTo>
                    <a:pt x="49293" y="49578"/>
                    <a:pt x="47955" y="49736"/>
                    <a:pt x="47955" y="49736"/>
                  </a:cubicBezTo>
                  <a:cubicBezTo>
                    <a:pt x="47955" y="49736"/>
                    <a:pt x="47286" y="49421"/>
                    <a:pt x="47063" y="49421"/>
                  </a:cubicBezTo>
                  <a:cubicBezTo>
                    <a:pt x="46840" y="49578"/>
                    <a:pt x="45724" y="50368"/>
                    <a:pt x="45724" y="50368"/>
                  </a:cubicBezTo>
                  <a:cubicBezTo>
                    <a:pt x="45724" y="50368"/>
                    <a:pt x="45724" y="50842"/>
                    <a:pt x="45501" y="50842"/>
                  </a:cubicBezTo>
                  <a:cubicBezTo>
                    <a:pt x="45055" y="51000"/>
                    <a:pt x="44832" y="50684"/>
                    <a:pt x="44832" y="51000"/>
                  </a:cubicBezTo>
                  <a:cubicBezTo>
                    <a:pt x="44832" y="51157"/>
                    <a:pt x="44832" y="51631"/>
                    <a:pt x="44832" y="51789"/>
                  </a:cubicBezTo>
                  <a:cubicBezTo>
                    <a:pt x="44832" y="52105"/>
                    <a:pt x="44832" y="52578"/>
                    <a:pt x="44832" y="52578"/>
                  </a:cubicBezTo>
                  <a:cubicBezTo>
                    <a:pt x="44832" y="52578"/>
                    <a:pt x="44386" y="53210"/>
                    <a:pt x="44163" y="53526"/>
                  </a:cubicBezTo>
                  <a:cubicBezTo>
                    <a:pt x="43940" y="53842"/>
                    <a:pt x="43494" y="54631"/>
                    <a:pt x="43494" y="54789"/>
                  </a:cubicBezTo>
                  <a:cubicBezTo>
                    <a:pt x="43717" y="54947"/>
                    <a:pt x="44163" y="55736"/>
                    <a:pt x="44163" y="55736"/>
                  </a:cubicBezTo>
                  <a:cubicBezTo>
                    <a:pt x="42602" y="56368"/>
                    <a:pt x="42602" y="56368"/>
                    <a:pt x="42602" y="56368"/>
                  </a:cubicBezTo>
                  <a:cubicBezTo>
                    <a:pt x="43048" y="57157"/>
                    <a:pt x="43048" y="57157"/>
                    <a:pt x="43048" y="57157"/>
                  </a:cubicBezTo>
                  <a:cubicBezTo>
                    <a:pt x="43048" y="57157"/>
                    <a:pt x="43271" y="57157"/>
                    <a:pt x="43271" y="57315"/>
                  </a:cubicBezTo>
                  <a:cubicBezTo>
                    <a:pt x="43271" y="57631"/>
                    <a:pt x="42156" y="58105"/>
                    <a:pt x="42156" y="58105"/>
                  </a:cubicBezTo>
                  <a:cubicBezTo>
                    <a:pt x="42156" y="58105"/>
                    <a:pt x="42156" y="58894"/>
                    <a:pt x="42156" y="59052"/>
                  </a:cubicBezTo>
                  <a:cubicBezTo>
                    <a:pt x="42156" y="59210"/>
                    <a:pt x="41040" y="58578"/>
                    <a:pt x="41040" y="58578"/>
                  </a:cubicBezTo>
                  <a:cubicBezTo>
                    <a:pt x="40148" y="58736"/>
                    <a:pt x="40148" y="58736"/>
                    <a:pt x="40148" y="58736"/>
                  </a:cubicBezTo>
                  <a:cubicBezTo>
                    <a:pt x="40148" y="59368"/>
                    <a:pt x="40148" y="59368"/>
                    <a:pt x="40148" y="59368"/>
                  </a:cubicBezTo>
                  <a:cubicBezTo>
                    <a:pt x="39702" y="60000"/>
                    <a:pt x="39702" y="60000"/>
                    <a:pt x="39702" y="60000"/>
                  </a:cubicBezTo>
                  <a:cubicBezTo>
                    <a:pt x="38141" y="60000"/>
                    <a:pt x="38141" y="60000"/>
                    <a:pt x="38141" y="60000"/>
                  </a:cubicBezTo>
                  <a:cubicBezTo>
                    <a:pt x="38141" y="60000"/>
                    <a:pt x="36802" y="60631"/>
                    <a:pt x="36802" y="60631"/>
                  </a:cubicBezTo>
                  <a:cubicBezTo>
                    <a:pt x="37026" y="60789"/>
                    <a:pt x="36356" y="61263"/>
                    <a:pt x="37026" y="61263"/>
                  </a:cubicBezTo>
                  <a:cubicBezTo>
                    <a:pt x="37472" y="61263"/>
                    <a:pt x="37695" y="61263"/>
                    <a:pt x="37918" y="61263"/>
                  </a:cubicBezTo>
                  <a:cubicBezTo>
                    <a:pt x="38364" y="61105"/>
                    <a:pt x="39256" y="60789"/>
                    <a:pt x="39479" y="60789"/>
                  </a:cubicBezTo>
                  <a:cubicBezTo>
                    <a:pt x="39702" y="60789"/>
                    <a:pt x="40371" y="60789"/>
                    <a:pt x="39925" y="61105"/>
                  </a:cubicBezTo>
                  <a:cubicBezTo>
                    <a:pt x="39479" y="61421"/>
                    <a:pt x="39033" y="61421"/>
                    <a:pt x="38810" y="61578"/>
                  </a:cubicBezTo>
                  <a:cubicBezTo>
                    <a:pt x="38364" y="61736"/>
                    <a:pt x="37695" y="61736"/>
                    <a:pt x="37695" y="62210"/>
                  </a:cubicBezTo>
                  <a:cubicBezTo>
                    <a:pt x="37695" y="62684"/>
                    <a:pt x="37472" y="63157"/>
                    <a:pt x="37472" y="63157"/>
                  </a:cubicBezTo>
                  <a:cubicBezTo>
                    <a:pt x="39033" y="62842"/>
                    <a:pt x="39033" y="62842"/>
                    <a:pt x="39033" y="62842"/>
                  </a:cubicBezTo>
                  <a:cubicBezTo>
                    <a:pt x="39033" y="62842"/>
                    <a:pt x="39479" y="62684"/>
                    <a:pt x="39479" y="63157"/>
                  </a:cubicBezTo>
                  <a:cubicBezTo>
                    <a:pt x="39702" y="63789"/>
                    <a:pt x="39033" y="63947"/>
                    <a:pt x="38587" y="63947"/>
                  </a:cubicBezTo>
                  <a:cubicBezTo>
                    <a:pt x="38364" y="63947"/>
                    <a:pt x="37249" y="63315"/>
                    <a:pt x="37249" y="63315"/>
                  </a:cubicBezTo>
                  <a:cubicBezTo>
                    <a:pt x="36356" y="63789"/>
                    <a:pt x="36356" y="63789"/>
                    <a:pt x="36356" y="63789"/>
                  </a:cubicBezTo>
                  <a:cubicBezTo>
                    <a:pt x="36356" y="63789"/>
                    <a:pt x="36133" y="63631"/>
                    <a:pt x="35241" y="64105"/>
                  </a:cubicBezTo>
                  <a:cubicBezTo>
                    <a:pt x="34349" y="64736"/>
                    <a:pt x="33903" y="65526"/>
                    <a:pt x="33903" y="65684"/>
                  </a:cubicBezTo>
                  <a:cubicBezTo>
                    <a:pt x="33903" y="65842"/>
                    <a:pt x="33903" y="66157"/>
                    <a:pt x="33234" y="66473"/>
                  </a:cubicBezTo>
                  <a:cubicBezTo>
                    <a:pt x="32788" y="66631"/>
                    <a:pt x="32118" y="67105"/>
                    <a:pt x="32118" y="67105"/>
                  </a:cubicBezTo>
                  <a:cubicBezTo>
                    <a:pt x="32118" y="67105"/>
                    <a:pt x="31895" y="67578"/>
                    <a:pt x="31672" y="67894"/>
                  </a:cubicBezTo>
                  <a:cubicBezTo>
                    <a:pt x="31449" y="68210"/>
                    <a:pt x="31449" y="68210"/>
                    <a:pt x="31449" y="68210"/>
                  </a:cubicBezTo>
                  <a:cubicBezTo>
                    <a:pt x="32342" y="68842"/>
                    <a:pt x="32342" y="68842"/>
                    <a:pt x="32342" y="68842"/>
                  </a:cubicBezTo>
                  <a:cubicBezTo>
                    <a:pt x="30780" y="69473"/>
                    <a:pt x="30780" y="69473"/>
                    <a:pt x="30780" y="69473"/>
                  </a:cubicBezTo>
                  <a:cubicBezTo>
                    <a:pt x="30111" y="69789"/>
                    <a:pt x="30111" y="69789"/>
                    <a:pt x="30111" y="69789"/>
                  </a:cubicBezTo>
                  <a:cubicBezTo>
                    <a:pt x="30111" y="69789"/>
                    <a:pt x="28773" y="70736"/>
                    <a:pt x="29665" y="70894"/>
                  </a:cubicBezTo>
                  <a:cubicBezTo>
                    <a:pt x="30780" y="71052"/>
                    <a:pt x="31449" y="71052"/>
                    <a:pt x="31449" y="71052"/>
                  </a:cubicBezTo>
                  <a:cubicBezTo>
                    <a:pt x="31449" y="71052"/>
                    <a:pt x="31226" y="72000"/>
                    <a:pt x="31449" y="72000"/>
                  </a:cubicBezTo>
                  <a:cubicBezTo>
                    <a:pt x="31672" y="72000"/>
                    <a:pt x="33680" y="72000"/>
                    <a:pt x="33680" y="72000"/>
                  </a:cubicBezTo>
                  <a:cubicBezTo>
                    <a:pt x="34795" y="71368"/>
                    <a:pt x="34795" y="71368"/>
                    <a:pt x="34795" y="71368"/>
                  </a:cubicBezTo>
                  <a:cubicBezTo>
                    <a:pt x="35464" y="71052"/>
                    <a:pt x="35464" y="71052"/>
                    <a:pt x="35464" y="71052"/>
                  </a:cubicBezTo>
                  <a:cubicBezTo>
                    <a:pt x="35910" y="71684"/>
                    <a:pt x="35910" y="71684"/>
                    <a:pt x="35910" y="71684"/>
                  </a:cubicBezTo>
                  <a:cubicBezTo>
                    <a:pt x="35910" y="71684"/>
                    <a:pt x="35464" y="72157"/>
                    <a:pt x="35018" y="72157"/>
                  </a:cubicBezTo>
                  <a:cubicBezTo>
                    <a:pt x="34349" y="72157"/>
                    <a:pt x="34572" y="72157"/>
                    <a:pt x="34126" y="72473"/>
                  </a:cubicBezTo>
                  <a:cubicBezTo>
                    <a:pt x="33457" y="72947"/>
                    <a:pt x="33234" y="73105"/>
                    <a:pt x="32788" y="73105"/>
                  </a:cubicBezTo>
                  <a:cubicBezTo>
                    <a:pt x="32565" y="73105"/>
                    <a:pt x="32118" y="73578"/>
                    <a:pt x="31672" y="72947"/>
                  </a:cubicBezTo>
                  <a:cubicBezTo>
                    <a:pt x="31449" y="72473"/>
                    <a:pt x="31003" y="72000"/>
                    <a:pt x="31003" y="72000"/>
                  </a:cubicBezTo>
                  <a:cubicBezTo>
                    <a:pt x="28996" y="71368"/>
                    <a:pt x="28996" y="71368"/>
                    <a:pt x="28996" y="71368"/>
                  </a:cubicBezTo>
                  <a:cubicBezTo>
                    <a:pt x="28550" y="71526"/>
                    <a:pt x="28550" y="71526"/>
                    <a:pt x="28550" y="71526"/>
                  </a:cubicBezTo>
                  <a:cubicBezTo>
                    <a:pt x="28550" y="71526"/>
                    <a:pt x="28327" y="72157"/>
                    <a:pt x="28104" y="72157"/>
                  </a:cubicBezTo>
                  <a:cubicBezTo>
                    <a:pt x="27881" y="72157"/>
                    <a:pt x="26542" y="72157"/>
                    <a:pt x="26096" y="72157"/>
                  </a:cubicBezTo>
                  <a:cubicBezTo>
                    <a:pt x="25873" y="72157"/>
                    <a:pt x="25427" y="72157"/>
                    <a:pt x="25427" y="72000"/>
                  </a:cubicBezTo>
                  <a:cubicBezTo>
                    <a:pt x="25204" y="71684"/>
                    <a:pt x="25427" y="71684"/>
                    <a:pt x="25204" y="71526"/>
                  </a:cubicBezTo>
                  <a:cubicBezTo>
                    <a:pt x="24981" y="71368"/>
                    <a:pt x="24535" y="70736"/>
                    <a:pt x="24089" y="70894"/>
                  </a:cubicBezTo>
                  <a:cubicBezTo>
                    <a:pt x="23866" y="70894"/>
                    <a:pt x="22750" y="71210"/>
                    <a:pt x="22750" y="71210"/>
                  </a:cubicBezTo>
                  <a:cubicBezTo>
                    <a:pt x="22527" y="72473"/>
                    <a:pt x="22527" y="72473"/>
                    <a:pt x="22527" y="72473"/>
                  </a:cubicBezTo>
                  <a:cubicBezTo>
                    <a:pt x="22527" y="72473"/>
                    <a:pt x="21858" y="72473"/>
                    <a:pt x="22081" y="72789"/>
                  </a:cubicBezTo>
                  <a:cubicBezTo>
                    <a:pt x="22081" y="73105"/>
                    <a:pt x="22973" y="73421"/>
                    <a:pt x="22973" y="73421"/>
                  </a:cubicBezTo>
                  <a:cubicBezTo>
                    <a:pt x="22973" y="73421"/>
                    <a:pt x="23420" y="73736"/>
                    <a:pt x="23420" y="73894"/>
                  </a:cubicBezTo>
                  <a:cubicBezTo>
                    <a:pt x="23643" y="74210"/>
                    <a:pt x="22973" y="74526"/>
                    <a:pt x="22973" y="74526"/>
                  </a:cubicBezTo>
                  <a:cubicBezTo>
                    <a:pt x="22973" y="74526"/>
                    <a:pt x="21858" y="74526"/>
                    <a:pt x="21635" y="74842"/>
                  </a:cubicBezTo>
                  <a:cubicBezTo>
                    <a:pt x="21635" y="75000"/>
                    <a:pt x="21858" y="75473"/>
                    <a:pt x="21635" y="75473"/>
                  </a:cubicBezTo>
                  <a:cubicBezTo>
                    <a:pt x="21412" y="75631"/>
                    <a:pt x="21189" y="75947"/>
                    <a:pt x="21189" y="76105"/>
                  </a:cubicBezTo>
                  <a:cubicBezTo>
                    <a:pt x="21189" y="76105"/>
                    <a:pt x="21635" y="76894"/>
                    <a:pt x="21635" y="76894"/>
                  </a:cubicBezTo>
                  <a:cubicBezTo>
                    <a:pt x="21635" y="76894"/>
                    <a:pt x="21635" y="77526"/>
                    <a:pt x="21189" y="77210"/>
                  </a:cubicBezTo>
                  <a:cubicBezTo>
                    <a:pt x="20743" y="76894"/>
                    <a:pt x="19405" y="76421"/>
                    <a:pt x="19405" y="76421"/>
                  </a:cubicBezTo>
                  <a:cubicBezTo>
                    <a:pt x="18513" y="75947"/>
                    <a:pt x="18513" y="75947"/>
                    <a:pt x="18513" y="75947"/>
                  </a:cubicBezTo>
                  <a:cubicBezTo>
                    <a:pt x="18513" y="75947"/>
                    <a:pt x="17620" y="76421"/>
                    <a:pt x="17397" y="76421"/>
                  </a:cubicBezTo>
                  <a:cubicBezTo>
                    <a:pt x="17397" y="76578"/>
                    <a:pt x="15836" y="76421"/>
                    <a:pt x="15390" y="76578"/>
                  </a:cubicBezTo>
                  <a:cubicBezTo>
                    <a:pt x="15167" y="76736"/>
                    <a:pt x="15167" y="76894"/>
                    <a:pt x="14944" y="77210"/>
                  </a:cubicBezTo>
                  <a:cubicBezTo>
                    <a:pt x="14498" y="77526"/>
                    <a:pt x="13828" y="77526"/>
                    <a:pt x="14498" y="78000"/>
                  </a:cubicBezTo>
                  <a:cubicBezTo>
                    <a:pt x="14944" y="78473"/>
                    <a:pt x="16059" y="78631"/>
                    <a:pt x="16059" y="78631"/>
                  </a:cubicBezTo>
                  <a:cubicBezTo>
                    <a:pt x="16059" y="78631"/>
                    <a:pt x="16505" y="78789"/>
                    <a:pt x="16059" y="79263"/>
                  </a:cubicBezTo>
                  <a:cubicBezTo>
                    <a:pt x="15613" y="79894"/>
                    <a:pt x="14721" y="79421"/>
                    <a:pt x="14498" y="79421"/>
                  </a:cubicBezTo>
                  <a:cubicBezTo>
                    <a:pt x="14275" y="79263"/>
                    <a:pt x="13382" y="78789"/>
                    <a:pt x="13159" y="78947"/>
                  </a:cubicBezTo>
                  <a:cubicBezTo>
                    <a:pt x="12936" y="79105"/>
                    <a:pt x="12267" y="79894"/>
                    <a:pt x="12267" y="79894"/>
                  </a:cubicBezTo>
                  <a:cubicBezTo>
                    <a:pt x="12267" y="79894"/>
                    <a:pt x="11598" y="80052"/>
                    <a:pt x="11375" y="79894"/>
                  </a:cubicBezTo>
                  <a:cubicBezTo>
                    <a:pt x="11152" y="79894"/>
                    <a:pt x="10483" y="79105"/>
                    <a:pt x="10260" y="79263"/>
                  </a:cubicBezTo>
                  <a:cubicBezTo>
                    <a:pt x="10037" y="79421"/>
                    <a:pt x="9814" y="79736"/>
                    <a:pt x="9814" y="79894"/>
                  </a:cubicBezTo>
                  <a:cubicBezTo>
                    <a:pt x="9814" y="80052"/>
                    <a:pt x="10260" y="80368"/>
                    <a:pt x="10037" y="80526"/>
                  </a:cubicBezTo>
                  <a:cubicBezTo>
                    <a:pt x="10037" y="80684"/>
                    <a:pt x="8921" y="80842"/>
                    <a:pt x="8698" y="81000"/>
                  </a:cubicBezTo>
                  <a:cubicBezTo>
                    <a:pt x="8698" y="81157"/>
                    <a:pt x="8698" y="80842"/>
                    <a:pt x="8252" y="81473"/>
                  </a:cubicBezTo>
                  <a:cubicBezTo>
                    <a:pt x="8029" y="82105"/>
                    <a:pt x="8252" y="82105"/>
                    <a:pt x="8029" y="82105"/>
                  </a:cubicBezTo>
                  <a:cubicBezTo>
                    <a:pt x="7583" y="82263"/>
                    <a:pt x="6691" y="81789"/>
                    <a:pt x="6691" y="81789"/>
                  </a:cubicBezTo>
                  <a:cubicBezTo>
                    <a:pt x="6691" y="81789"/>
                    <a:pt x="6022" y="81315"/>
                    <a:pt x="6022" y="81789"/>
                  </a:cubicBezTo>
                  <a:cubicBezTo>
                    <a:pt x="6022" y="82421"/>
                    <a:pt x="5799" y="83052"/>
                    <a:pt x="5799" y="83052"/>
                  </a:cubicBezTo>
                  <a:cubicBezTo>
                    <a:pt x="6468" y="83368"/>
                    <a:pt x="6468" y="83368"/>
                    <a:pt x="6468" y="83368"/>
                  </a:cubicBezTo>
                  <a:cubicBezTo>
                    <a:pt x="6468" y="83368"/>
                    <a:pt x="6245" y="83684"/>
                    <a:pt x="6022" y="83684"/>
                  </a:cubicBezTo>
                  <a:cubicBezTo>
                    <a:pt x="6022" y="83684"/>
                    <a:pt x="5576" y="83526"/>
                    <a:pt x="5353" y="83210"/>
                  </a:cubicBezTo>
                  <a:cubicBezTo>
                    <a:pt x="5130" y="83052"/>
                    <a:pt x="5353" y="83052"/>
                    <a:pt x="4684" y="82894"/>
                  </a:cubicBezTo>
                  <a:cubicBezTo>
                    <a:pt x="4014" y="82736"/>
                    <a:pt x="3568" y="82421"/>
                    <a:pt x="3568" y="82736"/>
                  </a:cubicBezTo>
                  <a:cubicBezTo>
                    <a:pt x="3568" y="82894"/>
                    <a:pt x="3345" y="83210"/>
                    <a:pt x="3568" y="83368"/>
                  </a:cubicBezTo>
                  <a:cubicBezTo>
                    <a:pt x="3791" y="83684"/>
                    <a:pt x="4237" y="84000"/>
                    <a:pt x="4237" y="84000"/>
                  </a:cubicBezTo>
                  <a:cubicBezTo>
                    <a:pt x="4460" y="84000"/>
                    <a:pt x="4460" y="84000"/>
                    <a:pt x="4460" y="84000"/>
                  </a:cubicBezTo>
                  <a:cubicBezTo>
                    <a:pt x="4460" y="84000"/>
                    <a:pt x="4237" y="84473"/>
                    <a:pt x="4014" y="84473"/>
                  </a:cubicBezTo>
                  <a:cubicBezTo>
                    <a:pt x="3791" y="84631"/>
                    <a:pt x="3568" y="84315"/>
                    <a:pt x="3345" y="84315"/>
                  </a:cubicBezTo>
                  <a:cubicBezTo>
                    <a:pt x="3345" y="84315"/>
                    <a:pt x="2676" y="84631"/>
                    <a:pt x="2676" y="84631"/>
                  </a:cubicBezTo>
                  <a:cubicBezTo>
                    <a:pt x="2676" y="84631"/>
                    <a:pt x="2899" y="84947"/>
                    <a:pt x="2899" y="85105"/>
                  </a:cubicBezTo>
                  <a:cubicBezTo>
                    <a:pt x="2899" y="85263"/>
                    <a:pt x="2230" y="85421"/>
                    <a:pt x="2230" y="85578"/>
                  </a:cubicBezTo>
                  <a:cubicBezTo>
                    <a:pt x="2007" y="85578"/>
                    <a:pt x="1784" y="85736"/>
                    <a:pt x="1784" y="85894"/>
                  </a:cubicBezTo>
                  <a:cubicBezTo>
                    <a:pt x="1784" y="86052"/>
                    <a:pt x="2007" y="86526"/>
                    <a:pt x="2230" y="86368"/>
                  </a:cubicBezTo>
                  <a:cubicBezTo>
                    <a:pt x="2453" y="86368"/>
                    <a:pt x="3568" y="86526"/>
                    <a:pt x="3568" y="86526"/>
                  </a:cubicBezTo>
                  <a:cubicBezTo>
                    <a:pt x="3568" y="86526"/>
                    <a:pt x="3345" y="86842"/>
                    <a:pt x="3122" y="87000"/>
                  </a:cubicBezTo>
                  <a:cubicBezTo>
                    <a:pt x="2899" y="87000"/>
                    <a:pt x="2676" y="87315"/>
                    <a:pt x="2453" y="87473"/>
                  </a:cubicBezTo>
                  <a:cubicBezTo>
                    <a:pt x="2230" y="87789"/>
                    <a:pt x="2676" y="88421"/>
                    <a:pt x="3122" y="88578"/>
                  </a:cubicBezTo>
                  <a:cubicBezTo>
                    <a:pt x="3791" y="88736"/>
                    <a:pt x="4460" y="88736"/>
                    <a:pt x="4460" y="89052"/>
                  </a:cubicBezTo>
                  <a:cubicBezTo>
                    <a:pt x="4237" y="89210"/>
                    <a:pt x="3122" y="89842"/>
                    <a:pt x="2899" y="90000"/>
                  </a:cubicBezTo>
                  <a:cubicBezTo>
                    <a:pt x="2676" y="90000"/>
                    <a:pt x="2230" y="90157"/>
                    <a:pt x="2230" y="90473"/>
                  </a:cubicBezTo>
                  <a:cubicBezTo>
                    <a:pt x="2230" y="90789"/>
                    <a:pt x="2230" y="90947"/>
                    <a:pt x="1784" y="91105"/>
                  </a:cubicBezTo>
                  <a:cubicBezTo>
                    <a:pt x="1338" y="91263"/>
                    <a:pt x="1115" y="91105"/>
                    <a:pt x="1115" y="91578"/>
                  </a:cubicBezTo>
                  <a:cubicBezTo>
                    <a:pt x="1115" y="91894"/>
                    <a:pt x="1338" y="92052"/>
                    <a:pt x="1561" y="92052"/>
                  </a:cubicBezTo>
                  <a:cubicBezTo>
                    <a:pt x="1784" y="92052"/>
                    <a:pt x="1784" y="92052"/>
                    <a:pt x="1784" y="92052"/>
                  </a:cubicBezTo>
                  <a:cubicBezTo>
                    <a:pt x="3568" y="91894"/>
                    <a:pt x="3568" y="91894"/>
                    <a:pt x="3568" y="91894"/>
                  </a:cubicBezTo>
                  <a:cubicBezTo>
                    <a:pt x="3568" y="91894"/>
                    <a:pt x="3345" y="92368"/>
                    <a:pt x="3345" y="92526"/>
                  </a:cubicBezTo>
                  <a:cubicBezTo>
                    <a:pt x="3345" y="92684"/>
                    <a:pt x="2007" y="93631"/>
                    <a:pt x="2007" y="93631"/>
                  </a:cubicBezTo>
                  <a:cubicBezTo>
                    <a:pt x="2007" y="93631"/>
                    <a:pt x="2230" y="94105"/>
                    <a:pt x="2007" y="94105"/>
                  </a:cubicBezTo>
                  <a:cubicBezTo>
                    <a:pt x="1561" y="94263"/>
                    <a:pt x="1115" y="94421"/>
                    <a:pt x="892" y="94578"/>
                  </a:cubicBezTo>
                  <a:cubicBezTo>
                    <a:pt x="892" y="94736"/>
                    <a:pt x="892" y="95052"/>
                    <a:pt x="892" y="95210"/>
                  </a:cubicBezTo>
                  <a:cubicBezTo>
                    <a:pt x="1115" y="95526"/>
                    <a:pt x="1561" y="96000"/>
                    <a:pt x="1561" y="96157"/>
                  </a:cubicBezTo>
                  <a:cubicBezTo>
                    <a:pt x="1784" y="96315"/>
                    <a:pt x="1338" y="96631"/>
                    <a:pt x="1338" y="96631"/>
                  </a:cubicBezTo>
                  <a:cubicBezTo>
                    <a:pt x="892" y="97894"/>
                    <a:pt x="892" y="97894"/>
                    <a:pt x="892" y="97894"/>
                  </a:cubicBezTo>
                  <a:cubicBezTo>
                    <a:pt x="892" y="97894"/>
                    <a:pt x="892" y="98526"/>
                    <a:pt x="892" y="98684"/>
                  </a:cubicBezTo>
                  <a:cubicBezTo>
                    <a:pt x="892" y="98842"/>
                    <a:pt x="0" y="99000"/>
                    <a:pt x="446" y="99473"/>
                  </a:cubicBezTo>
                  <a:cubicBezTo>
                    <a:pt x="892" y="99789"/>
                    <a:pt x="1115" y="99947"/>
                    <a:pt x="1338" y="100105"/>
                  </a:cubicBezTo>
                  <a:cubicBezTo>
                    <a:pt x="1784" y="100105"/>
                    <a:pt x="2899" y="100105"/>
                    <a:pt x="2899" y="100263"/>
                  </a:cubicBezTo>
                  <a:cubicBezTo>
                    <a:pt x="2899" y="100263"/>
                    <a:pt x="2899" y="100421"/>
                    <a:pt x="2230" y="100578"/>
                  </a:cubicBezTo>
                  <a:cubicBezTo>
                    <a:pt x="1784" y="100578"/>
                    <a:pt x="1338" y="100421"/>
                    <a:pt x="1338" y="100736"/>
                  </a:cubicBezTo>
                  <a:cubicBezTo>
                    <a:pt x="1115" y="100894"/>
                    <a:pt x="223" y="101842"/>
                    <a:pt x="223" y="101842"/>
                  </a:cubicBezTo>
                  <a:cubicBezTo>
                    <a:pt x="1338" y="102789"/>
                    <a:pt x="1338" y="102789"/>
                    <a:pt x="1338" y="102789"/>
                  </a:cubicBezTo>
                  <a:cubicBezTo>
                    <a:pt x="1338" y="102789"/>
                    <a:pt x="1784" y="102473"/>
                    <a:pt x="2007" y="102473"/>
                  </a:cubicBezTo>
                  <a:cubicBezTo>
                    <a:pt x="2230" y="102315"/>
                    <a:pt x="2899" y="102473"/>
                    <a:pt x="2899" y="102631"/>
                  </a:cubicBezTo>
                  <a:cubicBezTo>
                    <a:pt x="2899" y="102631"/>
                    <a:pt x="2453" y="103105"/>
                    <a:pt x="2230" y="103105"/>
                  </a:cubicBezTo>
                  <a:cubicBezTo>
                    <a:pt x="2230" y="103263"/>
                    <a:pt x="1561" y="103421"/>
                    <a:pt x="1561" y="103578"/>
                  </a:cubicBezTo>
                  <a:cubicBezTo>
                    <a:pt x="1561" y="103578"/>
                    <a:pt x="2230" y="104210"/>
                    <a:pt x="2230" y="104210"/>
                  </a:cubicBezTo>
                  <a:cubicBezTo>
                    <a:pt x="2230" y="104210"/>
                    <a:pt x="2676" y="104210"/>
                    <a:pt x="2676" y="104526"/>
                  </a:cubicBezTo>
                  <a:cubicBezTo>
                    <a:pt x="2676" y="104684"/>
                    <a:pt x="1784" y="105000"/>
                    <a:pt x="1784" y="105000"/>
                  </a:cubicBezTo>
                  <a:cubicBezTo>
                    <a:pt x="2007" y="105473"/>
                    <a:pt x="2007" y="105473"/>
                    <a:pt x="2007" y="105473"/>
                  </a:cubicBezTo>
                  <a:cubicBezTo>
                    <a:pt x="1338" y="106421"/>
                    <a:pt x="1338" y="106421"/>
                    <a:pt x="1338" y="106421"/>
                  </a:cubicBezTo>
                  <a:cubicBezTo>
                    <a:pt x="2453" y="106894"/>
                    <a:pt x="2453" y="106894"/>
                    <a:pt x="2453" y="106894"/>
                  </a:cubicBezTo>
                  <a:cubicBezTo>
                    <a:pt x="2453" y="106894"/>
                    <a:pt x="3345" y="106894"/>
                    <a:pt x="3122" y="107368"/>
                  </a:cubicBezTo>
                  <a:cubicBezTo>
                    <a:pt x="2676" y="107684"/>
                    <a:pt x="2007" y="108000"/>
                    <a:pt x="2007" y="108157"/>
                  </a:cubicBezTo>
                  <a:cubicBezTo>
                    <a:pt x="2007" y="108473"/>
                    <a:pt x="1784" y="108789"/>
                    <a:pt x="2230" y="108947"/>
                  </a:cubicBezTo>
                  <a:cubicBezTo>
                    <a:pt x="2676" y="108947"/>
                    <a:pt x="2676" y="109105"/>
                    <a:pt x="2899" y="108947"/>
                  </a:cubicBezTo>
                  <a:cubicBezTo>
                    <a:pt x="3345" y="108789"/>
                    <a:pt x="3791" y="108631"/>
                    <a:pt x="3791" y="108631"/>
                  </a:cubicBezTo>
                  <a:cubicBezTo>
                    <a:pt x="3791" y="108631"/>
                    <a:pt x="4460" y="108315"/>
                    <a:pt x="4907" y="108315"/>
                  </a:cubicBezTo>
                  <a:cubicBezTo>
                    <a:pt x="5130" y="108315"/>
                    <a:pt x="5576" y="108473"/>
                    <a:pt x="5799" y="108631"/>
                  </a:cubicBezTo>
                  <a:cubicBezTo>
                    <a:pt x="5799" y="108789"/>
                    <a:pt x="5799" y="108947"/>
                    <a:pt x="6022" y="109105"/>
                  </a:cubicBezTo>
                  <a:cubicBezTo>
                    <a:pt x="6245" y="109105"/>
                    <a:pt x="5799" y="109894"/>
                    <a:pt x="5799" y="109894"/>
                  </a:cubicBezTo>
                  <a:cubicBezTo>
                    <a:pt x="5130" y="110526"/>
                    <a:pt x="5130" y="110526"/>
                    <a:pt x="5130" y="110526"/>
                  </a:cubicBezTo>
                  <a:cubicBezTo>
                    <a:pt x="5130" y="110526"/>
                    <a:pt x="5799" y="111157"/>
                    <a:pt x="5576" y="111157"/>
                  </a:cubicBezTo>
                  <a:cubicBezTo>
                    <a:pt x="5576" y="111157"/>
                    <a:pt x="4460" y="111315"/>
                    <a:pt x="4237" y="111315"/>
                  </a:cubicBezTo>
                  <a:cubicBezTo>
                    <a:pt x="4014" y="111315"/>
                    <a:pt x="3791" y="111157"/>
                    <a:pt x="3791" y="111473"/>
                  </a:cubicBezTo>
                  <a:cubicBezTo>
                    <a:pt x="3568" y="111789"/>
                    <a:pt x="2899" y="112578"/>
                    <a:pt x="2899" y="112578"/>
                  </a:cubicBezTo>
                  <a:cubicBezTo>
                    <a:pt x="2899" y="112578"/>
                    <a:pt x="2676" y="112894"/>
                    <a:pt x="2899" y="113210"/>
                  </a:cubicBezTo>
                  <a:cubicBezTo>
                    <a:pt x="3122" y="113526"/>
                    <a:pt x="4014" y="114631"/>
                    <a:pt x="4014" y="114631"/>
                  </a:cubicBezTo>
                  <a:cubicBezTo>
                    <a:pt x="4014" y="114789"/>
                    <a:pt x="4460" y="115263"/>
                    <a:pt x="5130" y="115578"/>
                  </a:cubicBezTo>
                  <a:cubicBezTo>
                    <a:pt x="5799" y="115894"/>
                    <a:pt x="6245" y="115894"/>
                    <a:pt x="6245" y="116210"/>
                  </a:cubicBezTo>
                  <a:cubicBezTo>
                    <a:pt x="6468" y="116526"/>
                    <a:pt x="6468" y="116526"/>
                    <a:pt x="6468" y="116526"/>
                  </a:cubicBezTo>
                  <a:cubicBezTo>
                    <a:pt x="7360" y="117157"/>
                    <a:pt x="7360" y="117157"/>
                    <a:pt x="7360" y="117157"/>
                  </a:cubicBezTo>
                  <a:cubicBezTo>
                    <a:pt x="7360" y="117157"/>
                    <a:pt x="7806" y="117315"/>
                    <a:pt x="8475" y="117315"/>
                  </a:cubicBezTo>
                  <a:cubicBezTo>
                    <a:pt x="9144" y="117473"/>
                    <a:pt x="10037" y="117473"/>
                    <a:pt x="10037" y="117631"/>
                  </a:cubicBezTo>
                  <a:cubicBezTo>
                    <a:pt x="10260" y="117631"/>
                    <a:pt x="9368" y="118105"/>
                    <a:pt x="9368" y="118105"/>
                  </a:cubicBezTo>
                  <a:cubicBezTo>
                    <a:pt x="9368" y="118105"/>
                    <a:pt x="8252" y="118736"/>
                    <a:pt x="8698" y="118894"/>
                  </a:cubicBezTo>
                  <a:cubicBezTo>
                    <a:pt x="9144" y="119052"/>
                    <a:pt x="12267" y="119526"/>
                    <a:pt x="12267" y="119526"/>
                  </a:cubicBezTo>
                  <a:cubicBezTo>
                    <a:pt x="12267" y="119526"/>
                    <a:pt x="12713" y="119684"/>
                    <a:pt x="12713" y="119842"/>
                  </a:cubicBezTo>
                  <a:cubicBezTo>
                    <a:pt x="12713" y="120000"/>
                    <a:pt x="13382" y="119684"/>
                    <a:pt x="13382" y="119684"/>
                  </a:cubicBezTo>
                  <a:cubicBezTo>
                    <a:pt x="13605" y="119526"/>
                    <a:pt x="14498" y="119842"/>
                    <a:pt x="14721" y="119842"/>
                  </a:cubicBezTo>
                  <a:cubicBezTo>
                    <a:pt x="14721" y="119842"/>
                    <a:pt x="16059" y="119684"/>
                    <a:pt x="16059" y="119684"/>
                  </a:cubicBezTo>
                  <a:cubicBezTo>
                    <a:pt x="17174" y="119368"/>
                    <a:pt x="17174" y="119368"/>
                    <a:pt x="17174" y="119368"/>
                  </a:cubicBezTo>
                  <a:cubicBezTo>
                    <a:pt x="17174" y="119368"/>
                    <a:pt x="17843" y="118578"/>
                    <a:pt x="18289" y="118736"/>
                  </a:cubicBezTo>
                  <a:cubicBezTo>
                    <a:pt x="18959" y="118894"/>
                    <a:pt x="18736" y="119210"/>
                    <a:pt x="19182" y="119210"/>
                  </a:cubicBezTo>
                  <a:cubicBezTo>
                    <a:pt x="19405" y="119210"/>
                    <a:pt x="19851" y="119210"/>
                    <a:pt x="20297" y="118736"/>
                  </a:cubicBezTo>
                  <a:cubicBezTo>
                    <a:pt x="20743" y="118421"/>
                    <a:pt x="21189" y="118105"/>
                    <a:pt x="21412" y="117947"/>
                  </a:cubicBezTo>
                  <a:cubicBezTo>
                    <a:pt x="21635" y="117947"/>
                    <a:pt x="24312" y="116842"/>
                    <a:pt x="24312" y="116842"/>
                  </a:cubicBezTo>
                  <a:cubicBezTo>
                    <a:pt x="26096" y="114631"/>
                    <a:pt x="26096" y="114631"/>
                    <a:pt x="26096" y="114631"/>
                  </a:cubicBezTo>
                  <a:cubicBezTo>
                    <a:pt x="26765" y="113052"/>
                    <a:pt x="26765" y="113052"/>
                    <a:pt x="26765" y="113052"/>
                  </a:cubicBezTo>
                  <a:cubicBezTo>
                    <a:pt x="26765" y="113052"/>
                    <a:pt x="27657" y="112263"/>
                    <a:pt x="28327" y="112263"/>
                  </a:cubicBezTo>
                  <a:cubicBezTo>
                    <a:pt x="28773" y="112263"/>
                    <a:pt x="30334" y="111789"/>
                    <a:pt x="30111" y="111473"/>
                  </a:cubicBezTo>
                  <a:cubicBezTo>
                    <a:pt x="30111" y="111000"/>
                    <a:pt x="30780" y="110842"/>
                    <a:pt x="30780" y="111473"/>
                  </a:cubicBezTo>
                  <a:cubicBezTo>
                    <a:pt x="31003" y="112105"/>
                    <a:pt x="30780" y="112736"/>
                    <a:pt x="31226" y="112421"/>
                  </a:cubicBezTo>
                  <a:cubicBezTo>
                    <a:pt x="31895" y="112105"/>
                    <a:pt x="33011" y="111157"/>
                    <a:pt x="33011" y="111157"/>
                  </a:cubicBezTo>
                  <a:cubicBezTo>
                    <a:pt x="33011" y="111157"/>
                    <a:pt x="33680" y="110684"/>
                    <a:pt x="34126" y="110526"/>
                  </a:cubicBezTo>
                  <a:cubicBezTo>
                    <a:pt x="34572" y="110526"/>
                    <a:pt x="35241" y="109421"/>
                    <a:pt x="35241" y="109421"/>
                  </a:cubicBezTo>
                  <a:cubicBezTo>
                    <a:pt x="35241" y="109421"/>
                    <a:pt x="36133" y="108947"/>
                    <a:pt x="36579" y="109421"/>
                  </a:cubicBezTo>
                  <a:cubicBezTo>
                    <a:pt x="36802" y="110052"/>
                    <a:pt x="37695" y="110842"/>
                    <a:pt x="37695" y="111157"/>
                  </a:cubicBezTo>
                  <a:cubicBezTo>
                    <a:pt x="37695" y="111157"/>
                    <a:pt x="38141" y="111315"/>
                    <a:pt x="38587" y="111473"/>
                  </a:cubicBezTo>
                  <a:cubicBezTo>
                    <a:pt x="38587" y="111157"/>
                    <a:pt x="38587" y="111157"/>
                    <a:pt x="38587" y="111157"/>
                  </a:cubicBezTo>
                  <a:cubicBezTo>
                    <a:pt x="38587" y="110210"/>
                    <a:pt x="38587" y="110210"/>
                    <a:pt x="38587" y="110210"/>
                  </a:cubicBezTo>
                  <a:cubicBezTo>
                    <a:pt x="38587" y="110210"/>
                    <a:pt x="40148" y="111157"/>
                    <a:pt x="40148" y="111157"/>
                  </a:cubicBezTo>
                  <a:cubicBezTo>
                    <a:pt x="40371" y="111315"/>
                    <a:pt x="40371" y="112263"/>
                    <a:pt x="40371" y="112263"/>
                  </a:cubicBezTo>
                  <a:cubicBezTo>
                    <a:pt x="40817" y="112263"/>
                    <a:pt x="40817" y="112263"/>
                    <a:pt x="40817" y="112263"/>
                  </a:cubicBezTo>
                  <a:cubicBezTo>
                    <a:pt x="40817" y="112105"/>
                    <a:pt x="40817" y="112105"/>
                    <a:pt x="40817" y="112105"/>
                  </a:cubicBezTo>
                  <a:cubicBezTo>
                    <a:pt x="41263" y="112263"/>
                    <a:pt x="41263" y="112263"/>
                    <a:pt x="41263" y="112263"/>
                  </a:cubicBezTo>
                  <a:cubicBezTo>
                    <a:pt x="41486" y="112105"/>
                    <a:pt x="41486" y="112105"/>
                    <a:pt x="41486" y="112105"/>
                  </a:cubicBezTo>
                  <a:cubicBezTo>
                    <a:pt x="41710" y="111157"/>
                    <a:pt x="41710" y="111157"/>
                    <a:pt x="41710" y="111157"/>
                  </a:cubicBezTo>
                  <a:cubicBezTo>
                    <a:pt x="41933" y="110052"/>
                    <a:pt x="41933" y="110052"/>
                    <a:pt x="41933" y="110052"/>
                  </a:cubicBezTo>
                  <a:cubicBezTo>
                    <a:pt x="42602" y="109105"/>
                    <a:pt x="42602" y="109105"/>
                    <a:pt x="42602" y="109105"/>
                  </a:cubicBezTo>
                  <a:cubicBezTo>
                    <a:pt x="42602" y="108157"/>
                    <a:pt x="42602" y="108157"/>
                    <a:pt x="42602" y="108157"/>
                  </a:cubicBezTo>
                  <a:cubicBezTo>
                    <a:pt x="41710" y="107052"/>
                    <a:pt x="41710" y="107052"/>
                    <a:pt x="41710" y="107052"/>
                  </a:cubicBezTo>
                  <a:cubicBezTo>
                    <a:pt x="41263" y="106105"/>
                    <a:pt x="41263" y="106105"/>
                    <a:pt x="41263" y="106105"/>
                  </a:cubicBezTo>
                  <a:cubicBezTo>
                    <a:pt x="41933" y="105947"/>
                    <a:pt x="41933" y="105947"/>
                    <a:pt x="41933" y="105947"/>
                  </a:cubicBezTo>
                  <a:cubicBezTo>
                    <a:pt x="41933" y="105789"/>
                    <a:pt x="41933" y="105789"/>
                    <a:pt x="41933" y="105789"/>
                  </a:cubicBezTo>
                  <a:cubicBezTo>
                    <a:pt x="42156" y="105789"/>
                    <a:pt x="42156" y="105789"/>
                    <a:pt x="42156" y="105789"/>
                  </a:cubicBezTo>
                  <a:cubicBezTo>
                    <a:pt x="42602" y="105473"/>
                    <a:pt x="42602" y="105473"/>
                    <a:pt x="42602" y="105473"/>
                  </a:cubicBezTo>
                  <a:cubicBezTo>
                    <a:pt x="42825" y="104684"/>
                    <a:pt x="42825" y="104684"/>
                    <a:pt x="42825" y="104684"/>
                  </a:cubicBezTo>
                  <a:cubicBezTo>
                    <a:pt x="42379" y="104368"/>
                    <a:pt x="42379" y="104368"/>
                    <a:pt x="42379" y="104368"/>
                  </a:cubicBezTo>
                  <a:cubicBezTo>
                    <a:pt x="42379" y="103894"/>
                    <a:pt x="42379" y="103894"/>
                    <a:pt x="42379" y="103894"/>
                  </a:cubicBezTo>
                  <a:cubicBezTo>
                    <a:pt x="42379" y="103894"/>
                    <a:pt x="42825" y="103578"/>
                    <a:pt x="42825" y="103578"/>
                  </a:cubicBezTo>
                  <a:cubicBezTo>
                    <a:pt x="42825" y="103578"/>
                    <a:pt x="42825" y="103578"/>
                    <a:pt x="42825" y="103578"/>
                  </a:cubicBezTo>
                  <a:cubicBezTo>
                    <a:pt x="43048" y="103421"/>
                    <a:pt x="43048" y="103421"/>
                    <a:pt x="43048" y="103421"/>
                  </a:cubicBezTo>
                  <a:cubicBezTo>
                    <a:pt x="43048" y="103421"/>
                    <a:pt x="43048" y="103421"/>
                    <a:pt x="43048" y="103421"/>
                  </a:cubicBezTo>
                  <a:cubicBezTo>
                    <a:pt x="43048" y="103421"/>
                    <a:pt x="43048" y="103421"/>
                    <a:pt x="43048" y="103421"/>
                  </a:cubicBezTo>
                  <a:cubicBezTo>
                    <a:pt x="43048" y="103421"/>
                    <a:pt x="43048" y="103421"/>
                    <a:pt x="43048" y="103421"/>
                  </a:cubicBezTo>
                  <a:cubicBezTo>
                    <a:pt x="43048" y="103421"/>
                    <a:pt x="43048" y="103421"/>
                    <a:pt x="43048" y="103421"/>
                  </a:cubicBezTo>
                  <a:cubicBezTo>
                    <a:pt x="43048" y="103421"/>
                    <a:pt x="43048" y="103421"/>
                    <a:pt x="43048" y="103421"/>
                  </a:cubicBezTo>
                  <a:cubicBezTo>
                    <a:pt x="43048" y="103421"/>
                    <a:pt x="43048" y="103421"/>
                    <a:pt x="43048" y="103421"/>
                  </a:cubicBezTo>
                  <a:cubicBezTo>
                    <a:pt x="43048" y="103421"/>
                    <a:pt x="43048" y="103421"/>
                    <a:pt x="43048" y="103421"/>
                  </a:cubicBezTo>
                  <a:cubicBezTo>
                    <a:pt x="43048" y="103421"/>
                    <a:pt x="43048" y="103421"/>
                    <a:pt x="43048" y="103421"/>
                  </a:cubicBezTo>
                  <a:cubicBezTo>
                    <a:pt x="43048" y="103421"/>
                    <a:pt x="43048" y="103421"/>
                    <a:pt x="43048" y="103421"/>
                  </a:cubicBezTo>
                  <a:cubicBezTo>
                    <a:pt x="43048" y="103421"/>
                    <a:pt x="43048" y="103421"/>
                    <a:pt x="43048" y="103421"/>
                  </a:cubicBezTo>
                  <a:cubicBezTo>
                    <a:pt x="43048" y="103421"/>
                    <a:pt x="43048" y="103421"/>
                    <a:pt x="43048" y="103421"/>
                  </a:cubicBezTo>
                  <a:cubicBezTo>
                    <a:pt x="43048" y="103421"/>
                    <a:pt x="43048" y="103421"/>
                    <a:pt x="43048" y="103421"/>
                  </a:cubicBezTo>
                  <a:cubicBezTo>
                    <a:pt x="43048" y="103421"/>
                    <a:pt x="43048" y="103421"/>
                    <a:pt x="43048" y="103421"/>
                  </a:cubicBezTo>
                  <a:cubicBezTo>
                    <a:pt x="43048" y="103421"/>
                    <a:pt x="43048" y="103421"/>
                    <a:pt x="43048" y="103421"/>
                  </a:cubicBezTo>
                  <a:cubicBezTo>
                    <a:pt x="43048" y="103421"/>
                    <a:pt x="43048" y="103421"/>
                    <a:pt x="43048" y="103421"/>
                  </a:cubicBezTo>
                  <a:cubicBezTo>
                    <a:pt x="43048" y="103421"/>
                    <a:pt x="43048" y="103421"/>
                    <a:pt x="43048" y="103421"/>
                  </a:cubicBezTo>
                  <a:cubicBezTo>
                    <a:pt x="43048" y="103421"/>
                    <a:pt x="43048" y="103421"/>
                    <a:pt x="43048" y="103421"/>
                  </a:cubicBezTo>
                  <a:cubicBezTo>
                    <a:pt x="43048" y="103421"/>
                    <a:pt x="43048" y="103421"/>
                    <a:pt x="43048" y="103421"/>
                  </a:cubicBezTo>
                  <a:cubicBezTo>
                    <a:pt x="43048" y="103421"/>
                    <a:pt x="43048" y="103421"/>
                    <a:pt x="43048" y="103421"/>
                  </a:cubicBezTo>
                  <a:cubicBezTo>
                    <a:pt x="43048" y="103421"/>
                    <a:pt x="43048" y="103421"/>
                    <a:pt x="43048" y="103421"/>
                  </a:cubicBezTo>
                  <a:cubicBezTo>
                    <a:pt x="43048" y="103421"/>
                    <a:pt x="43048" y="103421"/>
                    <a:pt x="43048" y="103421"/>
                  </a:cubicBezTo>
                  <a:cubicBezTo>
                    <a:pt x="43048" y="103421"/>
                    <a:pt x="43048" y="103421"/>
                    <a:pt x="43048" y="103421"/>
                  </a:cubicBezTo>
                  <a:cubicBezTo>
                    <a:pt x="43048" y="103421"/>
                    <a:pt x="43048" y="103421"/>
                    <a:pt x="43048" y="103421"/>
                  </a:cubicBezTo>
                  <a:cubicBezTo>
                    <a:pt x="43271" y="103421"/>
                    <a:pt x="43271" y="103421"/>
                    <a:pt x="43271" y="103421"/>
                  </a:cubicBezTo>
                  <a:cubicBezTo>
                    <a:pt x="43271" y="103421"/>
                    <a:pt x="43271" y="103421"/>
                    <a:pt x="43271" y="103421"/>
                  </a:cubicBezTo>
                  <a:cubicBezTo>
                    <a:pt x="43271" y="103421"/>
                    <a:pt x="43271" y="103421"/>
                    <a:pt x="43271" y="103421"/>
                  </a:cubicBezTo>
                  <a:cubicBezTo>
                    <a:pt x="43271" y="103421"/>
                    <a:pt x="43271" y="103421"/>
                    <a:pt x="43271" y="103421"/>
                  </a:cubicBezTo>
                  <a:cubicBezTo>
                    <a:pt x="43271" y="103421"/>
                    <a:pt x="43494" y="103263"/>
                    <a:pt x="43494" y="103263"/>
                  </a:cubicBezTo>
                  <a:cubicBezTo>
                    <a:pt x="43717" y="103263"/>
                    <a:pt x="44163" y="103263"/>
                    <a:pt x="44163" y="103263"/>
                  </a:cubicBezTo>
                  <a:cubicBezTo>
                    <a:pt x="44386" y="103263"/>
                    <a:pt x="44386" y="103263"/>
                    <a:pt x="44386" y="103263"/>
                  </a:cubicBezTo>
                  <a:cubicBezTo>
                    <a:pt x="44832" y="102947"/>
                    <a:pt x="44832" y="102947"/>
                    <a:pt x="44832" y="102947"/>
                  </a:cubicBezTo>
                  <a:cubicBezTo>
                    <a:pt x="44832" y="102947"/>
                    <a:pt x="45724" y="102473"/>
                    <a:pt x="45724" y="102315"/>
                  </a:cubicBezTo>
                  <a:cubicBezTo>
                    <a:pt x="45724" y="102157"/>
                    <a:pt x="46171" y="101684"/>
                    <a:pt x="46171" y="101684"/>
                  </a:cubicBezTo>
                  <a:cubicBezTo>
                    <a:pt x="46171" y="100894"/>
                    <a:pt x="46171" y="100894"/>
                    <a:pt x="46171" y="100894"/>
                  </a:cubicBezTo>
                  <a:cubicBezTo>
                    <a:pt x="45724" y="100105"/>
                    <a:pt x="45724" y="100105"/>
                    <a:pt x="45724" y="100105"/>
                  </a:cubicBezTo>
                  <a:cubicBezTo>
                    <a:pt x="46171" y="99631"/>
                    <a:pt x="46171" y="99631"/>
                    <a:pt x="46171" y="99631"/>
                  </a:cubicBezTo>
                  <a:cubicBezTo>
                    <a:pt x="46840" y="98684"/>
                    <a:pt x="46840" y="98684"/>
                    <a:pt x="46840" y="98684"/>
                  </a:cubicBezTo>
                  <a:cubicBezTo>
                    <a:pt x="46394" y="97736"/>
                    <a:pt x="46394" y="97736"/>
                    <a:pt x="46394" y="97736"/>
                  </a:cubicBezTo>
                  <a:cubicBezTo>
                    <a:pt x="45055" y="96631"/>
                    <a:pt x="45055" y="96631"/>
                    <a:pt x="45055" y="96631"/>
                  </a:cubicBezTo>
                  <a:cubicBezTo>
                    <a:pt x="44386" y="95210"/>
                    <a:pt x="44386" y="95210"/>
                    <a:pt x="44386" y="95210"/>
                  </a:cubicBezTo>
                  <a:cubicBezTo>
                    <a:pt x="43940" y="94263"/>
                    <a:pt x="43940" y="94263"/>
                    <a:pt x="43940" y="94263"/>
                  </a:cubicBezTo>
                  <a:cubicBezTo>
                    <a:pt x="45055" y="93473"/>
                    <a:pt x="45055" y="93473"/>
                    <a:pt x="45055" y="93473"/>
                  </a:cubicBezTo>
                  <a:cubicBezTo>
                    <a:pt x="45278" y="93315"/>
                    <a:pt x="45278" y="93315"/>
                    <a:pt x="45278" y="93315"/>
                  </a:cubicBezTo>
                  <a:cubicBezTo>
                    <a:pt x="45278" y="93315"/>
                    <a:pt x="45278" y="93315"/>
                    <a:pt x="45278" y="93315"/>
                  </a:cubicBezTo>
                  <a:cubicBezTo>
                    <a:pt x="45501" y="93315"/>
                    <a:pt x="45501" y="93315"/>
                    <a:pt x="45501" y="93315"/>
                  </a:cubicBezTo>
                  <a:cubicBezTo>
                    <a:pt x="46171" y="93315"/>
                    <a:pt x="46171" y="93315"/>
                    <a:pt x="46171" y="93315"/>
                  </a:cubicBezTo>
                  <a:cubicBezTo>
                    <a:pt x="46171" y="93315"/>
                    <a:pt x="47286" y="93315"/>
                    <a:pt x="47286" y="93157"/>
                  </a:cubicBezTo>
                  <a:cubicBezTo>
                    <a:pt x="47286" y="93157"/>
                    <a:pt x="47286" y="93157"/>
                    <a:pt x="47286" y="93157"/>
                  </a:cubicBezTo>
                  <a:cubicBezTo>
                    <a:pt x="47286" y="93157"/>
                    <a:pt x="47286" y="93157"/>
                    <a:pt x="47286" y="93157"/>
                  </a:cubicBezTo>
                  <a:cubicBezTo>
                    <a:pt x="47286" y="93157"/>
                    <a:pt x="47286" y="93157"/>
                    <a:pt x="47286" y="93157"/>
                  </a:cubicBezTo>
                  <a:cubicBezTo>
                    <a:pt x="47286" y="93157"/>
                    <a:pt x="47286" y="93157"/>
                    <a:pt x="47286" y="93157"/>
                  </a:cubicBezTo>
                  <a:cubicBezTo>
                    <a:pt x="47286" y="93157"/>
                    <a:pt x="47286" y="93157"/>
                    <a:pt x="47286" y="93157"/>
                  </a:cubicBezTo>
                  <a:cubicBezTo>
                    <a:pt x="47286" y="93000"/>
                    <a:pt x="47286" y="93000"/>
                    <a:pt x="47286" y="93000"/>
                  </a:cubicBezTo>
                  <a:cubicBezTo>
                    <a:pt x="47286" y="93000"/>
                    <a:pt x="47286" y="93000"/>
                    <a:pt x="47286" y="93000"/>
                  </a:cubicBezTo>
                  <a:cubicBezTo>
                    <a:pt x="47286" y="93000"/>
                    <a:pt x="47286" y="93000"/>
                    <a:pt x="47286" y="93000"/>
                  </a:cubicBezTo>
                  <a:cubicBezTo>
                    <a:pt x="47286" y="93000"/>
                    <a:pt x="47286" y="93000"/>
                    <a:pt x="47286" y="93000"/>
                  </a:cubicBezTo>
                  <a:cubicBezTo>
                    <a:pt x="47509" y="93000"/>
                    <a:pt x="47509" y="93000"/>
                    <a:pt x="47509" y="93000"/>
                  </a:cubicBezTo>
                  <a:cubicBezTo>
                    <a:pt x="47509" y="93000"/>
                    <a:pt x="47509" y="93000"/>
                    <a:pt x="47509" y="93000"/>
                  </a:cubicBezTo>
                  <a:cubicBezTo>
                    <a:pt x="47509" y="93000"/>
                    <a:pt x="47509" y="93000"/>
                    <a:pt x="47509" y="93000"/>
                  </a:cubicBezTo>
                  <a:cubicBezTo>
                    <a:pt x="47509" y="93000"/>
                    <a:pt x="47509" y="93000"/>
                    <a:pt x="47509" y="93000"/>
                  </a:cubicBezTo>
                  <a:cubicBezTo>
                    <a:pt x="47509" y="93000"/>
                    <a:pt x="47509" y="93000"/>
                    <a:pt x="47509" y="93000"/>
                  </a:cubicBezTo>
                  <a:cubicBezTo>
                    <a:pt x="47509" y="92842"/>
                    <a:pt x="47509" y="92842"/>
                    <a:pt x="47509" y="92842"/>
                  </a:cubicBezTo>
                  <a:cubicBezTo>
                    <a:pt x="47509" y="92842"/>
                    <a:pt x="47509" y="92842"/>
                    <a:pt x="47509" y="92842"/>
                  </a:cubicBezTo>
                  <a:cubicBezTo>
                    <a:pt x="47509" y="92842"/>
                    <a:pt x="47509" y="92842"/>
                    <a:pt x="47509" y="92842"/>
                  </a:cubicBezTo>
                  <a:cubicBezTo>
                    <a:pt x="47509" y="92842"/>
                    <a:pt x="47509" y="92842"/>
                    <a:pt x="47509" y="92842"/>
                  </a:cubicBezTo>
                  <a:cubicBezTo>
                    <a:pt x="47509" y="92842"/>
                    <a:pt x="47509" y="92842"/>
                    <a:pt x="47509" y="92842"/>
                  </a:cubicBezTo>
                  <a:cubicBezTo>
                    <a:pt x="47509" y="92842"/>
                    <a:pt x="47509" y="92842"/>
                    <a:pt x="47509" y="92842"/>
                  </a:cubicBezTo>
                  <a:cubicBezTo>
                    <a:pt x="47509" y="92842"/>
                    <a:pt x="47509" y="92842"/>
                    <a:pt x="47509" y="92842"/>
                  </a:cubicBezTo>
                  <a:cubicBezTo>
                    <a:pt x="47509" y="92684"/>
                    <a:pt x="47509" y="92684"/>
                    <a:pt x="47509" y="92684"/>
                  </a:cubicBezTo>
                  <a:cubicBezTo>
                    <a:pt x="47509" y="92684"/>
                    <a:pt x="47509" y="92684"/>
                    <a:pt x="47509" y="92684"/>
                  </a:cubicBezTo>
                  <a:cubicBezTo>
                    <a:pt x="47509" y="92684"/>
                    <a:pt x="47509" y="92684"/>
                    <a:pt x="47509" y="92684"/>
                  </a:cubicBezTo>
                  <a:cubicBezTo>
                    <a:pt x="47509" y="92684"/>
                    <a:pt x="47509" y="92684"/>
                    <a:pt x="47509" y="92684"/>
                  </a:cubicBezTo>
                  <a:cubicBezTo>
                    <a:pt x="47509" y="92684"/>
                    <a:pt x="47509" y="92684"/>
                    <a:pt x="47509" y="92684"/>
                  </a:cubicBezTo>
                  <a:cubicBezTo>
                    <a:pt x="47509" y="92684"/>
                    <a:pt x="47509" y="92684"/>
                    <a:pt x="47509" y="92684"/>
                  </a:cubicBezTo>
                  <a:cubicBezTo>
                    <a:pt x="47509" y="92526"/>
                    <a:pt x="47509" y="92526"/>
                    <a:pt x="47509" y="92526"/>
                  </a:cubicBezTo>
                  <a:cubicBezTo>
                    <a:pt x="47509" y="92526"/>
                    <a:pt x="47509" y="92526"/>
                    <a:pt x="47509" y="92526"/>
                  </a:cubicBezTo>
                  <a:cubicBezTo>
                    <a:pt x="47509" y="92526"/>
                    <a:pt x="47509" y="92526"/>
                    <a:pt x="47509" y="92526"/>
                  </a:cubicBezTo>
                  <a:cubicBezTo>
                    <a:pt x="47509" y="92526"/>
                    <a:pt x="47509" y="92526"/>
                    <a:pt x="47509" y="92526"/>
                  </a:cubicBezTo>
                  <a:cubicBezTo>
                    <a:pt x="47509" y="92526"/>
                    <a:pt x="47509" y="92526"/>
                    <a:pt x="47509" y="92526"/>
                  </a:cubicBezTo>
                  <a:cubicBezTo>
                    <a:pt x="47509" y="92368"/>
                    <a:pt x="47509" y="92368"/>
                    <a:pt x="47509" y="92368"/>
                  </a:cubicBezTo>
                  <a:cubicBezTo>
                    <a:pt x="47509" y="92368"/>
                    <a:pt x="47509" y="92368"/>
                    <a:pt x="47509" y="92368"/>
                  </a:cubicBezTo>
                  <a:cubicBezTo>
                    <a:pt x="47509" y="92368"/>
                    <a:pt x="47509" y="92368"/>
                    <a:pt x="47509" y="92368"/>
                  </a:cubicBezTo>
                  <a:cubicBezTo>
                    <a:pt x="47509" y="92368"/>
                    <a:pt x="47509" y="92368"/>
                    <a:pt x="47509" y="92368"/>
                  </a:cubicBezTo>
                  <a:cubicBezTo>
                    <a:pt x="47509" y="92368"/>
                    <a:pt x="47509" y="92368"/>
                    <a:pt x="47509" y="92368"/>
                  </a:cubicBezTo>
                  <a:cubicBezTo>
                    <a:pt x="47509" y="92368"/>
                    <a:pt x="47509" y="92368"/>
                    <a:pt x="47509" y="92368"/>
                  </a:cubicBezTo>
                  <a:cubicBezTo>
                    <a:pt x="47509" y="92210"/>
                    <a:pt x="47509" y="92210"/>
                    <a:pt x="47509" y="92210"/>
                  </a:cubicBezTo>
                  <a:cubicBezTo>
                    <a:pt x="47509" y="92210"/>
                    <a:pt x="47509" y="92210"/>
                    <a:pt x="47509" y="92210"/>
                  </a:cubicBezTo>
                  <a:cubicBezTo>
                    <a:pt x="47509" y="92210"/>
                    <a:pt x="47509" y="92210"/>
                    <a:pt x="47509" y="92210"/>
                  </a:cubicBezTo>
                  <a:cubicBezTo>
                    <a:pt x="47509" y="92210"/>
                    <a:pt x="47509" y="92210"/>
                    <a:pt x="47509" y="92210"/>
                  </a:cubicBezTo>
                  <a:cubicBezTo>
                    <a:pt x="47509" y="92210"/>
                    <a:pt x="47509" y="92210"/>
                    <a:pt x="47509" y="92210"/>
                  </a:cubicBezTo>
                  <a:cubicBezTo>
                    <a:pt x="47509" y="92210"/>
                    <a:pt x="47509" y="92210"/>
                    <a:pt x="47509" y="92210"/>
                  </a:cubicBezTo>
                  <a:cubicBezTo>
                    <a:pt x="47509" y="92210"/>
                    <a:pt x="47509" y="92210"/>
                    <a:pt x="47509" y="92210"/>
                  </a:cubicBezTo>
                  <a:cubicBezTo>
                    <a:pt x="47509" y="92052"/>
                    <a:pt x="47509" y="92052"/>
                    <a:pt x="47509" y="92052"/>
                  </a:cubicBezTo>
                  <a:cubicBezTo>
                    <a:pt x="47509" y="92052"/>
                    <a:pt x="47509" y="92052"/>
                    <a:pt x="47509" y="92052"/>
                  </a:cubicBezTo>
                  <a:cubicBezTo>
                    <a:pt x="47509" y="92052"/>
                    <a:pt x="47509" y="92052"/>
                    <a:pt x="47509" y="92052"/>
                  </a:cubicBezTo>
                  <a:cubicBezTo>
                    <a:pt x="47509" y="92052"/>
                    <a:pt x="47509" y="92052"/>
                    <a:pt x="47509" y="92052"/>
                  </a:cubicBezTo>
                  <a:cubicBezTo>
                    <a:pt x="47509" y="92052"/>
                    <a:pt x="47509" y="92052"/>
                    <a:pt x="47509" y="92052"/>
                  </a:cubicBezTo>
                  <a:cubicBezTo>
                    <a:pt x="47509" y="92052"/>
                    <a:pt x="47509" y="92052"/>
                    <a:pt x="47509" y="92052"/>
                  </a:cubicBezTo>
                  <a:cubicBezTo>
                    <a:pt x="47509" y="92052"/>
                    <a:pt x="47509" y="92052"/>
                    <a:pt x="47509" y="92052"/>
                  </a:cubicBezTo>
                  <a:cubicBezTo>
                    <a:pt x="47732" y="92052"/>
                    <a:pt x="47732" y="92052"/>
                    <a:pt x="47732" y="92052"/>
                  </a:cubicBezTo>
                  <a:cubicBezTo>
                    <a:pt x="47732" y="92052"/>
                    <a:pt x="47732" y="92052"/>
                    <a:pt x="47732" y="92052"/>
                  </a:cubicBezTo>
                  <a:cubicBezTo>
                    <a:pt x="47732" y="91894"/>
                    <a:pt x="47732" y="91894"/>
                    <a:pt x="47732" y="91894"/>
                  </a:cubicBezTo>
                  <a:cubicBezTo>
                    <a:pt x="47732" y="91894"/>
                    <a:pt x="47732" y="91894"/>
                    <a:pt x="47732" y="91894"/>
                  </a:cubicBezTo>
                  <a:cubicBezTo>
                    <a:pt x="47732" y="91894"/>
                    <a:pt x="47732" y="91894"/>
                    <a:pt x="47732" y="91894"/>
                  </a:cubicBezTo>
                  <a:cubicBezTo>
                    <a:pt x="47732" y="91894"/>
                    <a:pt x="47732" y="91894"/>
                    <a:pt x="47732" y="91894"/>
                  </a:cubicBezTo>
                  <a:cubicBezTo>
                    <a:pt x="47732" y="91894"/>
                    <a:pt x="47732" y="91894"/>
                    <a:pt x="47732" y="91894"/>
                  </a:cubicBezTo>
                  <a:cubicBezTo>
                    <a:pt x="47732" y="91894"/>
                    <a:pt x="47732" y="91894"/>
                    <a:pt x="47732" y="91894"/>
                  </a:cubicBezTo>
                  <a:cubicBezTo>
                    <a:pt x="47732" y="91894"/>
                    <a:pt x="47732" y="91894"/>
                    <a:pt x="47732" y="91894"/>
                  </a:cubicBezTo>
                  <a:cubicBezTo>
                    <a:pt x="47732" y="91894"/>
                    <a:pt x="47732" y="91894"/>
                    <a:pt x="47732" y="91894"/>
                  </a:cubicBezTo>
                  <a:cubicBezTo>
                    <a:pt x="47732" y="91894"/>
                    <a:pt x="47732" y="91894"/>
                    <a:pt x="47732" y="91894"/>
                  </a:cubicBezTo>
                  <a:cubicBezTo>
                    <a:pt x="47732" y="91894"/>
                    <a:pt x="47732" y="91894"/>
                    <a:pt x="47732" y="91894"/>
                  </a:cubicBezTo>
                  <a:cubicBezTo>
                    <a:pt x="47509" y="90473"/>
                    <a:pt x="47509" y="90473"/>
                    <a:pt x="47509" y="90473"/>
                  </a:cubicBezTo>
                  <a:cubicBezTo>
                    <a:pt x="46171" y="89684"/>
                    <a:pt x="46171" y="89684"/>
                    <a:pt x="46171" y="89684"/>
                  </a:cubicBezTo>
                  <a:cubicBezTo>
                    <a:pt x="44609" y="88894"/>
                    <a:pt x="44609" y="88894"/>
                    <a:pt x="44609" y="88894"/>
                  </a:cubicBezTo>
                  <a:cubicBezTo>
                    <a:pt x="43940" y="87631"/>
                    <a:pt x="43940" y="87631"/>
                    <a:pt x="43940" y="87631"/>
                  </a:cubicBezTo>
                  <a:cubicBezTo>
                    <a:pt x="43717" y="82736"/>
                    <a:pt x="43717" y="82736"/>
                    <a:pt x="43717" y="82736"/>
                  </a:cubicBezTo>
                  <a:cubicBezTo>
                    <a:pt x="43717" y="82736"/>
                    <a:pt x="42156" y="80684"/>
                    <a:pt x="42156" y="80526"/>
                  </a:cubicBezTo>
                  <a:cubicBezTo>
                    <a:pt x="41933" y="80210"/>
                    <a:pt x="41933" y="79894"/>
                    <a:pt x="42379" y="79578"/>
                  </a:cubicBezTo>
                  <a:cubicBezTo>
                    <a:pt x="42602" y="79421"/>
                    <a:pt x="42379" y="79105"/>
                    <a:pt x="42379" y="79105"/>
                  </a:cubicBezTo>
                  <a:cubicBezTo>
                    <a:pt x="42156" y="78000"/>
                    <a:pt x="42156" y="78000"/>
                    <a:pt x="42156" y="78000"/>
                  </a:cubicBezTo>
                  <a:cubicBezTo>
                    <a:pt x="42602" y="77526"/>
                    <a:pt x="42602" y="77526"/>
                    <a:pt x="42602" y="77526"/>
                  </a:cubicBezTo>
                  <a:cubicBezTo>
                    <a:pt x="42602" y="76578"/>
                    <a:pt x="42602" y="76578"/>
                    <a:pt x="42602" y="76578"/>
                  </a:cubicBezTo>
                  <a:cubicBezTo>
                    <a:pt x="41710" y="75315"/>
                    <a:pt x="41710" y="75315"/>
                    <a:pt x="41710" y="75315"/>
                  </a:cubicBezTo>
                  <a:cubicBezTo>
                    <a:pt x="41710" y="75315"/>
                    <a:pt x="41710" y="74368"/>
                    <a:pt x="41710" y="74210"/>
                  </a:cubicBezTo>
                  <a:cubicBezTo>
                    <a:pt x="41710" y="73894"/>
                    <a:pt x="42379" y="73263"/>
                    <a:pt x="42379" y="73263"/>
                  </a:cubicBezTo>
                  <a:cubicBezTo>
                    <a:pt x="42602" y="72157"/>
                    <a:pt x="42602" y="72157"/>
                    <a:pt x="42602" y="72157"/>
                  </a:cubicBezTo>
                  <a:cubicBezTo>
                    <a:pt x="43048" y="70578"/>
                    <a:pt x="43048" y="70578"/>
                    <a:pt x="43048" y="70578"/>
                  </a:cubicBezTo>
                  <a:cubicBezTo>
                    <a:pt x="45947" y="67894"/>
                    <a:pt x="45947" y="67894"/>
                    <a:pt x="45947" y="67894"/>
                  </a:cubicBezTo>
                  <a:cubicBezTo>
                    <a:pt x="46617" y="67894"/>
                    <a:pt x="46617" y="67894"/>
                    <a:pt x="46617" y="67894"/>
                  </a:cubicBezTo>
                  <a:cubicBezTo>
                    <a:pt x="51301" y="67736"/>
                    <a:pt x="51301" y="67736"/>
                    <a:pt x="51301" y="67736"/>
                  </a:cubicBezTo>
                  <a:cubicBezTo>
                    <a:pt x="51524" y="67421"/>
                    <a:pt x="51524" y="67421"/>
                    <a:pt x="51524" y="67421"/>
                  </a:cubicBezTo>
                  <a:cubicBezTo>
                    <a:pt x="51747" y="67263"/>
                    <a:pt x="51747" y="67263"/>
                    <a:pt x="51747" y="67263"/>
                  </a:cubicBezTo>
                  <a:cubicBezTo>
                    <a:pt x="52193" y="66315"/>
                    <a:pt x="52193" y="66315"/>
                    <a:pt x="52193" y="66315"/>
                  </a:cubicBezTo>
                  <a:cubicBezTo>
                    <a:pt x="51970" y="63789"/>
                    <a:pt x="51970" y="63789"/>
                    <a:pt x="51970" y="63789"/>
                  </a:cubicBezTo>
                  <a:cubicBezTo>
                    <a:pt x="49962" y="63473"/>
                    <a:pt x="49962" y="63473"/>
                    <a:pt x="49962" y="63473"/>
                  </a:cubicBezTo>
                  <a:cubicBezTo>
                    <a:pt x="49516" y="62684"/>
                    <a:pt x="49516" y="62684"/>
                    <a:pt x="49516" y="62684"/>
                  </a:cubicBezTo>
                  <a:cubicBezTo>
                    <a:pt x="52862" y="58578"/>
                    <a:pt x="52862" y="58578"/>
                    <a:pt x="52862" y="58578"/>
                  </a:cubicBezTo>
                  <a:cubicBezTo>
                    <a:pt x="52639" y="57631"/>
                    <a:pt x="52639" y="57631"/>
                    <a:pt x="52639" y="57631"/>
                  </a:cubicBezTo>
                  <a:cubicBezTo>
                    <a:pt x="53531" y="57157"/>
                    <a:pt x="53531" y="57157"/>
                    <a:pt x="53531" y="57157"/>
                  </a:cubicBezTo>
                  <a:cubicBezTo>
                    <a:pt x="53531" y="57157"/>
                    <a:pt x="53308" y="56526"/>
                    <a:pt x="53085" y="56210"/>
                  </a:cubicBezTo>
                  <a:cubicBezTo>
                    <a:pt x="52862" y="56052"/>
                    <a:pt x="53308" y="55105"/>
                    <a:pt x="53308" y="55105"/>
                  </a:cubicBezTo>
                  <a:cubicBezTo>
                    <a:pt x="53531" y="54000"/>
                    <a:pt x="53531" y="54000"/>
                    <a:pt x="53531" y="54000"/>
                  </a:cubicBezTo>
                  <a:cubicBezTo>
                    <a:pt x="53977" y="52736"/>
                    <a:pt x="53977" y="52736"/>
                    <a:pt x="53977" y="52736"/>
                  </a:cubicBezTo>
                  <a:cubicBezTo>
                    <a:pt x="52862" y="50052"/>
                    <a:pt x="52862" y="50052"/>
                    <a:pt x="52862" y="50052"/>
                  </a:cubicBezTo>
                  <a:cubicBezTo>
                    <a:pt x="53531" y="49578"/>
                    <a:pt x="53531" y="49578"/>
                    <a:pt x="53531" y="49578"/>
                  </a:cubicBezTo>
                  <a:cubicBezTo>
                    <a:pt x="54423" y="49578"/>
                    <a:pt x="54423" y="49578"/>
                    <a:pt x="54423" y="49578"/>
                  </a:cubicBezTo>
                  <a:cubicBezTo>
                    <a:pt x="54646" y="49578"/>
                    <a:pt x="55092" y="49421"/>
                    <a:pt x="55539" y="49421"/>
                  </a:cubicBezTo>
                  <a:cubicBezTo>
                    <a:pt x="55985" y="49263"/>
                    <a:pt x="56208" y="49105"/>
                    <a:pt x="56877" y="48631"/>
                  </a:cubicBezTo>
                  <a:cubicBezTo>
                    <a:pt x="57100" y="48315"/>
                    <a:pt x="57100" y="48315"/>
                    <a:pt x="57100" y="48315"/>
                  </a:cubicBezTo>
                  <a:cubicBezTo>
                    <a:pt x="57323" y="47526"/>
                    <a:pt x="57323" y="47526"/>
                    <a:pt x="57323" y="47526"/>
                  </a:cubicBezTo>
                  <a:cubicBezTo>
                    <a:pt x="57323" y="46105"/>
                    <a:pt x="57323" y="46105"/>
                    <a:pt x="57323" y="46105"/>
                  </a:cubicBezTo>
                  <a:cubicBezTo>
                    <a:pt x="58438" y="44052"/>
                    <a:pt x="58438" y="44052"/>
                    <a:pt x="58438" y="44052"/>
                  </a:cubicBezTo>
                  <a:cubicBezTo>
                    <a:pt x="58438" y="44052"/>
                    <a:pt x="60223" y="42473"/>
                    <a:pt x="60446" y="42157"/>
                  </a:cubicBezTo>
                  <a:cubicBezTo>
                    <a:pt x="60669" y="41842"/>
                    <a:pt x="61338" y="40736"/>
                    <a:pt x="61338" y="40736"/>
                  </a:cubicBezTo>
                  <a:cubicBezTo>
                    <a:pt x="61338" y="40736"/>
                    <a:pt x="60892" y="39473"/>
                    <a:pt x="60669" y="39157"/>
                  </a:cubicBezTo>
                  <a:cubicBezTo>
                    <a:pt x="60223" y="39000"/>
                    <a:pt x="59553" y="38052"/>
                    <a:pt x="59553" y="38052"/>
                  </a:cubicBezTo>
                  <a:cubicBezTo>
                    <a:pt x="59553" y="37263"/>
                    <a:pt x="59553" y="37263"/>
                    <a:pt x="59553" y="37263"/>
                  </a:cubicBezTo>
                  <a:cubicBezTo>
                    <a:pt x="60892" y="36631"/>
                    <a:pt x="60892" y="36631"/>
                    <a:pt x="60892" y="36631"/>
                  </a:cubicBezTo>
                  <a:cubicBezTo>
                    <a:pt x="61338" y="36000"/>
                    <a:pt x="61338" y="36000"/>
                    <a:pt x="61338" y="36000"/>
                  </a:cubicBezTo>
                  <a:cubicBezTo>
                    <a:pt x="61338" y="36000"/>
                    <a:pt x="61338" y="34894"/>
                    <a:pt x="61338" y="34736"/>
                  </a:cubicBezTo>
                  <a:cubicBezTo>
                    <a:pt x="61338" y="34736"/>
                    <a:pt x="61338" y="34736"/>
                    <a:pt x="61338" y="34736"/>
                  </a:cubicBezTo>
                  <a:cubicBezTo>
                    <a:pt x="61338" y="34736"/>
                    <a:pt x="61338" y="34736"/>
                    <a:pt x="61338" y="34736"/>
                  </a:cubicBezTo>
                  <a:cubicBezTo>
                    <a:pt x="61338" y="34736"/>
                    <a:pt x="61338" y="34736"/>
                    <a:pt x="61338" y="34736"/>
                  </a:cubicBezTo>
                  <a:cubicBezTo>
                    <a:pt x="61338" y="34736"/>
                    <a:pt x="61338" y="34736"/>
                    <a:pt x="61338" y="34736"/>
                  </a:cubicBezTo>
                  <a:cubicBezTo>
                    <a:pt x="61338" y="34736"/>
                    <a:pt x="61338" y="34736"/>
                    <a:pt x="61338" y="34736"/>
                  </a:cubicBezTo>
                  <a:cubicBezTo>
                    <a:pt x="61338" y="34736"/>
                    <a:pt x="61338" y="34736"/>
                    <a:pt x="61338" y="34736"/>
                  </a:cubicBezTo>
                  <a:cubicBezTo>
                    <a:pt x="61338" y="34736"/>
                    <a:pt x="61338" y="34736"/>
                    <a:pt x="61338" y="34736"/>
                  </a:cubicBezTo>
                  <a:cubicBezTo>
                    <a:pt x="61338" y="34736"/>
                    <a:pt x="61338" y="34736"/>
                    <a:pt x="61338" y="34736"/>
                  </a:cubicBezTo>
                  <a:cubicBezTo>
                    <a:pt x="61338" y="34736"/>
                    <a:pt x="61338" y="34736"/>
                    <a:pt x="61338" y="34736"/>
                  </a:cubicBezTo>
                  <a:cubicBezTo>
                    <a:pt x="61338" y="34736"/>
                    <a:pt x="61338" y="34736"/>
                    <a:pt x="61338" y="34736"/>
                  </a:cubicBezTo>
                  <a:cubicBezTo>
                    <a:pt x="61338" y="34736"/>
                    <a:pt x="61338" y="34736"/>
                    <a:pt x="61338" y="34736"/>
                  </a:cubicBezTo>
                  <a:cubicBezTo>
                    <a:pt x="61338" y="34736"/>
                    <a:pt x="61338" y="34736"/>
                    <a:pt x="61338" y="34736"/>
                  </a:cubicBezTo>
                  <a:cubicBezTo>
                    <a:pt x="61338" y="34736"/>
                    <a:pt x="61338" y="34736"/>
                    <a:pt x="61338" y="34736"/>
                  </a:cubicBezTo>
                  <a:cubicBezTo>
                    <a:pt x="61338" y="34736"/>
                    <a:pt x="61338" y="34736"/>
                    <a:pt x="61338" y="34736"/>
                  </a:cubicBezTo>
                  <a:cubicBezTo>
                    <a:pt x="61338" y="34736"/>
                    <a:pt x="61338" y="34736"/>
                    <a:pt x="61338" y="34736"/>
                  </a:cubicBezTo>
                  <a:cubicBezTo>
                    <a:pt x="61338" y="34578"/>
                    <a:pt x="61338" y="34578"/>
                    <a:pt x="61338" y="34578"/>
                  </a:cubicBezTo>
                  <a:cubicBezTo>
                    <a:pt x="61338" y="34578"/>
                    <a:pt x="61338" y="34578"/>
                    <a:pt x="61338" y="34578"/>
                  </a:cubicBezTo>
                  <a:cubicBezTo>
                    <a:pt x="61338" y="34578"/>
                    <a:pt x="61338" y="34578"/>
                    <a:pt x="61338" y="34578"/>
                  </a:cubicBezTo>
                  <a:cubicBezTo>
                    <a:pt x="61338" y="34578"/>
                    <a:pt x="61338" y="34578"/>
                    <a:pt x="61338" y="34578"/>
                  </a:cubicBezTo>
                  <a:cubicBezTo>
                    <a:pt x="61338" y="34578"/>
                    <a:pt x="61338" y="34578"/>
                    <a:pt x="61338" y="34578"/>
                  </a:cubicBezTo>
                  <a:cubicBezTo>
                    <a:pt x="61338" y="34578"/>
                    <a:pt x="61338" y="34578"/>
                    <a:pt x="61338" y="34578"/>
                  </a:cubicBezTo>
                  <a:cubicBezTo>
                    <a:pt x="61338" y="34578"/>
                    <a:pt x="61338" y="34578"/>
                    <a:pt x="61338" y="34578"/>
                  </a:cubicBezTo>
                  <a:cubicBezTo>
                    <a:pt x="61338" y="34578"/>
                    <a:pt x="61338" y="34578"/>
                    <a:pt x="61338" y="34578"/>
                  </a:cubicBezTo>
                  <a:cubicBezTo>
                    <a:pt x="61338" y="34578"/>
                    <a:pt x="61338" y="34578"/>
                    <a:pt x="61338" y="34578"/>
                  </a:cubicBezTo>
                  <a:cubicBezTo>
                    <a:pt x="61338" y="34421"/>
                    <a:pt x="61338" y="34421"/>
                    <a:pt x="61338" y="34421"/>
                  </a:cubicBezTo>
                  <a:cubicBezTo>
                    <a:pt x="61338" y="34421"/>
                    <a:pt x="61338" y="34421"/>
                    <a:pt x="61338" y="34421"/>
                  </a:cubicBezTo>
                  <a:cubicBezTo>
                    <a:pt x="61338" y="34421"/>
                    <a:pt x="61338" y="34421"/>
                    <a:pt x="61338" y="34421"/>
                  </a:cubicBezTo>
                  <a:cubicBezTo>
                    <a:pt x="61338" y="34421"/>
                    <a:pt x="61338" y="34421"/>
                    <a:pt x="61338" y="34421"/>
                  </a:cubicBezTo>
                  <a:cubicBezTo>
                    <a:pt x="61561" y="34421"/>
                    <a:pt x="61561" y="34421"/>
                    <a:pt x="61561" y="34421"/>
                  </a:cubicBezTo>
                  <a:cubicBezTo>
                    <a:pt x="61561" y="34421"/>
                    <a:pt x="61561" y="34421"/>
                    <a:pt x="61561" y="34421"/>
                  </a:cubicBezTo>
                  <a:cubicBezTo>
                    <a:pt x="61561" y="34421"/>
                    <a:pt x="61561" y="34421"/>
                    <a:pt x="61561" y="34421"/>
                  </a:cubicBezTo>
                  <a:cubicBezTo>
                    <a:pt x="61561" y="34421"/>
                    <a:pt x="61561" y="34421"/>
                    <a:pt x="61561" y="34421"/>
                  </a:cubicBezTo>
                  <a:cubicBezTo>
                    <a:pt x="61561" y="34421"/>
                    <a:pt x="61561" y="34421"/>
                    <a:pt x="61561" y="34421"/>
                  </a:cubicBezTo>
                  <a:cubicBezTo>
                    <a:pt x="61561" y="34263"/>
                    <a:pt x="61561" y="34263"/>
                    <a:pt x="61561" y="34263"/>
                  </a:cubicBezTo>
                  <a:cubicBezTo>
                    <a:pt x="61561" y="34263"/>
                    <a:pt x="61561" y="34263"/>
                    <a:pt x="61561" y="34263"/>
                  </a:cubicBezTo>
                  <a:cubicBezTo>
                    <a:pt x="61561" y="34263"/>
                    <a:pt x="61561" y="34263"/>
                    <a:pt x="61561" y="34263"/>
                  </a:cubicBezTo>
                  <a:cubicBezTo>
                    <a:pt x="61561" y="34263"/>
                    <a:pt x="61561" y="34263"/>
                    <a:pt x="61561" y="34263"/>
                  </a:cubicBezTo>
                  <a:cubicBezTo>
                    <a:pt x="61561" y="34263"/>
                    <a:pt x="61561" y="34263"/>
                    <a:pt x="61561" y="34263"/>
                  </a:cubicBezTo>
                  <a:cubicBezTo>
                    <a:pt x="61561" y="34263"/>
                    <a:pt x="61561" y="34263"/>
                    <a:pt x="61561" y="34263"/>
                  </a:cubicBezTo>
                  <a:cubicBezTo>
                    <a:pt x="61561" y="34263"/>
                    <a:pt x="61561" y="34263"/>
                    <a:pt x="61561" y="34263"/>
                  </a:cubicBezTo>
                  <a:cubicBezTo>
                    <a:pt x="61561" y="34263"/>
                    <a:pt x="61561" y="34263"/>
                    <a:pt x="61561" y="34263"/>
                  </a:cubicBezTo>
                  <a:cubicBezTo>
                    <a:pt x="61561" y="34105"/>
                    <a:pt x="61561" y="34105"/>
                    <a:pt x="61561" y="34105"/>
                  </a:cubicBezTo>
                  <a:cubicBezTo>
                    <a:pt x="61561" y="34105"/>
                    <a:pt x="61561" y="34105"/>
                    <a:pt x="61561" y="34105"/>
                  </a:cubicBezTo>
                  <a:cubicBezTo>
                    <a:pt x="61561" y="34105"/>
                    <a:pt x="61561" y="34105"/>
                    <a:pt x="61561" y="34105"/>
                  </a:cubicBezTo>
                  <a:cubicBezTo>
                    <a:pt x="61561" y="34105"/>
                    <a:pt x="61561" y="34105"/>
                    <a:pt x="61561" y="34105"/>
                  </a:cubicBezTo>
                  <a:cubicBezTo>
                    <a:pt x="61561" y="34105"/>
                    <a:pt x="61561" y="34105"/>
                    <a:pt x="61561" y="34105"/>
                  </a:cubicBezTo>
                  <a:cubicBezTo>
                    <a:pt x="61561" y="34105"/>
                    <a:pt x="61561" y="34105"/>
                    <a:pt x="61561" y="34105"/>
                  </a:cubicBezTo>
                  <a:cubicBezTo>
                    <a:pt x="61561" y="34105"/>
                    <a:pt x="61561" y="34105"/>
                    <a:pt x="61561" y="34105"/>
                  </a:cubicBezTo>
                  <a:cubicBezTo>
                    <a:pt x="61784" y="34105"/>
                    <a:pt x="61784" y="34105"/>
                    <a:pt x="61784" y="34105"/>
                  </a:cubicBezTo>
                  <a:cubicBezTo>
                    <a:pt x="61784" y="34105"/>
                    <a:pt x="61784" y="34105"/>
                    <a:pt x="61784" y="34105"/>
                  </a:cubicBezTo>
                  <a:cubicBezTo>
                    <a:pt x="61784" y="33947"/>
                    <a:pt x="61784" y="33947"/>
                    <a:pt x="61784" y="33947"/>
                  </a:cubicBezTo>
                  <a:cubicBezTo>
                    <a:pt x="61784" y="33947"/>
                    <a:pt x="61784" y="33947"/>
                    <a:pt x="61784" y="33947"/>
                  </a:cubicBezTo>
                  <a:cubicBezTo>
                    <a:pt x="61784" y="33947"/>
                    <a:pt x="61784" y="33947"/>
                    <a:pt x="61784" y="33947"/>
                  </a:cubicBezTo>
                  <a:cubicBezTo>
                    <a:pt x="61784" y="33947"/>
                    <a:pt x="61784" y="33947"/>
                    <a:pt x="61784" y="33947"/>
                  </a:cubicBezTo>
                  <a:cubicBezTo>
                    <a:pt x="61784" y="33947"/>
                    <a:pt x="61784" y="33947"/>
                    <a:pt x="61784" y="33947"/>
                  </a:cubicBezTo>
                  <a:cubicBezTo>
                    <a:pt x="61784" y="33947"/>
                    <a:pt x="61784" y="33947"/>
                    <a:pt x="61784" y="33947"/>
                  </a:cubicBezTo>
                  <a:cubicBezTo>
                    <a:pt x="61784" y="33947"/>
                    <a:pt x="61784" y="33947"/>
                    <a:pt x="61784" y="33947"/>
                  </a:cubicBezTo>
                  <a:cubicBezTo>
                    <a:pt x="61784" y="33947"/>
                    <a:pt x="61784" y="33947"/>
                    <a:pt x="61784" y="33947"/>
                  </a:cubicBezTo>
                  <a:cubicBezTo>
                    <a:pt x="61784" y="33947"/>
                    <a:pt x="61784" y="33947"/>
                    <a:pt x="61784" y="33947"/>
                  </a:cubicBezTo>
                  <a:cubicBezTo>
                    <a:pt x="61784" y="33947"/>
                    <a:pt x="61784" y="33947"/>
                    <a:pt x="61784" y="33947"/>
                  </a:cubicBezTo>
                  <a:cubicBezTo>
                    <a:pt x="61784" y="33947"/>
                    <a:pt x="61784" y="33947"/>
                    <a:pt x="61784" y="33947"/>
                  </a:cubicBezTo>
                  <a:cubicBezTo>
                    <a:pt x="61784" y="33947"/>
                    <a:pt x="61784" y="33947"/>
                    <a:pt x="61784" y="33947"/>
                  </a:cubicBezTo>
                  <a:cubicBezTo>
                    <a:pt x="61784" y="33947"/>
                    <a:pt x="61784" y="33947"/>
                    <a:pt x="61784" y="33947"/>
                  </a:cubicBezTo>
                  <a:cubicBezTo>
                    <a:pt x="61784" y="33947"/>
                    <a:pt x="61784" y="33947"/>
                    <a:pt x="61784" y="33947"/>
                  </a:cubicBezTo>
                  <a:cubicBezTo>
                    <a:pt x="61784" y="33631"/>
                    <a:pt x="62676" y="33000"/>
                    <a:pt x="62676" y="33000"/>
                  </a:cubicBezTo>
                  <a:cubicBezTo>
                    <a:pt x="63568" y="31736"/>
                    <a:pt x="63568" y="31736"/>
                    <a:pt x="63568" y="31736"/>
                  </a:cubicBezTo>
                  <a:cubicBezTo>
                    <a:pt x="65799" y="32526"/>
                    <a:pt x="65799" y="32526"/>
                    <a:pt x="65799" y="32526"/>
                  </a:cubicBezTo>
                  <a:cubicBezTo>
                    <a:pt x="66914" y="32526"/>
                    <a:pt x="66914" y="32526"/>
                    <a:pt x="66914" y="32526"/>
                  </a:cubicBezTo>
                  <a:cubicBezTo>
                    <a:pt x="67360" y="31894"/>
                    <a:pt x="67360" y="31894"/>
                    <a:pt x="67360" y="31894"/>
                  </a:cubicBezTo>
                  <a:cubicBezTo>
                    <a:pt x="67137" y="31421"/>
                    <a:pt x="66914" y="28105"/>
                    <a:pt x="67583" y="27473"/>
                  </a:cubicBezTo>
                  <a:cubicBezTo>
                    <a:pt x="67583" y="27473"/>
                    <a:pt x="70706" y="27631"/>
                    <a:pt x="71152" y="27473"/>
                  </a:cubicBezTo>
                  <a:cubicBezTo>
                    <a:pt x="71375" y="27473"/>
                    <a:pt x="72490" y="27789"/>
                    <a:pt x="72713" y="27947"/>
                  </a:cubicBezTo>
                  <a:cubicBezTo>
                    <a:pt x="72713" y="27947"/>
                    <a:pt x="72713" y="27947"/>
                    <a:pt x="72713" y="27947"/>
                  </a:cubicBezTo>
                  <a:cubicBezTo>
                    <a:pt x="72713" y="27947"/>
                    <a:pt x="72713" y="27947"/>
                    <a:pt x="72713" y="27947"/>
                  </a:cubicBezTo>
                  <a:cubicBezTo>
                    <a:pt x="72936" y="28105"/>
                    <a:pt x="73159" y="28105"/>
                    <a:pt x="73382" y="28105"/>
                  </a:cubicBezTo>
                  <a:cubicBezTo>
                    <a:pt x="73828" y="28263"/>
                    <a:pt x="74275" y="28263"/>
                    <a:pt x="74275" y="28263"/>
                  </a:cubicBezTo>
                  <a:cubicBezTo>
                    <a:pt x="75613" y="28105"/>
                    <a:pt x="75613" y="28105"/>
                    <a:pt x="75613" y="28105"/>
                  </a:cubicBezTo>
                  <a:cubicBezTo>
                    <a:pt x="76505" y="27315"/>
                    <a:pt x="76505" y="27315"/>
                    <a:pt x="76505" y="27315"/>
                  </a:cubicBezTo>
                  <a:cubicBezTo>
                    <a:pt x="75613" y="26684"/>
                    <a:pt x="75613" y="26684"/>
                    <a:pt x="75613" y="26684"/>
                  </a:cubicBezTo>
                  <a:cubicBezTo>
                    <a:pt x="76505" y="25894"/>
                    <a:pt x="76505" y="24789"/>
                    <a:pt x="76282" y="24631"/>
                  </a:cubicBezTo>
                  <a:cubicBezTo>
                    <a:pt x="76059" y="24315"/>
                    <a:pt x="75613" y="22894"/>
                    <a:pt x="75390" y="22736"/>
                  </a:cubicBezTo>
                  <a:cubicBezTo>
                    <a:pt x="75390" y="22578"/>
                    <a:pt x="75836" y="22421"/>
                    <a:pt x="75836" y="22421"/>
                  </a:cubicBezTo>
                  <a:cubicBezTo>
                    <a:pt x="76282" y="22421"/>
                    <a:pt x="76282" y="22421"/>
                    <a:pt x="76282" y="22421"/>
                  </a:cubicBezTo>
                  <a:cubicBezTo>
                    <a:pt x="76282" y="22421"/>
                    <a:pt x="76505" y="22263"/>
                    <a:pt x="76728" y="22263"/>
                  </a:cubicBezTo>
                  <a:cubicBezTo>
                    <a:pt x="77843" y="21631"/>
                    <a:pt x="77843" y="21631"/>
                    <a:pt x="77843" y="21631"/>
                  </a:cubicBezTo>
                  <a:cubicBezTo>
                    <a:pt x="78959" y="21789"/>
                    <a:pt x="78959" y="21789"/>
                    <a:pt x="78959" y="21789"/>
                  </a:cubicBezTo>
                  <a:cubicBezTo>
                    <a:pt x="78959" y="21789"/>
                    <a:pt x="78959" y="21631"/>
                    <a:pt x="79182" y="21631"/>
                  </a:cubicBezTo>
                  <a:cubicBezTo>
                    <a:pt x="79405" y="21631"/>
                    <a:pt x="79405" y="21473"/>
                    <a:pt x="79405" y="21473"/>
                  </a:cubicBezTo>
                  <a:cubicBezTo>
                    <a:pt x="79405" y="21473"/>
                    <a:pt x="78736" y="20526"/>
                    <a:pt x="79182" y="20052"/>
                  </a:cubicBezTo>
                  <a:cubicBezTo>
                    <a:pt x="79405" y="19736"/>
                    <a:pt x="79628" y="19736"/>
                    <a:pt x="80074" y="19736"/>
                  </a:cubicBezTo>
                  <a:cubicBezTo>
                    <a:pt x="80074" y="19736"/>
                    <a:pt x="80074" y="19736"/>
                    <a:pt x="80074" y="19736"/>
                  </a:cubicBezTo>
                  <a:cubicBezTo>
                    <a:pt x="80074" y="19736"/>
                    <a:pt x="80074" y="19736"/>
                    <a:pt x="80074" y="19736"/>
                  </a:cubicBezTo>
                  <a:cubicBezTo>
                    <a:pt x="80074" y="19736"/>
                    <a:pt x="80074" y="19736"/>
                    <a:pt x="80074" y="19736"/>
                  </a:cubicBezTo>
                  <a:cubicBezTo>
                    <a:pt x="80074" y="19736"/>
                    <a:pt x="80074" y="19736"/>
                    <a:pt x="80074" y="19736"/>
                  </a:cubicBezTo>
                  <a:cubicBezTo>
                    <a:pt x="80074" y="19736"/>
                    <a:pt x="80074" y="19736"/>
                    <a:pt x="80074" y="19736"/>
                  </a:cubicBezTo>
                  <a:cubicBezTo>
                    <a:pt x="80074" y="19736"/>
                    <a:pt x="80074" y="19736"/>
                    <a:pt x="80074" y="19736"/>
                  </a:cubicBezTo>
                  <a:cubicBezTo>
                    <a:pt x="80297" y="19736"/>
                    <a:pt x="80297" y="19736"/>
                    <a:pt x="80297" y="19736"/>
                  </a:cubicBezTo>
                  <a:cubicBezTo>
                    <a:pt x="80297" y="19736"/>
                    <a:pt x="80297" y="19736"/>
                    <a:pt x="80297" y="19736"/>
                  </a:cubicBezTo>
                  <a:cubicBezTo>
                    <a:pt x="80297" y="19736"/>
                    <a:pt x="80297" y="19736"/>
                    <a:pt x="80297" y="19736"/>
                  </a:cubicBezTo>
                  <a:cubicBezTo>
                    <a:pt x="80297" y="19736"/>
                    <a:pt x="80297" y="19736"/>
                    <a:pt x="80297" y="19736"/>
                  </a:cubicBezTo>
                  <a:cubicBezTo>
                    <a:pt x="80297" y="19736"/>
                    <a:pt x="80297" y="19736"/>
                    <a:pt x="80297" y="19736"/>
                  </a:cubicBezTo>
                  <a:cubicBezTo>
                    <a:pt x="80297" y="19736"/>
                    <a:pt x="80297" y="19736"/>
                    <a:pt x="80297" y="19736"/>
                  </a:cubicBezTo>
                  <a:cubicBezTo>
                    <a:pt x="80297" y="19736"/>
                    <a:pt x="80297" y="19736"/>
                    <a:pt x="80297" y="19736"/>
                  </a:cubicBezTo>
                  <a:cubicBezTo>
                    <a:pt x="80297" y="19736"/>
                    <a:pt x="80297" y="19736"/>
                    <a:pt x="80297" y="19736"/>
                  </a:cubicBezTo>
                  <a:cubicBezTo>
                    <a:pt x="80520" y="19736"/>
                    <a:pt x="80520" y="19736"/>
                    <a:pt x="80520" y="19736"/>
                  </a:cubicBezTo>
                  <a:cubicBezTo>
                    <a:pt x="80520" y="19736"/>
                    <a:pt x="80520" y="19736"/>
                    <a:pt x="80520" y="19736"/>
                  </a:cubicBezTo>
                  <a:cubicBezTo>
                    <a:pt x="80520" y="19736"/>
                    <a:pt x="80520" y="19736"/>
                    <a:pt x="80520" y="19736"/>
                  </a:cubicBezTo>
                  <a:cubicBezTo>
                    <a:pt x="80520" y="19736"/>
                    <a:pt x="80520" y="19736"/>
                    <a:pt x="80520" y="19736"/>
                  </a:cubicBezTo>
                  <a:cubicBezTo>
                    <a:pt x="80520" y="19736"/>
                    <a:pt x="80520" y="19736"/>
                    <a:pt x="80520" y="19736"/>
                  </a:cubicBezTo>
                  <a:cubicBezTo>
                    <a:pt x="80520" y="19736"/>
                    <a:pt x="80520" y="19736"/>
                    <a:pt x="80520" y="19736"/>
                  </a:cubicBezTo>
                  <a:cubicBezTo>
                    <a:pt x="80520" y="19736"/>
                    <a:pt x="80520" y="19736"/>
                    <a:pt x="80520" y="19736"/>
                  </a:cubicBezTo>
                  <a:cubicBezTo>
                    <a:pt x="80520" y="19736"/>
                    <a:pt x="80520" y="19736"/>
                    <a:pt x="80520" y="19736"/>
                  </a:cubicBezTo>
                  <a:cubicBezTo>
                    <a:pt x="80520" y="19736"/>
                    <a:pt x="80520" y="19736"/>
                    <a:pt x="80520" y="19736"/>
                  </a:cubicBezTo>
                  <a:cubicBezTo>
                    <a:pt x="80520" y="19736"/>
                    <a:pt x="80520" y="19736"/>
                    <a:pt x="80520" y="19736"/>
                  </a:cubicBezTo>
                  <a:cubicBezTo>
                    <a:pt x="80520" y="19736"/>
                    <a:pt x="80520" y="19736"/>
                    <a:pt x="80520" y="19736"/>
                  </a:cubicBezTo>
                  <a:cubicBezTo>
                    <a:pt x="80520" y="19736"/>
                    <a:pt x="80520" y="19736"/>
                    <a:pt x="80520" y="19736"/>
                  </a:cubicBezTo>
                  <a:cubicBezTo>
                    <a:pt x="80520" y="19736"/>
                    <a:pt x="80520" y="19736"/>
                    <a:pt x="80520" y="19736"/>
                  </a:cubicBezTo>
                  <a:cubicBezTo>
                    <a:pt x="80520" y="19736"/>
                    <a:pt x="80520" y="19736"/>
                    <a:pt x="80520" y="19736"/>
                  </a:cubicBezTo>
                  <a:cubicBezTo>
                    <a:pt x="80743" y="19736"/>
                    <a:pt x="80743" y="19736"/>
                    <a:pt x="80743" y="19736"/>
                  </a:cubicBezTo>
                  <a:cubicBezTo>
                    <a:pt x="80743" y="19736"/>
                    <a:pt x="80743" y="19736"/>
                    <a:pt x="80743" y="19736"/>
                  </a:cubicBezTo>
                  <a:cubicBezTo>
                    <a:pt x="80743" y="19736"/>
                    <a:pt x="80743" y="19736"/>
                    <a:pt x="80743" y="19736"/>
                  </a:cubicBezTo>
                  <a:cubicBezTo>
                    <a:pt x="80743" y="19736"/>
                    <a:pt x="80743" y="19736"/>
                    <a:pt x="80743" y="19736"/>
                  </a:cubicBezTo>
                  <a:cubicBezTo>
                    <a:pt x="80966" y="19736"/>
                    <a:pt x="80966" y="19736"/>
                    <a:pt x="80966" y="19736"/>
                  </a:cubicBezTo>
                  <a:cubicBezTo>
                    <a:pt x="80966" y="19736"/>
                    <a:pt x="80966" y="19736"/>
                    <a:pt x="80966" y="19736"/>
                  </a:cubicBezTo>
                  <a:cubicBezTo>
                    <a:pt x="80966" y="19736"/>
                    <a:pt x="80966" y="19736"/>
                    <a:pt x="80966" y="19736"/>
                  </a:cubicBezTo>
                  <a:cubicBezTo>
                    <a:pt x="80966" y="19736"/>
                    <a:pt x="80966" y="19736"/>
                    <a:pt x="80966" y="19736"/>
                  </a:cubicBezTo>
                  <a:cubicBezTo>
                    <a:pt x="80966" y="19894"/>
                    <a:pt x="80966" y="19894"/>
                    <a:pt x="80966" y="19894"/>
                  </a:cubicBezTo>
                  <a:cubicBezTo>
                    <a:pt x="80966" y="19894"/>
                    <a:pt x="80966" y="19894"/>
                    <a:pt x="80966" y="19894"/>
                  </a:cubicBezTo>
                  <a:cubicBezTo>
                    <a:pt x="80966" y="19894"/>
                    <a:pt x="80966" y="19894"/>
                    <a:pt x="80966" y="19894"/>
                  </a:cubicBezTo>
                  <a:cubicBezTo>
                    <a:pt x="80966" y="19894"/>
                    <a:pt x="80966" y="19894"/>
                    <a:pt x="80966" y="19894"/>
                  </a:cubicBezTo>
                  <a:cubicBezTo>
                    <a:pt x="80966" y="19894"/>
                    <a:pt x="80966" y="19894"/>
                    <a:pt x="80966" y="19894"/>
                  </a:cubicBezTo>
                  <a:cubicBezTo>
                    <a:pt x="80966" y="19894"/>
                    <a:pt x="80966" y="19894"/>
                    <a:pt x="80966" y="19894"/>
                  </a:cubicBezTo>
                  <a:cubicBezTo>
                    <a:pt x="80966" y="19894"/>
                    <a:pt x="80966" y="19894"/>
                    <a:pt x="80966" y="19894"/>
                  </a:cubicBezTo>
                  <a:cubicBezTo>
                    <a:pt x="80966" y="19894"/>
                    <a:pt x="80966" y="19894"/>
                    <a:pt x="80966" y="1989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 cmpd="sng">
              <a:solidFill>
                <a:schemeClr val="tx1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defTabSz="457200"/>
              <a:endParaRPr kern="0">
                <a:solidFill>
                  <a:srgbClr val="7F7F7F"/>
                </a:solidFill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56" name="Shape 2053">
              <a:extLst>
                <a:ext uri="{FF2B5EF4-FFF2-40B4-BE49-F238E27FC236}">
                  <a16:creationId xmlns:a16="http://schemas.microsoft.com/office/drawing/2014/main" id="{2228BC32-B190-6335-C423-0BBC6713ACB1}"/>
                </a:ext>
              </a:extLst>
            </p:cNvPr>
            <p:cNvSpPr/>
            <p:nvPr/>
          </p:nvSpPr>
          <p:spPr>
            <a:xfrm>
              <a:off x="2965405" y="1831637"/>
              <a:ext cx="611743" cy="1121153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30103" y="109309"/>
                  </a:moveTo>
                  <a:cubicBezTo>
                    <a:pt x="28453" y="109963"/>
                    <a:pt x="28453" y="109963"/>
                    <a:pt x="28453" y="109963"/>
                  </a:cubicBezTo>
                  <a:cubicBezTo>
                    <a:pt x="28453" y="110836"/>
                    <a:pt x="28453" y="110836"/>
                    <a:pt x="28453" y="110836"/>
                  </a:cubicBezTo>
                  <a:cubicBezTo>
                    <a:pt x="27628" y="111709"/>
                    <a:pt x="27628" y="111709"/>
                    <a:pt x="27628" y="111709"/>
                  </a:cubicBezTo>
                  <a:cubicBezTo>
                    <a:pt x="27628" y="111709"/>
                    <a:pt x="26804" y="111927"/>
                    <a:pt x="26804" y="112145"/>
                  </a:cubicBezTo>
                  <a:cubicBezTo>
                    <a:pt x="26391" y="112363"/>
                    <a:pt x="24742" y="113018"/>
                    <a:pt x="24742" y="113018"/>
                  </a:cubicBezTo>
                  <a:cubicBezTo>
                    <a:pt x="24742" y="113018"/>
                    <a:pt x="24742" y="113236"/>
                    <a:pt x="24329" y="113236"/>
                  </a:cubicBezTo>
                  <a:cubicBezTo>
                    <a:pt x="23917" y="113236"/>
                    <a:pt x="21030" y="113890"/>
                    <a:pt x="21030" y="113890"/>
                  </a:cubicBezTo>
                  <a:cubicBezTo>
                    <a:pt x="20206" y="114763"/>
                    <a:pt x="20206" y="114763"/>
                    <a:pt x="20206" y="114763"/>
                  </a:cubicBezTo>
                  <a:cubicBezTo>
                    <a:pt x="18556" y="114981"/>
                    <a:pt x="18556" y="114981"/>
                    <a:pt x="18556" y="114981"/>
                  </a:cubicBezTo>
                  <a:cubicBezTo>
                    <a:pt x="17319" y="116072"/>
                    <a:pt x="17319" y="116072"/>
                    <a:pt x="17319" y="116072"/>
                  </a:cubicBezTo>
                  <a:cubicBezTo>
                    <a:pt x="15257" y="116509"/>
                    <a:pt x="15257" y="116509"/>
                    <a:pt x="15257" y="116509"/>
                  </a:cubicBezTo>
                  <a:cubicBezTo>
                    <a:pt x="13608" y="116727"/>
                    <a:pt x="13608" y="116727"/>
                    <a:pt x="13608" y="116727"/>
                  </a:cubicBezTo>
                  <a:cubicBezTo>
                    <a:pt x="11958" y="116290"/>
                    <a:pt x="11958" y="116290"/>
                    <a:pt x="11958" y="116290"/>
                  </a:cubicBezTo>
                  <a:cubicBezTo>
                    <a:pt x="10721" y="116727"/>
                    <a:pt x="10721" y="116727"/>
                    <a:pt x="10721" y="116727"/>
                  </a:cubicBezTo>
                  <a:cubicBezTo>
                    <a:pt x="9484" y="117163"/>
                    <a:pt x="9484" y="117163"/>
                    <a:pt x="9484" y="117163"/>
                  </a:cubicBezTo>
                  <a:cubicBezTo>
                    <a:pt x="9896" y="118036"/>
                    <a:pt x="9896" y="118036"/>
                    <a:pt x="9896" y="118036"/>
                  </a:cubicBezTo>
                  <a:cubicBezTo>
                    <a:pt x="11134" y="118472"/>
                    <a:pt x="11134" y="118472"/>
                    <a:pt x="11134" y="118472"/>
                  </a:cubicBezTo>
                  <a:cubicBezTo>
                    <a:pt x="11958" y="117818"/>
                    <a:pt x="11958" y="117818"/>
                    <a:pt x="11958" y="117818"/>
                  </a:cubicBezTo>
                  <a:cubicBezTo>
                    <a:pt x="14432" y="118254"/>
                    <a:pt x="14432" y="118254"/>
                    <a:pt x="14432" y="118254"/>
                  </a:cubicBezTo>
                  <a:cubicBezTo>
                    <a:pt x="14432" y="118254"/>
                    <a:pt x="15257" y="118909"/>
                    <a:pt x="15670" y="119127"/>
                  </a:cubicBezTo>
                  <a:cubicBezTo>
                    <a:pt x="15670" y="119345"/>
                    <a:pt x="15670" y="120000"/>
                    <a:pt x="16082" y="120000"/>
                  </a:cubicBezTo>
                  <a:cubicBezTo>
                    <a:pt x="16494" y="119781"/>
                    <a:pt x="18556" y="119127"/>
                    <a:pt x="18556" y="119127"/>
                  </a:cubicBezTo>
                  <a:cubicBezTo>
                    <a:pt x="17731" y="118254"/>
                    <a:pt x="17731" y="118254"/>
                    <a:pt x="17731" y="118254"/>
                  </a:cubicBezTo>
                  <a:cubicBezTo>
                    <a:pt x="17731" y="118254"/>
                    <a:pt x="18969" y="118036"/>
                    <a:pt x="19793" y="118036"/>
                  </a:cubicBezTo>
                  <a:cubicBezTo>
                    <a:pt x="20618" y="118036"/>
                    <a:pt x="21443" y="118254"/>
                    <a:pt x="21855" y="117818"/>
                  </a:cubicBezTo>
                  <a:cubicBezTo>
                    <a:pt x="21855" y="117600"/>
                    <a:pt x="23092" y="117600"/>
                    <a:pt x="23092" y="117600"/>
                  </a:cubicBezTo>
                  <a:cubicBezTo>
                    <a:pt x="23092" y="117600"/>
                    <a:pt x="23917" y="116945"/>
                    <a:pt x="23917" y="116945"/>
                  </a:cubicBezTo>
                  <a:cubicBezTo>
                    <a:pt x="23917" y="116727"/>
                    <a:pt x="25154" y="116290"/>
                    <a:pt x="25154" y="116290"/>
                  </a:cubicBezTo>
                  <a:cubicBezTo>
                    <a:pt x="25154" y="116290"/>
                    <a:pt x="28041" y="116945"/>
                    <a:pt x="28453" y="116945"/>
                  </a:cubicBezTo>
                  <a:cubicBezTo>
                    <a:pt x="28865" y="116945"/>
                    <a:pt x="31752" y="116509"/>
                    <a:pt x="31752" y="116509"/>
                  </a:cubicBezTo>
                  <a:cubicBezTo>
                    <a:pt x="32989" y="117163"/>
                    <a:pt x="32989" y="117163"/>
                    <a:pt x="32989" y="117163"/>
                  </a:cubicBezTo>
                  <a:cubicBezTo>
                    <a:pt x="32989" y="117163"/>
                    <a:pt x="32989" y="117600"/>
                    <a:pt x="33814" y="117818"/>
                  </a:cubicBezTo>
                  <a:cubicBezTo>
                    <a:pt x="34639" y="117818"/>
                    <a:pt x="35051" y="117818"/>
                    <a:pt x="35051" y="117818"/>
                  </a:cubicBezTo>
                  <a:cubicBezTo>
                    <a:pt x="36288" y="118690"/>
                    <a:pt x="36288" y="118690"/>
                    <a:pt x="36288" y="118690"/>
                  </a:cubicBezTo>
                  <a:cubicBezTo>
                    <a:pt x="37525" y="119127"/>
                    <a:pt x="37525" y="119127"/>
                    <a:pt x="37525" y="119127"/>
                  </a:cubicBezTo>
                  <a:cubicBezTo>
                    <a:pt x="37525" y="119127"/>
                    <a:pt x="38762" y="119127"/>
                    <a:pt x="38762" y="118909"/>
                  </a:cubicBezTo>
                  <a:cubicBezTo>
                    <a:pt x="38762" y="118690"/>
                    <a:pt x="39175" y="118254"/>
                    <a:pt x="39587" y="118036"/>
                  </a:cubicBezTo>
                  <a:cubicBezTo>
                    <a:pt x="40000" y="118036"/>
                    <a:pt x="41237" y="117818"/>
                    <a:pt x="41237" y="117818"/>
                  </a:cubicBezTo>
                  <a:cubicBezTo>
                    <a:pt x="41237" y="117818"/>
                    <a:pt x="41237" y="117381"/>
                    <a:pt x="41237" y="117163"/>
                  </a:cubicBezTo>
                  <a:cubicBezTo>
                    <a:pt x="41237" y="116727"/>
                    <a:pt x="41237" y="116072"/>
                    <a:pt x="41649" y="115854"/>
                  </a:cubicBezTo>
                  <a:cubicBezTo>
                    <a:pt x="41649" y="115854"/>
                    <a:pt x="42886" y="114981"/>
                    <a:pt x="42886" y="114981"/>
                  </a:cubicBezTo>
                  <a:cubicBezTo>
                    <a:pt x="44948" y="114763"/>
                    <a:pt x="44948" y="114763"/>
                    <a:pt x="44948" y="114763"/>
                  </a:cubicBezTo>
                  <a:cubicBezTo>
                    <a:pt x="49896" y="114545"/>
                    <a:pt x="49896" y="114545"/>
                    <a:pt x="49896" y="114545"/>
                  </a:cubicBezTo>
                  <a:cubicBezTo>
                    <a:pt x="51546" y="114545"/>
                    <a:pt x="51546" y="114545"/>
                    <a:pt x="51546" y="114545"/>
                  </a:cubicBezTo>
                  <a:cubicBezTo>
                    <a:pt x="53608" y="115418"/>
                    <a:pt x="53608" y="115418"/>
                    <a:pt x="53608" y="115418"/>
                  </a:cubicBezTo>
                  <a:cubicBezTo>
                    <a:pt x="55670" y="116509"/>
                    <a:pt x="55670" y="116509"/>
                    <a:pt x="55670" y="116509"/>
                  </a:cubicBezTo>
                  <a:cubicBezTo>
                    <a:pt x="55670" y="116509"/>
                    <a:pt x="56907" y="117381"/>
                    <a:pt x="56907" y="117163"/>
                  </a:cubicBezTo>
                  <a:cubicBezTo>
                    <a:pt x="57319" y="116727"/>
                    <a:pt x="57731" y="115854"/>
                    <a:pt x="58144" y="115854"/>
                  </a:cubicBezTo>
                  <a:cubicBezTo>
                    <a:pt x="58556" y="115854"/>
                    <a:pt x="59793" y="116727"/>
                    <a:pt x="59793" y="116727"/>
                  </a:cubicBezTo>
                  <a:cubicBezTo>
                    <a:pt x="61443" y="116945"/>
                    <a:pt x="61443" y="116945"/>
                    <a:pt x="61443" y="116945"/>
                  </a:cubicBezTo>
                  <a:cubicBezTo>
                    <a:pt x="62680" y="116945"/>
                    <a:pt x="62680" y="116945"/>
                    <a:pt x="62680" y="116945"/>
                  </a:cubicBezTo>
                  <a:cubicBezTo>
                    <a:pt x="63917" y="116290"/>
                    <a:pt x="63917" y="116290"/>
                    <a:pt x="63917" y="116290"/>
                  </a:cubicBezTo>
                  <a:cubicBezTo>
                    <a:pt x="63092" y="115636"/>
                    <a:pt x="63092" y="115636"/>
                    <a:pt x="63092" y="115636"/>
                  </a:cubicBezTo>
                  <a:cubicBezTo>
                    <a:pt x="64742" y="115854"/>
                    <a:pt x="64742" y="115854"/>
                    <a:pt x="64742" y="115854"/>
                  </a:cubicBezTo>
                  <a:cubicBezTo>
                    <a:pt x="69278" y="116072"/>
                    <a:pt x="69278" y="116072"/>
                    <a:pt x="69278" y="116072"/>
                  </a:cubicBezTo>
                  <a:cubicBezTo>
                    <a:pt x="71340" y="115854"/>
                    <a:pt x="71340" y="115854"/>
                    <a:pt x="71340" y="115854"/>
                  </a:cubicBezTo>
                  <a:cubicBezTo>
                    <a:pt x="72989" y="115636"/>
                    <a:pt x="72989" y="115636"/>
                    <a:pt x="72989" y="115636"/>
                  </a:cubicBezTo>
                  <a:cubicBezTo>
                    <a:pt x="72989" y="116072"/>
                    <a:pt x="72989" y="116072"/>
                    <a:pt x="72989" y="116072"/>
                  </a:cubicBezTo>
                  <a:cubicBezTo>
                    <a:pt x="70515" y="116509"/>
                    <a:pt x="70515" y="116509"/>
                    <a:pt x="70515" y="116509"/>
                  </a:cubicBezTo>
                  <a:cubicBezTo>
                    <a:pt x="70515" y="116509"/>
                    <a:pt x="69278" y="116509"/>
                    <a:pt x="69690" y="116727"/>
                  </a:cubicBezTo>
                  <a:cubicBezTo>
                    <a:pt x="70103" y="117163"/>
                    <a:pt x="72164" y="117600"/>
                    <a:pt x="72164" y="117600"/>
                  </a:cubicBezTo>
                  <a:cubicBezTo>
                    <a:pt x="72164" y="117600"/>
                    <a:pt x="70927" y="117818"/>
                    <a:pt x="72577" y="117818"/>
                  </a:cubicBezTo>
                  <a:cubicBezTo>
                    <a:pt x="74226" y="117818"/>
                    <a:pt x="75051" y="117600"/>
                    <a:pt x="75051" y="117600"/>
                  </a:cubicBezTo>
                  <a:cubicBezTo>
                    <a:pt x="76288" y="116945"/>
                    <a:pt x="76288" y="116945"/>
                    <a:pt x="76288" y="116945"/>
                  </a:cubicBezTo>
                  <a:cubicBezTo>
                    <a:pt x="75463" y="116509"/>
                    <a:pt x="75463" y="116509"/>
                    <a:pt x="75463" y="116509"/>
                  </a:cubicBezTo>
                  <a:cubicBezTo>
                    <a:pt x="73402" y="116290"/>
                    <a:pt x="73402" y="116290"/>
                    <a:pt x="73402" y="116290"/>
                  </a:cubicBezTo>
                  <a:cubicBezTo>
                    <a:pt x="73814" y="115418"/>
                    <a:pt x="73814" y="115418"/>
                    <a:pt x="73814" y="115418"/>
                  </a:cubicBezTo>
                  <a:cubicBezTo>
                    <a:pt x="74226" y="115418"/>
                    <a:pt x="74226" y="115418"/>
                    <a:pt x="74226" y="115418"/>
                  </a:cubicBezTo>
                  <a:cubicBezTo>
                    <a:pt x="75463" y="116072"/>
                    <a:pt x="75463" y="116072"/>
                    <a:pt x="75463" y="116072"/>
                  </a:cubicBezTo>
                  <a:cubicBezTo>
                    <a:pt x="76701" y="115636"/>
                    <a:pt x="76701" y="115636"/>
                    <a:pt x="76701" y="115636"/>
                  </a:cubicBezTo>
                  <a:cubicBezTo>
                    <a:pt x="78350" y="115854"/>
                    <a:pt x="78350" y="115854"/>
                    <a:pt x="78350" y="115854"/>
                  </a:cubicBezTo>
                  <a:cubicBezTo>
                    <a:pt x="79175" y="116727"/>
                    <a:pt x="79175" y="116727"/>
                    <a:pt x="79175" y="116727"/>
                  </a:cubicBezTo>
                  <a:cubicBezTo>
                    <a:pt x="79175" y="116727"/>
                    <a:pt x="80000" y="117163"/>
                    <a:pt x="80824" y="116727"/>
                  </a:cubicBezTo>
                  <a:cubicBezTo>
                    <a:pt x="81649" y="116509"/>
                    <a:pt x="82474" y="116290"/>
                    <a:pt x="82474" y="116290"/>
                  </a:cubicBezTo>
                  <a:cubicBezTo>
                    <a:pt x="87422" y="116509"/>
                    <a:pt x="87422" y="116509"/>
                    <a:pt x="87422" y="116509"/>
                  </a:cubicBezTo>
                  <a:cubicBezTo>
                    <a:pt x="87422" y="116509"/>
                    <a:pt x="89896" y="116290"/>
                    <a:pt x="90309" y="116727"/>
                  </a:cubicBezTo>
                  <a:cubicBezTo>
                    <a:pt x="90721" y="116945"/>
                    <a:pt x="91958" y="117381"/>
                    <a:pt x="91958" y="117381"/>
                  </a:cubicBezTo>
                  <a:cubicBezTo>
                    <a:pt x="94020" y="117600"/>
                    <a:pt x="94020" y="117600"/>
                    <a:pt x="94020" y="117600"/>
                  </a:cubicBezTo>
                  <a:cubicBezTo>
                    <a:pt x="96082" y="117600"/>
                    <a:pt x="96082" y="117600"/>
                    <a:pt x="96082" y="117600"/>
                  </a:cubicBezTo>
                  <a:cubicBezTo>
                    <a:pt x="96082" y="117600"/>
                    <a:pt x="96907" y="117163"/>
                    <a:pt x="97319" y="116945"/>
                  </a:cubicBezTo>
                  <a:cubicBezTo>
                    <a:pt x="98144" y="116945"/>
                    <a:pt x="99381" y="116509"/>
                    <a:pt x="99793" y="116509"/>
                  </a:cubicBezTo>
                  <a:cubicBezTo>
                    <a:pt x="100618" y="116509"/>
                    <a:pt x="102680" y="116290"/>
                    <a:pt x="102680" y="116290"/>
                  </a:cubicBezTo>
                  <a:cubicBezTo>
                    <a:pt x="103092" y="116290"/>
                    <a:pt x="103505" y="116509"/>
                    <a:pt x="104329" y="116290"/>
                  </a:cubicBezTo>
                  <a:cubicBezTo>
                    <a:pt x="104742" y="116290"/>
                    <a:pt x="105979" y="115200"/>
                    <a:pt x="105979" y="115200"/>
                  </a:cubicBezTo>
                  <a:cubicBezTo>
                    <a:pt x="105979" y="115200"/>
                    <a:pt x="106391" y="114763"/>
                    <a:pt x="107216" y="114763"/>
                  </a:cubicBezTo>
                  <a:cubicBezTo>
                    <a:pt x="108041" y="114763"/>
                    <a:pt x="109278" y="114763"/>
                    <a:pt x="109690" y="114545"/>
                  </a:cubicBezTo>
                  <a:cubicBezTo>
                    <a:pt x="110103" y="114109"/>
                    <a:pt x="110515" y="113890"/>
                    <a:pt x="110927" y="113672"/>
                  </a:cubicBezTo>
                  <a:cubicBezTo>
                    <a:pt x="111340" y="113454"/>
                    <a:pt x="112164" y="112800"/>
                    <a:pt x="111752" y="112581"/>
                  </a:cubicBezTo>
                  <a:cubicBezTo>
                    <a:pt x="111752" y="112363"/>
                    <a:pt x="112164" y="111490"/>
                    <a:pt x="112164" y="111490"/>
                  </a:cubicBezTo>
                  <a:cubicBezTo>
                    <a:pt x="112164" y="111490"/>
                    <a:pt x="110927" y="111490"/>
                    <a:pt x="110515" y="111490"/>
                  </a:cubicBezTo>
                  <a:cubicBezTo>
                    <a:pt x="110103" y="111272"/>
                    <a:pt x="108453" y="111490"/>
                    <a:pt x="108041" y="111272"/>
                  </a:cubicBezTo>
                  <a:cubicBezTo>
                    <a:pt x="107628" y="111272"/>
                    <a:pt x="105979" y="111272"/>
                    <a:pt x="105979" y="111272"/>
                  </a:cubicBezTo>
                  <a:cubicBezTo>
                    <a:pt x="105567" y="110836"/>
                    <a:pt x="105567" y="110836"/>
                    <a:pt x="105567" y="110836"/>
                  </a:cubicBezTo>
                  <a:cubicBezTo>
                    <a:pt x="105567" y="110836"/>
                    <a:pt x="105154" y="110618"/>
                    <a:pt x="104742" y="110400"/>
                  </a:cubicBezTo>
                  <a:cubicBezTo>
                    <a:pt x="104329" y="110400"/>
                    <a:pt x="104742" y="110400"/>
                    <a:pt x="103917" y="110181"/>
                  </a:cubicBezTo>
                  <a:cubicBezTo>
                    <a:pt x="103505" y="110181"/>
                    <a:pt x="102680" y="109745"/>
                    <a:pt x="102680" y="109745"/>
                  </a:cubicBezTo>
                  <a:cubicBezTo>
                    <a:pt x="101443" y="109527"/>
                    <a:pt x="101443" y="109527"/>
                    <a:pt x="101443" y="109527"/>
                  </a:cubicBezTo>
                  <a:cubicBezTo>
                    <a:pt x="99793" y="109527"/>
                    <a:pt x="99793" y="109527"/>
                    <a:pt x="99793" y="109527"/>
                  </a:cubicBezTo>
                  <a:cubicBezTo>
                    <a:pt x="101443" y="109090"/>
                    <a:pt x="101443" y="109090"/>
                    <a:pt x="101443" y="109090"/>
                  </a:cubicBezTo>
                  <a:cubicBezTo>
                    <a:pt x="101443" y="109090"/>
                    <a:pt x="103092" y="109090"/>
                    <a:pt x="103505" y="109090"/>
                  </a:cubicBezTo>
                  <a:cubicBezTo>
                    <a:pt x="103917" y="109309"/>
                    <a:pt x="105567" y="109309"/>
                    <a:pt x="105567" y="109090"/>
                  </a:cubicBezTo>
                  <a:cubicBezTo>
                    <a:pt x="105979" y="109090"/>
                    <a:pt x="107216" y="108000"/>
                    <a:pt x="107216" y="108000"/>
                  </a:cubicBezTo>
                  <a:cubicBezTo>
                    <a:pt x="106804" y="107345"/>
                    <a:pt x="106804" y="107345"/>
                    <a:pt x="106804" y="107345"/>
                  </a:cubicBezTo>
                  <a:cubicBezTo>
                    <a:pt x="105979" y="106909"/>
                    <a:pt x="105979" y="106909"/>
                    <a:pt x="105979" y="106909"/>
                  </a:cubicBezTo>
                  <a:cubicBezTo>
                    <a:pt x="104329" y="107127"/>
                    <a:pt x="104329" y="107127"/>
                    <a:pt x="104329" y="107127"/>
                  </a:cubicBezTo>
                  <a:cubicBezTo>
                    <a:pt x="106804" y="106472"/>
                    <a:pt x="106804" y="106472"/>
                    <a:pt x="106804" y="106472"/>
                  </a:cubicBezTo>
                  <a:cubicBezTo>
                    <a:pt x="107628" y="106036"/>
                    <a:pt x="107628" y="106036"/>
                    <a:pt x="107628" y="106036"/>
                  </a:cubicBezTo>
                  <a:cubicBezTo>
                    <a:pt x="108865" y="106472"/>
                    <a:pt x="108865" y="106472"/>
                    <a:pt x="108865" y="106472"/>
                  </a:cubicBezTo>
                  <a:cubicBezTo>
                    <a:pt x="108865" y="106472"/>
                    <a:pt x="110927" y="106690"/>
                    <a:pt x="110927" y="106472"/>
                  </a:cubicBezTo>
                  <a:cubicBezTo>
                    <a:pt x="111340" y="106254"/>
                    <a:pt x="111752" y="105818"/>
                    <a:pt x="111752" y="105818"/>
                  </a:cubicBezTo>
                  <a:cubicBezTo>
                    <a:pt x="111752" y="105163"/>
                    <a:pt x="111752" y="105163"/>
                    <a:pt x="111752" y="105163"/>
                  </a:cubicBezTo>
                  <a:cubicBezTo>
                    <a:pt x="115876" y="103636"/>
                    <a:pt x="115876" y="103636"/>
                    <a:pt x="115876" y="103636"/>
                  </a:cubicBezTo>
                  <a:cubicBezTo>
                    <a:pt x="117525" y="102327"/>
                    <a:pt x="117525" y="102327"/>
                    <a:pt x="117525" y="102327"/>
                  </a:cubicBezTo>
                  <a:cubicBezTo>
                    <a:pt x="117938" y="101018"/>
                    <a:pt x="117938" y="101018"/>
                    <a:pt x="117938" y="101018"/>
                  </a:cubicBezTo>
                  <a:cubicBezTo>
                    <a:pt x="120000" y="99054"/>
                    <a:pt x="120000" y="99054"/>
                    <a:pt x="120000" y="99054"/>
                  </a:cubicBezTo>
                  <a:cubicBezTo>
                    <a:pt x="119587" y="96436"/>
                    <a:pt x="119587" y="96436"/>
                    <a:pt x="119587" y="96436"/>
                  </a:cubicBezTo>
                  <a:cubicBezTo>
                    <a:pt x="117525" y="94690"/>
                    <a:pt x="117525" y="94690"/>
                    <a:pt x="117525" y="94690"/>
                  </a:cubicBezTo>
                  <a:cubicBezTo>
                    <a:pt x="117525" y="94690"/>
                    <a:pt x="115051" y="93600"/>
                    <a:pt x="114226" y="93381"/>
                  </a:cubicBezTo>
                  <a:cubicBezTo>
                    <a:pt x="113402" y="93381"/>
                    <a:pt x="108865" y="92727"/>
                    <a:pt x="108865" y="92727"/>
                  </a:cubicBezTo>
                  <a:cubicBezTo>
                    <a:pt x="105567" y="92290"/>
                    <a:pt x="105567" y="92290"/>
                    <a:pt x="105567" y="92290"/>
                  </a:cubicBezTo>
                  <a:cubicBezTo>
                    <a:pt x="103917" y="92727"/>
                    <a:pt x="103917" y="92727"/>
                    <a:pt x="103917" y="92727"/>
                  </a:cubicBezTo>
                  <a:cubicBezTo>
                    <a:pt x="103505" y="93381"/>
                    <a:pt x="103505" y="93381"/>
                    <a:pt x="103505" y="93381"/>
                  </a:cubicBezTo>
                  <a:cubicBezTo>
                    <a:pt x="102268" y="93818"/>
                    <a:pt x="102268" y="93818"/>
                    <a:pt x="102268" y="93818"/>
                  </a:cubicBezTo>
                  <a:cubicBezTo>
                    <a:pt x="102268" y="93818"/>
                    <a:pt x="101030" y="94254"/>
                    <a:pt x="101030" y="94254"/>
                  </a:cubicBezTo>
                  <a:cubicBezTo>
                    <a:pt x="100618" y="94254"/>
                    <a:pt x="99793" y="93600"/>
                    <a:pt x="99793" y="93600"/>
                  </a:cubicBezTo>
                  <a:cubicBezTo>
                    <a:pt x="99793" y="93600"/>
                    <a:pt x="98556" y="92945"/>
                    <a:pt x="98556" y="92945"/>
                  </a:cubicBezTo>
                  <a:cubicBezTo>
                    <a:pt x="98144" y="92945"/>
                    <a:pt x="96907" y="92727"/>
                    <a:pt x="96907" y="92727"/>
                  </a:cubicBezTo>
                  <a:cubicBezTo>
                    <a:pt x="98556" y="92072"/>
                    <a:pt x="98556" y="92072"/>
                    <a:pt x="98556" y="92072"/>
                  </a:cubicBezTo>
                  <a:cubicBezTo>
                    <a:pt x="100618" y="91636"/>
                    <a:pt x="100618" y="91636"/>
                    <a:pt x="100618" y="91636"/>
                  </a:cubicBezTo>
                  <a:cubicBezTo>
                    <a:pt x="100618" y="91636"/>
                    <a:pt x="101443" y="91200"/>
                    <a:pt x="101443" y="90981"/>
                  </a:cubicBezTo>
                  <a:cubicBezTo>
                    <a:pt x="101855" y="90981"/>
                    <a:pt x="102680" y="90545"/>
                    <a:pt x="102680" y="90545"/>
                  </a:cubicBezTo>
                  <a:cubicBezTo>
                    <a:pt x="103092" y="88800"/>
                    <a:pt x="103092" y="88800"/>
                    <a:pt x="103092" y="88800"/>
                  </a:cubicBezTo>
                  <a:cubicBezTo>
                    <a:pt x="102268" y="87054"/>
                    <a:pt x="102268" y="87054"/>
                    <a:pt x="102268" y="87054"/>
                  </a:cubicBezTo>
                  <a:cubicBezTo>
                    <a:pt x="101030" y="86181"/>
                    <a:pt x="101030" y="86181"/>
                    <a:pt x="101030" y="86181"/>
                  </a:cubicBezTo>
                  <a:cubicBezTo>
                    <a:pt x="100206" y="85309"/>
                    <a:pt x="100206" y="85309"/>
                    <a:pt x="100206" y="85309"/>
                  </a:cubicBezTo>
                  <a:cubicBezTo>
                    <a:pt x="99381" y="85309"/>
                    <a:pt x="99381" y="85309"/>
                    <a:pt x="99381" y="85309"/>
                  </a:cubicBezTo>
                  <a:cubicBezTo>
                    <a:pt x="97731" y="84654"/>
                    <a:pt x="97731" y="84654"/>
                    <a:pt x="97731" y="84654"/>
                  </a:cubicBezTo>
                  <a:cubicBezTo>
                    <a:pt x="96494" y="83781"/>
                    <a:pt x="96494" y="83781"/>
                    <a:pt x="96494" y="83781"/>
                  </a:cubicBezTo>
                  <a:cubicBezTo>
                    <a:pt x="96082" y="83127"/>
                    <a:pt x="96082" y="83127"/>
                    <a:pt x="96082" y="83127"/>
                  </a:cubicBezTo>
                  <a:cubicBezTo>
                    <a:pt x="96494" y="82690"/>
                    <a:pt x="96494" y="82690"/>
                    <a:pt x="96494" y="82690"/>
                  </a:cubicBezTo>
                  <a:cubicBezTo>
                    <a:pt x="96907" y="82909"/>
                    <a:pt x="96907" y="82909"/>
                    <a:pt x="96907" y="82909"/>
                  </a:cubicBezTo>
                  <a:cubicBezTo>
                    <a:pt x="96907" y="82909"/>
                    <a:pt x="96907" y="83345"/>
                    <a:pt x="97319" y="83345"/>
                  </a:cubicBezTo>
                  <a:cubicBezTo>
                    <a:pt x="97319" y="83563"/>
                    <a:pt x="97731" y="83781"/>
                    <a:pt x="97731" y="83781"/>
                  </a:cubicBezTo>
                  <a:cubicBezTo>
                    <a:pt x="98144" y="84000"/>
                    <a:pt x="99793" y="84436"/>
                    <a:pt x="99793" y="84436"/>
                  </a:cubicBezTo>
                  <a:cubicBezTo>
                    <a:pt x="100618" y="84436"/>
                    <a:pt x="100618" y="84436"/>
                    <a:pt x="100618" y="84436"/>
                  </a:cubicBezTo>
                  <a:cubicBezTo>
                    <a:pt x="101443" y="85090"/>
                    <a:pt x="101443" y="85090"/>
                    <a:pt x="101443" y="85090"/>
                  </a:cubicBezTo>
                  <a:cubicBezTo>
                    <a:pt x="101443" y="85090"/>
                    <a:pt x="101855" y="84436"/>
                    <a:pt x="101855" y="84436"/>
                  </a:cubicBezTo>
                  <a:cubicBezTo>
                    <a:pt x="101855" y="84218"/>
                    <a:pt x="100618" y="83345"/>
                    <a:pt x="100618" y="83345"/>
                  </a:cubicBezTo>
                  <a:cubicBezTo>
                    <a:pt x="100206" y="83345"/>
                    <a:pt x="99793" y="82472"/>
                    <a:pt x="99793" y="82472"/>
                  </a:cubicBezTo>
                  <a:cubicBezTo>
                    <a:pt x="99381" y="82254"/>
                    <a:pt x="98556" y="80945"/>
                    <a:pt x="98556" y="80945"/>
                  </a:cubicBezTo>
                  <a:cubicBezTo>
                    <a:pt x="98556" y="80945"/>
                    <a:pt x="98144" y="80509"/>
                    <a:pt x="98144" y="80290"/>
                  </a:cubicBezTo>
                  <a:cubicBezTo>
                    <a:pt x="98144" y="80290"/>
                    <a:pt x="98144" y="79200"/>
                    <a:pt x="98144" y="79200"/>
                  </a:cubicBezTo>
                  <a:cubicBezTo>
                    <a:pt x="98969" y="78981"/>
                    <a:pt x="98969" y="78981"/>
                    <a:pt x="98969" y="78981"/>
                  </a:cubicBezTo>
                  <a:cubicBezTo>
                    <a:pt x="99793" y="78545"/>
                    <a:pt x="99793" y="78545"/>
                    <a:pt x="99793" y="78545"/>
                  </a:cubicBezTo>
                  <a:cubicBezTo>
                    <a:pt x="99793" y="78545"/>
                    <a:pt x="99381" y="78545"/>
                    <a:pt x="99381" y="78327"/>
                  </a:cubicBezTo>
                  <a:cubicBezTo>
                    <a:pt x="98969" y="77890"/>
                    <a:pt x="98144" y="77454"/>
                    <a:pt x="98144" y="77454"/>
                  </a:cubicBezTo>
                  <a:cubicBezTo>
                    <a:pt x="98144" y="77454"/>
                    <a:pt x="97319" y="77236"/>
                    <a:pt x="96907" y="77018"/>
                  </a:cubicBezTo>
                  <a:cubicBezTo>
                    <a:pt x="96907" y="76581"/>
                    <a:pt x="96494" y="76145"/>
                    <a:pt x="96494" y="76145"/>
                  </a:cubicBezTo>
                  <a:cubicBezTo>
                    <a:pt x="96494" y="75927"/>
                    <a:pt x="96082" y="74618"/>
                    <a:pt x="96082" y="74618"/>
                  </a:cubicBezTo>
                  <a:cubicBezTo>
                    <a:pt x="94020" y="73527"/>
                    <a:pt x="94020" y="73527"/>
                    <a:pt x="94020" y="73527"/>
                  </a:cubicBezTo>
                  <a:cubicBezTo>
                    <a:pt x="94020" y="73527"/>
                    <a:pt x="93195" y="73090"/>
                    <a:pt x="92783" y="72872"/>
                  </a:cubicBezTo>
                  <a:cubicBezTo>
                    <a:pt x="92783" y="72872"/>
                    <a:pt x="91546" y="72654"/>
                    <a:pt x="91546" y="72654"/>
                  </a:cubicBezTo>
                  <a:cubicBezTo>
                    <a:pt x="91134" y="72654"/>
                    <a:pt x="89072" y="72000"/>
                    <a:pt x="89072" y="72000"/>
                  </a:cubicBezTo>
                  <a:cubicBezTo>
                    <a:pt x="89072" y="72000"/>
                    <a:pt x="87422" y="70909"/>
                    <a:pt x="87422" y="70690"/>
                  </a:cubicBezTo>
                  <a:cubicBezTo>
                    <a:pt x="87422" y="70472"/>
                    <a:pt x="86597" y="69163"/>
                    <a:pt x="86597" y="69163"/>
                  </a:cubicBezTo>
                  <a:cubicBezTo>
                    <a:pt x="86597" y="68290"/>
                    <a:pt x="86597" y="68290"/>
                    <a:pt x="86597" y="68290"/>
                  </a:cubicBezTo>
                  <a:cubicBezTo>
                    <a:pt x="85773" y="66545"/>
                    <a:pt x="85773" y="66545"/>
                    <a:pt x="85773" y="66545"/>
                  </a:cubicBezTo>
                  <a:cubicBezTo>
                    <a:pt x="85360" y="64800"/>
                    <a:pt x="85360" y="64800"/>
                    <a:pt x="85360" y="64800"/>
                  </a:cubicBezTo>
                  <a:cubicBezTo>
                    <a:pt x="85360" y="63054"/>
                    <a:pt x="85360" y="63054"/>
                    <a:pt x="85360" y="63054"/>
                  </a:cubicBezTo>
                  <a:cubicBezTo>
                    <a:pt x="85360" y="61527"/>
                    <a:pt x="85360" y="61527"/>
                    <a:pt x="85360" y="61527"/>
                  </a:cubicBezTo>
                  <a:cubicBezTo>
                    <a:pt x="85360" y="60218"/>
                    <a:pt x="85360" y="60218"/>
                    <a:pt x="85360" y="60218"/>
                  </a:cubicBezTo>
                  <a:cubicBezTo>
                    <a:pt x="83298" y="58909"/>
                    <a:pt x="83298" y="58909"/>
                    <a:pt x="83298" y="58909"/>
                  </a:cubicBezTo>
                  <a:cubicBezTo>
                    <a:pt x="82474" y="57600"/>
                    <a:pt x="82474" y="57600"/>
                    <a:pt x="82474" y="57600"/>
                  </a:cubicBezTo>
                  <a:cubicBezTo>
                    <a:pt x="80000" y="56290"/>
                    <a:pt x="80000" y="56290"/>
                    <a:pt x="80000" y="56290"/>
                  </a:cubicBezTo>
                  <a:cubicBezTo>
                    <a:pt x="78350" y="55200"/>
                    <a:pt x="78350" y="55200"/>
                    <a:pt x="78350" y="55200"/>
                  </a:cubicBezTo>
                  <a:cubicBezTo>
                    <a:pt x="77113" y="54981"/>
                    <a:pt x="77113" y="54981"/>
                    <a:pt x="77113" y="54981"/>
                  </a:cubicBezTo>
                  <a:cubicBezTo>
                    <a:pt x="75051" y="53672"/>
                    <a:pt x="75051" y="53672"/>
                    <a:pt x="75051" y="53672"/>
                  </a:cubicBezTo>
                  <a:cubicBezTo>
                    <a:pt x="73402" y="53454"/>
                    <a:pt x="73402" y="53454"/>
                    <a:pt x="73402" y="53454"/>
                  </a:cubicBezTo>
                  <a:cubicBezTo>
                    <a:pt x="71752" y="53890"/>
                    <a:pt x="71752" y="53890"/>
                    <a:pt x="71752" y="53890"/>
                  </a:cubicBezTo>
                  <a:cubicBezTo>
                    <a:pt x="70103" y="54109"/>
                    <a:pt x="70103" y="54109"/>
                    <a:pt x="70103" y="54109"/>
                  </a:cubicBezTo>
                  <a:cubicBezTo>
                    <a:pt x="68453" y="54327"/>
                    <a:pt x="68453" y="54327"/>
                    <a:pt x="68453" y="54327"/>
                  </a:cubicBezTo>
                  <a:cubicBezTo>
                    <a:pt x="65567" y="53672"/>
                    <a:pt x="65567" y="53672"/>
                    <a:pt x="65567" y="53672"/>
                  </a:cubicBezTo>
                  <a:cubicBezTo>
                    <a:pt x="64329" y="53018"/>
                    <a:pt x="64329" y="53018"/>
                    <a:pt x="64329" y="53018"/>
                  </a:cubicBezTo>
                  <a:cubicBezTo>
                    <a:pt x="62680" y="52800"/>
                    <a:pt x="62680" y="52800"/>
                    <a:pt x="62680" y="52800"/>
                  </a:cubicBezTo>
                  <a:cubicBezTo>
                    <a:pt x="61855" y="52800"/>
                    <a:pt x="61855" y="52800"/>
                    <a:pt x="61855" y="52800"/>
                  </a:cubicBezTo>
                  <a:cubicBezTo>
                    <a:pt x="61855" y="52800"/>
                    <a:pt x="61855" y="52581"/>
                    <a:pt x="61855" y="52581"/>
                  </a:cubicBezTo>
                  <a:cubicBezTo>
                    <a:pt x="61855" y="52581"/>
                    <a:pt x="62680" y="52581"/>
                    <a:pt x="62680" y="52581"/>
                  </a:cubicBezTo>
                  <a:cubicBezTo>
                    <a:pt x="62680" y="52581"/>
                    <a:pt x="63505" y="52800"/>
                    <a:pt x="63917" y="52800"/>
                  </a:cubicBezTo>
                  <a:cubicBezTo>
                    <a:pt x="63917" y="52800"/>
                    <a:pt x="65154" y="53018"/>
                    <a:pt x="65154" y="53018"/>
                  </a:cubicBezTo>
                  <a:cubicBezTo>
                    <a:pt x="65154" y="53018"/>
                    <a:pt x="65567" y="53236"/>
                    <a:pt x="65979" y="53236"/>
                  </a:cubicBezTo>
                  <a:cubicBezTo>
                    <a:pt x="66391" y="53236"/>
                    <a:pt x="67628" y="53236"/>
                    <a:pt x="67628" y="53236"/>
                  </a:cubicBezTo>
                  <a:cubicBezTo>
                    <a:pt x="68865" y="52800"/>
                    <a:pt x="68865" y="52800"/>
                    <a:pt x="68865" y="52800"/>
                  </a:cubicBezTo>
                  <a:cubicBezTo>
                    <a:pt x="69278" y="52145"/>
                    <a:pt x="69278" y="52145"/>
                    <a:pt x="69278" y="52145"/>
                  </a:cubicBezTo>
                  <a:cubicBezTo>
                    <a:pt x="70515" y="51927"/>
                    <a:pt x="70515" y="51927"/>
                    <a:pt x="70515" y="51927"/>
                  </a:cubicBezTo>
                  <a:cubicBezTo>
                    <a:pt x="71340" y="51709"/>
                    <a:pt x="71340" y="51709"/>
                    <a:pt x="71340" y="51709"/>
                  </a:cubicBezTo>
                  <a:cubicBezTo>
                    <a:pt x="72164" y="51709"/>
                    <a:pt x="72164" y="51709"/>
                    <a:pt x="72164" y="51709"/>
                  </a:cubicBezTo>
                  <a:cubicBezTo>
                    <a:pt x="72164" y="51709"/>
                    <a:pt x="72577" y="52145"/>
                    <a:pt x="73402" y="51927"/>
                  </a:cubicBezTo>
                  <a:cubicBezTo>
                    <a:pt x="74226" y="51927"/>
                    <a:pt x="74639" y="51709"/>
                    <a:pt x="74639" y="51709"/>
                  </a:cubicBezTo>
                  <a:cubicBezTo>
                    <a:pt x="74639" y="51709"/>
                    <a:pt x="76288" y="51272"/>
                    <a:pt x="75876" y="51272"/>
                  </a:cubicBezTo>
                  <a:cubicBezTo>
                    <a:pt x="75876" y="51054"/>
                    <a:pt x="75876" y="50836"/>
                    <a:pt x="75463" y="50836"/>
                  </a:cubicBezTo>
                  <a:cubicBezTo>
                    <a:pt x="75463" y="50618"/>
                    <a:pt x="74639" y="50181"/>
                    <a:pt x="74639" y="50181"/>
                  </a:cubicBezTo>
                  <a:cubicBezTo>
                    <a:pt x="74639" y="50181"/>
                    <a:pt x="74226" y="50181"/>
                    <a:pt x="74226" y="49963"/>
                  </a:cubicBezTo>
                  <a:cubicBezTo>
                    <a:pt x="74226" y="49745"/>
                    <a:pt x="74226" y="49309"/>
                    <a:pt x="74226" y="49309"/>
                  </a:cubicBezTo>
                  <a:cubicBezTo>
                    <a:pt x="73402" y="48872"/>
                    <a:pt x="73402" y="48872"/>
                    <a:pt x="73402" y="48872"/>
                  </a:cubicBezTo>
                  <a:cubicBezTo>
                    <a:pt x="73402" y="48872"/>
                    <a:pt x="72989" y="48872"/>
                    <a:pt x="72577" y="48872"/>
                  </a:cubicBezTo>
                  <a:cubicBezTo>
                    <a:pt x="72164" y="48872"/>
                    <a:pt x="71752" y="49090"/>
                    <a:pt x="71752" y="49090"/>
                  </a:cubicBezTo>
                  <a:cubicBezTo>
                    <a:pt x="70103" y="49309"/>
                    <a:pt x="70103" y="49309"/>
                    <a:pt x="70103" y="49309"/>
                  </a:cubicBezTo>
                  <a:cubicBezTo>
                    <a:pt x="68041" y="49527"/>
                    <a:pt x="68041" y="49527"/>
                    <a:pt x="68041" y="49527"/>
                  </a:cubicBezTo>
                  <a:cubicBezTo>
                    <a:pt x="68041" y="49309"/>
                    <a:pt x="68041" y="49309"/>
                    <a:pt x="68041" y="49309"/>
                  </a:cubicBezTo>
                  <a:cubicBezTo>
                    <a:pt x="70103" y="49090"/>
                    <a:pt x="70103" y="49090"/>
                    <a:pt x="70103" y="49090"/>
                  </a:cubicBezTo>
                  <a:cubicBezTo>
                    <a:pt x="71340" y="48654"/>
                    <a:pt x="71340" y="48654"/>
                    <a:pt x="71340" y="48654"/>
                  </a:cubicBezTo>
                  <a:cubicBezTo>
                    <a:pt x="71340" y="48654"/>
                    <a:pt x="71340" y="48436"/>
                    <a:pt x="71752" y="48436"/>
                  </a:cubicBezTo>
                  <a:cubicBezTo>
                    <a:pt x="72164" y="48436"/>
                    <a:pt x="73402" y="48654"/>
                    <a:pt x="73402" y="48654"/>
                  </a:cubicBezTo>
                  <a:cubicBezTo>
                    <a:pt x="73814" y="48654"/>
                    <a:pt x="75463" y="48654"/>
                    <a:pt x="75463" y="48654"/>
                  </a:cubicBezTo>
                  <a:cubicBezTo>
                    <a:pt x="75463" y="48654"/>
                    <a:pt x="76701" y="48218"/>
                    <a:pt x="76701" y="48000"/>
                  </a:cubicBezTo>
                  <a:cubicBezTo>
                    <a:pt x="77113" y="48000"/>
                    <a:pt x="78762" y="47563"/>
                    <a:pt x="78762" y="47563"/>
                  </a:cubicBezTo>
                  <a:cubicBezTo>
                    <a:pt x="78762" y="46909"/>
                    <a:pt x="78762" y="46909"/>
                    <a:pt x="78762" y="46909"/>
                  </a:cubicBezTo>
                  <a:cubicBezTo>
                    <a:pt x="78762" y="46909"/>
                    <a:pt x="79175" y="46254"/>
                    <a:pt x="79587" y="46254"/>
                  </a:cubicBezTo>
                  <a:cubicBezTo>
                    <a:pt x="79587" y="46254"/>
                    <a:pt x="81237" y="45600"/>
                    <a:pt x="81237" y="45600"/>
                  </a:cubicBezTo>
                  <a:cubicBezTo>
                    <a:pt x="82886" y="44727"/>
                    <a:pt x="82886" y="44727"/>
                    <a:pt x="82886" y="44727"/>
                  </a:cubicBezTo>
                  <a:cubicBezTo>
                    <a:pt x="83711" y="43636"/>
                    <a:pt x="83711" y="43636"/>
                    <a:pt x="83711" y="43636"/>
                  </a:cubicBezTo>
                  <a:cubicBezTo>
                    <a:pt x="84536" y="42763"/>
                    <a:pt x="84536" y="42763"/>
                    <a:pt x="84536" y="42763"/>
                  </a:cubicBezTo>
                  <a:cubicBezTo>
                    <a:pt x="84536" y="42763"/>
                    <a:pt x="86185" y="42109"/>
                    <a:pt x="85773" y="41890"/>
                  </a:cubicBezTo>
                  <a:cubicBezTo>
                    <a:pt x="85773" y="41454"/>
                    <a:pt x="85773" y="40800"/>
                    <a:pt x="85773" y="40800"/>
                  </a:cubicBezTo>
                  <a:cubicBezTo>
                    <a:pt x="85773" y="40800"/>
                    <a:pt x="87010" y="40363"/>
                    <a:pt x="87422" y="40145"/>
                  </a:cubicBezTo>
                  <a:cubicBezTo>
                    <a:pt x="87422" y="39927"/>
                    <a:pt x="90309" y="38836"/>
                    <a:pt x="90309" y="38836"/>
                  </a:cubicBezTo>
                  <a:cubicBezTo>
                    <a:pt x="90721" y="37745"/>
                    <a:pt x="90721" y="37745"/>
                    <a:pt x="90721" y="37745"/>
                  </a:cubicBezTo>
                  <a:cubicBezTo>
                    <a:pt x="90309" y="37309"/>
                    <a:pt x="90309" y="37309"/>
                    <a:pt x="90309" y="37309"/>
                  </a:cubicBezTo>
                  <a:cubicBezTo>
                    <a:pt x="89896" y="36654"/>
                    <a:pt x="89896" y="36654"/>
                    <a:pt x="89896" y="36654"/>
                  </a:cubicBezTo>
                  <a:cubicBezTo>
                    <a:pt x="89072" y="36000"/>
                    <a:pt x="89072" y="36000"/>
                    <a:pt x="89072" y="36000"/>
                  </a:cubicBezTo>
                  <a:cubicBezTo>
                    <a:pt x="88247" y="35345"/>
                    <a:pt x="88247" y="35345"/>
                    <a:pt x="88247" y="35345"/>
                  </a:cubicBezTo>
                  <a:cubicBezTo>
                    <a:pt x="86597" y="35345"/>
                    <a:pt x="86597" y="35345"/>
                    <a:pt x="86597" y="35345"/>
                  </a:cubicBezTo>
                  <a:cubicBezTo>
                    <a:pt x="86597" y="35345"/>
                    <a:pt x="86185" y="35781"/>
                    <a:pt x="86185" y="35563"/>
                  </a:cubicBezTo>
                  <a:cubicBezTo>
                    <a:pt x="85773" y="35563"/>
                    <a:pt x="84948" y="35127"/>
                    <a:pt x="84948" y="35127"/>
                  </a:cubicBezTo>
                  <a:cubicBezTo>
                    <a:pt x="83298" y="35345"/>
                    <a:pt x="83298" y="35345"/>
                    <a:pt x="83298" y="35345"/>
                  </a:cubicBezTo>
                  <a:cubicBezTo>
                    <a:pt x="81237" y="35127"/>
                    <a:pt x="81237" y="35127"/>
                    <a:pt x="81237" y="35127"/>
                  </a:cubicBezTo>
                  <a:cubicBezTo>
                    <a:pt x="80824" y="34690"/>
                    <a:pt x="80824" y="34690"/>
                    <a:pt x="80824" y="34690"/>
                  </a:cubicBezTo>
                  <a:cubicBezTo>
                    <a:pt x="79175" y="34690"/>
                    <a:pt x="79175" y="34690"/>
                    <a:pt x="79175" y="34690"/>
                  </a:cubicBezTo>
                  <a:cubicBezTo>
                    <a:pt x="78350" y="34472"/>
                    <a:pt x="78350" y="34472"/>
                    <a:pt x="78350" y="34472"/>
                  </a:cubicBezTo>
                  <a:cubicBezTo>
                    <a:pt x="76701" y="34690"/>
                    <a:pt x="76701" y="34690"/>
                    <a:pt x="76701" y="34690"/>
                  </a:cubicBezTo>
                  <a:cubicBezTo>
                    <a:pt x="75463" y="34690"/>
                    <a:pt x="75463" y="34690"/>
                    <a:pt x="75463" y="34690"/>
                  </a:cubicBezTo>
                  <a:cubicBezTo>
                    <a:pt x="74639" y="34472"/>
                    <a:pt x="74639" y="34472"/>
                    <a:pt x="74639" y="34472"/>
                  </a:cubicBezTo>
                  <a:cubicBezTo>
                    <a:pt x="73402" y="33818"/>
                    <a:pt x="73402" y="33818"/>
                    <a:pt x="73402" y="33818"/>
                  </a:cubicBezTo>
                  <a:cubicBezTo>
                    <a:pt x="70927" y="33818"/>
                    <a:pt x="70927" y="33818"/>
                    <a:pt x="70927" y="33818"/>
                  </a:cubicBezTo>
                  <a:cubicBezTo>
                    <a:pt x="70515" y="34254"/>
                    <a:pt x="70515" y="34254"/>
                    <a:pt x="70515" y="34254"/>
                  </a:cubicBezTo>
                  <a:cubicBezTo>
                    <a:pt x="68865" y="34254"/>
                    <a:pt x="68865" y="34254"/>
                    <a:pt x="68865" y="34254"/>
                  </a:cubicBezTo>
                  <a:cubicBezTo>
                    <a:pt x="68865" y="34254"/>
                    <a:pt x="68453" y="34254"/>
                    <a:pt x="68041" y="34254"/>
                  </a:cubicBezTo>
                  <a:cubicBezTo>
                    <a:pt x="68041" y="34254"/>
                    <a:pt x="67216" y="34472"/>
                    <a:pt x="67216" y="34472"/>
                  </a:cubicBezTo>
                  <a:cubicBezTo>
                    <a:pt x="66391" y="34690"/>
                    <a:pt x="66391" y="34690"/>
                    <a:pt x="66391" y="34690"/>
                  </a:cubicBezTo>
                  <a:cubicBezTo>
                    <a:pt x="65567" y="34690"/>
                    <a:pt x="65567" y="34690"/>
                    <a:pt x="65567" y="34690"/>
                  </a:cubicBezTo>
                  <a:cubicBezTo>
                    <a:pt x="63917" y="34472"/>
                    <a:pt x="63917" y="34472"/>
                    <a:pt x="63917" y="34472"/>
                  </a:cubicBezTo>
                  <a:cubicBezTo>
                    <a:pt x="63092" y="35127"/>
                    <a:pt x="63092" y="35127"/>
                    <a:pt x="63092" y="35127"/>
                  </a:cubicBezTo>
                  <a:cubicBezTo>
                    <a:pt x="61855" y="35345"/>
                    <a:pt x="61855" y="35345"/>
                    <a:pt x="61855" y="35345"/>
                  </a:cubicBezTo>
                  <a:cubicBezTo>
                    <a:pt x="60618" y="36000"/>
                    <a:pt x="60618" y="36000"/>
                    <a:pt x="60618" y="36000"/>
                  </a:cubicBezTo>
                  <a:cubicBezTo>
                    <a:pt x="61030" y="35345"/>
                    <a:pt x="61030" y="35345"/>
                    <a:pt x="61030" y="35345"/>
                  </a:cubicBezTo>
                  <a:cubicBezTo>
                    <a:pt x="61855" y="34909"/>
                    <a:pt x="61855" y="34909"/>
                    <a:pt x="61855" y="34909"/>
                  </a:cubicBezTo>
                  <a:cubicBezTo>
                    <a:pt x="63092" y="34690"/>
                    <a:pt x="63092" y="34690"/>
                    <a:pt x="63092" y="34690"/>
                  </a:cubicBezTo>
                  <a:cubicBezTo>
                    <a:pt x="63917" y="34036"/>
                    <a:pt x="63917" y="34036"/>
                    <a:pt x="63917" y="34036"/>
                  </a:cubicBezTo>
                  <a:cubicBezTo>
                    <a:pt x="63917" y="34036"/>
                    <a:pt x="64742" y="33818"/>
                    <a:pt x="64742" y="33600"/>
                  </a:cubicBezTo>
                  <a:cubicBezTo>
                    <a:pt x="65154" y="33600"/>
                    <a:pt x="65979" y="33163"/>
                    <a:pt x="65979" y="33163"/>
                  </a:cubicBezTo>
                  <a:cubicBezTo>
                    <a:pt x="64742" y="32945"/>
                    <a:pt x="64742" y="32945"/>
                    <a:pt x="64742" y="32945"/>
                  </a:cubicBezTo>
                  <a:cubicBezTo>
                    <a:pt x="63505" y="33381"/>
                    <a:pt x="63505" y="33381"/>
                    <a:pt x="63505" y="33381"/>
                  </a:cubicBezTo>
                  <a:cubicBezTo>
                    <a:pt x="63505" y="33381"/>
                    <a:pt x="63092" y="33381"/>
                    <a:pt x="62680" y="33381"/>
                  </a:cubicBezTo>
                  <a:cubicBezTo>
                    <a:pt x="62680" y="33381"/>
                    <a:pt x="61443" y="33600"/>
                    <a:pt x="61443" y="33600"/>
                  </a:cubicBezTo>
                  <a:cubicBezTo>
                    <a:pt x="58969" y="34036"/>
                    <a:pt x="58969" y="34036"/>
                    <a:pt x="58969" y="34036"/>
                  </a:cubicBezTo>
                  <a:cubicBezTo>
                    <a:pt x="61443" y="33381"/>
                    <a:pt x="61443" y="33381"/>
                    <a:pt x="61443" y="33381"/>
                  </a:cubicBezTo>
                  <a:cubicBezTo>
                    <a:pt x="61443" y="33381"/>
                    <a:pt x="62268" y="33163"/>
                    <a:pt x="62680" y="32945"/>
                  </a:cubicBezTo>
                  <a:cubicBezTo>
                    <a:pt x="63092" y="32945"/>
                    <a:pt x="63917" y="32727"/>
                    <a:pt x="63917" y="32727"/>
                  </a:cubicBezTo>
                  <a:cubicBezTo>
                    <a:pt x="64329" y="32727"/>
                    <a:pt x="65154" y="32509"/>
                    <a:pt x="65154" y="32509"/>
                  </a:cubicBezTo>
                  <a:cubicBezTo>
                    <a:pt x="65567" y="32727"/>
                    <a:pt x="66391" y="32945"/>
                    <a:pt x="66804" y="32727"/>
                  </a:cubicBezTo>
                  <a:cubicBezTo>
                    <a:pt x="66804" y="32727"/>
                    <a:pt x="67216" y="32290"/>
                    <a:pt x="67628" y="32290"/>
                  </a:cubicBezTo>
                  <a:cubicBezTo>
                    <a:pt x="67628" y="32072"/>
                    <a:pt x="68453" y="31636"/>
                    <a:pt x="68453" y="31636"/>
                  </a:cubicBezTo>
                  <a:cubicBezTo>
                    <a:pt x="65979" y="31636"/>
                    <a:pt x="65979" y="31636"/>
                    <a:pt x="65979" y="31636"/>
                  </a:cubicBezTo>
                  <a:cubicBezTo>
                    <a:pt x="65979" y="31636"/>
                    <a:pt x="65567" y="31854"/>
                    <a:pt x="65154" y="31854"/>
                  </a:cubicBezTo>
                  <a:cubicBezTo>
                    <a:pt x="64742" y="31636"/>
                    <a:pt x="63917" y="31636"/>
                    <a:pt x="63505" y="31418"/>
                  </a:cubicBezTo>
                  <a:cubicBezTo>
                    <a:pt x="63505" y="31418"/>
                    <a:pt x="63092" y="31200"/>
                    <a:pt x="63092" y="31200"/>
                  </a:cubicBezTo>
                  <a:cubicBezTo>
                    <a:pt x="62680" y="31200"/>
                    <a:pt x="61855" y="30763"/>
                    <a:pt x="61855" y="30763"/>
                  </a:cubicBezTo>
                  <a:cubicBezTo>
                    <a:pt x="62268" y="30545"/>
                    <a:pt x="62268" y="30545"/>
                    <a:pt x="62268" y="30545"/>
                  </a:cubicBezTo>
                  <a:cubicBezTo>
                    <a:pt x="63092" y="30981"/>
                    <a:pt x="63092" y="30981"/>
                    <a:pt x="63092" y="30981"/>
                  </a:cubicBezTo>
                  <a:cubicBezTo>
                    <a:pt x="63092" y="30981"/>
                    <a:pt x="63505" y="31200"/>
                    <a:pt x="63917" y="31200"/>
                  </a:cubicBezTo>
                  <a:cubicBezTo>
                    <a:pt x="64329" y="31200"/>
                    <a:pt x="64742" y="30981"/>
                    <a:pt x="65567" y="30981"/>
                  </a:cubicBezTo>
                  <a:cubicBezTo>
                    <a:pt x="65979" y="31200"/>
                    <a:pt x="66804" y="30545"/>
                    <a:pt x="66804" y="30545"/>
                  </a:cubicBezTo>
                  <a:cubicBezTo>
                    <a:pt x="66804" y="30545"/>
                    <a:pt x="65979" y="30545"/>
                    <a:pt x="67216" y="30327"/>
                  </a:cubicBezTo>
                  <a:cubicBezTo>
                    <a:pt x="68041" y="29890"/>
                    <a:pt x="67628" y="30109"/>
                    <a:pt x="68453" y="29672"/>
                  </a:cubicBezTo>
                  <a:cubicBezTo>
                    <a:pt x="69278" y="29454"/>
                    <a:pt x="71340" y="28800"/>
                    <a:pt x="71340" y="28800"/>
                  </a:cubicBezTo>
                  <a:cubicBezTo>
                    <a:pt x="73814" y="28363"/>
                    <a:pt x="73814" y="28363"/>
                    <a:pt x="73814" y="28363"/>
                  </a:cubicBezTo>
                  <a:cubicBezTo>
                    <a:pt x="75463" y="27272"/>
                    <a:pt x="75463" y="27272"/>
                    <a:pt x="75463" y="27272"/>
                  </a:cubicBezTo>
                  <a:cubicBezTo>
                    <a:pt x="76701" y="27272"/>
                    <a:pt x="76701" y="27272"/>
                    <a:pt x="76701" y="27272"/>
                  </a:cubicBezTo>
                  <a:cubicBezTo>
                    <a:pt x="78350" y="26400"/>
                    <a:pt x="78350" y="26400"/>
                    <a:pt x="78350" y="26400"/>
                  </a:cubicBezTo>
                  <a:cubicBezTo>
                    <a:pt x="79175" y="25963"/>
                    <a:pt x="79175" y="25963"/>
                    <a:pt x="79175" y="25963"/>
                  </a:cubicBezTo>
                  <a:cubicBezTo>
                    <a:pt x="78762" y="24872"/>
                    <a:pt x="78762" y="24872"/>
                    <a:pt x="78762" y="24872"/>
                  </a:cubicBezTo>
                  <a:cubicBezTo>
                    <a:pt x="79587" y="24000"/>
                    <a:pt x="79587" y="24000"/>
                    <a:pt x="79587" y="24000"/>
                  </a:cubicBezTo>
                  <a:cubicBezTo>
                    <a:pt x="79587" y="23345"/>
                    <a:pt x="79587" y="23345"/>
                    <a:pt x="79587" y="23345"/>
                  </a:cubicBezTo>
                  <a:cubicBezTo>
                    <a:pt x="78350" y="23127"/>
                    <a:pt x="78350" y="23127"/>
                    <a:pt x="78350" y="23127"/>
                  </a:cubicBezTo>
                  <a:cubicBezTo>
                    <a:pt x="75876" y="23127"/>
                    <a:pt x="75876" y="23127"/>
                    <a:pt x="75876" y="23127"/>
                  </a:cubicBezTo>
                  <a:cubicBezTo>
                    <a:pt x="75876" y="23127"/>
                    <a:pt x="75463" y="23781"/>
                    <a:pt x="75051" y="23563"/>
                  </a:cubicBezTo>
                  <a:cubicBezTo>
                    <a:pt x="75051" y="23563"/>
                    <a:pt x="73402" y="22909"/>
                    <a:pt x="72989" y="22909"/>
                  </a:cubicBezTo>
                  <a:cubicBezTo>
                    <a:pt x="72989" y="22909"/>
                    <a:pt x="71340" y="23563"/>
                    <a:pt x="71340" y="23563"/>
                  </a:cubicBezTo>
                  <a:cubicBezTo>
                    <a:pt x="70515" y="23563"/>
                    <a:pt x="70515" y="23563"/>
                    <a:pt x="70515" y="23563"/>
                  </a:cubicBezTo>
                  <a:cubicBezTo>
                    <a:pt x="70515" y="23563"/>
                    <a:pt x="70103" y="23563"/>
                    <a:pt x="69278" y="23563"/>
                  </a:cubicBezTo>
                  <a:cubicBezTo>
                    <a:pt x="68453" y="23345"/>
                    <a:pt x="66804" y="23127"/>
                    <a:pt x="66804" y="23127"/>
                  </a:cubicBezTo>
                  <a:cubicBezTo>
                    <a:pt x="65567" y="23563"/>
                    <a:pt x="65567" y="23563"/>
                    <a:pt x="65567" y="23563"/>
                  </a:cubicBezTo>
                  <a:cubicBezTo>
                    <a:pt x="64742" y="23345"/>
                    <a:pt x="64742" y="23345"/>
                    <a:pt x="64742" y="23345"/>
                  </a:cubicBezTo>
                  <a:cubicBezTo>
                    <a:pt x="63092" y="24000"/>
                    <a:pt x="63092" y="24000"/>
                    <a:pt x="63092" y="24000"/>
                  </a:cubicBezTo>
                  <a:cubicBezTo>
                    <a:pt x="63092" y="23563"/>
                    <a:pt x="63092" y="23563"/>
                    <a:pt x="63092" y="23563"/>
                  </a:cubicBezTo>
                  <a:cubicBezTo>
                    <a:pt x="63917" y="22909"/>
                    <a:pt x="63917" y="22909"/>
                    <a:pt x="63917" y="22909"/>
                  </a:cubicBezTo>
                  <a:cubicBezTo>
                    <a:pt x="63917" y="22909"/>
                    <a:pt x="63505" y="22690"/>
                    <a:pt x="63092" y="22690"/>
                  </a:cubicBezTo>
                  <a:cubicBezTo>
                    <a:pt x="63092" y="22690"/>
                    <a:pt x="62268" y="22472"/>
                    <a:pt x="62268" y="22472"/>
                  </a:cubicBezTo>
                  <a:cubicBezTo>
                    <a:pt x="61443" y="23127"/>
                    <a:pt x="61443" y="23127"/>
                    <a:pt x="61443" y="23127"/>
                  </a:cubicBezTo>
                  <a:cubicBezTo>
                    <a:pt x="59793" y="23563"/>
                    <a:pt x="59793" y="23563"/>
                    <a:pt x="59793" y="23563"/>
                  </a:cubicBezTo>
                  <a:cubicBezTo>
                    <a:pt x="60206" y="23345"/>
                    <a:pt x="60206" y="23345"/>
                    <a:pt x="60206" y="23345"/>
                  </a:cubicBezTo>
                  <a:cubicBezTo>
                    <a:pt x="61443" y="22909"/>
                    <a:pt x="61443" y="22909"/>
                    <a:pt x="61443" y="22909"/>
                  </a:cubicBezTo>
                  <a:cubicBezTo>
                    <a:pt x="61443" y="22472"/>
                    <a:pt x="61443" y="22472"/>
                    <a:pt x="61443" y="22472"/>
                  </a:cubicBezTo>
                  <a:cubicBezTo>
                    <a:pt x="61443" y="22472"/>
                    <a:pt x="61030" y="22472"/>
                    <a:pt x="61030" y="22472"/>
                  </a:cubicBezTo>
                  <a:cubicBezTo>
                    <a:pt x="60618" y="22472"/>
                    <a:pt x="60206" y="22254"/>
                    <a:pt x="60206" y="22254"/>
                  </a:cubicBezTo>
                  <a:cubicBezTo>
                    <a:pt x="59381" y="22036"/>
                    <a:pt x="59381" y="22036"/>
                    <a:pt x="59381" y="22036"/>
                  </a:cubicBezTo>
                  <a:cubicBezTo>
                    <a:pt x="58969" y="21600"/>
                    <a:pt x="58969" y="21600"/>
                    <a:pt x="58969" y="21600"/>
                  </a:cubicBezTo>
                  <a:cubicBezTo>
                    <a:pt x="57731" y="21818"/>
                    <a:pt x="57731" y="21818"/>
                    <a:pt x="57731" y="21818"/>
                  </a:cubicBezTo>
                  <a:cubicBezTo>
                    <a:pt x="57319" y="22254"/>
                    <a:pt x="57319" y="22254"/>
                    <a:pt x="57319" y="22254"/>
                  </a:cubicBezTo>
                  <a:cubicBezTo>
                    <a:pt x="56494" y="22472"/>
                    <a:pt x="56494" y="22472"/>
                    <a:pt x="56494" y="22472"/>
                  </a:cubicBezTo>
                  <a:cubicBezTo>
                    <a:pt x="55670" y="22472"/>
                    <a:pt x="55670" y="22472"/>
                    <a:pt x="55670" y="22472"/>
                  </a:cubicBezTo>
                  <a:cubicBezTo>
                    <a:pt x="56082" y="23127"/>
                    <a:pt x="56082" y="23127"/>
                    <a:pt x="56082" y="23127"/>
                  </a:cubicBezTo>
                  <a:cubicBezTo>
                    <a:pt x="55670" y="23781"/>
                    <a:pt x="55670" y="23781"/>
                    <a:pt x="55670" y="23781"/>
                  </a:cubicBezTo>
                  <a:cubicBezTo>
                    <a:pt x="54432" y="23781"/>
                    <a:pt x="54432" y="23781"/>
                    <a:pt x="54432" y="23781"/>
                  </a:cubicBezTo>
                  <a:cubicBezTo>
                    <a:pt x="54432" y="23781"/>
                    <a:pt x="54432" y="24654"/>
                    <a:pt x="54845" y="24654"/>
                  </a:cubicBezTo>
                  <a:cubicBezTo>
                    <a:pt x="54845" y="24654"/>
                    <a:pt x="55257" y="25090"/>
                    <a:pt x="55257" y="25090"/>
                  </a:cubicBezTo>
                  <a:cubicBezTo>
                    <a:pt x="55257" y="25527"/>
                    <a:pt x="55257" y="25527"/>
                    <a:pt x="55257" y="25527"/>
                  </a:cubicBezTo>
                  <a:cubicBezTo>
                    <a:pt x="55670" y="25745"/>
                    <a:pt x="55670" y="25745"/>
                    <a:pt x="55670" y="25745"/>
                  </a:cubicBezTo>
                  <a:cubicBezTo>
                    <a:pt x="55670" y="25745"/>
                    <a:pt x="55257" y="25745"/>
                    <a:pt x="54845" y="25745"/>
                  </a:cubicBezTo>
                  <a:cubicBezTo>
                    <a:pt x="54845" y="25745"/>
                    <a:pt x="54432" y="25309"/>
                    <a:pt x="54432" y="25309"/>
                  </a:cubicBezTo>
                  <a:cubicBezTo>
                    <a:pt x="52783" y="25309"/>
                    <a:pt x="52783" y="25309"/>
                    <a:pt x="52783" y="25309"/>
                  </a:cubicBezTo>
                  <a:cubicBezTo>
                    <a:pt x="52371" y="25309"/>
                    <a:pt x="52371" y="25309"/>
                    <a:pt x="52371" y="25309"/>
                  </a:cubicBezTo>
                  <a:cubicBezTo>
                    <a:pt x="51958" y="25963"/>
                    <a:pt x="51958" y="25963"/>
                    <a:pt x="51958" y="25963"/>
                  </a:cubicBezTo>
                  <a:cubicBezTo>
                    <a:pt x="52371" y="26618"/>
                    <a:pt x="52371" y="26618"/>
                    <a:pt x="52371" y="26618"/>
                  </a:cubicBezTo>
                  <a:cubicBezTo>
                    <a:pt x="51958" y="27054"/>
                    <a:pt x="51958" y="27054"/>
                    <a:pt x="51958" y="27054"/>
                  </a:cubicBezTo>
                  <a:cubicBezTo>
                    <a:pt x="51546" y="27272"/>
                    <a:pt x="51546" y="27272"/>
                    <a:pt x="51546" y="27272"/>
                  </a:cubicBezTo>
                  <a:cubicBezTo>
                    <a:pt x="51546" y="27272"/>
                    <a:pt x="50721" y="27709"/>
                    <a:pt x="50721" y="27709"/>
                  </a:cubicBezTo>
                  <a:cubicBezTo>
                    <a:pt x="50721" y="27927"/>
                    <a:pt x="51134" y="28581"/>
                    <a:pt x="51134" y="28581"/>
                  </a:cubicBezTo>
                  <a:cubicBezTo>
                    <a:pt x="51134" y="28581"/>
                    <a:pt x="51546" y="29018"/>
                    <a:pt x="51958" y="29018"/>
                  </a:cubicBezTo>
                  <a:cubicBezTo>
                    <a:pt x="51958" y="29236"/>
                    <a:pt x="52783" y="29454"/>
                    <a:pt x="52783" y="29454"/>
                  </a:cubicBezTo>
                  <a:cubicBezTo>
                    <a:pt x="52783" y="30109"/>
                    <a:pt x="52783" y="30109"/>
                    <a:pt x="52783" y="30109"/>
                  </a:cubicBezTo>
                  <a:cubicBezTo>
                    <a:pt x="51958" y="29454"/>
                    <a:pt x="51958" y="29454"/>
                    <a:pt x="51958" y="29454"/>
                  </a:cubicBezTo>
                  <a:cubicBezTo>
                    <a:pt x="51958" y="29454"/>
                    <a:pt x="51546" y="29236"/>
                    <a:pt x="51134" y="29018"/>
                  </a:cubicBezTo>
                  <a:cubicBezTo>
                    <a:pt x="51134" y="29018"/>
                    <a:pt x="50721" y="28581"/>
                    <a:pt x="50721" y="28581"/>
                  </a:cubicBezTo>
                  <a:cubicBezTo>
                    <a:pt x="50721" y="28581"/>
                    <a:pt x="49896" y="28800"/>
                    <a:pt x="49896" y="28800"/>
                  </a:cubicBezTo>
                  <a:cubicBezTo>
                    <a:pt x="49896" y="28800"/>
                    <a:pt x="49484" y="28800"/>
                    <a:pt x="49896" y="29018"/>
                  </a:cubicBezTo>
                  <a:cubicBezTo>
                    <a:pt x="49896" y="29236"/>
                    <a:pt x="49072" y="29454"/>
                    <a:pt x="49072" y="29454"/>
                  </a:cubicBezTo>
                  <a:cubicBezTo>
                    <a:pt x="49072" y="29454"/>
                    <a:pt x="47835" y="29672"/>
                    <a:pt x="47835" y="29454"/>
                  </a:cubicBezTo>
                  <a:cubicBezTo>
                    <a:pt x="47835" y="29236"/>
                    <a:pt x="47835" y="29018"/>
                    <a:pt x="47422" y="28800"/>
                  </a:cubicBezTo>
                  <a:cubicBezTo>
                    <a:pt x="47422" y="28800"/>
                    <a:pt x="47010" y="28800"/>
                    <a:pt x="47010" y="28800"/>
                  </a:cubicBezTo>
                  <a:cubicBezTo>
                    <a:pt x="47010" y="29018"/>
                    <a:pt x="46597" y="29236"/>
                    <a:pt x="46597" y="29236"/>
                  </a:cubicBezTo>
                  <a:cubicBezTo>
                    <a:pt x="47010" y="29890"/>
                    <a:pt x="47010" y="29890"/>
                    <a:pt x="47010" y="29890"/>
                  </a:cubicBezTo>
                  <a:cubicBezTo>
                    <a:pt x="47010" y="29890"/>
                    <a:pt x="46597" y="30327"/>
                    <a:pt x="46597" y="30327"/>
                  </a:cubicBezTo>
                  <a:cubicBezTo>
                    <a:pt x="46597" y="30109"/>
                    <a:pt x="46185" y="29672"/>
                    <a:pt x="46185" y="29454"/>
                  </a:cubicBezTo>
                  <a:cubicBezTo>
                    <a:pt x="46185" y="29454"/>
                    <a:pt x="46185" y="29018"/>
                    <a:pt x="45773" y="29018"/>
                  </a:cubicBezTo>
                  <a:cubicBezTo>
                    <a:pt x="45773" y="29018"/>
                    <a:pt x="44948" y="29454"/>
                    <a:pt x="44948" y="29454"/>
                  </a:cubicBezTo>
                  <a:cubicBezTo>
                    <a:pt x="44948" y="29454"/>
                    <a:pt x="44536" y="29454"/>
                    <a:pt x="44536" y="29672"/>
                  </a:cubicBezTo>
                  <a:cubicBezTo>
                    <a:pt x="44536" y="29672"/>
                    <a:pt x="44123" y="30327"/>
                    <a:pt x="44536" y="30545"/>
                  </a:cubicBezTo>
                  <a:cubicBezTo>
                    <a:pt x="44948" y="30763"/>
                    <a:pt x="44948" y="30763"/>
                    <a:pt x="45360" y="30763"/>
                  </a:cubicBezTo>
                  <a:cubicBezTo>
                    <a:pt x="45773" y="30763"/>
                    <a:pt x="45773" y="30981"/>
                    <a:pt x="45773" y="30981"/>
                  </a:cubicBezTo>
                  <a:cubicBezTo>
                    <a:pt x="44123" y="30981"/>
                    <a:pt x="44123" y="30981"/>
                    <a:pt x="44123" y="30981"/>
                  </a:cubicBezTo>
                  <a:cubicBezTo>
                    <a:pt x="44123" y="30981"/>
                    <a:pt x="43711" y="31200"/>
                    <a:pt x="44123" y="31418"/>
                  </a:cubicBezTo>
                  <a:cubicBezTo>
                    <a:pt x="44123" y="31418"/>
                    <a:pt x="44123" y="31854"/>
                    <a:pt x="44123" y="31854"/>
                  </a:cubicBezTo>
                  <a:cubicBezTo>
                    <a:pt x="44123" y="31854"/>
                    <a:pt x="44948" y="32290"/>
                    <a:pt x="44948" y="32290"/>
                  </a:cubicBezTo>
                  <a:cubicBezTo>
                    <a:pt x="44948" y="32290"/>
                    <a:pt x="44536" y="32727"/>
                    <a:pt x="44536" y="32727"/>
                  </a:cubicBezTo>
                  <a:cubicBezTo>
                    <a:pt x="44536" y="32727"/>
                    <a:pt x="43711" y="32509"/>
                    <a:pt x="43711" y="32509"/>
                  </a:cubicBezTo>
                  <a:cubicBezTo>
                    <a:pt x="43298" y="32290"/>
                    <a:pt x="43298" y="32509"/>
                    <a:pt x="42886" y="32509"/>
                  </a:cubicBezTo>
                  <a:cubicBezTo>
                    <a:pt x="42886" y="32727"/>
                    <a:pt x="42474" y="32945"/>
                    <a:pt x="42474" y="33163"/>
                  </a:cubicBezTo>
                  <a:cubicBezTo>
                    <a:pt x="42474" y="33163"/>
                    <a:pt x="42886" y="33381"/>
                    <a:pt x="42886" y="33600"/>
                  </a:cubicBezTo>
                  <a:cubicBezTo>
                    <a:pt x="42474" y="34036"/>
                    <a:pt x="42474" y="34472"/>
                    <a:pt x="42474" y="34472"/>
                  </a:cubicBezTo>
                  <a:cubicBezTo>
                    <a:pt x="42474" y="34472"/>
                    <a:pt x="42061" y="34472"/>
                    <a:pt x="42474" y="34690"/>
                  </a:cubicBezTo>
                  <a:cubicBezTo>
                    <a:pt x="42886" y="34909"/>
                    <a:pt x="43711" y="34909"/>
                    <a:pt x="44123" y="34909"/>
                  </a:cubicBezTo>
                  <a:cubicBezTo>
                    <a:pt x="44536" y="34909"/>
                    <a:pt x="44536" y="34909"/>
                    <a:pt x="44536" y="34909"/>
                  </a:cubicBezTo>
                  <a:cubicBezTo>
                    <a:pt x="44948" y="34909"/>
                    <a:pt x="45360" y="34909"/>
                    <a:pt x="45773" y="35127"/>
                  </a:cubicBezTo>
                  <a:cubicBezTo>
                    <a:pt x="45773" y="35127"/>
                    <a:pt x="46185" y="35127"/>
                    <a:pt x="46185" y="35127"/>
                  </a:cubicBezTo>
                  <a:cubicBezTo>
                    <a:pt x="46185" y="35127"/>
                    <a:pt x="45773" y="35563"/>
                    <a:pt x="45360" y="35345"/>
                  </a:cubicBezTo>
                  <a:cubicBezTo>
                    <a:pt x="44948" y="35127"/>
                    <a:pt x="44123" y="35127"/>
                    <a:pt x="43711" y="35127"/>
                  </a:cubicBezTo>
                  <a:cubicBezTo>
                    <a:pt x="43298" y="35127"/>
                    <a:pt x="43711" y="35563"/>
                    <a:pt x="43711" y="35563"/>
                  </a:cubicBezTo>
                  <a:cubicBezTo>
                    <a:pt x="44123" y="36000"/>
                    <a:pt x="44123" y="36000"/>
                    <a:pt x="44123" y="36000"/>
                  </a:cubicBezTo>
                  <a:cubicBezTo>
                    <a:pt x="44123" y="36000"/>
                    <a:pt x="44536" y="36218"/>
                    <a:pt x="44123" y="36218"/>
                  </a:cubicBezTo>
                  <a:cubicBezTo>
                    <a:pt x="43711" y="36218"/>
                    <a:pt x="42886" y="36000"/>
                    <a:pt x="42886" y="36000"/>
                  </a:cubicBezTo>
                  <a:cubicBezTo>
                    <a:pt x="42886" y="36000"/>
                    <a:pt x="42886" y="36000"/>
                    <a:pt x="42474" y="36000"/>
                  </a:cubicBezTo>
                  <a:cubicBezTo>
                    <a:pt x="42474" y="36000"/>
                    <a:pt x="42061" y="36218"/>
                    <a:pt x="41649" y="36218"/>
                  </a:cubicBezTo>
                  <a:cubicBezTo>
                    <a:pt x="41237" y="36218"/>
                    <a:pt x="41237" y="36218"/>
                    <a:pt x="40824" y="36000"/>
                  </a:cubicBezTo>
                  <a:cubicBezTo>
                    <a:pt x="40412" y="36000"/>
                    <a:pt x="39587" y="35563"/>
                    <a:pt x="39587" y="35563"/>
                  </a:cubicBezTo>
                  <a:cubicBezTo>
                    <a:pt x="39587" y="35563"/>
                    <a:pt x="39175" y="35563"/>
                    <a:pt x="39175" y="35345"/>
                  </a:cubicBezTo>
                  <a:cubicBezTo>
                    <a:pt x="39175" y="35127"/>
                    <a:pt x="39587" y="34690"/>
                    <a:pt x="39587" y="34690"/>
                  </a:cubicBezTo>
                  <a:cubicBezTo>
                    <a:pt x="40000" y="34472"/>
                    <a:pt x="39587" y="34472"/>
                    <a:pt x="40000" y="34472"/>
                  </a:cubicBezTo>
                  <a:cubicBezTo>
                    <a:pt x="40412" y="34472"/>
                    <a:pt x="41649" y="34472"/>
                    <a:pt x="40824" y="34036"/>
                  </a:cubicBezTo>
                  <a:cubicBezTo>
                    <a:pt x="40412" y="33600"/>
                    <a:pt x="40412" y="33600"/>
                    <a:pt x="40000" y="33600"/>
                  </a:cubicBezTo>
                  <a:cubicBezTo>
                    <a:pt x="39587" y="33818"/>
                    <a:pt x="38762" y="34036"/>
                    <a:pt x="38762" y="34036"/>
                  </a:cubicBezTo>
                  <a:cubicBezTo>
                    <a:pt x="38762" y="34036"/>
                    <a:pt x="38350" y="33818"/>
                    <a:pt x="38762" y="33163"/>
                  </a:cubicBezTo>
                  <a:cubicBezTo>
                    <a:pt x="39175" y="32509"/>
                    <a:pt x="38762" y="32509"/>
                    <a:pt x="39175" y="32290"/>
                  </a:cubicBezTo>
                  <a:cubicBezTo>
                    <a:pt x="39587" y="32072"/>
                    <a:pt x="40000" y="31854"/>
                    <a:pt x="40000" y="31854"/>
                  </a:cubicBezTo>
                  <a:cubicBezTo>
                    <a:pt x="40000" y="31854"/>
                    <a:pt x="40000" y="31636"/>
                    <a:pt x="39175" y="31200"/>
                  </a:cubicBezTo>
                  <a:cubicBezTo>
                    <a:pt x="38762" y="30763"/>
                    <a:pt x="38350" y="30327"/>
                    <a:pt x="38350" y="30327"/>
                  </a:cubicBezTo>
                  <a:cubicBezTo>
                    <a:pt x="37938" y="30109"/>
                    <a:pt x="37113" y="30545"/>
                    <a:pt x="37113" y="30545"/>
                  </a:cubicBezTo>
                  <a:cubicBezTo>
                    <a:pt x="37113" y="30763"/>
                    <a:pt x="36701" y="31200"/>
                    <a:pt x="37113" y="31418"/>
                  </a:cubicBezTo>
                  <a:cubicBezTo>
                    <a:pt x="37113" y="31636"/>
                    <a:pt x="37113" y="31854"/>
                    <a:pt x="36701" y="32072"/>
                  </a:cubicBezTo>
                  <a:cubicBezTo>
                    <a:pt x="36288" y="32072"/>
                    <a:pt x="36288" y="32290"/>
                    <a:pt x="35876" y="32072"/>
                  </a:cubicBezTo>
                  <a:cubicBezTo>
                    <a:pt x="35463" y="31854"/>
                    <a:pt x="35876" y="32072"/>
                    <a:pt x="35463" y="31636"/>
                  </a:cubicBezTo>
                  <a:cubicBezTo>
                    <a:pt x="35051" y="31418"/>
                    <a:pt x="35463" y="31418"/>
                    <a:pt x="35051" y="31418"/>
                  </a:cubicBezTo>
                  <a:cubicBezTo>
                    <a:pt x="34639" y="31200"/>
                    <a:pt x="34226" y="30981"/>
                    <a:pt x="34226" y="30981"/>
                  </a:cubicBezTo>
                  <a:cubicBezTo>
                    <a:pt x="34226" y="30981"/>
                    <a:pt x="32989" y="30763"/>
                    <a:pt x="32989" y="30981"/>
                  </a:cubicBezTo>
                  <a:cubicBezTo>
                    <a:pt x="32989" y="31200"/>
                    <a:pt x="32989" y="31200"/>
                    <a:pt x="33402" y="31418"/>
                  </a:cubicBezTo>
                  <a:cubicBezTo>
                    <a:pt x="33402" y="31636"/>
                    <a:pt x="33814" y="31636"/>
                    <a:pt x="33814" y="31854"/>
                  </a:cubicBezTo>
                  <a:cubicBezTo>
                    <a:pt x="33814" y="32072"/>
                    <a:pt x="33402" y="32072"/>
                    <a:pt x="33402" y="32072"/>
                  </a:cubicBezTo>
                  <a:cubicBezTo>
                    <a:pt x="33402" y="32072"/>
                    <a:pt x="32989" y="31854"/>
                    <a:pt x="32577" y="31854"/>
                  </a:cubicBezTo>
                  <a:cubicBezTo>
                    <a:pt x="32577" y="31854"/>
                    <a:pt x="31752" y="32290"/>
                    <a:pt x="31752" y="32290"/>
                  </a:cubicBezTo>
                  <a:cubicBezTo>
                    <a:pt x="31752" y="32290"/>
                    <a:pt x="31752" y="32509"/>
                    <a:pt x="31752" y="32727"/>
                  </a:cubicBezTo>
                  <a:cubicBezTo>
                    <a:pt x="31752" y="32727"/>
                    <a:pt x="31752" y="32945"/>
                    <a:pt x="31752" y="33163"/>
                  </a:cubicBezTo>
                  <a:cubicBezTo>
                    <a:pt x="32164" y="33381"/>
                    <a:pt x="32164" y="33818"/>
                    <a:pt x="32577" y="33818"/>
                  </a:cubicBezTo>
                  <a:cubicBezTo>
                    <a:pt x="33402" y="33818"/>
                    <a:pt x="35051" y="33381"/>
                    <a:pt x="35051" y="33381"/>
                  </a:cubicBezTo>
                  <a:cubicBezTo>
                    <a:pt x="35051" y="33600"/>
                    <a:pt x="35876" y="33818"/>
                    <a:pt x="36288" y="34036"/>
                  </a:cubicBezTo>
                  <a:cubicBezTo>
                    <a:pt x="36288" y="34036"/>
                    <a:pt x="36288" y="34472"/>
                    <a:pt x="36288" y="34472"/>
                  </a:cubicBezTo>
                  <a:cubicBezTo>
                    <a:pt x="36288" y="34472"/>
                    <a:pt x="35876" y="34690"/>
                    <a:pt x="35463" y="34690"/>
                  </a:cubicBezTo>
                  <a:cubicBezTo>
                    <a:pt x="35051" y="34690"/>
                    <a:pt x="34639" y="34254"/>
                    <a:pt x="34639" y="34690"/>
                  </a:cubicBezTo>
                  <a:cubicBezTo>
                    <a:pt x="34639" y="34909"/>
                    <a:pt x="34226" y="35345"/>
                    <a:pt x="34639" y="35563"/>
                  </a:cubicBezTo>
                  <a:cubicBezTo>
                    <a:pt x="35051" y="35781"/>
                    <a:pt x="35051" y="36218"/>
                    <a:pt x="35876" y="36218"/>
                  </a:cubicBezTo>
                  <a:cubicBezTo>
                    <a:pt x="36701" y="36436"/>
                    <a:pt x="36701" y="36654"/>
                    <a:pt x="37113" y="36436"/>
                  </a:cubicBezTo>
                  <a:cubicBezTo>
                    <a:pt x="37525" y="36218"/>
                    <a:pt x="37525" y="36000"/>
                    <a:pt x="37938" y="36218"/>
                  </a:cubicBezTo>
                  <a:cubicBezTo>
                    <a:pt x="38350" y="36218"/>
                    <a:pt x="38762" y="36218"/>
                    <a:pt x="39175" y="36436"/>
                  </a:cubicBezTo>
                  <a:cubicBezTo>
                    <a:pt x="39175" y="36654"/>
                    <a:pt x="38762" y="36654"/>
                    <a:pt x="38762" y="36654"/>
                  </a:cubicBezTo>
                  <a:cubicBezTo>
                    <a:pt x="38762" y="36654"/>
                    <a:pt x="38350" y="36654"/>
                    <a:pt x="38350" y="36872"/>
                  </a:cubicBezTo>
                  <a:cubicBezTo>
                    <a:pt x="38350" y="36872"/>
                    <a:pt x="37938" y="37090"/>
                    <a:pt x="38350" y="37090"/>
                  </a:cubicBezTo>
                  <a:cubicBezTo>
                    <a:pt x="39175" y="37090"/>
                    <a:pt x="39587" y="37090"/>
                    <a:pt x="39587" y="37090"/>
                  </a:cubicBezTo>
                  <a:cubicBezTo>
                    <a:pt x="39587" y="37090"/>
                    <a:pt x="40000" y="36654"/>
                    <a:pt x="40412" y="36872"/>
                  </a:cubicBezTo>
                  <a:cubicBezTo>
                    <a:pt x="40412" y="37090"/>
                    <a:pt x="40000" y="37090"/>
                    <a:pt x="39587" y="37309"/>
                  </a:cubicBezTo>
                  <a:cubicBezTo>
                    <a:pt x="39175" y="37527"/>
                    <a:pt x="39175" y="37527"/>
                    <a:pt x="39175" y="37745"/>
                  </a:cubicBezTo>
                  <a:cubicBezTo>
                    <a:pt x="39175" y="37963"/>
                    <a:pt x="38762" y="37963"/>
                    <a:pt x="38762" y="38181"/>
                  </a:cubicBezTo>
                  <a:cubicBezTo>
                    <a:pt x="38762" y="38400"/>
                    <a:pt x="37938" y="39272"/>
                    <a:pt x="39175" y="38618"/>
                  </a:cubicBezTo>
                  <a:cubicBezTo>
                    <a:pt x="40824" y="37963"/>
                    <a:pt x="40824" y="38181"/>
                    <a:pt x="40824" y="37963"/>
                  </a:cubicBezTo>
                  <a:cubicBezTo>
                    <a:pt x="40824" y="37745"/>
                    <a:pt x="40824" y="37745"/>
                    <a:pt x="41649" y="37527"/>
                  </a:cubicBezTo>
                  <a:cubicBezTo>
                    <a:pt x="42061" y="37309"/>
                    <a:pt x="42474" y="37309"/>
                    <a:pt x="42886" y="37309"/>
                  </a:cubicBezTo>
                  <a:cubicBezTo>
                    <a:pt x="42886" y="37090"/>
                    <a:pt x="43711" y="37090"/>
                    <a:pt x="43298" y="37309"/>
                  </a:cubicBezTo>
                  <a:cubicBezTo>
                    <a:pt x="42886" y="37527"/>
                    <a:pt x="42474" y="37309"/>
                    <a:pt x="42886" y="37527"/>
                  </a:cubicBezTo>
                  <a:cubicBezTo>
                    <a:pt x="43298" y="37745"/>
                    <a:pt x="43298" y="37963"/>
                    <a:pt x="43711" y="37963"/>
                  </a:cubicBezTo>
                  <a:cubicBezTo>
                    <a:pt x="44123" y="37963"/>
                    <a:pt x="44123" y="37963"/>
                    <a:pt x="44123" y="37963"/>
                  </a:cubicBezTo>
                  <a:cubicBezTo>
                    <a:pt x="44123" y="37963"/>
                    <a:pt x="43298" y="37963"/>
                    <a:pt x="42886" y="37963"/>
                  </a:cubicBezTo>
                  <a:cubicBezTo>
                    <a:pt x="42886" y="37963"/>
                    <a:pt x="42474" y="37963"/>
                    <a:pt x="42474" y="37963"/>
                  </a:cubicBezTo>
                  <a:cubicBezTo>
                    <a:pt x="42061" y="37963"/>
                    <a:pt x="42061" y="38181"/>
                    <a:pt x="42061" y="38181"/>
                  </a:cubicBezTo>
                  <a:cubicBezTo>
                    <a:pt x="41649" y="38400"/>
                    <a:pt x="41649" y="38400"/>
                    <a:pt x="41649" y="38400"/>
                  </a:cubicBezTo>
                  <a:cubicBezTo>
                    <a:pt x="41649" y="38400"/>
                    <a:pt x="42061" y="38618"/>
                    <a:pt x="42061" y="38836"/>
                  </a:cubicBezTo>
                  <a:cubicBezTo>
                    <a:pt x="42061" y="38836"/>
                    <a:pt x="42061" y="38836"/>
                    <a:pt x="41649" y="38836"/>
                  </a:cubicBezTo>
                  <a:cubicBezTo>
                    <a:pt x="41237" y="38836"/>
                    <a:pt x="41649" y="38618"/>
                    <a:pt x="40824" y="38836"/>
                  </a:cubicBezTo>
                  <a:cubicBezTo>
                    <a:pt x="40000" y="38836"/>
                    <a:pt x="40412" y="38400"/>
                    <a:pt x="40000" y="39054"/>
                  </a:cubicBezTo>
                  <a:cubicBezTo>
                    <a:pt x="39587" y="39709"/>
                    <a:pt x="39175" y="39709"/>
                    <a:pt x="39175" y="39709"/>
                  </a:cubicBezTo>
                  <a:cubicBezTo>
                    <a:pt x="39175" y="39709"/>
                    <a:pt x="39175" y="39709"/>
                    <a:pt x="39175" y="39927"/>
                  </a:cubicBezTo>
                  <a:cubicBezTo>
                    <a:pt x="39175" y="39927"/>
                    <a:pt x="39587" y="40145"/>
                    <a:pt x="40000" y="40363"/>
                  </a:cubicBezTo>
                  <a:cubicBezTo>
                    <a:pt x="40824" y="40581"/>
                    <a:pt x="41237" y="40800"/>
                    <a:pt x="41237" y="40800"/>
                  </a:cubicBezTo>
                  <a:cubicBezTo>
                    <a:pt x="41237" y="40800"/>
                    <a:pt x="40824" y="40800"/>
                    <a:pt x="40412" y="40800"/>
                  </a:cubicBezTo>
                  <a:cubicBezTo>
                    <a:pt x="39587" y="41018"/>
                    <a:pt x="39175" y="41018"/>
                    <a:pt x="38762" y="41236"/>
                  </a:cubicBezTo>
                  <a:cubicBezTo>
                    <a:pt x="38762" y="41236"/>
                    <a:pt x="38350" y="41454"/>
                    <a:pt x="37938" y="41454"/>
                  </a:cubicBezTo>
                  <a:cubicBezTo>
                    <a:pt x="37525" y="41454"/>
                    <a:pt x="36288" y="41236"/>
                    <a:pt x="35876" y="41454"/>
                  </a:cubicBezTo>
                  <a:cubicBezTo>
                    <a:pt x="35463" y="41454"/>
                    <a:pt x="35051" y="41454"/>
                    <a:pt x="34639" y="41672"/>
                  </a:cubicBezTo>
                  <a:cubicBezTo>
                    <a:pt x="34639" y="41672"/>
                    <a:pt x="34639" y="41890"/>
                    <a:pt x="34639" y="41890"/>
                  </a:cubicBezTo>
                  <a:cubicBezTo>
                    <a:pt x="34639" y="41890"/>
                    <a:pt x="34226" y="42109"/>
                    <a:pt x="34639" y="42109"/>
                  </a:cubicBezTo>
                  <a:cubicBezTo>
                    <a:pt x="35051" y="42109"/>
                    <a:pt x="36701" y="42109"/>
                    <a:pt x="36701" y="42109"/>
                  </a:cubicBezTo>
                  <a:cubicBezTo>
                    <a:pt x="37113" y="42109"/>
                    <a:pt x="37113" y="42327"/>
                    <a:pt x="37113" y="42327"/>
                  </a:cubicBezTo>
                  <a:cubicBezTo>
                    <a:pt x="36288" y="42327"/>
                    <a:pt x="36288" y="42327"/>
                    <a:pt x="36288" y="42327"/>
                  </a:cubicBezTo>
                  <a:cubicBezTo>
                    <a:pt x="36288" y="42327"/>
                    <a:pt x="35463" y="42327"/>
                    <a:pt x="35051" y="42327"/>
                  </a:cubicBezTo>
                  <a:cubicBezTo>
                    <a:pt x="35051" y="42327"/>
                    <a:pt x="33814" y="42545"/>
                    <a:pt x="33814" y="42545"/>
                  </a:cubicBezTo>
                  <a:cubicBezTo>
                    <a:pt x="33814" y="42545"/>
                    <a:pt x="32989" y="42981"/>
                    <a:pt x="32989" y="43200"/>
                  </a:cubicBezTo>
                  <a:cubicBezTo>
                    <a:pt x="32989" y="43200"/>
                    <a:pt x="32989" y="43418"/>
                    <a:pt x="33402" y="43854"/>
                  </a:cubicBezTo>
                  <a:cubicBezTo>
                    <a:pt x="34226" y="44072"/>
                    <a:pt x="34226" y="44290"/>
                    <a:pt x="34226" y="44509"/>
                  </a:cubicBezTo>
                  <a:cubicBezTo>
                    <a:pt x="34226" y="44509"/>
                    <a:pt x="34226" y="44509"/>
                    <a:pt x="34226" y="44727"/>
                  </a:cubicBezTo>
                  <a:cubicBezTo>
                    <a:pt x="33814" y="44727"/>
                    <a:pt x="32989" y="45163"/>
                    <a:pt x="32989" y="45163"/>
                  </a:cubicBezTo>
                  <a:cubicBezTo>
                    <a:pt x="32989" y="45163"/>
                    <a:pt x="32989" y="45163"/>
                    <a:pt x="32989" y="45600"/>
                  </a:cubicBezTo>
                  <a:cubicBezTo>
                    <a:pt x="32577" y="45818"/>
                    <a:pt x="31752" y="46472"/>
                    <a:pt x="32577" y="46472"/>
                  </a:cubicBezTo>
                  <a:cubicBezTo>
                    <a:pt x="33402" y="46690"/>
                    <a:pt x="32989" y="46909"/>
                    <a:pt x="33814" y="46690"/>
                  </a:cubicBezTo>
                  <a:cubicBezTo>
                    <a:pt x="35051" y="46472"/>
                    <a:pt x="33814" y="46254"/>
                    <a:pt x="35463" y="46472"/>
                  </a:cubicBezTo>
                  <a:cubicBezTo>
                    <a:pt x="37113" y="46690"/>
                    <a:pt x="37525" y="46472"/>
                    <a:pt x="37938" y="46472"/>
                  </a:cubicBezTo>
                  <a:cubicBezTo>
                    <a:pt x="38350" y="46254"/>
                    <a:pt x="38350" y="46254"/>
                    <a:pt x="38762" y="46036"/>
                  </a:cubicBezTo>
                  <a:cubicBezTo>
                    <a:pt x="38762" y="46036"/>
                    <a:pt x="37938" y="45818"/>
                    <a:pt x="39175" y="45818"/>
                  </a:cubicBezTo>
                  <a:cubicBezTo>
                    <a:pt x="40412" y="45600"/>
                    <a:pt x="40412" y="45600"/>
                    <a:pt x="40412" y="45600"/>
                  </a:cubicBezTo>
                  <a:cubicBezTo>
                    <a:pt x="40412" y="45600"/>
                    <a:pt x="39587" y="44945"/>
                    <a:pt x="40412" y="45381"/>
                  </a:cubicBezTo>
                  <a:cubicBezTo>
                    <a:pt x="41649" y="45818"/>
                    <a:pt x="41649" y="46036"/>
                    <a:pt x="41649" y="46036"/>
                  </a:cubicBezTo>
                  <a:cubicBezTo>
                    <a:pt x="40824" y="46472"/>
                    <a:pt x="40824" y="46472"/>
                    <a:pt x="40824" y="46472"/>
                  </a:cubicBezTo>
                  <a:cubicBezTo>
                    <a:pt x="40824" y="46690"/>
                    <a:pt x="40824" y="46690"/>
                    <a:pt x="40824" y="46690"/>
                  </a:cubicBezTo>
                  <a:cubicBezTo>
                    <a:pt x="40824" y="46690"/>
                    <a:pt x="40000" y="46690"/>
                    <a:pt x="39587" y="47127"/>
                  </a:cubicBezTo>
                  <a:cubicBezTo>
                    <a:pt x="39175" y="47563"/>
                    <a:pt x="37938" y="48218"/>
                    <a:pt x="37938" y="48436"/>
                  </a:cubicBezTo>
                  <a:cubicBezTo>
                    <a:pt x="37938" y="48436"/>
                    <a:pt x="38350" y="48218"/>
                    <a:pt x="37525" y="48654"/>
                  </a:cubicBezTo>
                  <a:cubicBezTo>
                    <a:pt x="36288" y="49090"/>
                    <a:pt x="35876" y="49090"/>
                    <a:pt x="35051" y="49309"/>
                  </a:cubicBezTo>
                  <a:cubicBezTo>
                    <a:pt x="34639" y="49745"/>
                    <a:pt x="34639" y="49527"/>
                    <a:pt x="34226" y="49745"/>
                  </a:cubicBezTo>
                  <a:cubicBezTo>
                    <a:pt x="34226" y="49963"/>
                    <a:pt x="33814" y="50181"/>
                    <a:pt x="33814" y="50181"/>
                  </a:cubicBezTo>
                  <a:cubicBezTo>
                    <a:pt x="33402" y="50618"/>
                    <a:pt x="33402" y="50618"/>
                    <a:pt x="33402" y="50618"/>
                  </a:cubicBezTo>
                  <a:cubicBezTo>
                    <a:pt x="32164" y="50836"/>
                    <a:pt x="32164" y="50836"/>
                    <a:pt x="32164" y="50836"/>
                  </a:cubicBezTo>
                  <a:cubicBezTo>
                    <a:pt x="30927" y="50618"/>
                    <a:pt x="30927" y="50618"/>
                    <a:pt x="30927" y="50618"/>
                  </a:cubicBezTo>
                  <a:cubicBezTo>
                    <a:pt x="30103" y="51054"/>
                    <a:pt x="30103" y="51054"/>
                    <a:pt x="30103" y="51054"/>
                  </a:cubicBezTo>
                  <a:cubicBezTo>
                    <a:pt x="30103" y="51054"/>
                    <a:pt x="28865" y="50836"/>
                    <a:pt x="28453" y="50836"/>
                  </a:cubicBezTo>
                  <a:cubicBezTo>
                    <a:pt x="28041" y="51054"/>
                    <a:pt x="27628" y="51272"/>
                    <a:pt x="27628" y="51272"/>
                  </a:cubicBezTo>
                  <a:cubicBezTo>
                    <a:pt x="27628" y="51272"/>
                    <a:pt x="27216" y="51272"/>
                    <a:pt x="27216" y="51709"/>
                  </a:cubicBezTo>
                  <a:cubicBezTo>
                    <a:pt x="27216" y="51927"/>
                    <a:pt x="26804" y="52581"/>
                    <a:pt x="26804" y="52581"/>
                  </a:cubicBezTo>
                  <a:cubicBezTo>
                    <a:pt x="25979" y="53018"/>
                    <a:pt x="25979" y="53018"/>
                    <a:pt x="25979" y="53018"/>
                  </a:cubicBezTo>
                  <a:cubicBezTo>
                    <a:pt x="25979" y="53018"/>
                    <a:pt x="25567" y="53454"/>
                    <a:pt x="26391" y="53236"/>
                  </a:cubicBezTo>
                  <a:cubicBezTo>
                    <a:pt x="27216" y="53018"/>
                    <a:pt x="27628" y="52800"/>
                    <a:pt x="28041" y="52581"/>
                  </a:cubicBezTo>
                  <a:cubicBezTo>
                    <a:pt x="28041" y="52581"/>
                    <a:pt x="28865" y="52363"/>
                    <a:pt x="28865" y="52363"/>
                  </a:cubicBezTo>
                  <a:cubicBezTo>
                    <a:pt x="28865" y="52800"/>
                    <a:pt x="28865" y="52800"/>
                    <a:pt x="28865" y="52800"/>
                  </a:cubicBezTo>
                  <a:cubicBezTo>
                    <a:pt x="28453" y="53672"/>
                    <a:pt x="28453" y="53672"/>
                    <a:pt x="28453" y="53672"/>
                  </a:cubicBezTo>
                  <a:cubicBezTo>
                    <a:pt x="28041" y="53890"/>
                    <a:pt x="28041" y="53890"/>
                    <a:pt x="28041" y="53890"/>
                  </a:cubicBezTo>
                  <a:cubicBezTo>
                    <a:pt x="27628" y="54109"/>
                    <a:pt x="27628" y="54109"/>
                    <a:pt x="27628" y="54109"/>
                  </a:cubicBezTo>
                  <a:cubicBezTo>
                    <a:pt x="27628" y="54109"/>
                    <a:pt x="26804" y="54981"/>
                    <a:pt x="27628" y="54981"/>
                  </a:cubicBezTo>
                  <a:cubicBezTo>
                    <a:pt x="28453" y="54763"/>
                    <a:pt x="28041" y="54763"/>
                    <a:pt x="28865" y="54545"/>
                  </a:cubicBezTo>
                  <a:cubicBezTo>
                    <a:pt x="29690" y="54545"/>
                    <a:pt x="29278" y="54327"/>
                    <a:pt x="30927" y="54109"/>
                  </a:cubicBezTo>
                  <a:cubicBezTo>
                    <a:pt x="32164" y="54109"/>
                    <a:pt x="32164" y="53672"/>
                    <a:pt x="32164" y="53454"/>
                  </a:cubicBezTo>
                  <a:cubicBezTo>
                    <a:pt x="32164" y="53454"/>
                    <a:pt x="32164" y="53236"/>
                    <a:pt x="32164" y="53018"/>
                  </a:cubicBezTo>
                  <a:cubicBezTo>
                    <a:pt x="32164" y="52800"/>
                    <a:pt x="31340" y="52581"/>
                    <a:pt x="32577" y="52363"/>
                  </a:cubicBezTo>
                  <a:cubicBezTo>
                    <a:pt x="33402" y="52363"/>
                    <a:pt x="32989" y="52581"/>
                    <a:pt x="33402" y="52363"/>
                  </a:cubicBezTo>
                  <a:cubicBezTo>
                    <a:pt x="33814" y="52145"/>
                    <a:pt x="33814" y="52581"/>
                    <a:pt x="33814" y="51927"/>
                  </a:cubicBezTo>
                  <a:cubicBezTo>
                    <a:pt x="33814" y="51490"/>
                    <a:pt x="33814" y="51490"/>
                    <a:pt x="34639" y="51272"/>
                  </a:cubicBezTo>
                  <a:cubicBezTo>
                    <a:pt x="35463" y="50836"/>
                    <a:pt x="35051" y="51054"/>
                    <a:pt x="35463" y="50836"/>
                  </a:cubicBezTo>
                  <a:cubicBezTo>
                    <a:pt x="35876" y="50618"/>
                    <a:pt x="35463" y="50618"/>
                    <a:pt x="35876" y="50400"/>
                  </a:cubicBezTo>
                  <a:cubicBezTo>
                    <a:pt x="36701" y="50181"/>
                    <a:pt x="36701" y="50181"/>
                    <a:pt x="36701" y="50181"/>
                  </a:cubicBezTo>
                  <a:cubicBezTo>
                    <a:pt x="36701" y="49963"/>
                    <a:pt x="37938" y="49527"/>
                    <a:pt x="37938" y="49527"/>
                  </a:cubicBezTo>
                  <a:cubicBezTo>
                    <a:pt x="37938" y="49090"/>
                    <a:pt x="37938" y="49090"/>
                    <a:pt x="37938" y="49090"/>
                  </a:cubicBezTo>
                  <a:cubicBezTo>
                    <a:pt x="39587" y="48654"/>
                    <a:pt x="39587" y="48654"/>
                    <a:pt x="39587" y="48654"/>
                  </a:cubicBezTo>
                  <a:cubicBezTo>
                    <a:pt x="39587" y="48654"/>
                    <a:pt x="40000" y="48436"/>
                    <a:pt x="40000" y="48654"/>
                  </a:cubicBezTo>
                  <a:cubicBezTo>
                    <a:pt x="39587" y="48872"/>
                    <a:pt x="39175" y="49309"/>
                    <a:pt x="39175" y="49309"/>
                  </a:cubicBezTo>
                  <a:cubicBezTo>
                    <a:pt x="39175" y="49745"/>
                    <a:pt x="39175" y="49745"/>
                    <a:pt x="39175" y="49745"/>
                  </a:cubicBezTo>
                  <a:cubicBezTo>
                    <a:pt x="37938" y="50181"/>
                    <a:pt x="37938" y="50181"/>
                    <a:pt x="37938" y="50181"/>
                  </a:cubicBezTo>
                  <a:cubicBezTo>
                    <a:pt x="37938" y="50181"/>
                    <a:pt x="38762" y="50400"/>
                    <a:pt x="38350" y="50618"/>
                  </a:cubicBezTo>
                  <a:cubicBezTo>
                    <a:pt x="37938" y="50836"/>
                    <a:pt x="37113" y="51054"/>
                    <a:pt x="37113" y="51054"/>
                  </a:cubicBezTo>
                  <a:cubicBezTo>
                    <a:pt x="37113" y="51490"/>
                    <a:pt x="37113" y="51490"/>
                    <a:pt x="37113" y="51490"/>
                  </a:cubicBezTo>
                  <a:cubicBezTo>
                    <a:pt x="37525" y="51709"/>
                    <a:pt x="37525" y="51709"/>
                    <a:pt x="37525" y="51709"/>
                  </a:cubicBezTo>
                  <a:cubicBezTo>
                    <a:pt x="36701" y="52581"/>
                    <a:pt x="36701" y="52581"/>
                    <a:pt x="36701" y="52581"/>
                  </a:cubicBezTo>
                  <a:cubicBezTo>
                    <a:pt x="37525" y="53018"/>
                    <a:pt x="37525" y="53018"/>
                    <a:pt x="37525" y="53018"/>
                  </a:cubicBezTo>
                  <a:cubicBezTo>
                    <a:pt x="37938" y="53454"/>
                    <a:pt x="37938" y="53454"/>
                    <a:pt x="37938" y="53454"/>
                  </a:cubicBezTo>
                  <a:cubicBezTo>
                    <a:pt x="37938" y="53454"/>
                    <a:pt x="37525" y="53672"/>
                    <a:pt x="37113" y="53890"/>
                  </a:cubicBezTo>
                  <a:cubicBezTo>
                    <a:pt x="36701" y="53890"/>
                    <a:pt x="35876" y="54545"/>
                    <a:pt x="35876" y="54545"/>
                  </a:cubicBezTo>
                  <a:cubicBezTo>
                    <a:pt x="35051" y="55200"/>
                    <a:pt x="35051" y="55200"/>
                    <a:pt x="35051" y="55200"/>
                  </a:cubicBezTo>
                  <a:cubicBezTo>
                    <a:pt x="34226" y="55854"/>
                    <a:pt x="34226" y="55854"/>
                    <a:pt x="34226" y="55854"/>
                  </a:cubicBezTo>
                  <a:cubicBezTo>
                    <a:pt x="34226" y="56509"/>
                    <a:pt x="34226" y="56509"/>
                    <a:pt x="34226" y="56509"/>
                  </a:cubicBezTo>
                  <a:cubicBezTo>
                    <a:pt x="33814" y="57381"/>
                    <a:pt x="33814" y="57381"/>
                    <a:pt x="33814" y="57381"/>
                  </a:cubicBezTo>
                  <a:cubicBezTo>
                    <a:pt x="32989" y="57600"/>
                    <a:pt x="32989" y="57600"/>
                    <a:pt x="32989" y="57600"/>
                  </a:cubicBezTo>
                  <a:cubicBezTo>
                    <a:pt x="32989" y="57600"/>
                    <a:pt x="32577" y="58254"/>
                    <a:pt x="33402" y="58254"/>
                  </a:cubicBezTo>
                  <a:cubicBezTo>
                    <a:pt x="34226" y="58472"/>
                    <a:pt x="34226" y="58472"/>
                    <a:pt x="34639" y="58472"/>
                  </a:cubicBezTo>
                  <a:cubicBezTo>
                    <a:pt x="35463" y="58472"/>
                    <a:pt x="35051" y="58472"/>
                    <a:pt x="35463" y="58472"/>
                  </a:cubicBezTo>
                  <a:cubicBezTo>
                    <a:pt x="35876" y="58472"/>
                    <a:pt x="36701" y="58472"/>
                    <a:pt x="36701" y="58036"/>
                  </a:cubicBezTo>
                  <a:cubicBezTo>
                    <a:pt x="36701" y="57600"/>
                    <a:pt x="36701" y="57163"/>
                    <a:pt x="36701" y="56945"/>
                  </a:cubicBezTo>
                  <a:cubicBezTo>
                    <a:pt x="36701" y="56945"/>
                    <a:pt x="37525" y="56290"/>
                    <a:pt x="37525" y="56290"/>
                  </a:cubicBezTo>
                  <a:cubicBezTo>
                    <a:pt x="37525" y="55418"/>
                    <a:pt x="37525" y="55418"/>
                    <a:pt x="37525" y="55418"/>
                  </a:cubicBezTo>
                  <a:cubicBezTo>
                    <a:pt x="37525" y="55418"/>
                    <a:pt x="37525" y="55200"/>
                    <a:pt x="38350" y="54763"/>
                  </a:cubicBezTo>
                  <a:cubicBezTo>
                    <a:pt x="39175" y="54545"/>
                    <a:pt x="38762" y="54545"/>
                    <a:pt x="39175" y="54545"/>
                  </a:cubicBezTo>
                  <a:cubicBezTo>
                    <a:pt x="39587" y="54327"/>
                    <a:pt x="39587" y="54109"/>
                    <a:pt x="39587" y="53890"/>
                  </a:cubicBezTo>
                  <a:cubicBezTo>
                    <a:pt x="40000" y="53672"/>
                    <a:pt x="40000" y="53672"/>
                    <a:pt x="40000" y="53672"/>
                  </a:cubicBezTo>
                  <a:cubicBezTo>
                    <a:pt x="40412" y="53236"/>
                    <a:pt x="40412" y="53236"/>
                    <a:pt x="40412" y="53236"/>
                  </a:cubicBezTo>
                  <a:cubicBezTo>
                    <a:pt x="40412" y="51490"/>
                    <a:pt x="40412" y="51490"/>
                    <a:pt x="40412" y="51490"/>
                  </a:cubicBezTo>
                  <a:cubicBezTo>
                    <a:pt x="40412" y="51490"/>
                    <a:pt x="40412" y="51054"/>
                    <a:pt x="40824" y="51054"/>
                  </a:cubicBezTo>
                  <a:cubicBezTo>
                    <a:pt x="41237" y="51054"/>
                    <a:pt x="41649" y="51054"/>
                    <a:pt x="41649" y="51054"/>
                  </a:cubicBezTo>
                  <a:cubicBezTo>
                    <a:pt x="41649" y="51054"/>
                    <a:pt x="41649" y="51272"/>
                    <a:pt x="41649" y="51709"/>
                  </a:cubicBezTo>
                  <a:cubicBezTo>
                    <a:pt x="41237" y="52145"/>
                    <a:pt x="41649" y="52800"/>
                    <a:pt x="41649" y="52800"/>
                  </a:cubicBezTo>
                  <a:cubicBezTo>
                    <a:pt x="44536" y="54109"/>
                    <a:pt x="44536" y="54109"/>
                    <a:pt x="44536" y="54109"/>
                  </a:cubicBezTo>
                  <a:cubicBezTo>
                    <a:pt x="44536" y="54109"/>
                    <a:pt x="45773" y="55200"/>
                    <a:pt x="45773" y="55418"/>
                  </a:cubicBezTo>
                  <a:cubicBezTo>
                    <a:pt x="45773" y="55418"/>
                    <a:pt x="47835" y="56290"/>
                    <a:pt x="47835" y="56290"/>
                  </a:cubicBezTo>
                  <a:cubicBezTo>
                    <a:pt x="47835" y="56290"/>
                    <a:pt x="48247" y="56509"/>
                    <a:pt x="47835" y="56727"/>
                  </a:cubicBezTo>
                  <a:cubicBezTo>
                    <a:pt x="47835" y="56945"/>
                    <a:pt x="48247" y="57163"/>
                    <a:pt x="48247" y="57381"/>
                  </a:cubicBezTo>
                  <a:cubicBezTo>
                    <a:pt x="47835" y="57600"/>
                    <a:pt x="47422" y="58254"/>
                    <a:pt x="47422" y="58254"/>
                  </a:cubicBezTo>
                  <a:cubicBezTo>
                    <a:pt x="46597" y="58472"/>
                    <a:pt x="46597" y="58472"/>
                    <a:pt x="46597" y="58472"/>
                  </a:cubicBezTo>
                  <a:cubicBezTo>
                    <a:pt x="45360" y="59127"/>
                    <a:pt x="45360" y="59127"/>
                    <a:pt x="45360" y="59127"/>
                  </a:cubicBezTo>
                  <a:cubicBezTo>
                    <a:pt x="44948" y="60000"/>
                    <a:pt x="44948" y="60000"/>
                    <a:pt x="44948" y="60000"/>
                  </a:cubicBezTo>
                  <a:cubicBezTo>
                    <a:pt x="44123" y="60654"/>
                    <a:pt x="44123" y="60654"/>
                    <a:pt x="44123" y="60654"/>
                  </a:cubicBezTo>
                  <a:cubicBezTo>
                    <a:pt x="42474" y="61090"/>
                    <a:pt x="42474" y="61090"/>
                    <a:pt x="42474" y="61090"/>
                  </a:cubicBezTo>
                  <a:cubicBezTo>
                    <a:pt x="40412" y="62181"/>
                    <a:pt x="40412" y="62181"/>
                    <a:pt x="40412" y="62181"/>
                  </a:cubicBezTo>
                  <a:cubicBezTo>
                    <a:pt x="39587" y="63054"/>
                    <a:pt x="39587" y="63054"/>
                    <a:pt x="39587" y="63054"/>
                  </a:cubicBezTo>
                  <a:cubicBezTo>
                    <a:pt x="38350" y="63927"/>
                    <a:pt x="38350" y="63927"/>
                    <a:pt x="38350" y="63927"/>
                  </a:cubicBezTo>
                  <a:cubicBezTo>
                    <a:pt x="38350" y="64581"/>
                    <a:pt x="38350" y="64581"/>
                    <a:pt x="38350" y="64581"/>
                  </a:cubicBezTo>
                  <a:cubicBezTo>
                    <a:pt x="38350" y="64581"/>
                    <a:pt x="39175" y="65454"/>
                    <a:pt x="39587" y="65454"/>
                  </a:cubicBezTo>
                  <a:cubicBezTo>
                    <a:pt x="39587" y="65454"/>
                    <a:pt x="40000" y="65672"/>
                    <a:pt x="40000" y="65672"/>
                  </a:cubicBezTo>
                  <a:cubicBezTo>
                    <a:pt x="40412" y="66763"/>
                    <a:pt x="40412" y="66763"/>
                    <a:pt x="40412" y="66763"/>
                  </a:cubicBezTo>
                  <a:cubicBezTo>
                    <a:pt x="40412" y="66763"/>
                    <a:pt x="40412" y="67418"/>
                    <a:pt x="40824" y="67418"/>
                  </a:cubicBezTo>
                  <a:cubicBezTo>
                    <a:pt x="41237" y="67200"/>
                    <a:pt x="41649" y="66545"/>
                    <a:pt x="41649" y="66545"/>
                  </a:cubicBezTo>
                  <a:cubicBezTo>
                    <a:pt x="41649" y="66545"/>
                    <a:pt x="40824" y="66109"/>
                    <a:pt x="40824" y="65672"/>
                  </a:cubicBezTo>
                  <a:cubicBezTo>
                    <a:pt x="40824" y="65236"/>
                    <a:pt x="41649" y="64581"/>
                    <a:pt x="41649" y="64581"/>
                  </a:cubicBezTo>
                  <a:cubicBezTo>
                    <a:pt x="42474" y="64363"/>
                    <a:pt x="42474" y="64363"/>
                    <a:pt x="42474" y="64363"/>
                  </a:cubicBezTo>
                  <a:cubicBezTo>
                    <a:pt x="42474" y="64363"/>
                    <a:pt x="42061" y="64363"/>
                    <a:pt x="42474" y="64581"/>
                  </a:cubicBezTo>
                  <a:cubicBezTo>
                    <a:pt x="42886" y="65018"/>
                    <a:pt x="42886" y="64800"/>
                    <a:pt x="43298" y="65018"/>
                  </a:cubicBezTo>
                  <a:cubicBezTo>
                    <a:pt x="43298" y="65236"/>
                    <a:pt x="44536" y="65890"/>
                    <a:pt x="44536" y="65890"/>
                  </a:cubicBezTo>
                  <a:cubicBezTo>
                    <a:pt x="44536" y="65890"/>
                    <a:pt x="45773" y="66545"/>
                    <a:pt x="46185" y="66763"/>
                  </a:cubicBezTo>
                  <a:cubicBezTo>
                    <a:pt x="46597" y="66981"/>
                    <a:pt x="47010" y="67418"/>
                    <a:pt x="47422" y="67418"/>
                  </a:cubicBezTo>
                  <a:cubicBezTo>
                    <a:pt x="47835" y="67200"/>
                    <a:pt x="48247" y="67418"/>
                    <a:pt x="48247" y="66981"/>
                  </a:cubicBezTo>
                  <a:cubicBezTo>
                    <a:pt x="48247" y="66545"/>
                    <a:pt x="48659" y="66545"/>
                    <a:pt x="48659" y="66109"/>
                  </a:cubicBezTo>
                  <a:cubicBezTo>
                    <a:pt x="48247" y="65890"/>
                    <a:pt x="48247" y="65236"/>
                    <a:pt x="48247" y="65236"/>
                  </a:cubicBezTo>
                  <a:cubicBezTo>
                    <a:pt x="48247" y="65236"/>
                    <a:pt x="48247" y="65018"/>
                    <a:pt x="48659" y="65018"/>
                  </a:cubicBezTo>
                  <a:cubicBezTo>
                    <a:pt x="49484" y="65018"/>
                    <a:pt x="49484" y="65454"/>
                    <a:pt x="49484" y="65454"/>
                  </a:cubicBezTo>
                  <a:cubicBezTo>
                    <a:pt x="49484" y="65454"/>
                    <a:pt x="49896" y="66109"/>
                    <a:pt x="50309" y="66327"/>
                  </a:cubicBezTo>
                  <a:cubicBezTo>
                    <a:pt x="50721" y="66327"/>
                    <a:pt x="51134" y="66327"/>
                    <a:pt x="51546" y="66545"/>
                  </a:cubicBezTo>
                  <a:cubicBezTo>
                    <a:pt x="51958" y="66981"/>
                    <a:pt x="54020" y="67200"/>
                    <a:pt x="54020" y="67200"/>
                  </a:cubicBezTo>
                  <a:cubicBezTo>
                    <a:pt x="54020" y="67200"/>
                    <a:pt x="54432" y="66981"/>
                    <a:pt x="54845" y="66763"/>
                  </a:cubicBezTo>
                  <a:cubicBezTo>
                    <a:pt x="54845" y="66545"/>
                    <a:pt x="55670" y="66545"/>
                    <a:pt x="55670" y="66545"/>
                  </a:cubicBezTo>
                  <a:cubicBezTo>
                    <a:pt x="55670" y="66545"/>
                    <a:pt x="55257" y="66109"/>
                    <a:pt x="56494" y="66327"/>
                  </a:cubicBezTo>
                  <a:cubicBezTo>
                    <a:pt x="57319" y="66327"/>
                    <a:pt x="57731" y="66545"/>
                    <a:pt x="57731" y="66327"/>
                  </a:cubicBezTo>
                  <a:cubicBezTo>
                    <a:pt x="58144" y="66109"/>
                    <a:pt x="58969" y="65236"/>
                    <a:pt x="58969" y="65236"/>
                  </a:cubicBezTo>
                  <a:cubicBezTo>
                    <a:pt x="58969" y="65236"/>
                    <a:pt x="58556" y="64581"/>
                    <a:pt x="59793" y="64800"/>
                  </a:cubicBezTo>
                  <a:cubicBezTo>
                    <a:pt x="60618" y="65236"/>
                    <a:pt x="65154" y="65672"/>
                    <a:pt x="65154" y="65672"/>
                  </a:cubicBezTo>
                  <a:cubicBezTo>
                    <a:pt x="64742" y="66109"/>
                    <a:pt x="64742" y="66109"/>
                    <a:pt x="64742" y="66109"/>
                  </a:cubicBezTo>
                  <a:cubicBezTo>
                    <a:pt x="63092" y="65890"/>
                    <a:pt x="63092" y="65890"/>
                    <a:pt x="63092" y="65890"/>
                  </a:cubicBezTo>
                  <a:cubicBezTo>
                    <a:pt x="61855" y="66109"/>
                    <a:pt x="61855" y="66109"/>
                    <a:pt x="61855" y="66109"/>
                  </a:cubicBezTo>
                  <a:cubicBezTo>
                    <a:pt x="61855" y="66109"/>
                    <a:pt x="61443" y="66109"/>
                    <a:pt x="61030" y="66545"/>
                  </a:cubicBezTo>
                  <a:cubicBezTo>
                    <a:pt x="61030" y="66763"/>
                    <a:pt x="61030" y="66981"/>
                    <a:pt x="60618" y="67200"/>
                  </a:cubicBezTo>
                  <a:cubicBezTo>
                    <a:pt x="60618" y="67418"/>
                    <a:pt x="60206" y="67636"/>
                    <a:pt x="59793" y="67636"/>
                  </a:cubicBezTo>
                  <a:cubicBezTo>
                    <a:pt x="59793" y="67854"/>
                    <a:pt x="58144" y="68509"/>
                    <a:pt x="58144" y="68509"/>
                  </a:cubicBezTo>
                  <a:cubicBezTo>
                    <a:pt x="57319" y="69163"/>
                    <a:pt x="57319" y="69163"/>
                    <a:pt x="57319" y="69163"/>
                  </a:cubicBezTo>
                  <a:cubicBezTo>
                    <a:pt x="56494" y="70254"/>
                    <a:pt x="56494" y="70254"/>
                    <a:pt x="56494" y="70254"/>
                  </a:cubicBezTo>
                  <a:cubicBezTo>
                    <a:pt x="56494" y="70254"/>
                    <a:pt x="56494" y="71127"/>
                    <a:pt x="56907" y="71127"/>
                  </a:cubicBezTo>
                  <a:cubicBezTo>
                    <a:pt x="57319" y="71345"/>
                    <a:pt x="58144" y="72000"/>
                    <a:pt x="58144" y="72000"/>
                  </a:cubicBezTo>
                  <a:cubicBezTo>
                    <a:pt x="58144" y="72000"/>
                    <a:pt x="58144" y="72436"/>
                    <a:pt x="58144" y="72654"/>
                  </a:cubicBezTo>
                  <a:cubicBezTo>
                    <a:pt x="58144" y="72872"/>
                    <a:pt x="58144" y="73090"/>
                    <a:pt x="58556" y="73527"/>
                  </a:cubicBezTo>
                  <a:cubicBezTo>
                    <a:pt x="58969" y="73745"/>
                    <a:pt x="59381" y="74618"/>
                    <a:pt x="59381" y="74618"/>
                  </a:cubicBezTo>
                  <a:cubicBezTo>
                    <a:pt x="59793" y="74618"/>
                    <a:pt x="59793" y="74618"/>
                    <a:pt x="59793" y="74618"/>
                  </a:cubicBezTo>
                  <a:cubicBezTo>
                    <a:pt x="59793" y="75272"/>
                    <a:pt x="59793" y="75272"/>
                    <a:pt x="59793" y="75272"/>
                  </a:cubicBezTo>
                  <a:cubicBezTo>
                    <a:pt x="59793" y="75272"/>
                    <a:pt x="59793" y="75927"/>
                    <a:pt x="60206" y="75927"/>
                  </a:cubicBezTo>
                  <a:cubicBezTo>
                    <a:pt x="61030" y="75927"/>
                    <a:pt x="62268" y="75490"/>
                    <a:pt x="62268" y="75490"/>
                  </a:cubicBezTo>
                  <a:cubicBezTo>
                    <a:pt x="65567" y="75054"/>
                    <a:pt x="65567" y="75054"/>
                    <a:pt x="65567" y="75054"/>
                  </a:cubicBezTo>
                  <a:cubicBezTo>
                    <a:pt x="65567" y="75054"/>
                    <a:pt x="65154" y="75927"/>
                    <a:pt x="65154" y="76145"/>
                  </a:cubicBezTo>
                  <a:cubicBezTo>
                    <a:pt x="65154" y="76363"/>
                    <a:pt x="64329" y="76363"/>
                    <a:pt x="63917" y="76581"/>
                  </a:cubicBezTo>
                  <a:cubicBezTo>
                    <a:pt x="63917" y="76800"/>
                    <a:pt x="63917" y="77018"/>
                    <a:pt x="63917" y="77018"/>
                  </a:cubicBezTo>
                  <a:cubicBezTo>
                    <a:pt x="63917" y="77018"/>
                    <a:pt x="63505" y="77672"/>
                    <a:pt x="63092" y="77672"/>
                  </a:cubicBezTo>
                  <a:cubicBezTo>
                    <a:pt x="62268" y="77672"/>
                    <a:pt x="61443" y="77890"/>
                    <a:pt x="61443" y="77890"/>
                  </a:cubicBezTo>
                  <a:cubicBezTo>
                    <a:pt x="61443" y="77890"/>
                    <a:pt x="61030" y="77454"/>
                    <a:pt x="61030" y="78109"/>
                  </a:cubicBezTo>
                  <a:cubicBezTo>
                    <a:pt x="60618" y="78545"/>
                    <a:pt x="60206" y="78981"/>
                    <a:pt x="60206" y="79200"/>
                  </a:cubicBezTo>
                  <a:cubicBezTo>
                    <a:pt x="60206" y="79418"/>
                    <a:pt x="59381" y="79636"/>
                    <a:pt x="60618" y="79854"/>
                  </a:cubicBezTo>
                  <a:cubicBezTo>
                    <a:pt x="61443" y="79854"/>
                    <a:pt x="61443" y="80509"/>
                    <a:pt x="61443" y="80509"/>
                  </a:cubicBezTo>
                  <a:cubicBezTo>
                    <a:pt x="61443" y="80509"/>
                    <a:pt x="60618" y="80945"/>
                    <a:pt x="60206" y="81163"/>
                  </a:cubicBezTo>
                  <a:cubicBezTo>
                    <a:pt x="59793" y="81381"/>
                    <a:pt x="59381" y="81163"/>
                    <a:pt x="59381" y="81381"/>
                  </a:cubicBezTo>
                  <a:cubicBezTo>
                    <a:pt x="59381" y="81600"/>
                    <a:pt x="60206" y="82690"/>
                    <a:pt x="60206" y="82690"/>
                  </a:cubicBezTo>
                  <a:cubicBezTo>
                    <a:pt x="60206" y="82690"/>
                    <a:pt x="60206" y="83345"/>
                    <a:pt x="59381" y="83345"/>
                  </a:cubicBezTo>
                  <a:cubicBezTo>
                    <a:pt x="58556" y="83345"/>
                    <a:pt x="58556" y="83345"/>
                    <a:pt x="58144" y="83345"/>
                  </a:cubicBezTo>
                  <a:cubicBezTo>
                    <a:pt x="57731" y="83345"/>
                    <a:pt x="57319" y="83345"/>
                    <a:pt x="57319" y="83345"/>
                  </a:cubicBezTo>
                  <a:cubicBezTo>
                    <a:pt x="57319" y="83345"/>
                    <a:pt x="57731" y="83563"/>
                    <a:pt x="57731" y="84000"/>
                  </a:cubicBezTo>
                  <a:cubicBezTo>
                    <a:pt x="57731" y="84436"/>
                    <a:pt x="57731" y="84872"/>
                    <a:pt x="57731" y="84872"/>
                  </a:cubicBezTo>
                  <a:cubicBezTo>
                    <a:pt x="56494" y="84654"/>
                    <a:pt x="56494" y="84654"/>
                    <a:pt x="56494" y="84654"/>
                  </a:cubicBezTo>
                  <a:cubicBezTo>
                    <a:pt x="55257" y="84000"/>
                    <a:pt x="55257" y="84000"/>
                    <a:pt x="55257" y="84000"/>
                  </a:cubicBezTo>
                  <a:cubicBezTo>
                    <a:pt x="55257" y="84000"/>
                    <a:pt x="54020" y="84000"/>
                    <a:pt x="53608" y="84000"/>
                  </a:cubicBezTo>
                  <a:cubicBezTo>
                    <a:pt x="53195" y="84218"/>
                    <a:pt x="51958" y="84218"/>
                    <a:pt x="51958" y="84218"/>
                  </a:cubicBezTo>
                  <a:cubicBezTo>
                    <a:pt x="51958" y="84218"/>
                    <a:pt x="49896" y="83781"/>
                    <a:pt x="49484" y="83563"/>
                  </a:cubicBezTo>
                  <a:cubicBezTo>
                    <a:pt x="49484" y="83345"/>
                    <a:pt x="49484" y="83345"/>
                    <a:pt x="49072" y="83563"/>
                  </a:cubicBezTo>
                  <a:cubicBezTo>
                    <a:pt x="49072" y="83563"/>
                    <a:pt x="49484" y="83563"/>
                    <a:pt x="49072" y="83563"/>
                  </a:cubicBezTo>
                  <a:cubicBezTo>
                    <a:pt x="48659" y="83781"/>
                    <a:pt x="49484" y="83781"/>
                    <a:pt x="47835" y="83781"/>
                  </a:cubicBezTo>
                  <a:cubicBezTo>
                    <a:pt x="46185" y="84000"/>
                    <a:pt x="44536" y="84218"/>
                    <a:pt x="44536" y="84218"/>
                  </a:cubicBezTo>
                  <a:cubicBezTo>
                    <a:pt x="44536" y="84218"/>
                    <a:pt x="45773" y="83563"/>
                    <a:pt x="45360" y="83345"/>
                  </a:cubicBezTo>
                  <a:cubicBezTo>
                    <a:pt x="44948" y="83127"/>
                    <a:pt x="45360" y="83345"/>
                    <a:pt x="44536" y="83127"/>
                  </a:cubicBezTo>
                  <a:cubicBezTo>
                    <a:pt x="44123" y="82909"/>
                    <a:pt x="43298" y="82472"/>
                    <a:pt x="43298" y="82254"/>
                  </a:cubicBezTo>
                  <a:cubicBezTo>
                    <a:pt x="43298" y="82036"/>
                    <a:pt x="43298" y="81600"/>
                    <a:pt x="42474" y="81600"/>
                  </a:cubicBezTo>
                  <a:cubicBezTo>
                    <a:pt x="42061" y="81600"/>
                    <a:pt x="41649" y="81163"/>
                    <a:pt x="40824" y="81600"/>
                  </a:cubicBezTo>
                  <a:cubicBezTo>
                    <a:pt x="40412" y="81818"/>
                    <a:pt x="40000" y="81818"/>
                    <a:pt x="40000" y="82036"/>
                  </a:cubicBezTo>
                  <a:cubicBezTo>
                    <a:pt x="39587" y="82254"/>
                    <a:pt x="37938" y="82472"/>
                    <a:pt x="37938" y="82472"/>
                  </a:cubicBezTo>
                  <a:cubicBezTo>
                    <a:pt x="37938" y="82472"/>
                    <a:pt x="39175" y="83345"/>
                    <a:pt x="39175" y="83563"/>
                  </a:cubicBezTo>
                  <a:cubicBezTo>
                    <a:pt x="39175" y="83781"/>
                    <a:pt x="40000" y="84654"/>
                    <a:pt x="40000" y="84654"/>
                  </a:cubicBezTo>
                  <a:cubicBezTo>
                    <a:pt x="42886" y="84654"/>
                    <a:pt x="42886" y="84654"/>
                    <a:pt x="42886" y="84654"/>
                  </a:cubicBezTo>
                  <a:cubicBezTo>
                    <a:pt x="42886" y="84654"/>
                    <a:pt x="40824" y="85090"/>
                    <a:pt x="40824" y="85527"/>
                  </a:cubicBezTo>
                  <a:cubicBezTo>
                    <a:pt x="40412" y="85745"/>
                    <a:pt x="40412" y="85963"/>
                    <a:pt x="40000" y="86181"/>
                  </a:cubicBezTo>
                  <a:cubicBezTo>
                    <a:pt x="39587" y="86400"/>
                    <a:pt x="39587" y="86618"/>
                    <a:pt x="38762" y="86836"/>
                  </a:cubicBezTo>
                  <a:cubicBezTo>
                    <a:pt x="37525" y="86836"/>
                    <a:pt x="36288" y="87054"/>
                    <a:pt x="35463" y="87272"/>
                  </a:cubicBezTo>
                  <a:cubicBezTo>
                    <a:pt x="35051" y="87490"/>
                    <a:pt x="34639" y="87490"/>
                    <a:pt x="34639" y="87709"/>
                  </a:cubicBezTo>
                  <a:cubicBezTo>
                    <a:pt x="34639" y="88145"/>
                    <a:pt x="32164" y="87927"/>
                    <a:pt x="34639" y="88363"/>
                  </a:cubicBezTo>
                  <a:cubicBezTo>
                    <a:pt x="37113" y="88581"/>
                    <a:pt x="37525" y="88800"/>
                    <a:pt x="37525" y="88800"/>
                  </a:cubicBezTo>
                  <a:cubicBezTo>
                    <a:pt x="37525" y="88800"/>
                    <a:pt x="38762" y="88145"/>
                    <a:pt x="39175" y="87927"/>
                  </a:cubicBezTo>
                  <a:cubicBezTo>
                    <a:pt x="40000" y="87490"/>
                    <a:pt x="40000" y="87490"/>
                    <a:pt x="41649" y="87490"/>
                  </a:cubicBezTo>
                  <a:cubicBezTo>
                    <a:pt x="43298" y="87709"/>
                    <a:pt x="43298" y="87490"/>
                    <a:pt x="43298" y="87709"/>
                  </a:cubicBezTo>
                  <a:cubicBezTo>
                    <a:pt x="43298" y="88145"/>
                    <a:pt x="43298" y="88363"/>
                    <a:pt x="43298" y="88800"/>
                  </a:cubicBezTo>
                  <a:cubicBezTo>
                    <a:pt x="42886" y="89236"/>
                    <a:pt x="42061" y="89454"/>
                    <a:pt x="42886" y="90109"/>
                  </a:cubicBezTo>
                  <a:cubicBezTo>
                    <a:pt x="43711" y="90545"/>
                    <a:pt x="42474" y="90981"/>
                    <a:pt x="42474" y="91200"/>
                  </a:cubicBezTo>
                  <a:cubicBezTo>
                    <a:pt x="42474" y="91200"/>
                    <a:pt x="41649" y="91854"/>
                    <a:pt x="42061" y="91854"/>
                  </a:cubicBezTo>
                  <a:cubicBezTo>
                    <a:pt x="42474" y="92072"/>
                    <a:pt x="42474" y="92072"/>
                    <a:pt x="42474" y="92072"/>
                  </a:cubicBezTo>
                  <a:cubicBezTo>
                    <a:pt x="42474" y="92072"/>
                    <a:pt x="41649" y="93163"/>
                    <a:pt x="41649" y="93381"/>
                  </a:cubicBezTo>
                  <a:cubicBezTo>
                    <a:pt x="41649" y="93381"/>
                    <a:pt x="40412" y="94690"/>
                    <a:pt x="40000" y="94690"/>
                  </a:cubicBezTo>
                  <a:cubicBezTo>
                    <a:pt x="39587" y="94909"/>
                    <a:pt x="40412" y="94909"/>
                    <a:pt x="37938" y="95345"/>
                  </a:cubicBezTo>
                  <a:cubicBezTo>
                    <a:pt x="35463" y="95563"/>
                    <a:pt x="34226" y="95781"/>
                    <a:pt x="34226" y="95781"/>
                  </a:cubicBezTo>
                  <a:cubicBezTo>
                    <a:pt x="32164" y="96218"/>
                    <a:pt x="32164" y="96218"/>
                    <a:pt x="32164" y="96218"/>
                  </a:cubicBezTo>
                  <a:cubicBezTo>
                    <a:pt x="30515" y="96872"/>
                    <a:pt x="30515" y="96872"/>
                    <a:pt x="30515" y="96872"/>
                  </a:cubicBezTo>
                  <a:cubicBezTo>
                    <a:pt x="29278" y="96872"/>
                    <a:pt x="29278" y="96872"/>
                    <a:pt x="29278" y="96872"/>
                  </a:cubicBezTo>
                  <a:cubicBezTo>
                    <a:pt x="27216" y="96654"/>
                    <a:pt x="27216" y="96654"/>
                    <a:pt x="27216" y="96654"/>
                  </a:cubicBezTo>
                  <a:cubicBezTo>
                    <a:pt x="27216" y="96654"/>
                    <a:pt x="25154" y="97309"/>
                    <a:pt x="25154" y="97527"/>
                  </a:cubicBezTo>
                  <a:cubicBezTo>
                    <a:pt x="25154" y="97527"/>
                    <a:pt x="23917" y="97745"/>
                    <a:pt x="23505" y="97963"/>
                  </a:cubicBezTo>
                  <a:cubicBezTo>
                    <a:pt x="23505" y="98181"/>
                    <a:pt x="25567" y="98618"/>
                    <a:pt x="25567" y="98618"/>
                  </a:cubicBezTo>
                  <a:cubicBezTo>
                    <a:pt x="25979" y="99272"/>
                    <a:pt x="25979" y="99272"/>
                    <a:pt x="25979" y="99272"/>
                  </a:cubicBezTo>
                  <a:cubicBezTo>
                    <a:pt x="25154" y="99272"/>
                    <a:pt x="25154" y="99272"/>
                    <a:pt x="25154" y="99272"/>
                  </a:cubicBezTo>
                  <a:cubicBezTo>
                    <a:pt x="23505" y="99490"/>
                    <a:pt x="23505" y="99490"/>
                    <a:pt x="23505" y="99490"/>
                  </a:cubicBezTo>
                  <a:cubicBezTo>
                    <a:pt x="23505" y="99927"/>
                    <a:pt x="23505" y="99927"/>
                    <a:pt x="23505" y="99927"/>
                  </a:cubicBezTo>
                  <a:cubicBezTo>
                    <a:pt x="24329" y="100145"/>
                    <a:pt x="24329" y="100145"/>
                    <a:pt x="24329" y="100145"/>
                  </a:cubicBezTo>
                  <a:cubicBezTo>
                    <a:pt x="24329" y="100145"/>
                    <a:pt x="24742" y="100363"/>
                    <a:pt x="25154" y="100363"/>
                  </a:cubicBezTo>
                  <a:cubicBezTo>
                    <a:pt x="25979" y="100363"/>
                    <a:pt x="27628" y="99927"/>
                    <a:pt x="27628" y="99927"/>
                  </a:cubicBezTo>
                  <a:cubicBezTo>
                    <a:pt x="25567" y="100581"/>
                    <a:pt x="25567" y="100581"/>
                    <a:pt x="25567" y="100581"/>
                  </a:cubicBezTo>
                  <a:cubicBezTo>
                    <a:pt x="25154" y="101236"/>
                    <a:pt x="25154" y="101236"/>
                    <a:pt x="25154" y="101236"/>
                  </a:cubicBezTo>
                  <a:cubicBezTo>
                    <a:pt x="25154" y="101236"/>
                    <a:pt x="24742" y="101672"/>
                    <a:pt x="25567" y="101672"/>
                  </a:cubicBezTo>
                  <a:cubicBezTo>
                    <a:pt x="26391" y="101672"/>
                    <a:pt x="27216" y="101672"/>
                    <a:pt x="27216" y="101672"/>
                  </a:cubicBezTo>
                  <a:cubicBezTo>
                    <a:pt x="27216" y="101672"/>
                    <a:pt x="27628" y="101236"/>
                    <a:pt x="28453" y="101236"/>
                  </a:cubicBezTo>
                  <a:cubicBezTo>
                    <a:pt x="29690" y="101454"/>
                    <a:pt x="29690" y="101454"/>
                    <a:pt x="29690" y="101454"/>
                  </a:cubicBezTo>
                  <a:cubicBezTo>
                    <a:pt x="29690" y="101454"/>
                    <a:pt x="30103" y="100800"/>
                    <a:pt x="30515" y="100800"/>
                  </a:cubicBezTo>
                  <a:cubicBezTo>
                    <a:pt x="30515" y="100800"/>
                    <a:pt x="30103" y="100800"/>
                    <a:pt x="31340" y="100800"/>
                  </a:cubicBezTo>
                  <a:cubicBezTo>
                    <a:pt x="32164" y="101018"/>
                    <a:pt x="35051" y="100800"/>
                    <a:pt x="35051" y="100800"/>
                  </a:cubicBezTo>
                  <a:cubicBezTo>
                    <a:pt x="35051" y="100800"/>
                    <a:pt x="35463" y="100800"/>
                    <a:pt x="35463" y="101018"/>
                  </a:cubicBezTo>
                  <a:cubicBezTo>
                    <a:pt x="35463" y="101454"/>
                    <a:pt x="36288" y="101454"/>
                    <a:pt x="36701" y="101890"/>
                  </a:cubicBezTo>
                  <a:cubicBezTo>
                    <a:pt x="37525" y="102109"/>
                    <a:pt x="39175" y="102327"/>
                    <a:pt x="39175" y="102327"/>
                  </a:cubicBezTo>
                  <a:cubicBezTo>
                    <a:pt x="37938" y="102545"/>
                    <a:pt x="37938" y="102545"/>
                    <a:pt x="37938" y="102545"/>
                  </a:cubicBezTo>
                  <a:cubicBezTo>
                    <a:pt x="36288" y="102327"/>
                    <a:pt x="36288" y="102327"/>
                    <a:pt x="36288" y="102327"/>
                  </a:cubicBezTo>
                  <a:cubicBezTo>
                    <a:pt x="36288" y="102327"/>
                    <a:pt x="35463" y="102109"/>
                    <a:pt x="35463" y="102327"/>
                  </a:cubicBezTo>
                  <a:cubicBezTo>
                    <a:pt x="35463" y="102763"/>
                    <a:pt x="35051" y="103418"/>
                    <a:pt x="35051" y="103418"/>
                  </a:cubicBezTo>
                  <a:cubicBezTo>
                    <a:pt x="35463" y="103418"/>
                    <a:pt x="37525" y="103636"/>
                    <a:pt x="37525" y="103636"/>
                  </a:cubicBezTo>
                  <a:cubicBezTo>
                    <a:pt x="39587" y="103636"/>
                    <a:pt x="39587" y="103636"/>
                    <a:pt x="39587" y="103636"/>
                  </a:cubicBezTo>
                  <a:cubicBezTo>
                    <a:pt x="40412" y="103418"/>
                    <a:pt x="40412" y="103418"/>
                    <a:pt x="40412" y="103418"/>
                  </a:cubicBezTo>
                  <a:cubicBezTo>
                    <a:pt x="41649" y="102981"/>
                    <a:pt x="41649" y="102981"/>
                    <a:pt x="41649" y="102981"/>
                  </a:cubicBezTo>
                  <a:cubicBezTo>
                    <a:pt x="41649" y="102981"/>
                    <a:pt x="42061" y="103418"/>
                    <a:pt x="41649" y="103418"/>
                  </a:cubicBezTo>
                  <a:cubicBezTo>
                    <a:pt x="41649" y="103636"/>
                    <a:pt x="42061" y="104072"/>
                    <a:pt x="42061" y="104072"/>
                  </a:cubicBezTo>
                  <a:cubicBezTo>
                    <a:pt x="42061" y="104072"/>
                    <a:pt x="42061" y="104727"/>
                    <a:pt x="42474" y="104727"/>
                  </a:cubicBezTo>
                  <a:cubicBezTo>
                    <a:pt x="42886" y="104727"/>
                    <a:pt x="43711" y="105381"/>
                    <a:pt x="43711" y="105381"/>
                  </a:cubicBezTo>
                  <a:cubicBezTo>
                    <a:pt x="44536" y="106036"/>
                    <a:pt x="44536" y="106036"/>
                    <a:pt x="44536" y="106036"/>
                  </a:cubicBezTo>
                  <a:cubicBezTo>
                    <a:pt x="46185" y="106254"/>
                    <a:pt x="46185" y="106254"/>
                    <a:pt x="46185" y="106254"/>
                  </a:cubicBezTo>
                  <a:cubicBezTo>
                    <a:pt x="46185" y="106254"/>
                    <a:pt x="47422" y="106254"/>
                    <a:pt x="47835" y="106254"/>
                  </a:cubicBezTo>
                  <a:cubicBezTo>
                    <a:pt x="48247" y="106472"/>
                    <a:pt x="49072" y="106690"/>
                    <a:pt x="49072" y="106472"/>
                  </a:cubicBezTo>
                  <a:cubicBezTo>
                    <a:pt x="49484" y="106254"/>
                    <a:pt x="50309" y="105818"/>
                    <a:pt x="50309" y="105818"/>
                  </a:cubicBezTo>
                  <a:cubicBezTo>
                    <a:pt x="51958" y="105163"/>
                    <a:pt x="51958" y="105163"/>
                    <a:pt x="51958" y="105163"/>
                  </a:cubicBezTo>
                  <a:cubicBezTo>
                    <a:pt x="51958" y="105163"/>
                    <a:pt x="52783" y="105163"/>
                    <a:pt x="53608" y="105163"/>
                  </a:cubicBezTo>
                  <a:cubicBezTo>
                    <a:pt x="54020" y="105163"/>
                    <a:pt x="56907" y="104945"/>
                    <a:pt x="56907" y="104945"/>
                  </a:cubicBezTo>
                  <a:cubicBezTo>
                    <a:pt x="56907" y="104945"/>
                    <a:pt x="57319" y="104509"/>
                    <a:pt x="58144" y="104290"/>
                  </a:cubicBezTo>
                  <a:cubicBezTo>
                    <a:pt x="58556" y="104072"/>
                    <a:pt x="60206" y="103636"/>
                    <a:pt x="60206" y="103636"/>
                  </a:cubicBezTo>
                  <a:cubicBezTo>
                    <a:pt x="63092" y="103200"/>
                    <a:pt x="63092" y="103200"/>
                    <a:pt x="63092" y="103200"/>
                  </a:cubicBezTo>
                  <a:cubicBezTo>
                    <a:pt x="60618" y="103636"/>
                    <a:pt x="60618" y="103636"/>
                    <a:pt x="60618" y="103636"/>
                  </a:cubicBezTo>
                  <a:cubicBezTo>
                    <a:pt x="59793" y="104072"/>
                    <a:pt x="59793" y="104072"/>
                    <a:pt x="59793" y="104072"/>
                  </a:cubicBezTo>
                  <a:cubicBezTo>
                    <a:pt x="58144" y="104727"/>
                    <a:pt x="58144" y="104727"/>
                    <a:pt x="58144" y="104727"/>
                  </a:cubicBezTo>
                  <a:cubicBezTo>
                    <a:pt x="57319" y="105163"/>
                    <a:pt x="57319" y="105163"/>
                    <a:pt x="57319" y="105163"/>
                  </a:cubicBezTo>
                  <a:cubicBezTo>
                    <a:pt x="57319" y="105163"/>
                    <a:pt x="56494" y="105381"/>
                    <a:pt x="56082" y="105600"/>
                  </a:cubicBezTo>
                  <a:cubicBezTo>
                    <a:pt x="56082" y="105600"/>
                    <a:pt x="54845" y="106690"/>
                    <a:pt x="54845" y="106690"/>
                  </a:cubicBezTo>
                  <a:cubicBezTo>
                    <a:pt x="53608" y="106909"/>
                    <a:pt x="53608" y="106909"/>
                    <a:pt x="53608" y="106909"/>
                  </a:cubicBezTo>
                  <a:cubicBezTo>
                    <a:pt x="53608" y="106909"/>
                    <a:pt x="52371" y="107345"/>
                    <a:pt x="51958" y="107781"/>
                  </a:cubicBezTo>
                  <a:cubicBezTo>
                    <a:pt x="51546" y="108000"/>
                    <a:pt x="51134" y="108218"/>
                    <a:pt x="51134" y="108218"/>
                  </a:cubicBezTo>
                  <a:cubicBezTo>
                    <a:pt x="51134" y="108218"/>
                    <a:pt x="51546" y="108654"/>
                    <a:pt x="49484" y="108654"/>
                  </a:cubicBezTo>
                  <a:cubicBezTo>
                    <a:pt x="47422" y="108436"/>
                    <a:pt x="45773" y="108218"/>
                    <a:pt x="45773" y="108218"/>
                  </a:cubicBezTo>
                  <a:cubicBezTo>
                    <a:pt x="45773" y="108218"/>
                    <a:pt x="43711" y="108000"/>
                    <a:pt x="43298" y="108000"/>
                  </a:cubicBezTo>
                  <a:cubicBezTo>
                    <a:pt x="42886" y="107781"/>
                    <a:pt x="42886" y="107781"/>
                    <a:pt x="41649" y="107781"/>
                  </a:cubicBezTo>
                  <a:cubicBezTo>
                    <a:pt x="40824" y="107781"/>
                    <a:pt x="36701" y="107127"/>
                    <a:pt x="36701" y="107127"/>
                  </a:cubicBezTo>
                  <a:cubicBezTo>
                    <a:pt x="36701" y="107127"/>
                    <a:pt x="35876" y="107127"/>
                    <a:pt x="35463" y="107345"/>
                  </a:cubicBezTo>
                  <a:cubicBezTo>
                    <a:pt x="35051" y="107563"/>
                    <a:pt x="34226" y="107563"/>
                    <a:pt x="34226" y="107781"/>
                  </a:cubicBezTo>
                  <a:cubicBezTo>
                    <a:pt x="34226" y="108218"/>
                    <a:pt x="34226" y="108436"/>
                    <a:pt x="34226" y="108436"/>
                  </a:cubicBezTo>
                  <a:cubicBezTo>
                    <a:pt x="33814" y="109090"/>
                    <a:pt x="33814" y="109090"/>
                    <a:pt x="33814" y="109090"/>
                  </a:cubicBezTo>
                  <a:cubicBezTo>
                    <a:pt x="32164" y="109309"/>
                    <a:pt x="32164" y="109309"/>
                    <a:pt x="32164" y="109309"/>
                  </a:cubicBezTo>
                  <a:cubicBezTo>
                    <a:pt x="30103" y="109309"/>
                    <a:pt x="30103" y="109309"/>
                    <a:pt x="30103" y="109309"/>
                  </a:cubicBezTo>
                  <a:close/>
                  <a:moveTo>
                    <a:pt x="17731" y="58036"/>
                  </a:moveTo>
                  <a:cubicBezTo>
                    <a:pt x="17731" y="58036"/>
                    <a:pt x="17731" y="58036"/>
                    <a:pt x="17731" y="58036"/>
                  </a:cubicBezTo>
                  <a:cubicBezTo>
                    <a:pt x="18144" y="58036"/>
                    <a:pt x="20618" y="58036"/>
                    <a:pt x="20618" y="58036"/>
                  </a:cubicBezTo>
                  <a:cubicBezTo>
                    <a:pt x="22268" y="58036"/>
                    <a:pt x="22268" y="58036"/>
                    <a:pt x="22268" y="58036"/>
                  </a:cubicBezTo>
                  <a:cubicBezTo>
                    <a:pt x="22268" y="58036"/>
                    <a:pt x="24329" y="58036"/>
                    <a:pt x="24742" y="58036"/>
                  </a:cubicBezTo>
                  <a:cubicBezTo>
                    <a:pt x="25154" y="58036"/>
                    <a:pt x="25567" y="58254"/>
                    <a:pt x="25567" y="58254"/>
                  </a:cubicBezTo>
                  <a:cubicBezTo>
                    <a:pt x="25567" y="58254"/>
                    <a:pt x="26391" y="57818"/>
                    <a:pt x="26804" y="58036"/>
                  </a:cubicBezTo>
                  <a:cubicBezTo>
                    <a:pt x="27216" y="58036"/>
                    <a:pt x="28041" y="58690"/>
                    <a:pt x="28041" y="58690"/>
                  </a:cubicBezTo>
                  <a:cubicBezTo>
                    <a:pt x="28865" y="59781"/>
                    <a:pt x="28865" y="59781"/>
                    <a:pt x="28865" y="59781"/>
                  </a:cubicBezTo>
                  <a:cubicBezTo>
                    <a:pt x="29278" y="61090"/>
                    <a:pt x="29278" y="61090"/>
                    <a:pt x="29278" y="61090"/>
                  </a:cubicBezTo>
                  <a:cubicBezTo>
                    <a:pt x="29690" y="62181"/>
                    <a:pt x="29690" y="62181"/>
                    <a:pt x="29690" y="62181"/>
                  </a:cubicBezTo>
                  <a:cubicBezTo>
                    <a:pt x="31340" y="63272"/>
                    <a:pt x="31340" y="63272"/>
                    <a:pt x="31340" y="63272"/>
                  </a:cubicBezTo>
                  <a:cubicBezTo>
                    <a:pt x="30515" y="63927"/>
                    <a:pt x="30515" y="63927"/>
                    <a:pt x="30515" y="63927"/>
                  </a:cubicBezTo>
                  <a:cubicBezTo>
                    <a:pt x="30515" y="63927"/>
                    <a:pt x="30515" y="64800"/>
                    <a:pt x="30515" y="64800"/>
                  </a:cubicBezTo>
                  <a:cubicBezTo>
                    <a:pt x="30103" y="64800"/>
                    <a:pt x="28865" y="65018"/>
                    <a:pt x="28865" y="65018"/>
                  </a:cubicBezTo>
                  <a:cubicBezTo>
                    <a:pt x="28453" y="65236"/>
                    <a:pt x="28041" y="65890"/>
                    <a:pt x="28041" y="65890"/>
                  </a:cubicBezTo>
                  <a:cubicBezTo>
                    <a:pt x="28041" y="65890"/>
                    <a:pt x="29690" y="65018"/>
                    <a:pt x="30103" y="65236"/>
                  </a:cubicBezTo>
                  <a:cubicBezTo>
                    <a:pt x="30515" y="65236"/>
                    <a:pt x="31752" y="65236"/>
                    <a:pt x="31752" y="65236"/>
                  </a:cubicBezTo>
                  <a:cubicBezTo>
                    <a:pt x="32577" y="65672"/>
                    <a:pt x="32577" y="65672"/>
                    <a:pt x="32577" y="65672"/>
                  </a:cubicBezTo>
                  <a:cubicBezTo>
                    <a:pt x="33402" y="66545"/>
                    <a:pt x="33402" y="66545"/>
                    <a:pt x="33402" y="66545"/>
                  </a:cubicBezTo>
                  <a:cubicBezTo>
                    <a:pt x="33402" y="67636"/>
                    <a:pt x="33402" y="67636"/>
                    <a:pt x="33402" y="67636"/>
                  </a:cubicBezTo>
                  <a:cubicBezTo>
                    <a:pt x="33402" y="67636"/>
                    <a:pt x="33402" y="68509"/>
                    <a:pt x="32989" y="68509"/>
                  </a:cubicBezTo>
                  <a:cubicBezTo>
                    <a:pt x="32989" y="68727"/>
                    <a:pt x="32577" y="68945"/>
                    <a:pt x="32164" y="68945"/>
                  </a:cubicBezTo>
                  <a:cubicBezTo>
                    <a:pt x="31752" y="68945"/>
                    <a:pt x="31340" y="68945"/>
                    <a:pt x="31752" y="68509"/>
                  </a:cubicBezTo>
                  <a:cubicBezTo>
                    <a:pt x="31752" y="68072"/>
                    <a:pt x="32164" y="67636"/>
                    <a:pt x="32164" y="67636"/>
                  </a:cubicBezTo>
                  <a:cubicBezTo>
                    <a:pt x="32164" y="67418"/>
                    <a:pt x="32577" y="66545"/>
                    <a:pt x="32164" y="66545"/>
                  </a:cubicBezTo>
                  <a:cubicBezTo>
                    <a:pt x="31340" y="66545"/>
                    <a:pt x="30927" y="66109"/>
                    <a:pt x="30927" y="66545"/>
                  </a:cubicBezTo>
                  <a:cubicBezTo>
                    <a:pt x="30515" y="66763"/>
                    <a:pt x="30927" y="67636"/>
                    <a:pt x="30927" y="67636"/>
                  </a:cubicBezTo>
                  <a:cubicBezTo>
                    <a:pt x="30927" y="67636"/>
                    <a:pt x="31340" y="67854"/>
                    <a:pt x="31340" y="68072"/>
                  </a:cubicBezTo>
                  <a:cubicBezTo>
                    <a:pt x="30927" y="68290"/>
                    <a:pt x="30927" y="68072"/>
                    <a:pt x="30515" y="68509"/>
                  </a:cubicBezTo>
                  <a:cubicBezTo>
                    <a:pt x="29690" y="68727"/>
                    <a:pt x="30927" y="68945"/>
                    <a:pt x="30927" y="68945"/>
                  </a:cubicBezTo>
                  <a:cubicBezTo>
                    <a:pt x="31340" y="69381"/>
                    <a:pt x="31340" y="69381"/>
                    <a:pt x="31340" y="69381"/>
                  </a:cubicBezTo>
                  <a:cubicBezTo>
                    <a:pt x="31340" y="69381"/>
                    <a:pt x="31340" y="70036"/>
                    <a:pt x="30927" y="70036"/>
                  </a:cubicBezTo>
                  <a:cubicBezTo>
                    <a:pt x="30515" y="70254"/>
                    <a:pt x="30515" y="70472"/>
                    <a:pt x="28865" y="70036"/>
                  </a:cubicBezTo>
                  <a:cubicBezTo>
                    <a:pt x="27216" y="69818"/>
                    <a:pt x="26804" y="69600"/>
                    <a:pt x="26804" y="69600"/>
                  </a:cubicBezTo>
                  <a:cubicBezTo>
                    <a:pt x="26391" y="70690"/>
                    <a:pt x="26391" y="70690"/>
                    <a:pt x="26391" y="70690"/>
                  </a:cubicBezTo>
                  <a:cubicBezTo>
                    <a:pt x="25567" y="71563"/>
                    <a:pt x="25567" y="71563"/>
                    <a:pt x="25567" y="71563"/>
                  </a:cubicBezTo>
                  <a:cubicBezTo>
                    <a:pt x="22680" y="72000"/>
                    <a:pt x="22680" y="72000"/>
                    <a:pt x="22680" y="72000"/>
                  </a:cubicBezTo>
                  <a:cubicBezTo>
                    <a:pt x="21030" y="70909"/>
                    <a:pt x="21030" y="70909"/>
                    <a:pt x="21030" y="70909"/>
                  </a:cubicBezTo>
                  <a:cubicBezTo>
                    <a:pt x="21030" y="70909"/>
                    <a:pt x="19793" y="71127"/>
                    <a:pt x="19381" y="71127"/>
                  </a:cubicBezTo>
                  <a:cubicBezTo>
                    <a:pt x="18969" y="70909"/>
                    <a:pt x="16907" y="70690"/>
                    <a:pt x="16907" y="70690"/>
                  </a:cubicBezTo>
                  <a:cubicBezTo>
                    <a:pt x="16494" y="69600"/>
                    <a:pt x="16494" y="69600"/>
                    <a:pt x="16494" y="69600"/>
                  </a:cubicBezTo>
                  <a:cubicBezTo>
                    <a:pt x="14432" y="68509"/>
                    <a:pt x="14432" y="68509"/>
                    <a:pt x="14432" y="68509"/>
                  </a:cubicBezTo>
                  <a:cubicBezTo>
                    <a:pt x="14845" y="67636"/>
                    <a:pt x="14845" y="67636"/>
                    <a:pt x="14845" y="67636"/>
                  </a:cubicBezTo>
                  <a:cubicBezTo>
                    <a:pt x="13608" y="66327"/>
                    <a:pt x="13608" y="66327"/>
                    <a:pt x="13608" y="66327"/>
                  </a:cubicBezTo>
                  <a:cubicBezTo>
                    <a:pt x="11134" y="66545"/>
                    <a:pt x="11134" y="66545"/>
                    <a:pt x="11134" y="66545"/>
                  </a:cubicBezTo>
                  <a:cubicBezTo>
                    <a:pt x="10309" y="67636"/>
                    <a:pt x="10309" y="67636"/>
                    <a:pt x="10309" y="67636"/>
                  </a:cubicBezTo>
                  <a:cubicBezTo>
                    <a:pt x="10309" y="67636"/>
                    <a:pt x="11134" y="68072"/>
                    <a:pt x="10309" y="68290"/>
                  </a:cubicBezTo>
                  <a:cubicBezTo>
                    <a:pt x="9484" y="68290"/>
                    <a:pt x="7835" y="68509"/>
                    <a:pt x="7835" y="68509"/>
                  </a:cubicBezTo>
                  <a:cubicBezTo>
                    <a:pt x="7835" y="68509"/>
                    <a:pt x="5773" y="68727"/>
                    <a:pt x="5360" y="68727"/>
                  </a:cubicBezTo>
                  <a:cubicBezTo>
                    <a:pt x="5360" y="68727"/>
                    <a:pt x="3711" y="67418"/>
                    <a:pt x="3711" y="67418"/>
                  </a:cubicBezTo>
                  <a:cubicBezTo>
                    <a:pt x="3711" y="67418"/>
                    <a:pt x="2886" y="67418"/>
                    <a:pt x="2474" y="67418"/>
                  </a:cubicBezTo>
                  <a:cubicBezTo>
                    <a:pt x="2061" y="67418"/>
                    <a:pt x="2061" y="67636"/>
                    <a:pt x="2061" y="67200"/>
                  </a:cubicBezTo>
                  <a:cubicBezTo>
                    <a:pt x="2061" y="66763"/>
                    <a:pt x="1649" y="66109"/>
                    <a:pt x="1649" y="66109"/>
                  </a:cubicBezTo>
                  <a:cubicBezTo>
                    <a:pt x="1649" y="66109"/>
                    <a:pt x="2886" y="66763"/>
                    <a:pt x="1649" y="65890"/>
                  </a:cubicBezTo>
                  <a:cubicBezTo>
                    <a:pt x="412" y="65018"/>
                    <a:pt x="0" y="64145"/>
                    <a:pt x="0" y="64145"/>
                  </a:cubicBezTo>
                  <a:cubicBezTo>
                    <a:pt x="2061" y="63490"/>
                    <a:pt x="2061" y="63490"/>
                    <a:pt x="2061" y="63490"/>
                  </a:cubicBezTo>
                  <a:cubicBezTo>
                    <a:pt x="2061" y="63490"/>
                    <a:pt x="4123" y="63490"/>
                    <a:pt x="4536" y="63709"/>
                  </a:cubicBezTo>
                  <a:cubicBezTo>
                    <a:pt x="4948" y="63709"/>
                    <a:pt x="5360" y="63272"/>
                    <a:pt x="5360" y="63272"/>
                  </a:cubicBezTo>
                  <a:cubicBezTo>
                    <a:pt x="5360" y="63272"/>
                    <a:pt x="6185" y="62836"/>
                    <a:pt x="5360" y="62618"/>
                  </a:cubicBezTo>
                  <a:cubicBezTo>
                    <a:pt x="4948" y="62618"/>
                    <a:pt x="4123" y="62181"/>
                    <a:pt x="4123" y="62181"/>
                  </a:cubicBezTo>
                  <a:cubicBezTo>
                    <a:pt x="4123" y="62181"/>
                    <a:pt x="3298" y="61745"/>
                    <a:pt x="4536" y="61527"/>
                  </a:cubicBezTo>
                  <a:cubicBezTo>
                    <a:pt x="5773" y="61527"/>
                    <a:pt x="5773" y="61527"/>
                    <a:pt x="6597" y="61527"/>
                  </a:cubicBezTo>
                  <a:cubicBezTo>
                    <a:pt x="7422" y="61745"/>
                    <a:pt x="7835" y="62400"/>
                    <a:pt x="8247" y="61527"/>
                  </a:cubicBezTo>
                  <a:cubicBezTo>
                    <a:pt x="8659" y="60872"/>
                    <a:pt x="7835" y="60872"/>
                    <a:pt x="9072" y="60654"/>
                  </a:cubicBezTo>
                  <a:cubicBezTo>
                    <a:pt x="10309" y="60654"/>
                    <a:pt x="11134" y="60436"/>
                    <a:pt x="11134" y="60218"/>
                  </a:cubicBezTo>
                  <a:cubicBezTo>
                    <a:pt x="11134" y="60000"/>
                    <a:pt x="11134" y="59127"/>
                    <a:pt x="11546" y="59127"/>
                  </a:cubicBezTo>
                  <a:cubicBezTo>
                    <a:pt x="11958" y="59127"/>
                    <a:pt x="14020" y="59345"/>
                    <a:pt x="14020" y="59345"/>
                  </a:cubicBezTo>
                  <a:cubicBezTo>
                    <a:pt x="14020" y="59345"/>
                    <a:pt x="14845" y="58909"/>
                    <a:pt x="15670" y="59127"/>
                  </a:cubicBezTo>
                  <a:cubicBezTo>
                    <a:pt x="16494" y="59127"/>
                    <a:pt x="16907" y="58909"/>
                    <a:pt x="16907" y="58909"/>
                  </a:cubicBezTo>
                  <a:cubicBezTo>
                    <a:pt x="16907" y="58909"/>
                    <a:pt x="17731" y="58036"/>
                    <a:pt x="17731" y="58036"/>
                  </a:cubicBezTo>
                  <a:close/>
                  <a:moveTo>
                    <a:pt x="30515" y="49527"/>
                  </a:moveTo>
                  <a:cubicBezTo>
                    <a:pt x="30515" y="49527"/>
                    <a:pt x="30515" y="49527"/>
                    <a:pt x="30515" y="49527"/>
                  </a:cubicBezTo>
                  <a:cubicBezTo>
                    <a:pt x="30515" y="49527"/>
                    <a:pt x="30103" y="48872"/>
                    <a:pt x="30515" y="48872"/>
                  </a:cubicBezTo>
                  <a:cubicBezTo>
                    <a:pt x="30927" y="48872"/>
                    <a:pt x="32164" y="48654"/>
                    <a:pt x="32164" y="48654"/>
                  </a:cubicBezTo>
                  <a:cubicBezTo>
                    <a:pt x="32164" y="48654"/>
                    <a:pt x="32577" y="48218"/>
                    <a:pt x="32577" y="48436"/>
                  </a:cubicBezTo>
                  <a:cubicBezTo>
                    <a:pt x="32989" y="48436"/>
                    <a:pt x="32989" y="48872"/>
                    <a:pt x="32577" y="48872"/>
                  </a:cubicBezTo>
                  <a:cubicBezTo>
                    <a:pt x="32577" y="48872"/>
                    <a:pt x="31752" y="49309"/>
                    <a:pt x="31752" y="49309"/>
                  </a:cubicBezTo>
                  <a:cubicBezTo>
                    <a:pt x="31752" y="49309"/>
                    <a:pt x="30927" y="49527"/>
                    <a:pt x="30927" y="49527"/>
                  </a:cubicBezTo>
                  <a:cubicBezTo>
                    <a:pt x="30515" y="49527"/>
                    <a:pt x="30515" y="49527"/>
                    <a:pt x="30515" y="49527"/>
                  </a:cubicBezTo>
                  <a:close/>
                  <a:moveTo>
                    <a:pt x="35876" y="54109"/>
                  </a:moveTo>
                  <a:cubicBezTo>
                    <a:pt x="35876" y="54109"/>
                    <a:pt x="35876" y="54109"/>
                    <a:pt x="35876" y="54109"/>
                  </a:cubicBezTo>
                  <a:cubicBezTo>
                    <a:pt x="35876" y="54109"/>
                    <a:pt x="35876" y="54327"/>
                    <a:pt x="35463" y="54327"/>
                  </a:cubicBezTo>
                  <a:cubicBezTo>
                    <a:pt x="35051" y="54327"/>
                    <a:pt x="34226" y="54327"/>
                    <a:pt x="34226" y="54109"/>
                  </a:cubicBezTo>
                  <a:cubicBezTo>
                    <a:pt x="34226" y="54109"/>
                    <a:pt x="34639" y="53672"/>
                    <a:pt x="35051" y="53672"/>
                  </a:cubicBezTo>
                  <a:cubicBezTo>
                    <a:pt x="35051" y="53672"/>
                    <a:pt x="35463" y="53454"/>
                    <a:pt x="35463" y="53454"/>
                  </a:cubicBezTo>
                  <a:cubicBezTo>
                    <a:pt x="35463" y="53454"/>
                    <a:pt x="35463" y="53236"/>
                    <a:pt x="35463" y="53236"/>
                  </a:cubicBezTo>
                  <a:cubicBezTo>
                    <a:pt x="35876" y="53236"/>
                    <a:pt x="36288" y="53672"/>
                    <a:pt x="36288" y="53672"/>
                  </a:cubicBezTo>
                  <a:cubicBezTo>
                    <a:pt x="35876" y="54109"/>
                    <a:pt x="35876" y="54109"/>
                    <a:pt x="35876" y="54109"/>
                  </a:cubicBezTo>
                  <a:close/>
                  <a:moveTo>
                    <a:pt x="39175" y="55636"/>
                  </a:moveTo>
                  <a:cubicBezTo>
                    <a:pt x="39175" y="55636"/>
                    <a:pt x="39175" y="55636"/>
                    <a:pt x="39175" y="55636"/>
                  </a:cubicBezTo>
                  <a:cubicBezTo>
                    <a:pt x="39175" y="55418"/>
                    <a:pt x="40000" y="54981"/>
                    <a:pt x="40000" y="54763"/>
                  </a:cubicBezTo>
                  <a:cubicBezTo>
                    <a:pt x="40412" y="54763"/>
                    <a:pt x="40412" y="54545"/>
                    <a:pt x="40412" y="54545"/>
                  </a:cubicBezTo>
                  <a:cubicBezTo>
                    <a:pt x="40824" y="54327"/>
                    <a:pt x="41237" y="54327"/>
                    <a:pt x="41649" y="54327"/>
                  </a:cubicBezTo>
                  <a:cubicBezTo>
                    <a:pt x="42474" y="54545"/>
                    <a:pt x="43298" y="54981"/>
                    <a:pt x="42886" y="54981"/>
                  </a:cubicBezTo>
                  <a:cubicBezTo>
                    <a:pt x="42886" y="55200"/>
                    <a:pt x="42474" y="54981"/>
                    <a:pt x="42474" y="55636"/>
                  </a:cubicBezTo>
                  <a:cubicBezTo>
                    <a:pt x="42474" y="56290"/>
                    <a:pt x="42474" y="56290"/>
                    <a:pt x="42474" y="56509"/>
                  </a:cubicBezTo>
                  <a:cubicBezTo>
                    <a:pt x="42886" y="56727"/>
                    <a:pt x="42474" y="57381"/>
                    <a:pt x="42474" y="57381"/>
                  </a:cubicBezTo>
                  <a:cubicBezTo>
                    <a:pt x="42474" y="57381"/>
                    <a:pt x="42061" y="57818"/>
                    <a:pt x="41649" y="57818"/>
                  </a:cubicBezTo>
                  <a:cubicBezTo>
                    <a:pt x="41649" y="57818"/>
                    <a:pt x="41649" y="57818"/>
                    <a:pt x="40824" y="57600"/>
                  </a:cubicBezTo>
                  <a:cubicBezTo>
                    <a:pt x="40412" y="57600"/>
                    <a:pt x="39175" y="57163"/>
                    <a:pt x="39175" y="57163"/>
                  </a:cubicBezTo>
                  <a:cubicBezTo>
                    <a:pt x="39175" y="57163"/>
                    <a:pt x="39175" y="56072"/>
                    <a:pt x="39175" y="56072"/>
                  </a:cubicBezTo>
                  <a:cubicBezTo>
                    <a:pt x="39175" y="55854"/>
                    <a:pt x="38762" y="55636"/>
                    <a:pt x="38762" y="55636"/>
                  </a:cubicBezTo>
                  <a:cubicBezTo>
                    <a:pt x="39175" y="55636"/>
                    <a:pt x="39175" y="55636"/>
                    <a:pt x="39175" y="55636"/>
                  </a:cubicBezTo>
                  <a:close/>
                  <a:moveTo>
                    <a:pt x="30515" y="45818"/>
                  </a:moveTo>
                  <a:cubicBezTo>
                    <a:pt x="30515" y="45818"/>
                    <a:pt x="30515" y="45818"/>
                    <a:pt x="30515" y="45818"/>
                  </a:cubicBezTo>
                  <a:cubicBezTo>
                    <a:pt x="30515" y="45818"/>
                    <a:pt x="30515" y="45600"/>
                    <a:pt x="31340" y="45600"/>
                  </a:cubicBezTo>
                  <a:cubicBezTo>
                    <a:pt x="31752" y="45818"/>
                    <a:pt x="31752" y="46036"/>
                    <a:pt x="31752" y="46254"/>
                  </a:cubicBezTo>
                  <a:cubicBezTo>
                    <a:pt x="31752" y="46472"/>
                    <a:pt x="32989" y="46472"/>
                    <a:pt x="32577" y="46690"/>
                  </a:cubicBezTo>
                  <a:cubicBezTo>
                    <a:pt x="31752" y="46909"/>
                    <a:pt x="31340" y="46909"/>
                    <a:pt x="31340" y="46909"/>
                  </a:cubicBezTo>
                  <a:cubicBezTo>
                    <a:pt x="31340" y="46690"/>
                    <a:pt x="30927" y="46909"/>
                    <a:pt x="30927" y="46690"/>
                  </a:cubicBezTo>
                  <a:cubicBezTo>
                    <a:pt x="30927" y="46472"/>
                    <a:pt x="30103" y="46254"/>
                    <a:pt x="30103" y="46254"/>
                  </a:cubicBezTo>
                  <a:cubicBezTo>
                    <a:pt x="30103" y="46254"/>
                    <a:pt x="30515" y="45818"/>
                    <a:pt x="30515" y="45818"/>
                  </a:cubicBezTo>
                  <a:close/>
                  <a:moveTo>
                    <a:pt x="25154" y="42763"/>
                  </a:moveTo>
                  <a:cubicBezTo>
                    <a:pt x="25154" y="42763"/>
                    <a:pt x="25154" y="42763"/>
                    <a:pt x="25154" y="42763"/>
                  </a:cubicBezTo>
                  <a:cubicBezTo>
                    <a:pt x="25979" y="42981"/>
                    <a:pt x="26391" y="42763"/>
                    <a:pt x="26391" y="42981"/>
                  </a:cubicBezTo>
                  <a:cubicBezTo>
                    <a:pt x="26804" y="42981"/>
                    <a:pt x="27216" y="43200"/>
                    <a:pt x="26804" y="43418"/>
                  </a:cubicBezTo>
                  <a:cubicBezTo>
                    <a:pt x="25979" y="43636"/>
                    <a:pt x="25979" y="43636"/>
                    <a:pt x="25154" y="43636"/>
                  </a:cubicBezTo>
                  <a:cubicBezTo>
                    <a:pt x="24742" y="43636"/>
                    <a:pt x="25567" y="43636"/>
                    <a:pt x="24742" y="43636"/>
                  </a:cubicBezTo>
                  <a:cubicBezTo>
                    <a:pt x="23917" y="43636"/>
                    <a:pt x="22680" y="44072"/>
                    <a:pt x="23505" y="43418"/>
                  </a:cubicBezTo>
                  <a:cubicBezTo>
                    <a:pt x="24329" y="42981"/>
                    <a:pt x="25154" y="42763"/>
                    <a:pt x="25154" y="42763"/>
                  </a:cubicBezTo>
                  <a:close/>
                  <a:moveTo>
                    <a:pt x="29690" y="41672"/>
                  </a:moveTo>
                  <a:cubicBezTo>
                    <a:pt x="29690" y="41672"/>
                    <a:pt x="29690" y="41672"/>
                    <a:pt x="29690" y="41672"/>
                  </a:cubicBezTo>
                  <a:cubicBezTo>
                    <a:pt x="30103" y="41672"/>
                    <a:pt x="30515" y="41236"/>
                    <a:pt x="30927" y="41454"/>
                  </a:cubicBezTo>
                  <a:cubicBezTo>
                    <a:pt x="31340" y="41672"/>
                    <a:pt x="32164" y="41890"/>
                    <a:pt x="31340" y="42109"/>
                  </a:cubicBezTo>
                  <a:cubicBezTo>
                    <a:pt x="30515" y="42327"/>
                    <a:pt x="30515" y="42327"/>
                    <a:pt x="30103" y="42545"/>
                  </a:cubicBezTo>
                  <a:cubicBezTo>
                    <a:pt x="29278" y="42763"/>
                    <a:pt x="28453" y="42981"/>
                    <a:pt x="28041" y="42981"/>
                  </a:cubicBezTo>
                  <a:cubicBezTo>
                    <a:pt x="27628" y="42981"/>
                    <a:pt x="27216" y="42545"/>
                    <a:pt x="27628" y="42545"/>
                  </a:cubicBezTo>
                  <a:cubicBezTo>
                    <a:pt x="28041" y="42545"/>
                    <a:pt x="28453" y="42327"/>
                    <a:pt x="28865" y="42327"/>
                  </a:cubicBezTo>
                  <a:cubicBezTo>
                    <a:pt x="28865" y="42109"/>
                    <a:pt x="29690" y="41672"/>
                    <a:pt x="29690" y="41672"/>
                  </a:cubicBezTo>
                  <a:close/>
                  <a:moveTo>
                    <a:pt x="32164" y="37309"/>
                  </a:moveTo>
                  <a:cubicBezTo>
                    <a:pt x="32164" y="37309"/>
                    <a:pt x="32164" y="37309"/>
                    <a:pt x="32164" y="37309"/>
                  </a:cubicBezTo>
                  <a:cubicBezTo>
                    <a:pt x="32164" y="37309"/>
                    <a:pt x="32164" y="36654"/>
                    <a:pt x="32577" y="36872"/>
                  </a:cubicBezTo>
                  <a:cubicBezTo>
                    <a:pt x="33402" y="36872"/>
                    <a:pt x="33402" y="36872"/>
                    <a:pt x="33402" y="37090"/>
                  </a:cubicBezTo>
                  <a:cubicBezTo>
                    <a:pt x="33402" y="37309"/>
                    <a:pt x="34226" y="37090"/>
                    <a:pt x="33402" y="37309"/>
                  </a:cubicBezTo>
                  <a:cubicBezTo>
                    <a:pt x="32989" y="37309"/>
                    <a:pt x="32164" y="37309"/>
                    <a:pt x="32164" y="37309"/>
                  </a:cubicBezTo>
                  <a:close/>
                  <a:moveTo>
                    <a:pt x="35876" y="39490"/>
                  </a:moveTo>
                  <a:cubicBezTo>
                    <a:pt x="35876" y="39490"/>
                    <a:pt x="35876" y="39490"/>
                    <a:pt x="35876" y="39490"/>
                  </a:cubicBezTo>
                  <a:cubicBezTo>
                    <a:pt x="35876" y="39490"/>
                    <a:pt x="36288" y="39054"/>
                    <a:pt x="36701" y="39054"/>
                  </a:cubicBezTo>
                  <a:cubicBezTo>
                    <a:pt x="36701" y="39054"/>
                    <a:pt x="37113" y="39054"/>
                    <a:pt x="37113" y="39272"/>
                  </a:cubicBezTo>
                  <a:cubicBezTo>
                    <a:pt x="37113" y="39490"/>
                    <a:pt x="37113" y="39927"/>
                    <a:pt x="36701" y="39927"/>
                  </a:cubicBezTo>
                  <a:cubicBezTo>
                    <a:pt x="36288" y="39927"/>
                    <a:pt x="36288" y="40145"/>
                    <a:pt x="35876" y="39927"/>
                  </a:cubicBezTo>
                  <a:cubicBezTo>
                    <a:pt x="35463" y="39927"/>
                    <a:pt x="35876" y="39490"/>
                    <a:pt x="35876" y="39490"/>
                  </a:cubicBezTo>
                  <a:close/>
                  <a:moveTo>
                    <a:pt x="33814" y="38618"/>
                  </a:moveTo>
                  <a:cubicBezTo>
                    <a:pt x="33814" y="38618"/>
                    <a:pt x="33814" y="38618"/>
                    <a:pt x="33814" y="38618"/>
                  </a:cubicBezTo>
                  <a:cubicBezTo>
                    <a:pt x="33814" y="38618"/>
                    <a:pt x="33402" y="37745"/>
                    <a:pt x="34226" y="37745"/>
                  </a:cubicBezTo>
                  <a:cubicBezTo>
                    <a:pt x="35051" y="37527"/>
                    <a:pt x="35463" y="37527"/>
                    <a:pt x="35463" y="37527"/>
                  </a:cubicBezTo>
                  <a:cubicBezTo>
                    <a:pt x="35463" y="37527"/>
                    <a:pt x="36701" y="38400"/>
                    <a:pt x="36701" y="38400"/>
                  </a:cubicBezTo>
                  <a:cubicBezTo>
                    <a:pt x="36288" y="38618"/>
                    <a:pt x="36288" y="38836"/>
                    <a:pt x="35463" y="38836"/>
                  </a:cubicBezTo>
                  <a:cubicBezTo>
                    <a:pt x="35051" y="38836"/>
                    <a:pt x="34639" y="39054"/>
                    <a:pt x="34639" y="38836"/>
                  </a:cubicBezTo>
                  <a:cubicBezTo>
                    <a:pt x="34226" y="38618"/>
                    <a:pt x="33814" y="38618"/>
                    <a:pt x="33814" y="38618"/>
                  </a:cubicBezTo>
                  <a:close/>
                  <a:moveTo>
                    <a:pt x="18556" y="37963"/>
                  </a:moveTo>
                  <a:cubicBezTo>
                    <a:pt x="18556" y="37963"/>
                    <a:pt x="18556" y="37963"/>
                    <a:pt x="18556" y="37963"/>
                  </a:cubicBezTo>
                  <a:cubicBezTo>
                    <a:pt x="18969" y="37963"/>
                    <a:pt x="18969" y="37745"/>
                    <a:pt x="18969" y="38181"/>
                  </a:cubicBezTo>
                  <a:cubicBezTo>
                    <a:pt x="18969" y="38400"/>
                    <a:pt x="18969" y="38618"/>
                    <a:pt x="18969" y="38618"/>
                  </a:cubicBezTo>
                  <a:cubicBezTo>
                    <a:pt x="18969" y="38618"/>
                    <a:pt x="18556" y="39054"/>
                    <a:pt x="18144" y="38836"/>
                  </a:cubicBezTo>
                  <a:cubicBezTo>
                    <a:pt x="17731" y="38618"/>
                    <a:pt x="17731" y="38400"/>
                    <a:pt x="17731" y="38400"/>
                  </a:cubicBezTo>
                  <a:cubicBezTo>
                    <a:pt x="18556" y="37963"/>
                    <a:pt x="18556" y="37963"/>
                    <a:pt x="18556" y="37963"/>
                  </a:cubicBezTo>
                  <a:close/>
                  <a:moveTo>
                    <a:pt x="21855" y="35781"/>
                  </a:moveTo>
                  <a:cubicBezTo>
                    <a:pt x="21855" y="35781"/>
                    <a:pt x="21855" y="35781"/>
                    <a:pt x="21855" y="35781"/>
                  </a:cubicBezTo>
                  <a:cubicBezTo>
                    <a:pt x="22268" y="36000"/>
                    <a:pt x="23092" y="36436"/>
                    <a:pt x="23092" y="36436"/>
                  </a:cubicBezTo>
                  <a:cubicBezTo>
                    <a:pt x="21855" y="37090"/>
                    <a:pt x="21855" y="37090"/>
                    <a:pt x="21855" y="37090"/>
                  </a:cubicBezTo>
                  <a:cubicBezTo>
                    <a:pt x="21855" y="37090"/>
                    <a:pt x="20618" y="37309"/>
                    <a:pt x="20618" y="37527"/>
                  </a:cubicBezTo>
                  <a:cubicBezTo>
                    <a:pt x="20206" y="37527"/>
                    <a:pt x="21030" y="38181"/>
                    <a:pt x="20206" y="37963"/>
                  </a:cubicBezTo>
                  <a:cubicBezTo>
                    <a:pt x="19381" y="37745"/>
                    <a:pt x="18969" y="37309"/>
                    <a:pt x="19381" y="37309"/>
                  </a:cubicBezTo>
                  <a:cubicBezTo>
                    <a:pt x="19793" y="37090"/>
                    <a:pt x="19793" y="37090"/>
                    <a:pt x="20206" y="36872"/>
                  </a:cubicBezTo>
                  <a:cubicBezTo>
                    <a:pt x="20618" y="36654"/>
                    <a:pt x="21443" y="36000"/>
                    <a:pt x="21443" y="36000"/>
                  </a:cubicBezTo>
                  <a:cubicBezTo>
                    <a:pt x="21855" y="35781"/>
                    <a:pt x="21855" y="35781"/>
                    <a:pt x="21855" y="35781"/>
                  </a:cubicBezTo>
                  <a:close/>
                  <a:moveTo>
                    <a:pt x="23917" y="32727"/>
                  </a:moveTo>
                  <a:cubicBezTo>
                    <a:pt x="23917" y="32727"/>
                    <a:pt x="23917" y="32727"/>
                    <a:pt x="23917" y="32727"/>
                  </a:cubicBezTo>
                  <a:cubicBezTo>
                    <a:pt x="23917" y="32727"/>
                    <a:pt x="24742" y="32727"/>
                    <a:pt x="25154" y="32945"/>
                  </a:cubicBezTo>
                  <a:cubicBezTo>
                    <a:pt x="25154" y="32945"/>
                    <a:pt x="25567" y="33600"/>
                    <a:pt x="25567" y="33600"/>
                  </a:cubicBezTo>
                  <a:cubicBezTo>
                    <a:pt x="25567" y="33600"/>
                    <a:pt x="25979" y="33818"/>
                    <a:pt x="25567" y="34036"/>
                  </a:cubicBezTo>
                  <a:cubicBezTo>
                    <a:pt x="25154" y="34254"/>
                    <a:pt x="24329" y="34472"/>
                    <a:pt x="24329" y="34472"/>
                  </a:cubicBezTo>
                  <a:cubicBezTo>
                    <a:pt x="24329" y="35563"/>
                    <a:pt x="24329" y="35563"/>
                    <a:pt x="24329" y="35563"/>
                  </a:cubicBezTo>
                  <a:cubicBezTo>
                    <a:pt x="23917" y="36000"/>
                    <a:pt x="23917" y="36000"/>
                    <a:pt x="23917" y="36000"/>
                  </a:cubicBezTo>
                  <a:cubicBezTo>
                    <a:pt x="22680" y="35781"/>
                    <a:pt x="22680" y="35781"/>
                    <a:pt x="22680" y="35781"/>
                  </a:cubicBezTo>
                  <a:cubicBezTo>
                    <a:pt x="22680" y="34472"/>
                    <a:pt x="22680" y="34472"/>
                    <a:pt x="22680" y="34472"/>
                  </a:cubicBezTo>
                  <a:cubicBezTo>
                    <a:pt x="22268" y="33818"/>
                    <a:pt x="22268" y="33818"/>
                    <a:pt x="22268" y="33818"/>
                  </a:cubicBezTo>
                  <a:cubicBezTo>
                    <a:pt x="23505" y="33163"/>
                    <a:pt x="23505" y="33163"/>
                    <a:pt x="23505" y="33163"/>
                  </a:cubicBezTo>
                  <a:cubicBezTo>
                    <a:pt x="23917" y="32727"/>
                    <a:pt x="23917" y="32727"/>
                    <a:pt x="23917" y="32727"/>
                  </a:cubicBezTo>
                  <a:close/>
                  <a:moveTo>
                    <a:pt x="24742" y="30981"/>
                  </a:moveTo>
                  <a:cubicBezTo>
                    <a:pt x="24742" y="30981"/>
                    <a:pt x="24742" y="30981"/>
                    <a:pt x="24742" y="30981"/>
                  </a:cubicBezTo>
                  <a:cubicBezTo>
                    <a:pt x="24742" y="30981"/>
                    <a:pt x="25567" y="30763"/>
                    <a:pt x="25979" y="30981"/>
                  </a:cubicBezTo>
                  <a:cubicBezTo>
                    <a:pt x="26391" y="31200"/>
                    <a:pt x="26391" y="30763"/>
                    <a:pt x="26804" y="31200"/>
                  </a:cubicBezTo>
                  <a:cubicBezTo>
                    <a:pt x="27216" y="31636"/>
                    <a:pt x="27628" y="31636"/>
                    <a:pt x="27216" y="31854"/>
                  </a:cubicBezTo>
                  <a:cubicBezTo>
                    <a:pt x="27216" y="32072"/>
                    <a:pt x="27216" y="32290"/>
                    <a:pt x="26804" y="32509"/>
                  </a:cubicBezTo>
                  <a:cubicBezTo>
                    <a:pt x="26391" y="32727"/>
                    <a:pt x="26804" y="32945"/>
                    <a:pt x="25979" y="32727"/>
                  </a:cubicBezTo>
                  <a:cubicBezTo>
                    <a:pt x="25154" y="32509"/>
                    <a:pt x="25154" y="32509"/>
                    <a:pt x="24742" y="32290"/>
                  </a:cubicBezTo>
                  <a:cubicBezTo>
                    <a:pt x="24329" y="32072"/>
                    <a:pt x="24329" y="32072"/>
                    <a:pt x="24329" y="32072"/>
                  </a:cubicBezTo>
                  <a:cubicBezTo>
                    <a:pt x="24742" y="30981"/>
                    <a:pt x="24742" y="30981"/>
                    <a:pt x="24742" y="30981"/>
                  </a:cubicBezTo>
                  <a:close/>
                  <a:moveTo>
                    <a:pt x="28453" y="28800"/>
                  </a:moveTo>
                  <a:cubicBezTo>
                    <a:pt x="28453" y="28800"/>
                    <a:pt x="28453" y="28800"/>
                    <a:pt x="28453" y="28800"/>
                  </a:cubicBezTo>
                  <a:cubicBezTo>
                    <a:pt x="28453" y="28800"/>
                    <a:pt x="28865" y="28581"/>
                    <a:pt x="28453" y="29018"/>
                  </a:cubicBezTo>
                  <a:cubicBezTo>
                    <a:pt x="27628" y="29672"/>
                    <a:pt x="27628" y="29890"/>
                    <a:pt x="28041" y="29890"/>
                  </a:cubicBezTo>
                  <a:cubicBezTo>
                    <a:pt x="28041" y="29890"/>
                    <a:pt x="28453" y="29890"/>
                    <a:pt x="28453" y="29890"/>
                  </a:cubicBezTo>
                  <a:cubicBezTo>
                    <a:pt x="28453" y="30763"/>
                    <a:pt x="28453" y="30763"/>
                    <a:pt x="28453" y="30763"/>
                  </a:cubicBezTo>
                  <a:cubicBezTo>
                    <a:pt x="28453" y="30763"/>
                    <a:pt x="28453" y="30981"/>
                    <a:pt x="27216" y="30763"/>
                  </a:cubicBezTo>
                  <a:cubicBezTo>
                    <a:pt x="25979" y="30763"/>
                    <a:pt x="25154" y="30545"/>
                    <a:pt x="25154" y="30545"/>
                  </a:cubicBezTo>
                  <a:cubicBezTo>
                    <a:pt x="23917" y="29890"/>
                    <a:pt x="23917" y="29890"/>
                    <a:pt x="23917" y="29890"/>
                  </a:cubicBezTo>
                  <a:cubicBezTo>
                    <a:pt x="23917" y="29890"/>
                    <a:pt x="23505" y="29672"/>
                    <a:pt x="24329" y="29236"/>
                  </a:cubicBezTo>
                  <a:cubicBezTo>
                    <a:pt x="24742" y="28800"/>
                    <a:pt x="25979" y="29018"/>
                    <a:pt x="25979" y="29018"/>
                  </a:cubicBezTo>
                  <a:cubicBezTo>
                    <a:pt x="25979" y="29018"/>
                    <a:pt x="26391" y="29454"/>
                    <a:pt x="26804" y="29018"/>
                  </a:cubicBezTo>
                  <a:cubicBezTo>
                    <a:pt x="27216" y="28581"/>
                    <a:pt x="27216" y="28145"/>
                    <a:pt x="27628" y="28363"/>
                  </a:cubicBezTo>
                  <a:cubicBezTo>
                    <a:pt x="28041" y="28581"/>
                    <a:pt x="28453" y="28800"/>
                    <a:pt x="28453" y="28800"/>
                  </a:cubicBezTo>
                  <a:close/>
                  <a:moveTo>
                    <a:pt x="31752" y="26400"/>
                  </a:moveTo>
                  <a:cubicBezTo>
                    <a:pt x="31752" y="26400"/>
                    <a:pt x="31752" y="26400"/>
                    <a:pt x="31752" y="26400"/>
                  </a:cubicBezTo>
                  <a:cubicBezTo>
                    <a:pt x="31340" y="26181"/>
                    <a:pt x="31340" y="25745"/>
                    <a:pt x="31340" y="25745"/>
                  </a:cubicBezTo>
                  <a:cubicBezTo>
                    <a:pt x="31752" y="25309"/>
                    <a:pt x="31752" y="25309"/>
                    <a:pt x="31752" y="25309"/>
                  </a:cubicBezTo>
                  <a:cubicBezTo>
                    <a:pt x="31752" y="25309"/>
                    <a:pt x="30927" y="24872"/>
                    <a:pt x="30927" y="24654"/>
                  </a:cubicBezTo>
                  <a:cubicBezTo>
                    <a:pt x="30927" y="24436"/>
                    <a:pt x="30927" y="24000"/>
                    <a:pt x="31752" y="23781"/>
                  </a:cubicBezTo>
                  <a:cubicBezTo>
                    <a:pt x="32164" y="23563"/>
                    <a:pt x="32577" y="23127"/>
                    <a:pt x="32989" y="23127"/>
                  </a:cubicBezTo>
                  <a:cubicBezTo>
                    <a:pt x="32989" y="23345"/>
                    <a:pt x="32989" y="23345"/>
                    <a:pt x="33402" y="23781"/>
                  </a:cubicBezTo>
                  <a:cubicBezTo>
                    <a:pt x="33814" y="24000"/>
                    <a:pt x="33814" y="24436"/>
                    <a:pt x="34226" y="24218"/>
                  </a:cubicBezTo>
                  <a:cubicBezTo>
                    <a:pt x="34639" y="24000"/>
                    <a:pt x="34639" y="23781"/>
                    <a:pt x="35051" y="23563"/>
                  </a:cubicBezTo>
                  <a:cubicBezTo>
                    <a:pt x="35463" y="23345"/>
                    <a:pt x="35876" y="22690"/>
                    <a:pt x="35876" y="22690"/>
                  </a:cubicBezTo>
                  <a:cubicBezTo>
                    <a:pt x="35876" y="22690"/>
                    <a:pt x="36701" y="22909"/>
                    <a:pt x="37113" y="22690"/>
                  </a:cubicBezTo>
                  <a:cubicBezTo>
                    <a:pt x="37938" y="22472"/>
                    <a:pt x="37113" y="22472"/>
                    <a:pt x="38350" y="22254"/>
                  </a:cubicBezTo>
                  <a:cubicBezTo>
                    <a:pt x="39587" y="22254"/>
                    <a:pt x="40000" y="22254"/>
                    <a:pt x="40412" y="21818"/>
                  </a:cubicBezTo>
                  <a:cubicBezTo>
                    <a:pt x="40824" y="21600"/>
                    <a:pt x="40824" y="21818"/>
                    <a:pt x="41237" y="21600"/>
                  </a:cubicBezTo>
                  <a:cubicBezTo>
                    <a:pt x="41649" y="21381"/>
                    <a:pt x="42061" y="21163"/>
                    <a:pt x="42474" y="21163"/>
                  </a:cubicBezTo>
                  <a:cubicBezTo>
                    <a:pt x="42886" y="21381"/>
                    <a:pt x="43298" y="21600"/>
                    <a:pt x="43298" y="21818"/>
                  </a:cubicBezTo>
                  <a:cubicBezTo>
                    <a:pt x="43298" y="22036"/>
                    <a:pt x="43711" y="22472"/>
                    <a:pt x="43298" y="22690"/>
                  </a:cubicBezTo>
                  <a:cubicBezTo>
                    <a:pt x="42886" y="22909"/>
                    <a:pt x="42886" y="23127"/>
                    <a:pt x="42474" y="23127"/>
                  </a:cubicBezTo>
                  <a:cubicBezTo>
                    <a:pt x="42061" y="23345"/>
                    <a:pt x="40824" y="23781"/>
                    <a:pt x="40824" y="23781"/>
                  </a:cubicBezTo>
                  <a:cubicBezTo>
                    <a:pt x="40824" y="23781"/>
                    <a:pt x="40824" y="24218"/>
                    <a:pt x="41237" y="24218"/>
                  </a:cubicBezTo>
                  <a:cubicBezTo>
                    <a:pt x="41649" y="24218"/>
                    <a:pt x="42474" y="23563"/>
                    <a:pt x="42474" y="24000"/>
                  </a:cubicBezTo>
                  <a:cubicBezTo>
                    <a:pt x="42061" y="24436"/>
                    <a:pt x="43298" y="24654"/>
                    <a:pt x="42061" y="24872"/>
                  </a:cubicBezTo>
                  <a:cubicBezTo>
                    <a:pt x="41237" y="24872"/>
                    <a:pt x="40412" y="24654"/>
                    <a:pt x="40412" y="24654"/>
                  </a:cubicBezTo>
                  <a:cubicBezTo>
                    <a:pt x="39587" y="25309"/>
                    <a:pt x="39587" y="25309"/>
                    <a:pt x="39587" y="25309"/>
                  </a:cubicBezTo>
                  <a:cubicBezTo>
                    <a:pt x="39587" y="25309"/>
                    <a:pt x="38762" y="25090"/>
                    <a:pt x="38762" y="25309"/>
                  </a:cubicBezTo>
                  <a:cubicBezTo>
                    <a:pt x="38762" y="25527"/>
                    <a:pt x="39175" y="25963"/>
                    <a:pt x="39175" y="25963"/>
                  </a:cubicBezTo>
                  <a:cubicBezTo>
                    <a:pt x="38350" y="26400"/>
                    <a:pt x="38350" y="26400"/>
                    <a:pt x="38350" y="26400"/>
                  </a:cubicBezTo>
                  <a:cubicBezTo>
                    <a:pt x="38350" y="26400"/>
                    <a:pt x="37113" y="26181"/>
                    <a:pt x="37113" y="26400"/>
                  </a:cubicBezTo>
                  <a:cubicBezTo>
                    <a:pt x="37525" y="26618"/>
                    <a:pt x="37938" y="27054"/>
                    <a:pt x="37938" y="27054"/>
                  </a:cubicBezTo>
                  <a:cubicBezTo>
                    <a:pt x="37938" y="27054"/>
                    <a:pt x="37938" y="27490"/>
                    <a:pt x="37113" y="27490"/>
                  </a:cubicBezTo>
                  <a:cubicBezTo>
                    <a:pt x="36288" y="27490"/>
                    <a:pt x="35463" y="27490"/>
                    <a:pt x="35051" y="27490"/>
                  </a:cubicBezTo>
                  <a:cubicBezTo>
                    <a:pt x="34639" y="27272"/>
                    <a:pt x="34639" y="27272"/>
                    <a:pt x="34639" y="27272"/>
                  </a:cubicBezTo>
                  <a:cubicBezTo>
                    <a:pt x="34226" y="27927"/>
                    <a:pt x="34226" y="27927"/>
                    <a:pt x="34226" y="27927"/>
                  </a:cubicBezTo>
                  <a:cubicBezTo>
                    <a:pt x="34226" y="27927"/>
                    <a:pt x="34639" y="28145"/>
                    <a:pt x="34226" y="28363"/>
                  </a:cubicBezTo>
                  <a:cubicBezTo>
                    <a:pt x="33814" y="28581"/>
                    <a:pt x="32577" y="28581"/>
                    <a:pt x="32577" y="28581"/>
                  </a:cubicBezTo>
                  <a:cubicBezTo>
                    <a:pt x="32577" y="28581"/>
                    <a:pt x="32164" y="28581"/>
                    <a:pt x="32164" y="28581"/>
                  </a:cubicBezTo>
                  <a:cubicBezTo>
                    <a:pt x="32164" y="28800"/>
                    <a:pt x="31752" y="29236"/>
                    <a:pt x="31340" y="29236"/>
                  </a:cubicBezTo>
                  <a:cubicBezTo>
                    <a:pt x="30927" y="29018"/>
                    <a:pt x="30103" y="28800"/>
                    <a:pt x="29690" y="28581"/>
                  </a:cubicBezTo>
                  <a:cubicBezTo>
                    <a:pt x="29690" y="28363"/>
                    <a:pt x="29278" y="27490"/>
                    <a:pt x="30103" y="27709"/>
                  </a:cubicBezTo>
                  <a:cubicBezTo>
                    <a:pt x="30927" y="27709"/>
                    <a:pt x="31752" y="27927"/>
                    <a:pt x="31752" y="27490"/>
                  </a:cubicBezTo>
                  <a:cubicBezTo>
                    <a:pt x="31752" y="27054"/>
                    <a:pt x="31340" y="26836"/>
                    <a:pt x="31340" y="26836"/>
                  </a:cubicBezTo>
                  <a:cubicBezTo>
                    <a:pt x="31752" y="26400"/>
                    <a:pt x="31752" y="26400"/>
                    <a:pt x="31752" y="26400"/>
                  </a:cubicBezTo>
                  <a:close/>
                  <a:moveTo>
                    <a:pt x="110103" y="3272"/>
                  </a:moveTo>
                  <a:cubicBezTo>
                    <a:pt x="110103" y="3272"/>
                    <a:pt x="110103" y="3272"/>
                    <a:pt x="110103" y="3272"/>
                  </a:cubicBezTo>
                  <a:cubicBezTo>
                    <a:pt x="110515" y="3272"/>
                    <a:pt x="111752" y="3490"/>
                    <a:pt x="111752" y="3272"/>
                  </a:cubicBezTo>
                  <a:cubicBezTo>
                    <a:pt x="111752" y="3272"/>
                    <a:pt x="112164" y="2836"/>
                    <a:pt x="112164" y="2836"/>
                  </a:cubicBezTo>
                  <a:cubicBezTo>
                    <a:pt x="111752" y="2618"/>
                    <a:pt x="111340" y="2400"/>
                    <a:pt x="110927" y="2618"/>
                  </a:cubicBezTo>
                  <a:cubicBezTo>
                    <a:pt x="110515" y="2618"/>
                    <a:pt x="110103" y="2836"/>
                    <a:pt x="110103" y="2836"/>
                  </a:cubicBezTo>
                  <a:cubicBezTo>
                    <a:pt x="110103" y="3054"/>
                    <a:pt x="110103" y="3272"/>
                    <a:pt x="110103" y="3272"/>
                  </a:cubicBezTo>
                  <a:close/>
                  <a:moveTo>
                    <a:pt x="96907" y="6981"/>
                  </a:moveTo>
                  <a:cubicBezTo>
                    <a:pt x="96907" y="6981"/>
                    <a:pt x="96907" y="6981"/>
                    <a:pt x="96907" y="6981"/>
                  </a:cubicBezTo>
                  <a:cubicBezTo>
                    <a:pt x="97319" y="6981"/>
                    <a:pt x="97731" y="6545"/>
                    <a:pt x="97731" y="6763"/>
                  </a:cubicBezTo>
                  <a:cubicBezTo>
                    <a:pt x="97731" y="7200"/>
                    <a:pt x="98144" y="7200"/>
                    <a:pt x="97731" y="7418"/>
                  </a:cubicBezTo>
                  <a:cubicBezTo>
                    <a:pt x="97319" y="7418"/>
                    <a:pt x="96494" y="7854"/>
                    <a:pt x="96082" y="7636"/>
                  </a:cubicBezTo>
                  <a:cubicBezTo>
                    <a:pt x="96082" y="7636"/>
                    <a:pt x="96494" y="6763"/>
                    <a:pt x="96494" y="6763"/>
                  </a:cubicBezTo>
                  <a:cubicBezTo>
                    <a:pt x="96907" y="6981"/>
                    <a:pt x="96907" y="6981"/>
                    <a:pt x="96907" y="6981"/>
                  </a:cubicBezTo>
                  <a:close/>
                  <a:moveTo>
                    <a:pt x="104742" y="7418"/>
                  </a:moveTo>
                  <a:cubicBezTo>
                    <a:pt x="104742" y="7418"/>
                    <a:pt x="104742" y="7418"/>
                    <a:pt x="104742" y="7418"/>
                  </a:cubicBezTo>
                  <a:cubicBezTo>
                    <a:pt x="104742" y="7418"/>
                    <a:pt x="104742" y="7636"/>
                    <a:pt x="103917" y="7418"/>
                  </a:cubicBezTo>
                  <a:cubicBezTo>
                    <a:pt x="102680" y="7418"/>
                    <a:pt x="102268" y="7636"/>
                    <a:pt x="102268" y="7200"/>
                  </a:cubicBezTo>
                  <a:cubicBezTo>
                    <a:pt x="102268" y="6981"/>
                    <a:pt x="102680" y="6763"/>
                    <a:pt x="101855" y="6545"/>
                  </a:cubicBezTo>
                  <a:cubicBezTo>
                    <a:pt x="101030" y="6545"/>
                    <a:pt x="101030" y="6545"/>
                    <a:pt x="101030" y="6545"/>
                  </a:cubicBezTo>
                  <a:cubicBezTo>
                    <a:pt x="101030" y="6545"/>
                    <a:pt x="100618" y="6109"/>
                    <a:pt x="101030" y="5890"/>
                  </a:cubicBezTo>
                  <a:cubicBezTo>
                    <a:pt x="101855" y="5454"/>
                    <a:pt x="101855" y="5672"/>
                    <a:pt x="102268" y="5672"/>
                  </a:cubicBezTo>
                  <a:cubicBezTo>
                    <a:pt x="103092" y="5672"/>
                    <a:pt x="102680" y="5672"/>
                    <a:pt x="103505" y="5890"/>
                  </a:cubicBezTo>
                  <a:cubicBezTo>
                    <a:pt x="104329" y="5890"/>
                    <a:pt x="104742" y="6109"/>
                    <a:pt x="104742" y="5672"/>
                  </a:cubicBezTo>
                  <a:cubicBezTo>
                    <a:pt x="104742" y="5454"/>
                    <a:pt x="105154" y="5454"/>
                    <a:pt x="104329" y="5018"/>
                  </a:cubicBezTo>
                  <a:cubicBezTo>
                    <a:pt x="103917" y="4581"/>
                    <a:pt x="103917" y="4800"/>
                    <a:pt x="103505" y="4581"/>
                  </a:cubicBezTo>
                  <a:cubicBezTo>
                    <a:pt x="103092" y="4145"/>
                    <a:pt x="102268" y="3709"/>
                    <a:pt x="102680" y="3490"/>
                  </a:cubicBezTo>
                  <a:cubicBezTo>
                    <a:pt x="102680" y="3272"/>
                    <a:pt x="102268" y="3272"/>
                    <a:pt x="103092" y="2836"/>
                  </a:cubicBezTo>
                  <a:cubicBezTo>
                    <a:pt x="104329" y="2618"/>
                    <a:pt x="105154" y="2181"/>
                    <a:pt x="105567" y="2181"/>
                  </a:cubicBezTo>
                  <a:cubicBezTo>
                    <a:pt x="105979" y="2181"/>
                    <a:pt x="106391" y="2181"/>
                    <a:pt x="106391" y="2400"/>
                  </a:cubicBezTo>
                  <a:cubicBezTo>
                    <a:pt x="106391" y="2836"/>
                    <a:pt x="106391" y="3054"/>
                    <a:pt x="105979" y="3272"/>
                  </a:cubicBezTo>
                  <a:cubicBezTo>
                    <a:pt x="105567" y="3272"/>
                    <a:pt x="105567" y="3490"/>
                    <a:pt x="105567" y="3490"/>
                  </a:cubicBezTo>
                  <a:cubicBezTo>
                    <a:pt x="105567" y="3490"/>
                    <a:pt x="105154" y="4145"/>
                    <a:pt x="105979" y="4145"/>
                  </a:cubicBezTo>
                  <a:cubicBezTo>
                    <a:pt x="106804" y="3927"/>
                    <a:pt x="107216" y="3490"/>
                    <a:pt x="107216" y="3272"/>
                  </a:cubicBezTo>
                  <a:cubicBezTo>
                    <a:pt x="107628" y="3054"/>
                    <a:pt x="108041" y="3272"/>
                    <a:pt x="107628" y="2836"/>
                  </a:cubicBezTo>
                  <a:cubicBezTo>
                    <a:pt x="107628" y="2400"/>
                    <a:pt x="107216" y="2181"/>
                    <a:pt x="107628" y="2181"/>
                  </a:cubicBezTo>
                  <a:cubicBezTo>
                    <a:pt x="108041" y="2181"/>
                    <a:pt x="108453" y="2618"/>
                    <a:pt x="108865" y="2181"/>
                  </a:cubicBezTo>
                  <a:cubicBezTo>
                    <a:pt x="109690" y="1527"/>
                    <a:pt x="109690" y="1309"/>
                    <a:pt x="109690" y="1309"/>
                  </a:cubicBezTo>
                  <a:cubicBezTo>
                    <a:pt x="109690" y="1309"/>
                    <a:pt x="109278" y="1309"/>
                    <a:pt x="110103" y="1090"/>
                  </a:cubicBezTo>
                  <a:cubicBezTo>
                    <a:pt x="110927" y="872"/>
                    <a:pt x="110515" y="654"/>
                    <a:pt x="110927" y="436"/>
                  </a:cubicBezTo>
                  <a:cubicBezTo>
                    <a:pt x="111340" y="218"/>
                    <a:pt x="110515" y="0"/>
                    <a:pt x="111752" y="0"/>
                  </a:cubicBezTo>
                  <a:cubicBezTo>
                    <a:pt x="112577" y="218"/>
                    <a:pt x="112577" y="218"/>
                    <a:pt x="112989" y="436"/>
                  </a:cubicBezTo>
                  <a:cubicBezTo>
                    <a:pt x="113402" y="436"/>
                    <a:pt x="112577" y="1309"/>
                    <a:pt x="112164" y="1309"/>
                  </a:cubicBezTo>
                  <a:cubicBezTo>
                    <a:pt x="111752" y="1309"/>
                    <a:pt x="111752" y="1090"/>
                    <a:pt x="110927" y="1309"/>
                  </a:cubicBezTo>
                  <a:cubicBezTo>
                    <a:pt x="110515" y="1527"/>
                    <a:pt x="111340" y="1963"/>
                    <a:pt x="110927" y="2181"/>
                  </a:cubicBezTo>
                  <a:cubicBezTo>
                    <a:pt x="110515" y="2400"/>
                    <a:pt x="110103" y="2181"/>
                    <a:pt x="109690" y="2400"/>
                  </a:cubicBezTo>
                  <a:cubicBezTo>
                    <a:pt x="109278" y="2618"/>
                    <a:pt x="109278" y="2618"/>
                    <a:pt x="109278" y="2836"/>
                  </a:cubicBezTo>
                  <a:cubicBezTo>
                    <a:pt x="109278" y="3054"/>
                    <a:pt x="108865" y="3272"/>
                    <a:pt x="108453" y="3490"/>
                  </a:cubicBezTo>
                  <a:cubicBezTo>
                    <a:pt x="108453" y="3490"/>
                    <a:pt x="107216" y="3054"/>
                    <a:pt x="108453" y="3490"/>
                  </a:cubicBezTo>
                  <a:cubicBezTo>
                    <a:pt x="109690" y="3927"/>
                    <a:pt x="110103" y="3927"/>
                    <a:pt x="109690" y="4145"/>
                  </a:cubicBezTo>
                  <a:cubicBezTo>
                    <a:pt x="109278" y="4145"/>
                    <a:pt x="108453" y="4145"/>
                    <a:pt x="108041" y="4363"/>
                  </a:cubicBezTo>
                  <a:cubicBezTo>
                    <a:pt x="107628" y="4363"/>
                    <a:pt x="107216" y="4581"/>
                    <a:pt x="108041" y="4800"/>
                  </a:cubicBezTo>
                  <a:cubicBezTo>
                    <a:pt x="108865" y="5018"/>
                    <a:pt x="108453" y="5018"/>
                    <a:pt x="108865" y="5018"/>
                  </a:cubicBezTo>
                  <a:cubicBezTo>
                    <a:pt x="109278" y="4800"/>
                    <a:pt x="111340" y="4800"/>
                    <a:pt x="111340" y="5018"/>
                  </a:cubicBezTo>
                  <a:cubicBezTo>
                    <a:pt x="110927" y="5454"/>
                    <a:pt x="111340" y="5454"/>
                    <a:pt x="110515" y="5672"/>
                  </a:cubicBezTo>
                  <a:cubicBezTo>
                    <a:pt x="109278" y="5890"/>
                    <a:pt x="108453" y="5672"/>
                    <a:pt x="108041" y="5454"/>
                  </a:cubicBezTo>
                  <a:cubicBezTo>
                    <a:pt x="107628" y="5454"/>
                    <a:pt x="107628" y="5018"/>
                    <a:pt x="107628" y="5672"/>
                  </a:cubicBezTo>
                  <a:cubicBezTo>
                    <a:pt x="108041" y="6327"/>
                    <a:pt x="108865" y="6327"/>
                    <a:pt x="108453" y="6327"/>
                  </a:cubicBezTo>
                  <a:cubicBezTo>
                    <a:pt x="107628" y="6327"/>
                    <a:pt x="106804" y="6327"/>
                    <a:pt x="106804" y="6327"/>
                  </a:cubicBezTo>
                  <a:cubicBezTo>
                    <a:pt x="106804" y="6327"/>
                    <a:pt x="106391" y="5890"/>
                    <a:pt x="106804" y="6545"/>
                  </a:cubicBezTo>
                  <a:cubicBezTo>
                    <a:pt x="107216" y="7200"/>
                    <a:pt x="107216" y="7200"/>
                    <a:pt x="107216" y="7200"/>
                  </a:cubicBezTo>
                  <a:cubicBezTo>
                    <a:pt x="107216" y="7200"/>
                    <a:pt x="106391" y="7418"/>
                    <a:pt x="106391" y="7418"/>
                  </a:cubicBezTo>
                  <a:cubicBezTo>
                    <a:pt x="106391" y="7636"/>
                    <a:pt x="106804" y="8072"/>
                    <a:pt x="107216" y="8290"/>
                  </a:cubicBezTo>
                  <a:cubicBezTo>
                    <a:pt x="107216" y="8290"/>
                    <a:pt x="106804" y="9163"/>
                    <a:pt x="106391" y="9163"/>
                  </a:cubicBezTo>
                  <a:cubicBezTo>
                    <a:pt x="106391" y="9163"/>
                    <a:pt x="106391" y="9381"/>
                    <a:pt x="105979" y="9600"/>
                  </a:cubicBezTo>
                  <a:cubicBezTo>
                    <a:pt x="105567" y="9818"/>
                    <a:pt x="105154" y="10036"/>
                    <a:pt x="105154" y="10036"/>
                  </a:cubicBezTo>
                  <a:cubicBezTo>
                    <a:pt x="104329" y="11345"/>
                    <a:pt x="104329" y="11345"/>
                    <a:pt x="104329" y="11345"/>
                  </a:cubicBezTo>
                  <a:cubicBezTo>
                    <a:pt x="104329" y="11345"/>
                    <a:pt x="103917" y="11781"/>
                    <a:pt x="103505" y="11345"/>
                  </a:cubicBezTo>
                  <a:cubicBezTo>
                    <a:pt x="103505" y="10909"/>
                    <a:pt x="103092" y="10909"/>
                    <a:pt x="103505" y="10690"/>
                  </a:cubicBezTo>
                  <a:cubicBezTo>
                    <a:pt x="103917" y="10690"/>
                    <a:pt x="103917" y="10254"/>
                    <a:pt x="104329" y="10036"/>
                  </a:cubicBezTo>
                  <a:cubicBezTo>
                    <a:pt x="104329" y="9818"/>
                    <a:pt x="104742" y="8945"/>
                    <a:pt x="104742" y="8945"/>
                  </a:cubicBezTo>
                  <a:cubicBezTo>
                    <a:pt x="104742" y="8945"/>
                    <a:pt x="105567" y="8945"/>
                    <a:pt x="105979" y="8727"/>
                  </a:cubicBezTo>
                  <a:cubicBezTo>
                    <a:pt x="105979" y="8727"/>
                    <a:pt x="105154" y="7854"/>
                    <a:pt x="105154" y="7854"/>
                  </a:cubicBezTo>
                  <a:cubicBezTo>
                    <a:pt x="105567" y="7418"/>
                    <a:pt x="105567" y="7418"/>
                    <a:pt x="105567" y="7418"/>
                  </a:cubicBezTo>
                  <a:cubicBezTo>
                    <a:pt x="104742" y="7418"/>
                    <a:pt x="104742" y="7418"/>
                    <a:pt x="104742" y="7418"/>
                  </a:cubicBezTo>
                  <a:close/>
                  <a:moveTo>
                    <a:pt x="98556" y="14618"/>
                  </a:moveTo>
                  <a:cubicBezTo>
                    <a:pt x="98556" y="14618"/>
                    <a:pt x="98556" y="14618"/>
                    <a:pt x="98556" y="14618"/>
                  </a:cubicBezTo>
                  <a:cubicBezTo>
                    <a:pt x="98556" y="14618"/>
                    <a:pt x="99793" y="13745"/>
                    <a:pt x="100206" y="13963"/>
                  </a:cubicBezTo>
                  <a:cubicBezTo>
                    <a:pt x="100206" y="13963"/>
                    <a:pt x="100206" y="14181"/>
                    <a:pt x="100206" y="14400"/>
                  </a:cubicBezTo>
                  <a:cubicBezTo>
                    <a:pt x="100206" y="14400"/>
                    <a:pt x="100618" y="14836"/>
                    <a:pt x="100206" y="14836"/>
                  </a:cubicBezTo>
                  <a:cubicBezTo>
                    <a:pt x="99793" y="14836"/>
                    <a:pt x="99381" y="14836"/>
                    <a:pt x="98969" y="14836"/>
                  </a:cubicBezTo>
                  <a:cubicBezTo>
                    <a:pt x="98969" y="14836"/>
                    <a:pt x="98556" y="14618"/>
                    <a:pt x="98556" y="14618"/>
                  </a:cubicBezTo>
                  <a:close/>
                  <a:moveTo>
                    <a:pt x="80824" y="21381"/>
                  </a:moveTo>
                  <a:cubicBezTo>
                    <a:pt x="80824" y="21381"/>
                    <a:pt x="80824" y="21381"/>
                    <a:pt x="80824" y="21381"/>
                  </a:cubicBezTo>
                  <a:cubicBezTo>
                    <a:pt x="81649" y="20945"/>
                    <a:pt x="81649" y="20945"/>
                    <a:pt x="81649" y="20945"/>
                  </a:cubicBezTo>
                  <a:cubicBezTo>
                    <a:pt x="82886" y="21163"/>
                    <a:pt x="82886" y="21163"/>
                    <a:pt x="82886" y="21163"/>
                  </a:cubicBezTo>
                  <a:cubicBezTo>
                    <a:pt x="82886" y="21163"/>
                    <a:pt x="83298" y="20727"/>
                    <a:pt x="83298" y="21163"/>
                  </a:cubicBezTo>
                  <a:cubicBezTo>
                    <a:pt x="82886" y="21600"/>
                    <a:pt x="82061" y="22254"/>
                    <a:pt x="82061" y="22254"/>
                  </a:cubicBezTo>
                  <a:cubicBezTo>
                    <a:pt x="82061" y="22254"/>
                    <a:pt x="82474" y="22254"/>
                    <a:pt x="81649" y="22472"/>
                  </a:cubicBezTo>
                  <a:cubicBezTo>
                    <a:pt x="80824" y="22690"/>
                    <a:pt x="80824" y="22909"/>
                    <a:pt x="80412" y="22472"/>
                  </a:cubicBezTo>
                  <a:cubicBezTo>
                    <a:pt x="80000" y="22254"/>
                    <a:pt x="79587" y="22254"/>
                    <a:pt x="79587" y="22036"/>
                  </a:cubicBezTo>
                  <a:cubicBezTo>
                    <a:pt x="80000" y="21818"/>
                    <a:pt x="80000" y="21381"/>
                    <a:pt x="80000" y="21381"/>
                  </a:cubicBezTo>
                  <a:cubicBezTo>
                    <a:pt x="80824" y="21381"/>
                    <a:pt x="80824" y="21381"/>
                    <a:pt x="80824" y="21381"/>
                  </a:cubicBezTo>
                  <a:close/>
                  <a:moveTo>
                    <a:pt x="89484" y="15709"/>
                  </a:moveTo>
                  <a:cubicBezTo>
                    <a:pt x="89484" y="15709"/>
                    <a:pt x="89484" y="15709"/>
                    <a:pt x="89484" y="15709"/>
                  </a:cubicBezTo>
                  <a:cubicBezTo>
                    <a:pt x="89484" y="15709"/>
                    <a:pt x="89896" y="15272"/>
                    <a:pt x="90309" y="15272"/>
                  </a:cubicBezTo>
                  <a:cubicBezTo>
                    <a:pt x="90721" y="15490"/>
                    <a:pt x="91134" y="15490"/>
                    <a:pt x="91134" y="15709"/>
                  </a:cubicBezTo>
                  <a:cubicBezTo>
                    <a:pt x="90721" y="15927"/>
                    <a:pt x="90309" y="16145"/>
                    <a:pt x="89896" y="16145"/>
                  </a:cubicBezTo>
                  <a:cubicBezTo>
                    <a:pt x="89484" y="16145"/>
                    <a:pt x="89484" y="15709"/>
                    <a:pt x="89484" y="15709"/>
                  </a:cubicBezTo>
                  <a:close/>
                  <a:moveTo>
                    <a:pt x="87835" y="16800"/>
                  </a:moveTo>
                  <a:cubicBezTo>
                    <a:pt x="87835" y="16800"/>
                    <a:pt x="87835" y="16800"/>
                    <a:pt x="87835" y="16800"/>
                  </a:cubicBezTo>
                  <a:cubicBezTo>
                    <a:pt x="87835" y="16800"/>
                    <a:pt x="88659" y="16363"/>
                    <a:pt x="89072" y="16581"/>
                  </a:cubicBezTo>
                  <a:cubicBezTo>
                    <a:pt x="89072" y="16581"/>
                    <a:pt x="89484" y="16581"/>
                    <a:pt x="89072" y="16800"/>
                  </a:cubicBezTo>
                  <a:cubicBezTo>
                    <a:pt x="89072" y="17018"/>
                    <a:pt x="89896" y="16800"/>
                    <a:pt x="88659" y="17018"/>
                  </a:cubicBezTo>
                  <a:cubicBezTo>
                    <a:pt x="87835" y="17454"/>
                    <a:pt x="88247" y="17672"/>
                    <a:pt x="87422" y="17454"/>
                  </a:cubicBezTo>
                  <a:cubicBezTo>
                    <a:pt x="87010" y="17236"/>
                    <a:pt x="87010" y="17018"/>
                    <a:pt x="87010" y="16800"/>
                  </a:cubicBezTo>
                  <a:cubicBezTo>
                    <a:pt x="87010" y="16800"/>
                    <a:pt x="87422" y="16363"/>
                    <a:pt x="87422" y="16363"/>
                  </a:cubicBezTo>
                  <a:cubicBezTo>
                    <a:pt x="87835" y="16581"/>
                    <a:pt x="87835" y="16800"/>
                    <a:pt x="87835" y="16800"/>
                  </a:cubicBezTo>
                  <a:close/>
                  <a:moveTo>
                    <a:pt x="84536" y="17454"/>
                  </a:moveTo>
                  <a:cubicBezTo>
                    <a:pt x="84536" y="17454"/>
                    <a:pt x="84536" y="17454"/>
                    <a:pt x="84536" y="17454"/>
                  </a:cubicBezTo>
                  <a:cubicBezTo>
                    <a:pt x="84536" y="17454"/>
                    <a:pt x="85360" y="17672"/>
                    <a:pt x="85360" y="17672"/>
                  </a:cubicBezTo>
                  <a:cubicBezTo>
                    <a:pt x="85773" y="17890"/>
                    <a:pt x="85773" y="17672"/>
                    <a:pt x="86185" y="17454"/>
                  </a:cubicBezTo>
                  <a:cubicBezTo>
                    <a:pt x="87010" y="17454"/>
                    <a:pt x="86185" y="17454"/>
                    <a:pt x="86597" y="17236"/>
                  </a:cubicBezTo>
                  <a:cubicBezTo>
                    <a:pt x="87010" y="16800"/>
                    <a:pt x="86597" y="17018"/>
                    <a:pt x="86597" y="16800"/>
                  </a:cubicBezTo>
                  <a:cubicBezTo>
                    <a:pt x="86185" y="16800"/>
                    <a:pt x="86185" y="16800"/>
                    <a:pt x="85773" y="16800"/>
                  </a:cubicBezTo>
                  <a:cubicBezTo>
                    <a:pt x="84948" y="16800"/>
                    <a:pt x="84536" y="17454"/>
                    <a:pt x="84536" y="17454"/>
                  </a:cubicBezTo>
                  <a:close/>
                  <a:moveTo>
                    <a:pt x="86185" y="18763"/>
                  </a:moveTo>
                  <a:cubicBezTo>
                    <a:pt x="86185" y="18763"/>
                    <a:pt x="86185" y="18763"/>
                    <a:pt x="86185" y="18763"/>
                  </a:cubicBezTo>
                  <a:cubicBezTo>
                    <a:pt x="86185" y="18763"/>
                    <a:pt x="86597" y="18109"/>
                    <a:pt x="87010" y="18109"/>
                  </a:cubicBezTo>
                  <a:cubicBezTo>
                    <a:pt x="87422" y="18327"/>
                    <a:pt x="87422" y="18109"/>
                    <a:pt x="87422" y="18327"/>
                  </a:cubicBezTo>
                  <a:cubicBezTo>
                    <a:pt x="87422" y="18545"/>
                    <a:pt x="87422" y="18981"/>
                    <a:pt x="87010" y="18981"/>
                  </a:cubicBezTo>
                  <a:cubicBezTo>
                    <a:pt x="86597" y="18981"/>
                    <a:pt x="86185" y="18763"/>
                    <a:pt x="86185" y="18763"/>
                  </a:cubicBezTo>
                  <a:close/>
                  <a:moveTo>
                    <a:pt x="82886" y="18763"/>
                  </a:moveTo>
                  <a:cubicBezTo>
                    <a:pt x="82886" y="18763"/>
                    <a:pt x="82886" y="18763"/>
                    <a:pt x="82886" y="18763"/>
                  </a:cubicBezTo>
                  <a:cubicBezTo>
                    <a:pt x="83298" y="18327"/>
                    <a:pt x="83298" y="18327"/>
                    <a:pt x="83298" y="18327"/>
                  </a:cubicBezTo>
                  <a:cubicBezTo>
                    <a:pt x="84123" y="18545"/>
                    <a:pt x="84123" y="18545"/>
                    <a:pt x="84123" y="18545"/>
                  </a:cubicBezTo>
                  <a:cubicBezTo>
                    <a:pt x="84123" y="18545"/>
                    <a:pt x="84536" y="18763"/>
                    <a:pt x="84123" y="18763"/>
                  </a:cubicBezTo>
                  <a:cubicBezTo>
                    <a:pt x="84123" y="18981"/>
                    <a:pt x="83711" y="18981"/>
                    <a:pt x="83711" y="19200"/>
                  </a:cubicBezTo>
                  <a:cubicBezTo>
                    <a:pt x="83298" y="19200"/>
                    <a:pt x="82886" y="18981"/>
                    <a:pt x="82886" y="18981"/>
                  </a:cubicBezTo>
                  <a:cubicBezTo>
                    <a:pt x="82886" y="18763"/>
                    <a:pt x="82886" y="18763"/>
                    <a:pt x="82886" y="18763"/>
                  </a:cubicBezTo>
                  <a:close/>
                  <a:moveTo>
                    <a:pt x="82886" y="15927"/>
                  </a:moveTo>
                  <a:cubicBezTo>
                    <a:pt x="82886" y="15927"/>
                    <a:pt x="82886" y="15927"/>
                    <a:pt x="82886" y="15927"/>
                  </a:cubicBezTo>
                  <a:cubicBezTo>
                    <a:pt x="82886" y="15927"/>
                    <a:pt x="83711" y="15272"/>
                    <a:pt x="83711" y="15272"/>
                  </a:cubicBezTo>
                  <a:cubicBezTo>
                    <a:pt x="84123" y="15272"/>
                    <a:pt x="84536" y="15054"/>
                    <a:pt x="84536" y="15490"/>
                  </a:cubicBezTo>
                  <a:cubicBezTo>
                    <a:pt x="84536" y="15927"/>
                    <a:pt x="85360" y="16363"/>
                    <a:pt x="84123" y="16363"/>
                  </a:cubicBezTo>
                  <a:cubicBezTo>
                    <a:pt x="83298" y="16363"/>
                    <a:pt x="82886" y="16581"/>
                    <a:pt x="82886" y="16363"/>
                  </a:cubicBezTo>
                  <a:cubicBezTo>
                    <a:pt x="82474" y="16145"/>
                    <a:pt x="82886" y="15927"/>
                    <a:pt x="82886" y="15927"/>
                  </a:cubicBezTo>
                  <a:close/>
                  <a:moveTo>
                    <a:pt x="81237" y="17236"/>
                  </a:moveTo>
                  <a:cubicBezTo>
                    <a:pt x="81237" y="17236"/>
                    <a:pt x="81237" y="17236"/>
                    <a:pt x="81237" y="17236"/>
                  </a:cubicBezTo>
                  <a:cubicBezTo>
                    <a:pt x="81237" y="17236"/>
                    <a:pt x="82061" y="16800"/>
                    <a:pt x="82474" y="16800"/>
                  </a:cubicBezTo>
                  <a:cubicBezTo>
                    <a:pt x="82886" y="17018"/>
                    <a:pt x="83298" y="17018"/>
                    <a:pt x="83298" y="17236"/>
                  </a:cubicBezTo>
                  <a:cubicBezTo>
                    <a:pt x="83298" y="17454"/>
                    <a:pt x="83298" y="17454"/>
                    <a:pt x="82886" y="17672"/>
                  </a:cubicBezTo>
                  <a:cubicBezTo>
                    <a:pt x="82886" y="17890"/>
                    <a:pt x="82474" y="17890"/>
                    <a:pt x="82061" y="17890"/>
                  </a:cubicBezTo>
                  <a:cubicBezTo>
                    <a:pt x="82061" y="17890"/>
                    <a:pt x="81237" y="17236"/>
                    <a:pt x="81237" y="17236"/>
                  </a:cubicBezTo>
                  <a:close/>
                  <a:moveTo>
                    <a:pt x="82474" y="19854"/>
                  </a:moveTo>
                  <a:cubicBezTo>
                    <a:pt x="82474" y="19854"/>
                    <a:pt x="82474" y="19854"/>
                    <a:pt x="82474" y="19854"/>
                  </a:cubicBezTo>
                  <a:cubicBezTo>
                    <a:pt x="82474" y="19854"/>
                    <a:pt x="82061" y="20509"/>
                    <a:pt x="82061" y="20727"/>
                  </a:cubicBezTo>
                  <a:cubicBezTo>
                    <a:pt x="82061" y="20945"/>
                    <a:pt x="83298" y="20945"/>
                    <a:pt x="83711" y="20727"/>
                  </a:cubicBezTo>
                  <a:cubicBezTo>
                    <a:pt x="83711" y="20727"/>
                    <a:pt x="84123" y="20290"/>
                    <a:pt x="84123" y="20290"/>
                  </a:cubicBezTo>
                  <a:cubicBezTo>
                    <a:pt x="84123" y="20290"/>
                    <a:pt x="83711" y="19854"/>
                    <a:pt x="83298" y="19636"/>
                  </a:cubicBezTo>
                  <a:cubicBezTo>
                    <a:pt x="82886" y="19418"/>
                    <a:pt x="82474" y="19854"/>
                    <a:pt x="82474" y="19854"/>
                  </a:cubicBezTo>
                  <a:close/>
                  <a:moveTo>
                    <a:pt x="78762" y="19200"/>
                  </a:moveTo>
                  <a:cubicBezTo>
                    <a:pt x="78762" y="19200"/>
                    <a:pt x="78762" y="19200"/>
                    <a:pt x="78762" y="19200"/>
                  </a:cubicBezTo>
                  <a:cubicBezTo>
                    <a:pt x="78762" y="19854"/>
                    <a:pt x="78762" y="19854"/>
                    <a:pt x="78762" y="19854"/>
                  </a:cubicBezTo>
                  <a:cubicBezTo>
                    <a:pt x="78762" y="19854"/>
                    <a:pt x="79587" y="20290"/>
                    <a:pt x="80000" y="20290"/>
                  </a:cubicBezTo>
                  <a:cubicBezTo>
                    <a:pt x="80412" y="20509"/>
                    <a:pt x="80412" y="20290"/>
                    <a:pt x="81237" y="20509"/>
                  </a:cubicBezTo>
                  <a:cubicBezTo>
                    <a:pt x="81649" y="20509"/>
                    <a:pt x="81649" y="20290"/>
                    <a:pt x="81649" y="20290"/>
                  </a:cubicBezTo>
                  <a:cubicBezTo>
                    <a:pt x="82061" y="20290"/>
                    <a:pt x="82061" y="20290"/>
                    <a:pt x="82061" y="20072"/>
                  </a:cubicBezTo>
                  <a:cubicBezTo>
                    <a:pt x="82061" y="20072"/>
                    <a:pt x="81237" y="19854"/>
                    <a:pt x="80824" y="19636"/>
                  </a:cubicBezTo>
                  <a:cubicBezTo>
                    <a:pt x="80824" y="19418"/>
                    <a:pt x="80824" y="19418"/>
                    <a:pt x="80824" y="19200"/>
                  </a:cubicBezTo>
                  <a:cubicBezTo>
                    <a:pt x="80824" y="19200"/>
                    <a:pt x="81237" y="18981"/>
                    <a:pt x="81649" y="18981"/>
                  </a:cubicBezTo>
                  <a:cubicBezTo>
                    <a:pt x="81649" y="18763"/>
                    <a:pt x="81649" y="18327"/>
                    <a:pt x="81649" y="18327"/>
                  </a:cubicBezTo>
                  <a:cubicBezTo>
                    <a:pt x="81649" y="18327"/>
                    <a:pt x="80824" y="18327"/>
                    <a:pt x="80824" y="18109"/>
                  </a:cubicBezTo>
                  <a:cubicBezTo>
                    <a:pt x="80824" y="18109"/>
                    <a:pt x="80412" y="17890"/>
                    <a:pt x="80000" y="17672"/>
                  </a:cubicBezTo>
                  <a:cubicBezTo>
                    <a:pt x="80000" y="17454"/>
                    <a:pt x="79175" y="17454"/>
                    <a:pt x="78762" y="17454"/>
                  </a:cubicBezTo>
                  <a:cubicBezTo>
                    <a:pt x="78762" y="17454"/>
                    <a:pt x="78350" y="18109"/>
                    <a:pt x="77938" y="18327"/>
                  </a:cubicBezTo>
                  <a:cubicBezTo>
                    <a:pt x="77938" y="18327"/>
                    <a:pt x="77525" y="18763"/>
                    <a:pt x="77525" y="18763"/>
                  </a:cubicBezTo>
                  <a:cubicBezTo>
                    <a:pt x="77525" y="18981"/>
                    <a:pt x="77525" y="19200"/>
                    <a:pt x="77938" y="19418"/>
                  </a:cubicBezTo>
                  <a:cubicBezTo>
                    <a:pt x="78350" y="19418"/>
                    <a:pt x="78762" y="19200"/>
                    <a:pt x="78762" y="19200"/>
                  </a:cubicBezTo>
                  <a:close/>
                  <a:moveTo>
                    <a:pt x="77525" y="20945"/>
                  </a:moveTo>
                  <a:cubicBezTo>
                    <a:pt x="77525" y="20945"/>
                    <a:pt x="77525" y="20945"/>
                    <a:pt x="77525" y="20945"/>
                  </a:cubicBezTo>
                  <a:cubicBezTo>
                    <a:pt x="77113" y="20945"/>
                    <a:pt x="76288" y="20509"/>
                    <a:pt x="76288" y="20509"/>
                  </a:cubicBezTo>
                  <a:cubicBezTo>
                    <a:pt x="76288" y="20509"/>
                    <a:pt x="77113" y="20290"/>
                    <a:pt x="77113" y="20072"/>
                  </a:cubicBezTo>
                  <a:cubicBezTo>
                    <a:pt x="77525" y="20072"/>
                    <a:pt x="77113" y="19854"/>
                    <a:pt x="77938" y="19854"/>
                  </a:cubicBezTo>
                  <a:cubicBezTo>
                    <a:pt x="78762" y="20072"/>
                    <a:pt x="78762" y="20290"/>
                    <a:pt x="78762" y="20290"/>
                  </a:cubicBezTo>
                  <a:cubicBezTo>
                    <a:pt x="78762" y="20290"/>
                    <a:pt x="79175" y="20727"/>
                    <a:pt x="79175" y="20945"/>
                  </a:cubicBezTo>
                  <a:cubicBezTo>
                    <a:pt x="79175" y="20945"/>
                    <a:pt x="79175" y="21163"/>
                    <a:pt x="79175" y="21163"/>
                  </a:cubicBezTo>
                  <a:cubicBezTo>
                    <a:pt x="79175" y="21381"/>
                    <a:pt x="80000" y="21600"/>
                    <a:pt x="78762" y="21600"/>
                  </a:cubicBezTo>
                  <a:cubicBezTo>
                    <a:pt x="77938" y="21600"/>
                    <a:pt x="77938" y="21600"/>
                    <a:pt x="77938" y="21600"/>
                  </a:cubicBezTo>
                  <a:lnTo>
                    <a:pt x="77525" y="20945"/>
                  </a:lnTo>
                  <a:close/>
                </a:path>
              </a:pathLst>
            </a:custGeom>
            <a:pattFill prst="wdUpDiag">
              <a:fgClr>
                <a:srgbClr val="996633"/>
              </a:fgClr>
              <a:bgClr>
                <a:srgbClr val="00B050"/>
              </a:bgClr>
            </a:pattFill>
            <a:ln w="3175" cap="flat" cmpd="sng">
              <a:solidFill>
                <a:schemeClr val="tx1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endParaRPr kern="0">
                <a:solidFill>
                  <a:srgbClr val="7F7F7F"/>
                </a:solidFill>
                <a:latin typeface="Calibri" panose="020F0502020204030204" pitchFamily="34" charset="0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57" name="Shape 2054">
              <a:extLst>
                <a:ext uri="{FF2B5EF4-FFF2-40B4-BE49-F238E27FC236}">
                  <a16:creationId xmlns:a16="http://schemas.microsoft.com/office/drawing/2014/main" id="{EC19F887-0956-3A75-ED53-31D49A577494}"/>
                </a:ext>
              </a:extLst>
            </p:cNvPr>
            <p:cNvSpPr/>
            <p:nvPr/>
          </p:nvSpPr>
          <p:spPr>
            <a:xfrm>
              <a:off x="2547110" y="3567361"/>
              <a:ext cx="1122206" cy="89436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1460" y="43462"/>
                  </a:moveTo>
                  <a:cubicBezTo>
                    <a:pt x="110786" y="44009"/>
                    <a:pt x="110561" y="42642"/>
                    <a:pt x="110112" y="43462"/>
                  </a:cubicBezTo>
                  <a:cubicBezTo>
                    <a:pt x="109438" y="44555"/>
                    <a:pt x="111235" y="47015"/>
                    <a:pt x="110561" y="48382"/>
                  </a:cubicBezTo>
                  <a:cubicBezTo>
                    <a:pt x="109662" y="49749"/>
                    <a:pt x="107865" y="51662"/>
                    <a:pt x="105393" y="52209"/>
                  </a:cubicBezTo>
                  <a:cubicBezTo>
                    <a:pt x="104269" y="52482"/>
                    <a:pt x="103370" y="53849"/>
                    <a:pt x="102471" y="53576"/>
                  </a:cubicBezTo>
                  <a:cubicBezTo>
                    <a:pt x="101797" y="53576"/>
                    <a:pt x="100224" y="55489"/>
                    <a:pt x="100000" y="56036"/>
                  </a:cubicBezTo>
                  <a:cubicBezTo>
                    <a:pt x="99550" y="56856"/>
                    <a:pt x="98202" y="56036"/>
                    <a:pt x="97078" y="56856"/>
                  </a:cubicBezTo>
                  <a:cubicBezTo>
                    <a:pt x="95505" y="57676"/>
                    <a:pt x="96404" y="56583"/>
                    <a:pt x="90786" y="58496"/>
                  </a:cubicBezTo>
                  <a:cubicBezTo>
                    <a:pt x="89662" y="58769"/>
                    <a:pt x="88764" y="59316"/>
                    <a:pt x="87865" y="59589"/>
                  </a:cubicBezTo>
                  <a:cubicBezTo>
                    <a:pt x="86966" y="60136"/>
                    <a:pt x="86067" y="59863"/>
                    <a:pt x="86067" y="62050"/>
                  </a:cubicBezTo>
                  <a:cubicBezTo>
                    <a:pt x="86292" y="63143"/>
                    <a:pt x="87415" y="62323"/>
                    <a:pt x="87191" y="63416"/>
                  </a:cubicBezTo>
                  <a:cubicBezTo>
                    <a:pt x="87191" y="64236"/>
                    <a:pt x="85617" y="63963"/>
                    <a:pt x="84044" y="65056"/>
                  </a:cubicBezTo>
                  <a:cubicBezTo>
                    <a:pt x="83370" y="65603"/>
                    <a:pt x="82921" y="67517"/>
                    <a:pt x="82471" y="68063"/>
                  </a:cubicBezTo>
                  <a:cubicBezTo>
                    <a:pt x="80224" y="69703"/>
                    <a:pt x="78651" y="73257"/>
                    <a:pt x="78651" y="73257"/>
                  </a:cubicBezTo>
                  <a:cubicBezTo>
                    <a:pt x="77528" y="74624"/>
                    <a:pt x="76179" y="75717"/>
                    <a:pt x="75505" y="77357"/>
                  </a:cubicBezTo>
                  <a:cubicBezTo>
                    <a:pt x="73932" y="80911"/>
                    <a:pt x="73483" y="78997"/>
                    <a:pt x="74382" y="83371"/>
                  </a:cubicBezTo>
                  <a:cubicBezTo>
                    <a:pt x="74606" y="83917"/>
                    <a:pt x="74606" y="85831"/>
                    <a:pt x="75280" y="87198"/>
                  </a:cubicBezTo>
                  <a:cubicBezTo>
                    <a:pt x="76404" y="89111"/>
                    <a:pt x="78876" y="91025"/>
                    <a:pt x="78202" y="91571"/>
                  </a:cubicBezTo>
                  <a:cubicBezTo>
                    <a:pt x="77752" y="91845"/>
                    <a:pt x="75056" y="94031"/>
                    <a:pt x="74157" y="94031"/>
                  </a:cubicBezTo>
                  <a:cubicBezTo>
                    <a:pt x="72808" y="94305"/>
                    <a:pt x="72134" y="95398"/>
                    <a:pt x="70337" y="97858"/>
                  </a:cubicBezTo>
                  <a:cubicBezTo>
                    <a:pt x="69438" y="98678"/>
                    <a:pt x="69213" y="99498"/>
                    <a:pt x="68539" y="100592"/>
                  </a:cubicBezTo>
                  <a:cubicBezTo>
                    <a:pt x="67415" y="102232"/>
                    <a:pt x="67865" y="101958"/>
                    <a:pt x="66966" y="103872"/>
                  </a:cubicBezTo>
                  <a:cubicBezTo>
                    <a:pt x="66741" y="104419"/>
                    <a:pt x="66966" y="106332"/>
                    <a:pt x="66966" y="107152"/>
                  </a:cubicBezTo>
                  <a:cubicBezTo>
                    <a:pt x="64719" y="107425"/>
                    <a:pt x="64719" y="107425"/>
                    <a:pt x="64719" y="107425"/>
                  </a:cubicBezTo>
                  <a:cubicBezTo>
                    <a:pt x="60898" y="106059"/>
                    <a:pt x="60898" y="106059"/>
                    <a:pt x="60898" y="106059"/>
                  </a:cubicBezTo>
                  <a:cubicBezTo>
                    <a:pt x="58651" y="108519"/>
                    <a:pt x="58651" y="108519"/>
                    <a:pt x="58651" y="108519"/>
                  </a:cubicBezTo>
                  <a:cubicBezTo>
                    <a:pt x="57752" y="109339"/>
                    <a:pt x="56404" y="108792"/>
                    <a:pt x="55505" y="109612"/>
                  </a:cubicBezTo>
                  <a:cubicBezTo>
                    <a:pt x="55505" y="109612"/>
                    <a:pt x="54831" y="112072"/>
                    <a:pt x="54606" y="112619"/>
                  </a:cubicBezTo>
                  <a:cubicBezTo>
                    <a:pt x="54606" y="113439"/>
                    <a:pt x="53033" y="115626"/>
                    <a:pt x="53033" y="115626"/>
                  </a:cubicBezTo>
                  <a:cubicBezTo>
                    <a:pt x="52808" y="115899"/>
                    <a:pt x="51685" y="117266"/>
                    <a:pt x="51235" y="117539"/>
                  </a:cubicBezTo>
                  <a:cubicBezTo>
                    <a:pt x="50561" y="117813"/>
                    <a:pt x="50112" y="115626"/>
                    <a:pt x="49662" y="115626"/>
                  </a:cubicBezTo>
                  <a:cubicBezTo>
                    <a:pt x="48764" y="115626"/>
                    <a:pt x="48764" y="115353"/>
                    <a:pt x="47865" y="115079"/>
                  </a:cubicBezTo>
                  <a:cubicBezTo>
                    <a:pt x="46741" y="115079"/>
                    <a:pt x="46516" y="116993"/>
                    <a:pt x="45393" y="116993"/>
                  </a:cubicBezTo>
                  <a:cubicBezTo>
                    <a:pt x="43595" y="116719"/>
                    <a:pt x="40449" y="114533"/>
                    <a:pt x="40449" y="114533"/>
                  </a:cubicBezTo>
                  <a:cubicBezTo>
                    <a:pt x="39775" y="114259"/>
                    <a:pt x="39775" y="115353"/>
                    <a:pt x="39101" y="115353"/>
                  </a:cubicBezTo>
                  <a:cubicBezTo>
                    <a:pt x="37752" y="115079"/>
                    <a:pt x="35955" y="113986"/>
                    <a:pt x="34157" y="113439"/>
                  </a:cubicBezTo>
                  <a:cubicBezTo>
                    <a:pt x="32808" y="113166"/>
                    <a:pt x="30112" y="112619"/>
                    <a:pt x="30112" y="112619"/>
                  </a:cubicBezTo>
                  <a:cubicBezTo>
                    <a:pt x="29438" y="113166"/>
                    <a:pt x="28764" y="113166"/>
                    <a:pt x="28089" y="113439"/>
                  </a:cubicBezTo>
                  <a:cubicBezTo>
                    <a:pt x="27191" y="113986"/>
                    <a:pt x="26292" y="114806"/>
                    <a:pt x="25617" y="115079"/>
                  </a:cubicBezTo>
                  <a:cubicBezTo>
                    <a:pt x="24943" y="115353"/>
                    <a:pt x="23595" y="113986"/>
                    <a:pt x="21573" y="115353"/>
                  </a:cubicBezTo>
                  <a:cubicBezTo>
                    <a:pt x="20898" y="115626"/>
                    <a:pt x="20000" y="115353"/>
                    <a:pt x="19550" y="115899"/>
                  </a:cubicBezTo>
                  <a:cubicBezTo>
                    <a:pt x="18876" y="116719"/>
                    <a:pt x="18651" y="117813"/>
                    <a:pt x="17528" y="118359"/>
                  </a:cubicBezTo>
                  <a:cubicBezTo>
                    <a:pt x="16853" y="118633"/>
                    <a:pt x="15955" y="119726"/>
                    <a:pt x="15505" y="120000"/>
                  </a:cubicBezTo>
                  <a:cubicBezTo>
                    <a:pt x="14382" y="119179"/>
                    <a:pt x="12808" y="119179"/>
                    <a:pt x="12359" y="116993"/>
                  </a:cubicBezTo>
                  <a:cubicBezTo>
                    <a:pt x="12134" y="116173"/>
                    <a:pt x="11460" y="116993"/>
                    <a:pt x="11011" y="116173"/>
                  </a:cubicBezTo>
                  <a:cubicBezTo>
                    <a:pt x="10112" y="115079"/>
                    <a:pt x="9438" y="112619"/>
                    <a:pt x="9438" y="111526"/>
                  </a:cubicBezTo>
                  <a:cubicBezTo>
                    <a:pt x="9438" y="111526"/>
                    <a:pt x="10112" y="110432"/>
                    <a:pt x="9438" y="109339"/>
                  </a:cubicBezTo>
                  <a:cubicBezTo>
                    <a:pt x="8988" y="108246"/>
                    <a:pt x="8314" y="107972"/>
                    <a:pt x="8539" y="106879"/>
                  </a:cubicBezTo>
                  <a:cubicBezTo>
                    <a:pt x="9213" y="106879"/>
                    <a:pt x="8988" y="104965"/>
                    <a:pt x="8988" y="104965"/>
                  </a:cubicBezTo>
                  <a:cubicBezTo>
                    <a:pt x="8988" y="104419"/>
                    <a:pt x="7415" y="101138"/>
                    <a:pt x="6966" y="100592"/>
                  </a:cubicBezTo>
                  <a:cubicBezTo>
                    <a:pt x="5842" y="99772"/>
                    <a:pt x="4494" y="98678"/>
                    <a:pt x="3146" y="98405"/>
                  </a:cubicBezTo>
                  <a:cubicBezTo>
                    <a:pt x="0" y="97858"/>
                    <a:pt x="0" y="97858"/>
                    <a:pt x="0" y="97858"/>
                  </a:cubicBezTo>
                  <a:cubicBezTo>
                    <a:pt x="0" y="96765"/>
                    <a:pt x="0" y="96765"/>
                    <a:pt x="0" y="96765"/>
                  </a:cubicBezTo>
                  <a:cubicBezTo>
                    <a:pt x="0" y="96218"/>
                    <a:pt x="0" y="96218"/>
                    <a:pt x="0" y="96218"/>
                  </a:cubicBezTo>
                  <a:cubicBezTo>
                    <a:pt x="0" y="95945"/>
                    <a:pt x="0" y="95945"/>
                    <a:pt x="0" y="95945"/>
                  </a:cubicBezTo>
                  <a:cubicBezTo>
                    <a:pt x="224" y="95125"/>
                    <a:pt x="224" y="95125"/>
                    <a:pt x="224" y="95125"/>
                  </a:cubicBezTo>
                  <a:cubicBezTo>
                    <a:pt x="449" y="94578"/>
                    <a:pt x="449" y="94578"/>
                    <a:pt x="449" y="94578"/>
                  </a:cubicBezTo>
                  <a:cubicBezTo>
                    <a:pt x="224" y="94031"/>
                    <a:pt x="224" y="94031"/>
                    <a:pt x="224" y="94031"/>
                  </a:cubicBezTo>
                  <a:cubicBezTo>
                    <a:pt x="224" y="93485"/>
                    <a:pt x="224" y="93485"/>
                    <a:pt x="224" y="93485"/>
                  </a:cubicBezTo>
                  <a:cubicBezTo>
                    <a:pt x="224" y="92665"/>
                    <a:pt x="224" y="92665"/>
                    <a:pt x="224" y="92665"/>
                  </a:cubicBezTo>
                  <a:cubicBezTo>
                    <a:pt x="224" y="92665"/>
                    <a:pt x="0" y="92118"/>
                    <a:pt x="0" y="92118"/>
                  </a:cubicBezTo>
                  <a:cubicBezTo>
                    <a:pt x="0" y="92118"/>
                    <a:pt x="0" y="91571"/>
                    <a:pt x="0" y="91571"/>
                  </a:cubicBezTo>
                  <a:cubicBezTo>
                    <a:pt x="0" y="91571"/>
                    <a:pt x="449" y="91298"/>
                    <a:pt x="449" y="91298"/>
                  </a:cubicBezTo>
                  <a:cubicBezTo>
                    <a:pt x="449" y="91025"/>
                    <a:pt x="898" y="90751"/>
                    <a:pt x="898" y="90751"/>
                  </a:cubicBezTo>
                  <a:cubicBezTo>
                    <a:pt x="898" y="90751"/>
                    <a:pt x="1123" y="89931"/>
                    <a:pt x="1123" y="89658"/>
                  </a:cubicBezTo>
                  <a:cubicBezTo>
                    <a:pt x="1123" y="89658"/>
                    <a:pt x="1348" y="89384"/>
                    <a:pt x="1348" y="89384"/>
                  </a:cubicBezTo>
                  <a:cubicBezTo>
                    <a:pt x="2022" y="89111"/>
                    <a:pt x="2022" y="89111"/>
                    <a:pt x="2022" y="89111"/>
                  </a:cubicBezTo>
                  <a:cubicBezTo>
                    <a:pt x="2471" y="88564"/>
                    <a:pt x="2471" y="88564"/>
                    <a:pt x="2471" y="88564"/>
                  </a:cubicBezTo>
                  <a:cubicBezTo>
                    <a:pt x="2921" y="88291"/>
                    <a:pt x="2921" y="88291"/>
                    <a:pt x="2921" y="88291"/>
                  </a:cubicBezTo>
                  <a:cubicBezTo>
                    <a:pt x="3370" y="87744"/>
                    <a:pt x="3370" y="87744"/>
                    <a:pt x="3370" y="87744"/>
                  </a:cubicBezTo>
                  <a:cubicBezTo>
                    <a:pt x="3595" y="86651"/>
                    <a:pt x="3595" y="86651"/>
                    <a:pt x="3595" y="86651"/>
                  </a:cubicBezTo>
                  <a:cubicBezTo>
                    <a:pt x="3820" y="86378"/>
                    <a:pt x="3820" y="86378"/>
                    <a:pt x="3820" y="86378"/>
                  </a:cubicBezTo>
                  <a:cubicBezTo>
                    <a:pt x="3820" y="86378"/>
                    <a:pt x="4494" y="86378"/>
                    <a:pt x="4494" y="86378"/>
                  </a:cubicBezTo>
                  <a:cubicBezTo>
                    <a:pt x="4494" y="86378"/>
                    <a:pt x="4943" y="86378"/>
                    <a:pt x="4943" y="86378"/>
                  </a:cubicBezTo>
                  <a:cubicBezTo>
                    <a:pt x="4943" y="86104"/>
                    <a:pt x="4943" y="86104"/>
                    <a:pt x="4943" y="86104"/>
                  </a:cubicBezTo>
                  <a:cubicBezTo>
                    <a:pt x="5393" y="85831"/>
                    <a:pt x="5393" y="85831"/>
                    <a:pt x="5393" y="85831"/>
                  </a:cubicBezTo>
                  <a:cubicBezTo>
                    <a:pt x="5842" y="86378"/>
                    <a:pt x="5842" y="86378"/>
                    <a:pt x="5842" y="86378"/>
                  </a:cubicBezTo>
                  <a:cubicBezTo>
                    <a:pt x="5842" y="86378"/>
                    <a:pt x="6067" y="86378"/>
                    <a:pt x="6292" y="86378"/>
                  </a:cubicBezTo>
                  <a:cubicBezTo>
                    <a:pt x="6292" y="86378"/>
                    <a:pt x="6516" y="86378"/>
                    <a:pt x="6516" y="86378"/>
                  </a:cubicBezTo>
                  <a:cubicBezTo>
                    <a:pt x="6516" y="85558"/>
                    <a:pt x="6516" y="85558"/>
                    <a:pt x="6516" y="85558"/>
                  </a:cubicBezTo>
                  <a:cubicBezTo>
                    <a:pt x="7415" y="84464"/>
                    <a:pt x="7415" y="84464"/>
                    <a:pt x="7415" y="84464"/>
                  </a:cubicBezTo>
                  <a:cubicBezTo>
                    <a:pt x="7415" y="84464"/>
                    <a:pt x="7415" y="84191"/>
                    <a:pt x="7415" y="84191"/>
                  </a:cubicBezTo>
                  <a:cubicBezTo>
                    <a:pt x="7415" y="84191"/>
                    <a:pt x="7415" y="83917"/>
                    <a:pt x="7415" y="83917"/>
                  </a:cubicBezTo>
                  <a:cubicBezTo>
                    <a:pt x="7191" y="83644"/>
                    <a:pt x="6966" y="83917"/>
                    <a:pt x="6966" y="83917"/>
                  </a:cubicBezTo>
                  <a:cubicBezTo>
                    <a:pt x="6966" y="83917"/>
                    <a:pt x="6516" y="83917"/>
                    <a:pt x="6516" y="83917"/>
                  </a:cubicBezTo>
                  <a:cubicBezTo>
                    <a:pt x="6516" y="83917"/>
                    <a:pt x="6067" y="83917"/>
                    <a:pt x="5842" y="83917"/>
                  </a:cubicBezTo>
                  <a:cubicBezTo>
                    <a:pt x="5842" y="83917"/>
                    <a:pt x="5842" y="83644"/>
                    <a:pt x="5842" y="83644"/>
                  </a:cubicBezTo>
                  <a:cubicBezTo>
                    <a:pt x="5617" y="83097"/>
                    <a:pt x="5617" y="83097"/>
                    <a:pt x="5617" y="83097"/>
                  </a:cubicBezTo>
                  <a:cubicBezTo>
                    <a:pt x="5617" y="83097"/>
                    <a:pt x="5393" y="82551"/>
                    <a:pt x="5393" y="82277"/>
                  </a:cubicBezTo>
                  <a:cubicBezTo>
                    <a:pt x="5393" y="82004"/>
                    <a:pt x="5393" y="81731"/>
                    <a:pt x="5393" y="81457"/>
                  </a:cubicBezTo>
                  <a:cubicBezTo>
                    <a:pt x="5393" y="81457"/>
                    <a:pt x="5168" y="81184"/>
                    <a:pt x="5168" y="81184"/>
                  </a:cubicBezTo>
                  <a:cubicBezTo>
                    <a:pt x="5168" y="81184"/>
                    <a:pt x="4943" y="80911"/>
                    <a:pt x="4943" y="80637"/>
                  </a:cubicBezTo>
                  <a:cubicBezTo>
                    <a:pt x="4943" y="80637"/>
                    <a:pt x="4719" y="79817"/>
                    <a:pt x="4719" y="79817"/>
                  </a:cubicBezTo>
                  <a:cubicBezTo>
                    <a:pt x="4494" y="79544"/>
                    <a:pt x="4494" y="79544"/>
                    <a:pt x="4494" y="79544"/>
                  </a:cubicBezTo>
                  <a:cubicBezTo>
                    <a:pt x="4719" y="79271"/>
                    <a:pt x="4719" y="79271"/>
                    <a:pt x="4719" y="79271"/>
                  </a:cubicBezTo>
                  <a:cubicBezTo>
                    <a:pt x="4494" y="78724"/>
                    <a:pt x="4494" y="78724"/>
                    <a:pt x="4494" y="78724"/>
                  </a:cubicBezTo>
                  <a:cubicBezTo>
                    <a:pt x="4943" y="78724"/>
                    <a:pt x="4943" y="78724"/>
                    <a:pt x="4943" y="78724"/>
                  </a:cubicBezTo>
                  <a:cubicBezTo>
                    <a:pt x="4719" y="78451"/>
                    <a:pt x="4719" y="78451"/>
                    <a:pt x="4719" y="78451"/>
                  </a:cubicBezTo>
                  <a:cubicBezTo>
                    <a:pt x="4943" y="77904"/>
                    <a:pt x="4943" y="77904"/>
                    <a:pt x="4943" y="77904"/>
                  </a:cubicBezTo>
                  <a:cubicBezTo>
                    <a:pt x="4943" y="77904"/>
                    <a:pt x="5393" y="77630"/>
                    <a:pt x="5393" y="77630"/>
                  </a:cubicBezTo>
                  <a:cubicBezTo>
                    <a:pt x="5393" y="77630"/>
                    <a:pt x="5842" y="77084"/>
                    <a:pt x="5842" y="77084"/>
                  </a:cubicBezTo>
                  <a:cubicBezTo>
                    <a:pt x="5842" y="77084"/>
                    <a:pt x="5617" y="76810"/>
                    <a:pt x="5617" y="76810"/>
                  </a:cubicBezTo>
                  <a:cubicBezTo>
                    <a:pt x="5617" y="76810"/>
                    <a:pt x="5617" y="76264"/>
                    <a:pt x="5617" y="76264"/>
                  </a:cubicBezTo>
                  <a:cubicBezTo>
                    <a:pt x="6067" y="75170"/>
                    <a:pt x="6067" y="75170"/>
                    <a:pt x="6067" y="75170"/>
                  </a:cubicBezTo>
                  <a:cubicBezTo>
                    <a:pt x="6292" y="75170"/>
                    <a:pt x="6292" y="75170"/>
                    <a:pt x="6292" y="75170"/>
                  </a:cubicBezTo>
                  <a:cubicBezTo>
                    <a:pt x="6966" y="74897"/>
                    <a:pt x="6966" y="74897"/>
                    <a:pt x="6966" y="74897"/>
                  </a:cubicBezTo>
                  <a:cubicBezTo>
                    <a:pt x="7191" y="74624"/>
                    <a:pt x="7191" y="74624"/>
                    <a:pt x="7191" y="74624"/>
                  </a:cubicBezTo>
                  <a:cubicBezTo>
                    <a:pt x="7415" y="74624"/>
                    <a:pt x="7415" y="74624"/>
                    <a:pt x="7415" y="74624"/>
                  </a:cubicBezTo>
                  <a:cubicBezTo>
                    <a:pt x="7865" y="74350"/>
                    <a:pt x="7865" y="74350"/>
                    <a:pt x="7865" y="74350"/>
                  </a:cubicBezTo>
                  <a:cubicBezTo>
                    <a:pt x="8314" y="74077"/>
                    <a:pt x="8314" y="74077"/>
                    <a:pt x="8314" y="74077"/>
                  </a:cubicBezTo>
                  <a:cubicBezTo>
                    <a:pt x="8539" y="73804"/>
                    <a:pt x="8539" y="73804"/>
                    <a:pt x="8539" y="73804"/>
                  </a:cubicBezTo>
                  <a:cubicBezTo>
                    <a:pt x="8539" y="73257"/>
                    <a:pt x="8539" y="73257"/>
                    <a:pt x="8539" y="73257"/>
                  </a:cubicBezTo>
                  <a:cubicBezTo>
                    <a:pt x="8764" y="72984"/>
                    <a:pt x="8764" y="72984"/>
                    <a:pt x="8764" y="72984"/>
                  </a:cubicBezTo>
                  <a:cubicBezTo>
                    <a:pt x="9213" y="72437"/>
                    <a:pt x="9213" y="72437"/>
                    <a:pt x="9213" y="72437"/>
                  </a:cubicBezTo>
                  <a:cubicBezTo>
                    <a:pt x="9662" y="71890"/>
                    <a:pt x="9662" y="71890"/>
                    <a:pt x="9662" y="71890"/>
                  </a:cubicBezTo>
                  <a:cubicBezTo>
                    <a:pt x="9662" y="71343"/>
                    <a:pt x="9662" y="71343"/>
                    <a:pt x="9662" y="71343"/>
                  </a:cubicBezTo>
                  <a:cubicBezTo>
                    <a:pt x="9438" y="71070"/>
                    <a:pt x="9438" y="71070"/>
                    <a:pt x="9438" y="71070"/>
                  </a:cubicBezTo>
                  <a:cubicBezTo>
                    <a:pt x="9438" y="71070"/>
                    <a:pt x="9213" y="70523"/>
                    <a:pt x="9213" y="70250"/>
                  </a:cubicBezTo>
                  <a:cubicBezTo>
                    <a:pt x="9213" y="70250"/>
                    <a:pt x="8988" y="70250"/>
                    <a:pt x="8988" y="70250"/>
                  </a:cubicBezTo>
                  <a:cubicBezTo>
                    <a:pt x="8539" y="70523"/>
                    <a:pt x="8539" y="70523"/>
                    <a:pt x="8539" y="70523"/>
                  </a:cubicBezTo>
                  <a:cubicBezTo>
                    <a:pt x="8539" y="70523"/>
                    <a:pt x="8314" y="70250"/>
                    <a:pt x="8089" y="70250"/>
                  </a:cubicBezTo>
                  <a:cubicBezTo>
                    <a:pt x="8089" y="70250"/>
                    <a:pt x="8089" y="69977"/>
                    <a:pt x="8089" y="69977"/>
                  </a:cubicBezTo>
                  <a:cubicBezTo>
                    <a:pt x="8314" y="69703"/>
                    <a:pt x="8314" y="69703"/>
                    <a:pt x="8314" y="69703"/>
                  </a:cubicBezTo>
                  <a:cubicBezTo>
                    <a:pt x="8314" y="69157"/>
                    <a:pt x="8314" y="69157"/>
                    <a:pt x="8314" y="69157"/>
                  </a:cubicBezTo>
                  <a:cubicBezTo>
                    <a:pt x="7865" y="69157"/>
                    <a:pt x="7865" y="69157"/>
                    <a:pt x="7865" y="69157"/>
                  </a:cubicBezTo>
                  <a:cubicBezTo>
                    <a:pt x="7640" y="68610"/>
                    <a:pt x="7640" y="68610"/>
                    <a:pt x="7640" y="68610"/>
                  </a:cubicBezTo>
                  <a:cubicBezTo>
                    <a:pt x="7415" y="68063"/>
                    <a:pt x="7415" y="68063"/>
                    <a:pt x="7415" y="68063"/>
                  </a:cubicBezTo>
                  <a:cubicBezTo>
                    <a:pt x="7415" y="67517"/>
                    <a:pt x="7415" y="67517"/>
                    <a:pt x="7415" y="67517"/>
                  </a:cubicBezTo>
                  <a:cubicBezTo>
                    <a:pt x="7640" y="67243"/>
                    <a:pt x="7640" y="67243"/>
                    <a:pt x="7640" y="67243"/>
                  </a:cubicBezTo>
                  <a:cubicBezTo>
                    <a:pt x="7640" y="66970"/>
                    <a:pt x="7640" y="66970"/>
                    <a:pt x="7640" y="66970"/>
                  </a:cubicBezTo>
                  <a:cubicBezTo>
                    <a:pt x="7415" y="66697"/>
                    <a:pt x="7415" y="66697"/>
                    <a:pt x="7415" y="66697"/>
                  </a:cubicBezTo>
                  <a:cubicBezTo>
                    <a:pt x="7415" y="66150"/>
                    <a:pt x="7415" y="66150"/>
                    <a:pt x="7415" y="66150"/>
                  </a:cubicBezTo>
                  <a:cubicBezTo>
                    <a:pt x="7191" y="65603"/>
                    <a:pt x="7191" y="65603"/>
                    <a:pt x="7191" y="65603"/>
                  </a:cubicBezTo>
                  <a:cubicBezTo>
                    <a:pt x="7415" y="65330"/>
                    <a:pt x="7415" y="65330"/>
                    <a:pt x="7415" y="65330"/>
                  </a:cubicBezTo>
                  <a:cubicBezTo>
                    <a:pt x="7640" y="65056"/>
                    <a:pt x="7640" y="65056"/>
                    <a:pt x="7640" y="65056"/>
                  </a:cubicBezTo>
                  <a:cubicBezTo>
                    <a:pt x="7640" y="64510"/>
                    <a:pt x="7640" y="64510"/>
                    <a:pt x="7640" y="64510"/>
                  </a:cubicBezTo>
                  <a:cubicBezTo>
                    <a:pt x="7640" y="64510"/>
                    <a:pt x="7191" y="64236"/>
                    <a:pt x="7191" y="64236"/>
                  </a:cubicBezTo>
                  <a:cubicBezTo>
                    <a:pt x="7191" y="64236"/>
                    <a:pt x="6966" y="63690"/>
                    <a:pt x="6966" y="63690"/>
                  </a:cubicBezTo>
                  <a:cubicBezTo>
                    <a:pt x="6966" y="63416"/>
                    <a:pt x="6966" y="63416"/>
                    <a:pt x="6966" y="63416"/>
                  </a:cubicBezTo>
                  <a:cubicBezTo>
                    <a:pt x="6966" y="63416"/>
                    <a:pt x="6516" y="62870"/>
                    <a:pt x="6516" y="62870"/>
                  </a:cubicBezTo>
                  <a:cubicBezTo>
                    <a:pt x="6516" y="62870"/>
                    <a:pt x="6516" y="62323"/>
                    <a:pt x="6516" y="62323"/>
                  </a:cubicBezTo>
                  <a:cubicBezTo>
                    <a:pt x="6516" y="62323"/>
                    <a:pt x="6292" y="61776"/>
                    <a:pt x="6292" y="61776"/>
                  </a:cubicBezTo>
                  <a:cubicBezTo>
                    <a:pt x="6067" y="61503"/>
                    <a:pt x="6067" y="61230"/>
                    <a:pt x="6067" y="61230"/>
                  </a:cubicBezTo>
                  <a:cubicBezTo>
                    <a:pt x="6516" y="61230"/>
                    <a:pt x="6516" y="61230"/>
                    <a:pt x="6516" y="61230"/>
                  </a:cubicBezTo>
                  <a:cubicBezTo>
                    <a:pt x="6966" y="61230"/>
                    <a:pt x="6966" y="61230"/>
                    <a:pt x="6966" y="61230"/>
                  </a:cubicBezTo>
                  <a:cubicBezTo>
                    <a:pt x="7191" y="61776"/>
                    <a:pt x="7191" y="61776"/>
                    <a:pt x="7191" y="61776"/>
                  </a:cubicBezTo>
                  <a:cubicBezTo>
                    <a:pt x="7415" y="61503"/>
                    <a:pt x="7415" y="61503"/>
                    <a:pt x="7415" y="61503"/>
                  </a:cubicBezTo>
                  <a:cubicBezTo>
                    <a:pt x="7415" y="61776"/>
                    <a:pt x="7415" y="61776"/>
                    <a:pt x="7415" y="61776"/>
                  </a:cubicBezTo>
                  <a:cubicBezTo>
                    <a:pt x="7865" y="61776"/>
                    <a:pt x="7865" y="61776"/>
                    <a:pt x="7865" y="61776"/>
                  </a:cubicBezTo>
                  <a:cubicBezTo>
                    <a:pt x="8539" y="61776"/>
                    <a:pt x="8539" y="61776"/>
                    <a:pt x="8539" y="61776"/>
                  </a:cubicBezTo>
                  <a:cubicBezTo>
                    <a:pt x="8988" y="61776"/>
                    <a:pt x="8988" y="61776"/>
                    <a:pt x="8988" y="61776"/>
                  </a:cubicBezTo>
                  <a:cubicBezTo>
                    <a:pt x="9213" y="61776"/>
                    <a:pt x="9213" y="61776"/>
                    <a:pt x="9213" y="61776"/>
                  </a:cubicBezTo>
                  <a:cubicBezTo>
                    <a:pt x="9213" y="61776"/>
                    <a:pt x="9438" y="62050"/>
                    <a:pt x="9438" y="62050"/>
                  </a:cubicBezTo>
                  <a:cubicBezTo>
                    <a:pt x="9662" y="62323"/>
                    <a:pt x="9887" y="62050"/>
                    <a:pt x="9887" y="62050"/>
                  </a:cubicBezTo>
                  <a:cubicBezTo>
                    <a:pt x="9887" y="62323"/>
                    <a:pt x="10337" y="62323"/>
                    <a:pt x="10337" y="62323"/>
                  </a:cubicBezTo>
                  <a:cubicBezTo>
                    <a:pt x="10337" y="62323"/>
                    <a:pt x="10561" y="62050"/>
                    <a:pt x="10786" y="62050"/>
                  </a:cubicBezTo>
                  <a:cubicBezTo>
                    <a:pt x="10786" y="62050"/>
                    <a:pt x="11011" y="62050"/>
                    <a:pt x="11011" y="62050"/>
                  </a:cubicBezTo>
                  <a:cubicBezTo>
                    <a:pt x="11235" y="61776"/>
                    <a:pt x="11235" y="61776"/>
                    <a:pt x="11235" y="61776"/>
                  </a:cubicBezTo>
                  <a:cubicBezTo>
                    <a:pt x="11235" y="61230"/>
                    <a:pt x="11235" y="61230"/>
                    <a:pt x="11235" y="61230"/>
                  </a:cubicBezTo>
                  <a:cubicBezTo>
                    <a:pt x="11460" y="61230"/>
                    <a:pt x="11460" y="61230"/>
                    <a:pt x="11460" y="61230"/>
                  </a:cubicBezTo>
                  <a:cubicBezTo>
                    <a:pt x="11460" y="60956"/>
                    <a:pt x="11460" y="60956"/>
                    <a:pt x="11460" y="60956"/>
                  </a:cubicBezTo>
                  <a:cubicBezTo>
                    <a:pt x="11685" y="60410"/>
                    <a:pt x="11685" y="60410"/>
                    <a:pt x="11685" y="60410"/>
                  </a:cubicBezTo>
                  <a:cubicBezTo>
                    <a:pt x="11685" y="60136"/>
                    <a:pt x="11685" y="60136"/>
                    <a:pt x="11685" y="60136"/>
                  </a:cubicBezTo>
                  <a:cubicBezTo>
                    <a:pt x="12134" y="60136"/>
                    <a:pt x="12134" y="60136"/>
                    <a:pt x="12134" y="60136"/>
                  </a:cubicBezTo>
                  <a:cubicBezTo>
                    <a:pt x="12359" y="59863"/>
                    <a:pt x="12359" y="59863"/>
                    <a:pt x="12359" y="59863"/>
                  </a:cubicBezTo>
                  <a:cubicBezTo>
                    <a:pt x="12584" y="59316"/>
                    <a:pt x="12584" y="59316"/>
                    <a:pt x="12584" y="59316"/>
                  </a:cubicBezTo>
                  <a:cubicBezTo>
                    <a:pt x="12808" y="58769"/>
                    <a:pt x="12808" y="58769"/>
                    <a:pt x="12808" y="58769"/>
                  </a:cubicBezTo>
                  <a:cubicBezTo>
                    <a:pt x="12808" y="58769"/>
                    <a:pt x="13033" y="58223"/>
                    <a:pt x="13033" y="58223"/>
                  </a:cubicBezTo>
                  <a:cubicBezTo>
                    <a:pt x="13033" y="58223"/>
                    <a:pt x="13258" y="57676"/>
                    <a:pt x="13258" y="57676"/>
                  </a:cubicBezTo>
                  <a:cubicBezTo>
                    <a:pt x="13033" y="56856"/>
                    <a:pt x="13033" y="56856"/>
                    <a:pt x="13033" y="56856"/>
                  </a:cubicBezTo>
                  <a:cubicBezTo>
                    <a:pt x="12808" y="56309"/>
                    <a:pt x="12808" y="56309"/>
                    <a:pt x="12808" y="56309"/>
                  </a:cubicBezTo>
                  <a:cubicBezTo>
                    <a:pt x="12584" y="55763"/>
                    <a:pt x="12584" y="55763"/>
                    <a:pt x="12584" y="55763"/>
                  </a:cubicBezTo>
                  <a:cubicBezTo>
                    <a:pt x="12584" y="55763"/>
                    <a:pt x="12584" y="55489"/>
                    <a:pt x="12359" y="55489"/>
                  </a:cubicBezTo>
                  <a:cubicBezTo>
                    <a:pt x="12359" y="55489"/>
                    <a:pt x="12359" y="55216"/>
                    <a:pt x="12359" y="55216"/>
                  </a:cubicBezTo>
                  <a:cubicBezTo>
                    <a:pt x="12359" y="54669"/>
                    <a:pt x="12359" y="54669"/>
                    <a:pt x="12359" y="54669"/>
                  </a:cubicBezTo>
                  <a:cubicBezTo>
                    <a:pt x="12584" y="54396"/>
                    <a:pt x="12584" y="54396"/>
                    <a:pt x="12584" y="54396"/>
                  </a:cubicBezTo>
                  <a:cubicBezTo>
                    <a:pt x="12808" y="54396"/>
                    <a:pt x="12808" y="54396"/>
                    <a:pt x="12808" y="54396"/>
                  </a:cubicBezTo>
                  <a:cubicBezTo>
                    <a:pt x="13258" y="53849"/>
                    <a:pt x="13258" y="53849"/>
                    <a:pt x="13258" y="53849"/>
                  </a:cubicBezTo>
                  <a:cubicBezTo>
                    <a:pt x="13483" y="53849"/>
                    <a:pt x="13483" y="53849"/>
                    <a:pt x="13483" y="53849"/>
                  </a:cubicBezTo>
                  <a:cubicBezTo>
                    <a:pt x="13932" y="53849"/>
                    <a:pt x="13932" y="53849"/>
                    <a:pt x="13932" y="53849"/>
                  </a:cubicBezTo>
                  <a:cubicBezTo>
                    <a:pt x="14382" y="53302"/>
                    <a:pt x="14382" y="53302"/>
                    <a:pt x="14382" y="53302"/>
                  </a:cubicBezTo>
                  <a:cubicBezTo>
                    <a:pt x="14606" y="53302"/>
                    <a:pt x="14606" y="53302"/>
                    <a:pt x="14606" y="53302"/>
                  </a:cubicBezTo>
                  <a:cubicBezTo>
                    <a:pt x="14831" y="53029"/>
                    <a:pt x="14831" y="53029"/>
                    <a:pt x="14831" y="53029"/>
                  </a:cubicBezTo>
                  <a:cubicBezTo>
                    <a:pt x="15056" y="52482"/>
                    <a:pt x="15056" y="52482"/>
                    <a:pt x="15056" y="52482"/>
                  </a:cubicBezTo>
                  <a:cubicBezTo>
                    <a:pt x="14831" y="51936"/>
                    <a:pt x="14831" y="51936"/>
                    <a:pt x="14831" y="51936"/>
                  </a:cubicBezTo>
                  <a:cubicBezTo>
                    <a:pt x="14606" y="51662"/>
                    <a:pt x="14606" y="51662"/>
                    <a:pt x="14606" y="51662"/>
                  </a:cubicBezTo>
                  <a:cubicBezTo>
                    <a:pt x="14831" y="50842"/>
                    <a:pt x="14831" y="50842"/>
                    <a:pt x="14831" y="50842"/>
                  </a:cubicBezTo>
                  <a:cubicBezTo>
                    <a:pt x="15280" y="50569"/>
                    <a:pt x="15280" y="50569"/>
                    <a:pt x="15280" y="50569"/>
                  </a:cubicBezTo>
                  <a:cubicBezTo>
                    <a:pt x="15280" y="49749"/>
                    <a:pt x="15280" y="49749"/>
                    <a:pt x="15280" y="49749"/>
                  </a:cubicBezTo>
                  <a:cubicBezTo>
                    <a:pt x="15056" y="49476"/>
                    <a:pt x="15056" y="49476"/>
                    <a:pt x="15056" y="49476"/>
                  </a:cubicBezTo>
                  <a:cubicBezTo>
                    <a:pt x="15280" y="48929"/>
                    <a:pt x="15280" y="48929"/>
                    <a:pt x="15280" y="48929"/>
                  </a:cubicBezTo>
                  <a:cubicBezTo>
                    <a:pt x="15505" y="48656"/>
                    <a:pt x="15505" y="48656"/>
                    <a:pt x="15505" y="48656"/>
                  </a:cubicBezTo>
                  <a:cubicBezTo>
                    <a:pt x="15505" y="48656"/>
                    <a:pt x="15730" y="48109"/>
                    <a:pt x="15730" y="47835"/>
                  </a:cubicBezTo>
                  <a:cubicBezTo>
                    <a:pt x="15955" y="47835"/>
                    <a:pt x="15955" y="47015"/>
                    <a:pt x="15955" y="47015"/>
                  </a:cubicBezTo>
                  <a:cubicBezTo>
                    <a:pt x="15730" y="46469"/>
                    <a:pt x="15730" y="46469"/>
                    <a:pt x="15730" y="46469"/>
                  </a:cubicBezTo>
                  <a:cubicBezTo>
                    <a:pt x="15730" y="46195"/>
                    <a:pt x="15730" y="46195"/>
                    <a:pt x="15730" y="46195"/>
                  </a:cubicBezTo>
                  <a:cubicBezTo>
                    <a:pt x="15730" y="46195"/>
                    <a:pt x="16179" y="45922"/>
                    <a:pt x="16179" y="45922"/>
                  </a:cubicBezTo>
                  <a:cubicBezTo>
                    <a:pt x="16404" y="45922"/>
                    <a:pt x="16404" y="45102"/>
                    <a:pt x="16404" y="45102"/>
                  </a:cubicBezTo>
                  <a:cubicBezTo>
                    <a:pt x="15955" y="44829"/>
                    <a:pt x="15955" y="44829"/>
                    <a:pt x="15955" y="44829"/>
                  </a:cubicBezTo>
                  <a:cubicBezTo>
                    <a:pt x="15955" y="44829"/>
                    <a:pt x="15955" y="44282"/>
                    <a:pt x="15955" y="44009"/>
                  </a:cubicBezTo>
                  <a:cubicBezTo>
                    <a:pt x="15955" y="44009"/>
                    <a:pt x="15955" y="43462"/>
                    <a:pt x="15955" y="43462"/>
                  </a:cubicBezTo>
                  <a:cubicBezTo>
                    <a:pt x="15730" y="43462"/>
                    <a:pt x="15730" y="43462"/>
                    <a:pt x="15730" y="43462"/>
                  </a:cubicBezTo>
                  <a:cubicBezTo>
                    <a:pt x="15730" y="42915"/>
                    <a:pt x="15730" y="42915"/>
                    <a:pt x="15730" y="42915"/>
                  </a:cubicBezTo>
                  <a:cubicBezTo>
                    <a:pt x="15955" y="42642"/>
                    <a:pt x="15955" y="42642"/>
                    <a:pt x="15955" y="42642"/>
                  </a:cubicBezTo>
                  <a:cubicBezTo>
                    <a:pt x="16404" y="42915"/>
                    <a:pt x="16404" y="42915"/>
                    <a:pt x="16404" y="42915"/>
                  </a:cubicBezTo>
                  <a:cubicBezTo>
                    <a:pt x="16404" y="42915"/>
                    <a:pt x="16629" y="42642"/>
                    <a:pt x="16853" y="42642"/>
                  </a:cubicBezTo>
                  <a:cubicBezTo>
                    <a:pt x="16853" y="42369"/>
                    <a:pt x="17303" y="42369"/>
                    <a:pt x="17303" y="42369"/>
                  </a:cubicBezTo>
                  <a:cubicBezTo>
                    <a:pt x="17528" y="41548"/>
                    <a:pt x="17528" y="41548"/>
                    <a:pt x="17528" y="41548"/>
                  </a:cubicBezTo>
                  <a:cubicBezTo>
                    <a:pt x="18426" y="41002"/>
                    <a:pt x="18426" y="41002"/>
                    <a:pt x="18426" y="41002"/>
                  </a:cubicBezTo>
                  <a:cubicBezTo>
                    <a:pt x="18426" y="40728"/>
                    <a:pt x="18426" y="40728"/>
                    <a:pt x="18426" y="40728"/>
                  </a:cubicBezTo>
                  <a:cubicBezTo>
                    <a:pt x="19101" y="40455"/>
                    <a:pt x="19101" y="40455"/>
                    <a:pt x="19101" y="40455"/>
                  </a:cubicBezTo>
                  <a:cubicBezTo>
                    <a:pt x="19550" y="40728"/>
                    <a:pt x="19550" y="40728"/>
                    <a:pt x="19550" y="40728"/>
                  </a:cubicBezTo>
                  <a:cubicBezTo>
                    <a:pt x="20000" y="40182"/>
                    <a:pt x="20000" y="40182"/>
                    <a:pt x="20000" y="40182"/>
                  </a:cubicBezTo>
                  <a:cubicBezTo>
                    <a:pt x="20224" y="40182"/>
                    <a:pt x="20224" y="40182"/>
                    <a:pt x="20224" y="40182"/>
                  </a:cubicBezTo>
                  <a:cubicBezTo>
                    <a:pt x="20674" y="39908"/>
                    <a:pt x="20674" y="39908"/>
                    <a:pt x="20674" y="39908"/>
                  </a:cubicBezTo>
                  <a:cubicBezTo>
                    <a:pt x="21123" y="39635"/>
                    <a:pt x="21123" y="39635"/>
                    <a:pt x="21123" y="39635"/>
                  </a:cubicBezTo>
                  <a:cubicBezTo>
                    <a:pt x="21797" y="38815"/>
                    <a:pt x="21797" y="38815"/>
                    <a:pt x="21797" y="38815"/>
                  </a:cubicBezTo>
                  <a:cubicBezTo>
                    <a:pt x="22022" y="38815"/>
                    <a:pt x="22022" y="38815"/>
                    <a:pt x="22022" y="38815"/>
                  </a:cubicBezTo>
                  <a:cubicBezTo>
                    <a:pt x="22022" y="38815"/>
                    <a:pt x="22471" y="38542"/>
                    <a:pt x="22471" y="38542"/>
                  </a:cubicBezTo>
                  <a:cubicBezTo>
                    <a:pt x="22471" y="38542"/>
                    <a:pt x="22696" y="37995"/>
                    <a:pt x="22696" y="37995"/>
                  </a:cubicBezTo>
                  <a:cubicBezTo>
                    <a:pt x="23146" y="37722"/>
                    <a:pt x="23146" y="37722"/>
                    <a:pt x="23146" y="37722"/>
                  </a:cubicBezTo>
                  <a:cubicBezTo>
                    <a:pt x="23595" y="36902"/>
                    <a:pt x="23595" y="36902"/>
                    <a:pt x="23595" y="36902"/>
                  </a:cubicBezTo>
                  <a:cubicBezTo>
                    <a:pt x="24044" y="36355"/>
                    <a:pt x="24044" y="36355"/>
                    <a:pt x="24044" y="36355"/>
                  </a:cubicBezTo>
                  <a:cubicBezTo>
                    <a:pt x="23595" y="35535"/>
                    <a:pt x="23595" y="35535"/>
                    <a:pt x="23595" y="35535"/>
                  </a:cubicBezTo>
                  <a:cubicBezTo>
                    <a:pt x="23595" y="35535"/>
                    <a:pt x="23146" y="34988"/>
                    <a:pt x="22921" y="34988"/>
                  </a:cubicBezTo>
                  <a:cubicBezTo>
                    <a:pt x="22921" y="34715"/>
                    <a:pt x="22471" y="34441"/>
                    <a:pt x="22471" y="34441"/>
                  </a:cubicBezTo>
                  <a:cubicBezTo>
                    <a:pt x="22471" y="34441"/>
                    <a:pt x="21797" y="34168"/>
                    <a:pt x="21797" y="34168"/>
                  </a:cubicBezTo>
                  <a:cubicBezTo>
                    <a:pt x="21797" y="34168"/>
                    <a:pt x="21348" y="34441"/>
                    <a:pt x="21348" y="34441"/>
                  </a:cubicBezTo>
                  <a:cubicBezTo>
                    <a:pt x="21123" y="34168"/>
                    <a:pt x="21123" y="34168"/>
                    <a:pt x="21123" y="34168"/>
                  </a:cubicBezTo>
                  <a:cubicBezTo>
                    <a:pt x="21123" y="34168"/>
                    <a:pt x="20898" y="33621"/>
                    <a:pt x="21123" y="33621"/>
                  </a:cubicBezTo>
                  <a:cubicBezTo>
                    <a:pt x="21123" y="33621"/>
                    <a:pt x="21123" y="33348"/>
                    <a:pt x="21123" y="33348"/>
                  </a:cubicBezTo>
                  <a:cubicBezTo>
                    <a:pt x="21123" y="33075"/>
                    <a:pt x="21123" y="33075"/>
                    <a:pt x="21123" y="33075"/>
                  </a:cubicBezTo>
                  <a:cubicBezTo>
                    <a:pt x="21123" y="32801"/>
                    <a:pt x="21123" y="32801"/>
                    <a:pt x="21123" y="32801"/>
                  </a:cubicBezTo>
                  <a:cubicBezTo>
                    <a:pt x="21348" y="32528"/>
                    <a:pt x="21348" y="32528"/>
                    <a:pt x="21348" y="32528"/>
                  </a:cubicBezTo>
                  <a:cubicBezTo>
                    <a:pt x="21348" y="32528"/>
                    <a:pt x="21573" y="32255"/>
                    <a:pt x="21573" y="31981"/>
                  </a:cubicBezTo>
                  <a:cubicBezTo>
                    <a:pt x="21573" y="31981"/>
                    <a:pt x="21797" y="31435"/>
                    <a:pt x="21797" y="31435"/>
                  </a:cubicBezTo>
                  <a:cubicBezTo>
                    <a:pt x="21797" y="31435"/>
                    <a:pt x="21573" y="31161"/>
                    <a:pt x="21573" y="30888"/>
                  </a:cubicBezTo>
                  <a:cubicBezTo>
                    <a:pt x="21348" y="30888"/>
                    <a:pt x="21348" y="30888"/>
                    <a:pt x="21573" y="30615"/>
                  </a:cubicBezTo>
                  <a:cubicBezTo>
                    <a:pt x="21573" y="30615"/>
                    <a:pt x="21573" y="30341"/>
                    <a:pt x="21573" y="30341"/>
                  </a:cubicBezTo>
                  <a:cubicBezTo>
                    <a:pt x="21573" y="30341"/>
                    <a:pt x="21573" y="29794"/>
                    <a:pt x="21348" y="29794"/>
                  </a:cubicBezTo>
                  <a:cubicBezTo>
                    <a:pt x="21348" y="29794"/>
                    <a:pt x="20898" y="30068"/>
                    <a:pt x="20898" y="30068"/>
                  </a:cubicBezTo>
                  <a:cubicBezTo>
                    <a:pt x="20898" y="30068"/>
                    <a:pt x="20224" y="29794"/>
                    <a:pt x="20224" y="29794"/>
                  </a:cubicBezTo>
                  <a:cubicBezTo>
                    <a:pt x="20224" y="29794"/>
                    <a:pt x="20000" y="29521"/>
                    <a:pt x="20000" y="29521"/>
                  </a:cubicBezTo>
                  <a:cubicBezTo>
                    <a:pt x="20000" y="29521"/>
                    <a:pt x="20000" y="28974"/>
                    <a:pt x="19775" y="28974"/>
                  </a:cubicBezTo>
                  <a:cubicBezTo>
                    <a:pt x="19550" y="28701"/>
                    <a:pt x="19550" y="28974"/>
                    <a:pt x="19550" y="28974"/>
                  </a:cubicBezTo>
                  <a:cubicBezTo>
                    <a:pt x="19325" y="29521"/>
                    <a:pt x="19325" y="29521"/>
                    <a:pt x="19325" y="29521"/>
                  </a:cubicBezTo>
                  <a:cubicBezTo>
                    <a:pt x="19325" y="29521"/>
                    <a:pt x="18876" y="29521"/>
                    <a:pt x="18651" y="29248"/>
                  </a:cubicBezTo>
                  <a:cubicBezTo>
                    <a:pt x="18651" y="29248"/>
                    <a:pt x="18426" y="29248"/>
                    <a:pt x="18426" y="29248"/>
                  </a:cubicBezTo>
                  <a:cubicBezTo>
                    <a:pt x="18202" y="29248"/>
                    <a:pt x="18202" y="28974"/>
                    <a:pt x="18202" y="28701"/>
                  </a:cubicBezTo>
                  <a:cubicBezTo>
                    <a:pt x="17977" y="28428"/>
                    <a:pt x="17977" y="28701"/>
                    <a:pt x="17752" y="28701"/>
                  </a:cubicBezTo>
                  <a:cubicBezTo>
                    <a:pt x="17752" y="28701"/>
                    <a:pt x="17303" y="28701"/>
                    <a:pt x="17303" y="28701"/>
                  </a:cubicBezTo>
                  <a:cubicBezTo>
                    <a:pt x="17303" y="28701"/>
                    <a:pt x="16853" y="28154"/>
                    <a:pt x="16853" y="28154"/>
                  </a:cubicBezTo>
                  <a:cubicBezTo>
                    <a:pt x="16853" y="27881"/>
                    <a:pt x="16629" y="27881"/>
                    <a:pt x="16629" y="27881"/>
                  </a:cubicBezTo>
                  <a:cubicBezTo>
                    <a:pt x="16629" y="27881"/>
                    <a:pt x="16179" y="28154"/>
                    <a:pt x="16179" y="28154"/>
                  </a:cubicBezTo>
                  <a:cubicBezTo>
                    <a:pt x="16179" y="28428"/>
                    <a:pt x="16179" y="28428"/>
                    <a:pt x="16179" y="28428"/>
                  </a:cubicBezTo>
                  <a:cubicBezTo>
                    <a:pt x="15955" y="29248"/>
                    <a:pt x="15955" y="29248"/>
                    <a:pt x="15955" y="29248"/>
                  </a:cubicBezTo>
                  <a:cubicBezTo>
                    <a:pt x="15280" y="29794"/>
                    <a:pt x="15280" y="29794"/>
                    <a:pt x="15280" y="29794"/>
                  </a:cubicBezTo>
                  <a:cubicBezTo>
                    <a:pt x="15280" y="29794"/>
                    <a:pt x="14606" y="29794"/>
                    <a:pt x="14382" y="29521"/>
                  </a:cubicBezTo>
                  <a:cubicBezTo>
                    <a:pt x="14382" y="29521"/>
                    <a:pt x="14382" y="29521"/>
                    <a:pt x="14157" y="29521"/>
                  </a:cubicBezTo>
                  <a:cubicBezTo>
                    <a:pt x="13932" y="29521"/>
                    <a:pt x="13932" y="29521"/>
                    <a:pt x="13932" y="29521"/>
                  </a:cubicBezTo>
                  <a:cubicBezTo>
                    <a:pt x="13932" y="29521"/>
                    <a:pt x="13483" y="29794"/>
                    <a:pt x="13483" y="29794"/>
                  </a:cubicBezTo>
                  <a:cubicBezTo>
                    <a:pt x="13483" y="29794"/>
                    <a:pt x="13258" y="29248"/>
                    <a:pt x="13258" y="29248"/>
                  </a:cubicBezTo>
                  <a:cubicBezTo>
                    <a:pt x="13258" y="29248"/>
                    <a:pt x="12808" y="28974"/>
                    <a:pt x="12808" y="28701"/>
                  </a:cubicBezTo>
                  <a:cubicBezTo>
                    <a:pt x="12808" y="28701"/>
                    <a:pt x="12808" y="28974"/>
                    <a:pt x="12808" y="28974"/>
                  </a:cubicBezTo>
                  <a:cubicBezTo>
                    <a:pt x="12808" y="28974"/>
                    <a:pt x="12584" y="29248"/>
                    <a:pt x="12359" y="29248"/>
                  </a:cubicBezTo>
                  <a:cubicBezTo>
                    <a:pt x="12359" y="29248"/>
                    <a:pt x="12134" y="29521"/>
                    <a:pt x="12134" y="29521"/>
                  </a:cubicBezTo>
                  <a:cubicBezTo>
                    <a:pt x="11910" y="29521"/>
                    <a:pt x="12134" y="28974"/>
                    <a:pt x="12134" y="28974"/>
                  </a:cubicBezTo>
                  <a:cubicBezTo>
                    <a:pt x="12359" y="28428"/>
                    <a:pt x="12359" y="28428"/>
                    <a:pt x="12359" y="28428"/>
                  </a:cubicBezTo>
                  <a:cubicBezTo>
                    <a:pt x="12359" y="28428"/>
                    <a:pt x="11685" y="28154"/>
                    <a:pt x="11685" y="27881"/>
                  </a:cubicBezTo>
                  <a:cubicBezTo>
                    <a:pt x="11460" y="27881"/>
                    <a:pt x="11235" y="27608"/>
                    <a:pt x="11235" y="27608"/>
                  </a:cubicBezTo>
                  <a:cubicBezTo>
                    <a:pt x="11235" y="27608"/>
                    <a:pt x="10786" y="27608"/>
                    <a:pt x="10786" y="27608"/>
                  </a:cubicBezTo>
                  <a:cubicBezTo>
                    <a:pt x="10337" y="27608"/>
                    <a:pt x="10337" y="27608"/>
                    <a:pt x="10337" y="27608"/>
                  </a:cubicBezTo>
                  <a:cubicBezTo>
                    <a:pt x="10337" y="27608"/>
                    <a:pt x="10112" y="27608"/>
                    <a:pt x="9887" y="27881"/>
                  </a:cubicBezTo>
                  <a:cubicBezTo>
                    <a:pt x="9887" y="27881"/>
                    <a:pt x="9662" y="28154"/>
                    <a:pt x="9438" y="27881"/>
                  </a:cubicBezTo>
                  <a:cubicBezTo>
                    <a:pt x="9438" y="27881"/>
                    <a:pt x="9662" y="27334"/>
                    <a:pt x="9662" y="27334"/>
                  </a:cubicBezTo>
                  <a:cubicBezTo>
                    <a:pt x="9662" y="27334"/>
                    <a:pt x="9662" y="26788"/>
                    <a:pt x="9662" y="26788"/>
                  </a:cubicBezTo>
                  <a:cubicBezTo>
                    <a:pt x="9438" y="26514"/>
                    <a:pt x="9438" y="27061"/>
                    <a:pt x="9438" y="27061"/>
                  </a:cubicBezTo>
                  <a:cubicBezTo>
                    <a:pt x="9438" y="27061"/>
                    <a:pt x="8988" y="27334"/>
                    <a:pt x="8764" y="27608"/>
                  </a:cubicBezTo>
                  <a:cubicBezTo>
                    <a:pt x="8764" y="27608"/>
                    <a:pt x="8539" y="27608"/>
                    <a:pt x="8539" y="27608"/>
                  </a:cubicBezTo>
                  <a:cubicBezTo>
                    <a:pt x="8314" y="27608"/>
                    <a:pt x="8089" y="27881"/>
                    <a:pt x="7640" y="27881"/>
                  </a:cubicBezTo>
                  <a:cubicBezTo>
                    <a:pt x="7415" y="27881"/>
                    <a:pt x="7191" y="28154"/>
                    <a:pt x="7191" y="27881"/>
                  </a:cubicBezTo>
                  <a:cubicBezTo>
                    <a:pt x="6966" y="27881"/>
                    <a:pt x="6966" y="27608"/>
                    <a:pt x="6966" y="27608"/>
                  </a:cubicBezTo>
                  <a:cubicBezTo>
                    <a:pt x="6966" y="27061"/>
                    <a:pt x="6966" y="27061"/>
                    <a:pt x="6966" y="27061"/>
                  </a:cubicBezTo>
                  <a:cubicBezTo>
                    <a:pt x="6966" y="27061"/>
                    <a:pt x="6741" y="26788"/>
                    <a:pt x="6741" y="26514"/>
                  </a:cubicBezTo>
                  <a:cubicBezTo>
                    <a:pt x="6516" y="26241"/>
                    <a:pt x="6741" y="26241"/>
                    <a:pt x="6741" y="25968"/>
                  </a:cubicBezTo>
                  <a:cubicBezTo>
                    <a:pt x="6741" y="25968"/>
                    <a:pt x="7191" y="25694"/>
                    <a:pt x="7191" y="25694"/>
                  </a:cubicBezTo>
                  <a:cubicBezTo>
                    <a:pt x="7191" y="25421"/>
                    <a:pt x="7415" y="25421"/>
                    <a:pt x="7415" y="25421"/>
                  </a:cubicBezTo>
                  <a:cubicBezTo>
                    <a:pt x="8089" y="25148"/>
                    <a:pt x="8089" y="25148"/>
                    <a:pt x="8089" y="25148"/>
                  </a:cubicBezTo>
                  <a:cubicBezTo>
                    <a:pt x="8089" y="25148"/>
                    <a:pt x="8089" y="24328"/>
                    <a:pt x="8089" y="24054"/>
                  </a:cubicBezTo>
                  <a:cubicBezTo>
                    <a:pt x="8089" y="24054"/>
                    <a:pt x="8089" y="24054"/>
                    <a:pt x="7865" y="24054"/>
                  </a:cubicBezTo>
                  <a:cubicBezTo>
                    <a:pt x="7640" y="24054"/>
                    <a:pt x="7640" y="23781"/>
                    <a:pt x="7640" y="23781"/>
                  </a:cubicBezTo>
                  <a:cubicBezTo>
                    <a:pt x="7640" y="23781"/>
                    <a:pt x="7640" y="23234"/>
                    <a:pt x="7640" y="23234"/>
                  </a:cubicBezTo>
                  <a:cubicBezTo>
                    <a:pt x="7415" y="22687"/>
                    <a:pt x="7415" y="22687"/>
                    <a:pt x="7415" y="22687"/>
                  </a:cubicBezTo>
                  <a:cubicBezTo>
                    <a:pt x="6516" y="22961"/>
                    <a:pt x="6516" y="22961"/>
                    <a:pt x="6516" y="22961"/>
                  </a:cubicBezTo>
                  <a:cubicBezTo>
                    <a:pt x="6516" y="22961"/>
                    <a:pt x="6067" y="23234"/>
                    <a:pt x="5842" y="23234"/>
                  </a:cubicBezTo>
                  <a:cubicBezTo>
                    <a:pt x="5842" y="23234"/>
                    <a:pt x="5393" y="23234"/>
                    <a:pt x="5393" y="23234"/>
                  </a:cubicBezTo>
                  <a:cubicBezTo>
                    <a:pt x="5168" y="23234"/>
                    <a:pt x="4943" y="22961"/>
                    <a:pt x="4943" y="22961"/>
                  </a:cubicBezTo>
                  <a:cubicBezTo>
                    <a:pt x="4943" y="22961"/>
                    <a:pt x="4044" y="23234"/>
                    <a:pt x="4044" y="23234"/>
                  </a:cubicBezTo>
                  <a:cubicBezTo>
                    <a:pt x="4044" y="23234"/>
                    <a:pt x="3820" y="23234"/>
                    <a:pt x="3820" y="23234"/>
                  </a:cubicBezTo>
                  <a:cubicBezTo>
                    <a:pt x="3370" y="23234"/>
                    <a:pt x="3370" y="23234"/>
                    <a:pt x="3370" y="23234"/>
                  </a:cubicBezTo>
                  <a:cubicBezTo>
                    <a:pt x="2921" y="23507"/>
                    <a:pt x="2921" y="23507"/>
                    <a:pt x="2921" y="23507"/>
                  </a:cubicBezTo>
                  <a:cubicBezTo>
                    <a:pt x="2696" y="23781"/>
                    <a:pt x="2696" y="23781"/>
                    <a:pt x="2696" y="23781"/>
                  </a:cubicBezTo>
                  <a:cubicBezTo>
                    <a:pt x="2696" y="23781"/>
                    <a:pt x="2471" y="24054"/>
                    <a:pt x="2471" y="24054"/>
                  </a:cubicBezTo>
                  <a:cubicBezTo>
                    <a:pt x="2247" y="24054"/>
                    <a:pt x="2022" y="24054"/>
                    <a:pt x="1797" y="24054"/>
                  </a:cubicBezTo>
                  <a:cubicBezTo>
                    <a:pt x="1797" y="24054"/>
                    <a:pt x="1573" y="24328"/>
                    <a:pt x="1573" y="24328"/>
                  </a:cubicBezTo>
                  <a:cubicBezTo>
                    <a:pt x="1573" y="24328"/>
                    <a:pt x="1123" y="24601"/>
                    <a:pt x="898" y="24874"/>
                  </a:cubicBezTo>
                  <a:cubicBezTo>
                    <a:pt x="674" y="23507"/>
                    <a:pt x="674" y="23507"/>
                    <a:pt x="674" y="23507"/>
                  </a:cubicBezTo>
                  <a:cubicBezTo>
                    <a:pt x="1348" y="21047"/>
                    <a:pt x="1348" y="21047"/>
                    <a:pt x="1348" y="21047"/>
                  </a:cubicBezTo>
                  <a:cubicBezTo>
                    <a:pt x="2471" y="19954"/>
                    <a:pt x="2471" y="19954"/>
                    <a:pt x="2471" y="19954"/>
                  </a:cubicBezTo>
                  <a:cubicBezTo>
                    <a:pt x="2921" y="17767"/>
                    <a:pt x="2921" y="17767"/>
                    <a:pt x="2921" y="17767"/>
                  </a:cubicBezTo>
                  <a:cubicBezTo>
                    <a:pt x="2247" y="16947"/>
                    <a:pt x="2247" y="16947"/>
                    <a:pt x="2247" y="16947"/>
                  </a:cubicBezTo>
                  <a:cubicBezTo>
                    <a:pt x="2247" y="16127"/>
                    <a:pt x="4269" y="14487"/>
                    <a:pt x="4044" y="13667"/>
                  </a:cubicBezTo>
                  <a:cubicBezTo>
                    <a:pt x="3820" y="12847"/>
                    <a:pt x="1348" y="15307"/>
                    <a:pt x="1123" y="14487"/>
                  </a:cubicBezTo>
                  <a:cubicBezTo>
                    <a:pt x="898" y="12847"/>
                    <a:pt x="1573" y="13120"/>
                    <a:pt x="2696" y="11753"/>
                  </a:cubicBezTo>
                  <a:cubicBezTo>
                    <a:pt x="1348" y="11207"/>
                    <a:pt x="1348" y="11207"/>
                    <a:pt x="1348" y="11207"/>
                  </a:cubicBezTo>
                  <a:cubicBezTo>
                    <a:pt x="1348" y="9567"/>
                    <a:pt x="1348" y="9567"/>
                    <a:pt x="1348" y="9567"/>
                  </a:cubicBezTo>
                  <a:cubicBezTo>
                    <a:pt x="449" y="9020"/>
                    <a:pt x="449" y="9020"/>
                    <a:pt x="449" y="9020"/>
                  </a:cubicBezTo>
                  <a:cubicBezTo>
                    <a:pt x="449" y="9020"/>
                    <a:pt x="674" y="8200"/>
                    <a:pt x="674" y="7380"/>
                  </a:cubicBezTo>
                  <a:cubicBezTo>
                    <a:pt x="674" y="6560"/>
                    <a:pt x="1348" y="6287"/>
                    <a:pt x="1348" y="6287"/>
                  </a:cubicBezTo>
                  <a:cubicBezTo>
                    <a:pt x="2022" y="6013"/>
                    <a:pt x="2471" y="5466"/>
                    <a:pt x="3146" y="4920"/>
                  </a:cubicBezTo>
                  <a:cubicBezTo>
                    <a:pt x="3820" y="3826"/>
                    <a:pt x="4494" y="4373"/>
                    <a:pt x="4943" y="4100"/>
                  </a:cubicBezTo>
                  <a:cubicBezTo>
                    <a:pt x="5617" y="3553"/>
                    <a:pt x="5617" y="4100"/>
                    <a:pt x="7865" y="4646"/>
                  </a:cubicBezTo>
                  <a:cubicBezTo>
                    <a:pt x="8314" y="4373"/>
                    <a:pt x="9213" y="4373"/>
                    <a:pt x="9438" y="3826"/>
                  </a:cubicBezTo>
                  <a:cubicBezTo>
                    <a:pt x="9887" y="3280"/>
                    <a:pt x="10561" y="3553"/>
                    <a:pt x="10561" y="2460"/>
                  </a:cubicBezTo>
                  <a:cubicBezTo>
                    <a:pt x="10786" y="820"/>
                    <a:pt x="13258" y="1913"/>
                    <a:pt x="13258" y="1366"/>
                  </a:cubicBezTo>
                  <a:cubicBezTo>
                    <a:pt x="13707" y="1366"/>
                    <a:pt x="14157" y="0"/>
                    <a:pt x="15280" y="0"/>
                  </a:cubicBezTo>
                  <a:cubicBezTo>
                    <a:pt x="16179" y="273"/>
                    <a:pt x="16404" y="546"/>
                    <a:pt x="17078" y="820"/>
                  </a:cubicBezTo>
                  <a:cubicBezTo>
                    <a:pt x="19550" y="2733"/>
                    <a:pt x="18426" y="3826"/>
                    <a:pt x="21348" y="4920"/>
                  </a:cubicBezTo>
                  <a:cubicBezTo>
                    <a:pt x="23820" y="5740"/>
                    <a:pt x="26741" y="6560"/>
                    <a:pt x="29213" y="7107"/>
                  </a:cubicBezTo>
                  <a:cubicBezTo>
                    <a:pt x="31460" y="7380"/>
                    <a:pt x="33707" y="8473"/>
                    <a:pt x="35955" y="9567"/>
                  </a:cubicBezTo>
                  <a:cubicBezTo>
                    <a:pt x="35955" y="9567"/>
                    <a:pt x="44269" y="14214"/>
                    <a:pt x="44494" y="14487"/>
                  </a:cubicBezTo>
                  <a:cubicBezTo>
                    <a:pt x="44719" y="14487"/>
                    <a:pt x="49438" y="13394"/>
                    <a:pt x="49662" y="13394"/>
                  </a:cubicBezTo>
                  <a:cubicBezTo>
                    <a:pt x="49887" y="13394"/>
                    <a:pt x="51460" y="13667"/>
                    <a:pt x="52584" y="14487"/>
                  </a:cubicBezTo>
                  <a:cubicBezTo>
                    <a:pt x="53258" y="15307"/>
                    <a:pt x="55505" y="17220"/>
                    <a:pt x="55505" y="17220"/>
                  </a:cubicBezTo>
                  <a:cubicBezTo>
                    <a:pt x="55955" y="17494"/>
                    <a:pt x="58651" y="16947"/>
                    <a:pt x="58651" y="16947"/>
                  </a:cubicBezTo>
                  <a:cubicBezTo>
                    <a:pt x="60449" y="16947"/>
                    <a:pt x="62022" y="19407"/>
                    <a:pt x="62921" y="19681"/>
                  </a:cubicBezTo>
                  <a:cubicBezTo>
                    <a:pt x="64044" y="19954"/>
                    <a:pt x="66741" y="18314"/>
                    <a:pt x="67865" y="19681"/>
                  </a:cubicBezTo>
                  <a:cubicBezTo>
                    <a:pt x="67865" y="19681"/>
                    <a:pt x="70112" y="19954"/>
                    <a:pt x="70337" y="21321"/>
                  </a:cubicBezTo>
                  <a:cubicBezTo>
                    <a:pt x="70786" y="22687"/>
                    <a:pt x="71685" y="24874"/>
                    <a:pt x="71685" y="24874"/>
                  </a:cubicBezTo>
                  <a:cubicBezTo>
                    <a:pt x="74606" y="26241"/>
                    <a:pt x="74606" y="26241"/>
                    <a:pt x="74606" y="26241"/>
                  </a:cubicBezTo>
                  <a:cubicBezTo>
                    <a:pt x="74606" y="26241"/>
                    <a:pt x="76179" y="27881"/>
                    <a:pt x="76404" y="28428"/>
                  </a:cubicBezTo>
                  <a:cubicBezTo>
                    <a:pt x="76629" y="28701"/>
                    <a:pt x="80000" y="30068"/>
                    <a:pt x="80000" y="30068"/>
                  </a:cubicBezTo>
                  <a:cubicBezTo>
                    <a:pt x="82247" y="32528"/>
                    <a:pt x="82247" y="32528"/>
                    <a:pt x="82247" y="32528"/>
                  </a:cubicBezTo>
                  <a:cubicBezTo>
                    <a:pt x="85617" y="32528"/>
                    <a:pt x="85617" y="32528"/>
                    <a:pt x="85617" y="32528"/>
                  </a:cubicBezTo>
                  <a:cubicBezTo>
                    <a:pt x="87865" y="33075"/>
                    <a:pt x="87865" y="33075"/>
                    <a:pt x="87865" y="33075"/>
                  </a:cubicBezTo>
                  <a:cubicBezTo>
                    <a:pt x="88988" y="31435"/>
                    <a:pt x="88988" y="31435"/>
                    <a:pt x="88988" y="31435"/>
                  </a:cubicBezTo>
                  <a:cubicBezTo>
                    <a:pt x="88988" y="31435"/>
                    <a:pt x="94606" y="34715"/>
                    <a:pt x="94831" y="34715"/>
                  </a:cubicBezTo>
                  <a:cubicBezTo>
                    <a:pt x="95056" y="34715"/>
                    <a:pt x="95056" y="35535"/>
                    <a:pt x="95280" y="36355"/>
                  </a:cubicBezTo>
                  <a:cubicBezTo>
                    <a:pt x="95280" y="36628"/>
                    <a:pt x="95280" y="36628"/>
                    <a:pt x="95280" y="36628"/>
                  </a:cubicBezTo>
                  <a:cubicBezTo>
                    <a:pt x="95056" y="36628"/>
                    <a:pt x="95280" y="36628"/>
                    <a:pt x="95280" y="36628"/>
                  </a:cubicBezTo>
                  <a:cubicBezTo>
                    <a:pt x="95280" y="36628"/>
                    <a:pt x="95280" y="36628"/>
                    <a:pt x="95280" y="36628"/>
                  </a:cubicBezTo>
                  <a:cubicBezTo>
                    <a:pt x="95280" y="37175"/>
                    <a:pt x="95280" y="37175"/>
                    <a:pt x="95280" y="37175"/>
                  </a:cubicBezTo>
                  <a:cubicBezTo>
                    <a:pt x="95280" y="37448"/>
                    <a:pt x="95280" y="37448"/>
                    <a:pt x="95280" y="37448"/>
                  </a:cubicBezTo>
                  <a:cubicBezTo>
                    <a:pt x="95056" y="37448"/>
                    <a:pt x="95056" y="37448"/>
                    <a:pt x="95056" y="37448"/>
                  </a:cubicBezTo>
                  <a:cubicBezTo>
                    <a:pt x="95056" y="37448"/>
                    <a:pt x="95056" y="37448"/>
                    <a:pt x="95056" y="37448"/>
                  </a:cubicBezTo>
                  <a:cubicBezTo>
                    <a:pt x="95280" y="37722"/>
                    <a:pt x="95280" y="37722"/>
                    <a:pt x="95280" y="37722"/>
                  </a:cubicBezTo>
                  <a:cubicBezTo>
                    <a:pt x="95280" y="37722"/>
                    <a:pt x="95280" y="37722"/>
                    <a:pt x="95280" y="37722"/>
                  </a:cubicBezTo>
                  <a:cubicBezTo>
                    <a:pt x="95280" y="37722"/>
                    <a:pt x="95280" y="37722"/>
                    <a:pt x="95280" y="37995"/>
                  </a:cubicBezTo>
                  <a:cubicBezTo>
                    <a:pt x="95280" y="37995"/>
                    <a:pt x="95280" y="37995"/>
                    <a:pt x="95280" y="37995"/>
                  </a:cubicBezTo>
                  <a:cubicBezTo>
                    <a:pt x="95280" y="37995"/>
                    <a:pt x="95280" y="37995"/>
                    <a:pt x="95280" y="38268"/>
                  </a:cubicBezTo>
                  <a:cubicBezTo>
                    <a:pt x="95280" y="38268"/>
                    <a:pt x="95280" y="38268"/>
                    <a:pt x="95280" y="38268"/>
                  </a:cubicBezTo>
                  <a:cubicBezTo>
                    <a:pt x="95505" y="38268"/>
                    <a:pt x="95505" y="38268"/>
                    <a:pt x="95505" y="38268"/>
                  </a:cubicBezTo>
                  <a:cubicBezTo>
                    <a:pt x="95505" y="38268"/>
                    <a:pt x="95505" y="38268"/>
                    <a:pt x="95505" y="38268"/>
                  </a:cubicBezTo>
                  <a:cubicBezTo>
                    <a:pt x="95505" y="38268"/>
                    <a:pt x="95730" y="38542"/>
                    <a:pt x="95730" y="38542"/>
                  </a:cubicBezTo>
                  <a:cubicBezTo>
                    <a:pt x="95730" y="38542"/>
                    <a:pt x="95730" y="38542"/>
                    <a:pt x="95955" y="38542"/>
                  </a:cubicBezTo>
                  <a:cubicBezTo>
                    <a:pt x="95955" y="38542"/>
                    <a:pt x="95955" y="38542"/>
                    <a:pt x="96179" y="38542"/>
                  </a:cubicBezTo>
                  <a:cubicBezTo>
                    <a:pt x="96179" y="38542"/>
                    <a:pt x="96179" y="38542"/>
                    <a:pt x="96179" y="38542"/>
                  </a:cubicBezTo>
                  <a:cubicBezTo>
                    <a:pt x="96179" y="38542"/>
                    <a:pt x="96404" y="38542"/>
                    <a:pt x="96404" y="38268"/>
                  </a:cubicBezTo>
                  <a:cubicBezTo>
                    <a:pt x="99325" y="39088"/>
                    <a:pt x="99325" y="39088"/>
                    <a:pt x="99325" y="39088"/>
                  </a:cubicBezTo>
                  <a:cubicBezTo>
                    <a:pt x="100000" y="39362"/>
                    <a:pt x="100000" y="39908"/>
                    <a:pt x="100674" y="40455"/>
                  </a:cubicBezTo>
                  <a:cubicBezTo>
                    <a:pt x="102471" y="39635"/>
                    <a:pt x="102471" y="39635"/>
                    <a:pt x="102471" y="39635"/>
                  </a:cubicBezTo>
                  <a:cubicBezTo>
                    <a:pt x="104719" y="41548"/>
                    <a:pt x="104719" y="41548"/>
                    <a:pt x="104719" y="41548"/>
                  </a:cubicBezTo>
                  <a:cubicBezTo>
                    <a:pt x="106741" y="40728"/>
                    <a:pt x="106741" y="40728"/>
                    <a:pt x="106741" y="40728"/>
                  </a:cubicBezTo>
                  <a:cubicBezTo>
                    <a:pt x="108764" y="40728"/>
                    <a:pt x="108764" y="40728"/>
                    <a:pt x="108764" y="40728"/>
                  </a:cubicBezTo>
                  <a:cubicBezTo>
                    <a:pt x="108764" y="40182"/>
                    <a:pt x="113483" y="40728"/>
                    <a:pt x="111460" y="43462"/>
                  </a:cubicBezTo>
                  <a:close/>
                  <a:moveTo>
                    <a:pt x="113707" y="76810"/>
                  </a:moveTo>
                  <a:cubicBezTo>
                    <a:pt x="113707" y="76810"/>
                    <a:pt x="113707" y="76810"/>
                    <a:pt x="113707" y="76810"/>
                  </a:cubicBezTo>
                  <a:cubicBezTo>
                    <a:pt x="113707" y="78451"/>
                    <a:pt x="115955" y="77904"/>
                    <a:pt x="117078" y="78997"/>
                  </a:cubicBezTo>
                  <a:cubicBezTo>
                    <a:pt x="117528" y="79544"/>
                    <a:pt x="117078" y="80911"/>
                    <a:pt x="117752" y="81184"/>
                  </a:cubicBezTo>
                  <a:cubicBezTo>
                    <a:pt x="119325" y="82824"/>
                    <a:pt x="120000" y="79817"/>
                    <a:pt x="118651" y="76810"/>
                  </a:cubicBezTo>
                  <a:cubicBezTo>
                    <a:pt x="118202" y="76264"/>
                    <a:pt x="117528" y="76264"/>
                    <a:pt x="116853" y="76264"/>
                  </a:cubicBezTo>
                  <a:cubicBezTo>
                    <a:pt x="115730" y="76264"/>
                    <a:pt x="113483" y="75444"/>
                    <a:pt x="113707" y="76810"/>
                  </a:cubicBezTo>
                  <a:close/>
                  <a:moveTo>
                    <a:pt x="100674" y="82004"/>
                  </a:moveTo>
                  <a:cubicBezTo>
                    <a:pt x="100674" y="82004"/>
                    <a:pt x="100674" y="82004"/>
                    <a:pt x="100674" y="82004"/>
                  </a:cubicBezTo>
                  <a:cubicBezTo>
                    <a:pt x="101573" y="82277"/>
                    <a:pt x="102471" y="81184"/>
                    <a:pt x="103370" y="81731"/>
                  </a:cubicBezTo>
                  <a:cubicBezTo>
                    <a:pt x="103820" y="82277"/>
                    <a:pt x="103595" y="83371"/>
                    <a:pt x="103820" y="84191"/>
                  </a:cubicBezTo>
                  <a:cubicBezTo>
                    <a:pt x="102471" y="85831"/>
                    <a:pt x="106067" y="85558"/>
                    <a:pt x="106292" y="85558"/>
                  </a:cubicBezTo>
                  <a:cubicBezTo>
                    <a:pt x="106292" y="86104"/>
                    <a:pt x="106741" y="87471"/>
                    <a:pt x="107415" y="86924"/>
                  </a:cubicBezTo>
                  <a:cubicBezTo>
                    <a:pt x="111011" y="81731"/>
                    <a:pt x="111011" y="81731"/>
                    <a:pt x="111011" y="81731"/>
                  </a:cubicBezTo>
                  <a:cubicBezTo>
                    <a:pt x="111011" y="81184"/>
                    <a:pt x="110786" y="80637"/>
                    <a:pt x="110337" y="80637"/>
                  </a:cubicBezTo>
                  <a:cubicBezTo>
                    <a:pt x="109438" y="80091"/>
                    <a:pt x="108314" y="81184"/>
                    <a:pt x="107640" y="80637"/>
                  </a:cubicBezTo>
                  <a:cubicBezTo>
                    <a:pt x="106966" y="80091"/>
                    <a:pt x="108314" y="77904"/>
                    <a:pt x="107415" y="77084"/>
                  </a:cubicBezTo>
                  <a:cubicBezTo>
                    <a:pt x="105617" y="75444"/>
                    <a:pt x="104943" y="77357"/>
                    <a:pt x="103595" y="78724"/>
                  </a:cubicBezTo>
                  <a:cubicBezTo>
                    <a:pt x="102696" y="79544"/>
                    <a:pt x="101348" y="79817"/>
                    <a:pt x="100449" y="80911"/>
                  </a:cubicBezTo>
                  <a:cubicBezTo>
                    <a:pt x="100224" y="81184"/>
                    <a:pt x="100449" y="82004"/>
                    <a:pt x="100674" y="82004"/>
                  </a:cubicBezTo>
                  <a:close/>
                  <a:moveTo>
                    <a:pt x="87865" y="89931"/>
                  </a:moveTo>
                  <a:cubicBezTo>
                    <a:pt x="87865" y="89931"/>
                    <a:pt x="87865" y="89931"/>
                    <a:pt x="87865" y="89931"/>
                  </a:cubicBezTo>
                  <a:cubicBezTo>
                    <a:pt x="86966" y="90751"/>
                    <a:pt x="88764" y="92118"/>
                    <a:pt x="89213" y="92118"/>
                  </a:cubicBezTo>
                  <a:cubicBezTo>
                    <a:pt x="89662" y="92118"/>
                    <a:pt x="92359" y="89931"/>
                    <a:pt x="92359" y="89111"/>
                  </a:cubicBezTo>
                  <a:cubicBezTo>
                    <a:pt x="92134" y="88018"/>
                    <a:pt x="91011" y="87744"/>
                    <a:pt x="90337" y="87744"/>
                  </a:cubicBezTo>
                  <a:cubicBezTo>
                    <a:pt x="89438" y="88018"/>
                    <a:pt x="88539" y="89111"/>
                    <a:pt x="87865" y="89931"/>
                  </a:cubicBezTo>
                  <a:close/>
                </a:path>
              </a:pathLst>
            </a:custGeom>
            <a:pattFill prst="ltHorz">
              <a:fgClr>
                <a:srgbClr val="FF0000"/>
              </a:fgClr>
              <a:bgClr>
                <a:srgbClr val="FFC000"/>
              </a:bgClr>
            </a:pattFill>
            <a:ln w="3175" cap="flat" cmpd="sng">
              <a:solidFill>
                <a:schemeClr val="tx1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defTabSz="457200"/>
              <a:endParaRPr kern="0">
                <a:solidFill>
                  <a:srgbClr val="7F7F7F"/>
                </a:solidFill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58" name="Shape 2055">
              <a:extLst>
                <a:ext uri="{FF2B5EF4-FFF2-40B4-BE49-F238E27FC236}">
                  <a16:creationId xmlns:a16="http://schemas.microsoft.com/office/drawing/2014/main" id="{E77590CC-B078-C0D9-8BA0-C270DFA61BDC}"/>
                </a:ext>
              </a:extLst>
            </p:cNvPr>
            <p:cNvSpPr/>
            <p:nvPr/>
          </p:nvSpPr>
          <p:spPr>
            <a:xfrm>
              <a:off x="5034598" y="3798070"/>
              <a:ext cx="856847" cy="773615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65294" y="10105"/>
                  </a:moveTo>
                  <a:cubicBezTo>
                    <a:pt x="66764" y="9473"/>
                    <a:pt x="66764" y="9473"/>
                    <a:pt x="66764" y="9473"/>
                  </a:cubicBezTo>
                  <a:cubicBezTo>
                    <a:pt x="66764" y="9473"/>
                    <a:pt x="68529" y="8842"/>
                    <a:pt x="68823" y="8842"/>
                  </a:cubicBezTo>
                  <a:cubicBezTo>
                    <a:pt x="69117" y="8842"/>
                    <a:pt x="70588" y="8526"/>
                    <a:pt x="70882" y="8210"/>
                  </a:cubicBezTo>
                  <a:cubicBezTo>
                    <a:pt x="71176" y="8210"/>
                    <a:pt x="72058" y="7578"/>
                    <a:pt x="72352" y="7263"/>
                  </a:cubicBezTo>
                  <a:cubicBezTo>
                    <a:pt x="72647" y="7263"/>
                    <a:pt x="73235" y="7263"/>
                    <a:pt x="73823" y="6631"/>
                  </a:cubicBezTo>
                  <a:cubicBezTo>
                    <a:pt x="74117" y="6315"/>
                    <a:pt x="74411" y="5368"/>
                    <a:pt x="74411" y="5052"/>
                  </a:cubicBezTo>
                  <a:cubicBezTo>
                    <a:pt x="74411" y="4736"/>
                    <a:pt x="74117" y="4736"/>
                    <a:pt x="73823" y="3789"/>
                  </a:cubicBezTo>
                  <a:cubicBezTo>
                    <a:pt x="73235" y="2842"/>
                    <a:pt x="72647" y="2210"/>
                    <a:pt x="72647" y="1894"/>
                  </a:cubicBezTo>
                  <a:cubicBezTo>
                    <a:pt x="72352" y="1263"/>
                    <a:pt x="72352" y="631"/>
                    <a:pt x="72647" y="631"/>
                  </a:cubicBezTo>
                  <a:cubicBezTo>
                    <a:pt x="72941" y="315"/>
                    <a:pt x="73823" y="0"/>
                    <a:pt x="74411" y="0"/>
                  </a:cubicBezTo>
                  <a:cubicBezTo>
                    <a:pt x="75000" y="315"/>
                    <a:pt x="76470" y="631"/>
                    <a:pt x="76764" y="631"/>
                  </a:cubicBezTo>
                  <a:cubicBezTo>
                    <a:pt x="77058" y="631"/>
                    <a:pt x="78529" y="1578"/>
                    <a:pt x="78529" y="1578"/>
                  </a:cubicBezTo>
                  <a:cubicBezTo>
                    <a:pt x="78529" y="1578"/>
                    <a:pt x="79117" y="3157"/>
                    <a:pt x="79117" y="3473"/>
                  </a:cubicBezTo>
                  <a:cubicBezTo>
                    <a:pt x="79117" y="3789"/>
                    <a:pt x="80588" y="5684"/>
                    <a:pt x="80000" y="5684"/>
                  </a:cubicBezTo>
                  <a:cubicBezTo>
                    <a:pt x="79705" y="5684"/>
                    <a:pt x="78529" y="6000"/>
                    <a:pt x="78529" y="6000"/>
                  </a:cubicBezTo>
                  <a:cubicBezTo>
                    <a:pt x="77941" y="6947"/>
                    <a:pt x="77941" y="6947"/>
                    <a:pt x="77941" y="6947"/>
                  </a:cubicBezTo>
                  <a:cubicBezTo>
                    <a:pt x="77941" y="6947"/>
                    <a:pt x="77352" y="8210"/>
                    <a:pt x="77352" y="8526"/>
                  </a:cubicBezTo>
                  <a:cubicBezTo>
                    <a:pt x="77352" y="8842"/>
                    <a:pt x="77058" y="10421"/>
                    <a:pt x="77058" y="10421"/>
                  </a:cubicBezTo>
                  <a:cubicBezTo>
                    <a:pt x="78529" y="13894"/>
                    <a:pt x="78529" y="13894"/>
                    <a:pt x="78529" y="13894"/>
                  </a:cubicBezTo>
                  <a:cubicBezTo>
                    <a:pt x="77058" y="16105"/>
                    <a:pt x="77058" y="16105"/>
                    <a:pt x="77058" y="16105"/>
                  </a:cubicBezTo>
                  <a:cubicBezTo>
                    <a:pt x="75882" y="17368"/>
                    <a:pt x="75882" y="17368"/>
                    <a:pt x="75882" y="17368"/>
                  </a:cubicBezTo>
                  <a:cubicBezTo>
                    <a:pt x="75882" y="17368"/>
                    <a:pt x="74117" y="17368"/>
                    <a:pt x="74117" y="17052"/>
                  </a:cubicBezTo>
                  <a:cubicBezTo>
                    <a:pt x="74117" y="16736"/>
                    <a:pt x="72941" y="16105"/>
                    <a:pt x="72941" y="16105"/>
                  </a:cubicBezTo>
                  <a:cubicBezTo>
                    <a:pt x="72941" y="16105"/>
                    <a:pt x="71176" y="16421"/>
                    <a:pt x="70882" y="16736"/>
                  </a:cubicBezTo>
                  <a:cubicBezTo>
                    <a:pt x="70588" y="16736"/>
                    <a:pt x="66470" y="17052"/>
                    <a:pt x="66470" y="17052"/>
                  </a:cubicBezTo>
                  <a:cubicBezTo>
                    <a:pt x="66470" y="17052"/>
                    <a:pt x="65588" y="16736"/>
                    <a:pt x="65294" y="16736"/>
                  </a:cubicBezTo>
                  <a:cubicBezTo>
                    <a:pt x="65000" y="16736"/>
                    <a:pt x="63529" y="16736"/>
                    <a:pt x="63529" y="16736"/>
                  </a:cubicBezTo>
                  <a:cubicBezTo>
                    <a:pt x="63235" y="15473"/>
                    <a:pt x="63235" y="15473"/>
                    <a:pt x="63235" y="15473"/>
                  </a:cubicBezTo>
                  <a:cubicBezTo>
                    <a:pt x="62058" y="15789"/>
                    <a:pt x="62058" y="15789"/>
                    <a:pt x="62058" y="15789"/>
                  </a:cubicBezTo>
                  <a:cubicBezTo>
                    <a:pt x="61764" y="17052"/>
                    <a:pt x="61764" y="17052"/>
                    <a:pt x="61764" y="17052"/>
                  </a:cubicBezTo>
                  <a:cubicBezTo>
                    <a:pt x="60294" y="18000"/>
                    <a:pt x="60294" y="18000"/>
                    <a:pt x="60294" y="18000"/>
                  </a:cubicBezTo>
                  <a:cubicBezTo>
                    <a:pt x="58823" y="18947"/>
                    <a:pt x="58823" y="18947"/>
                    <a:pt x="58823" y="18947"/>
                  </a:cubicBezTo>
                  <a:cubicBezTo>
                    <a:pt x="55882" y="18947"/>
                    <a:pt x="55882" y="18947"/>
                    <a:pt x="55882" y="18947"/>
                  </a:cubicBezTo>
                  <a:cubicBezTo>
                    <a:pt x="54117" y="18947"/>
                    <a:pt x="54117" y="18947"/>
                    <a:pt x="54117" y="18947"/>
                  </a:cubicBezTo>
                  <a:cubicBezTo>
                    <a:pt x="54117" y="19578"/>
                    <a:pt x="54117" y="19578"/>
                    <a:pt x="54117" y="19578"/>
                  </a:cubicBezTo>
                  <a:cubicBezTo>
                    <a:pt x="53235" y="21473"/>
                    <a:pt x="53235" y="21473"/>
                    <a:pt x="53235" y="21473"/>
                  </a:cubicBezTo>
                  <a:cubicBezTo>
                    <a:pt x="52058" y="22421"/>
                    <a:pt x="52058" y="22421"/>
                    <a:pt x="52058" y="22421"/>
                  </a:cubicBezTo>
                  <a:cubicBezTo>
                    <a:pt x="52058" y="22421"/>
                    <a:pt x="50294" y="23052"/>
                    <a:pt x="50000" y="23368"/>
                  </a:cubicBezTo>
                  <a:cubicBezTo>
                    <a:pt x="50000" y="23368"/>
                    <a:pt x="48823" y="23052"/>
                    <a:pt x="48823" y="23052"/>
                  </a:cubicBezTo>
                  <a:cubicBezTo>
                    <a:pt x="47352" y="24000"/>
                    <a:pt x="47352" y="24000"/>
                    <a:pt x="47352" y="24000"/>
                  </a:cubicBezTo>
                  <a:cubicBezTo>
                    <a:pt x="47058" y="24947"/>
                    <a:pt x="47058" y="24947"/>
                    <a:pt x="47058" y="24947"/>
                  </a:cubicBezTo>
                  <a:cubicBezTo>
                    <a:pt x="47647" y="25578"/>
                    <a:pt x="47647" y="25578"/>
                    <a:pt x="47647" y="25578"/>
                  </a:cubicBezTo>
                  <a:cubicBezTo>
                    <a:pt x="48823" y="26210"/>
                    <a:pt x="48823" y="26210"/>
                    <a:pt x="48823" y="26210"/>
                  </a:cubicBezTo>
                  <a:cubicBezTo>
                    <a:pt x="48823" y="26210"/>
                    <a:pt x="49705" y="26526"/>
                    <a:pt x="49705" y="26842"/>
                  </a:cubicBezTo>
                  <a:cubicBezTo>
                    <a:pt x="49705" y="26842"/>
                    <a:pt x="49411" y="27473"/>
                    <a:pt x="49411" y="27473"/>
                  </a:cubicBezTo>
                  <a:cubicBezTo>
                    <a:pt x="49411" y="29052"/>
                    <a:pt x="49411" y="29052"/>
                    <a:pt x="49411" y="29052"/>
                  </a:cubicBezTo>
                  <a:cubicBezTo>
                    <a:pt x="49411" y="29052"/>
                    <a:pt x="50294" y="29368"/>
                    <a:pt x="50588" y="29368"/>
                  </a:cubicBezTo>
                  <a:cubicBezTo>
                    <a:pt x="50588" y="29368"/>
                    <a:pt x="51470" y="28736"/>
                    <a:pt x="51470" y="28736"/>
                  </a:cubicBezTo>
                  <a:cubicBezTo>
                    <a:pt x="51470" y="28421"/>
                    <a:pt x="51764" y="28105"/>
                    <a:pt x="51764" y="28105"/>
                  </a:cubicBezTo>
                  <a:cubicBezTo>
                    <a:pt x="52352" y="28736"/>
                    <a:pt x="52352" y="28736"/>
                    <a:pt x="52352" y="28736"/>
                  </a:cubicBezTo>
                  <a:cubicBezTo>
                    <a:pt x="52352" y="28736"/>
                    <a:pt x="52647" y="29368"/>
                    <a:pt x="52941" y="29368"/>
                  </a:cubicBezTo>
                  <a:cubicBezTo>
                    <a:pt x="52941" y="29368"/>
                    <a:pt x="53823" y="29368"/>
                    <a:pt x="53823" y="29368"/>
                  </a:cubicBezTo>
                  <a:cubicBezTo>
                    <a:pt x="55000" y="30000"/>
                    <a:pt x="55000" y="30000"/>
                    <a:pt x="55000" y="30000"/>
                  </a:cubicBezTo>
                  <a:cubicBezTo>
                    <a:pt x="56470" y="31263"/>
                    <a:pt x="56470" y="31263"/>
                    <a:pt x="56470" y="31263"/>
                  </a:cubicBezTo>
                  <a:cubicBezTo>
                    <a:pt x="56470" y="31263"/>
                    <a:pt x="57647" y="31894"/>
                    <a:pt x="57352" y="32210"/>
                  </a:cubicBezTo>
                  <a:cubicBezTo>
                    <a:pt x="56764" y="32526"/>
                    <a:pt x="56176" y="32842"/>
                    <a:pt x="55882" y="32842"/>
                  </a:cubicBezTo>
                  <a:cubicBezTo>
                    <a:pt x="55882" y="32842"/>
                    <a:pt x="55294" y="32526"/>
                    <a:pt x="55294" y="32210"/>
                  </a:cubicBezTo>
                  <a:cubicBezTo>
                    <a:pt x="55294" y="31578"/>
                    <a:pt x="55000" y="31263"/>
                    <a:pt x="54705" y="31263"/>
                  </a:cubicBezTo>
                  <a:cubicBezTo>
                    <a:pt x="54411" y="31263"/>
                    <a:pt x="53823" y="30631"/>
                    <a:pt x="53823" y="30631"/>
                  </a:cubicBezTo>
                  <a:cubicBezTo>
                    <a:pt x="53529" y="30631"/>
                    <a:pt x="52941" y="30631"/>
                    <a:pt x="52647" y="30947"/>
                  </a:cubicBezTo>
                  <a:cubicBezTo>
                    <a:pt x="52352" y="30947"/>
                    <a:pt x="51764" y="30947"/>
                    <a:pt x="51764" y="30631"/>
                  </a:cubicBezTo>
                  <a:cubicBezTo>
                    <a:pt x="51470" y="30631"/>
                    <a:pt x="51176" y="29684"/>
                    <a:pt x="51176" y="29684"/>
                  </a:cubicBezTo>
                  <a:cubicBezTo>
                    <a:pt x="49705" y="29368"/>
                    <a:pt x="49705" y="29368"/>
                    <a:pt x="49705" y="29368"/>
                  </a:cubicBezTo>
                  <a:cubicBezTo>
                    <a:pt x="49705" y="29368"/>
                    <a:pt x="49411" y="29684"/>
                    <a:pt x="49411" y="30000"/>
                  </a:cubicBezTo>
                  <a:cubicBezTo>
                    <a:pt x="49411" y="30000"/>
                    <a:pt x="48823" y="30631"/>
                    <a:pt x="48823" y="30631"/>
                  </a:cubicBezTo>
                  <a:cubicBezTo>
                    <a:pt x="48529" y="30947"/>
                    <a:pt x="48529" y="30947"/>
                    <a:pt x="48529" y="30947"/>
                  </a:cubicBezTo>
                  <a:cubicBezTo>
                    <a:pt x="48529" y="31578"/>
                    <a:pt x="48529" y="31578"/>
                    <a:pt x="48529" y="31578"/>
                  </a:cubicBezTo>
                  <a:cubicBezTo>
                    <a:pt x="49117" y="32210"/>
                    <a:pt x="49117" y="32210"/>
                    <a:pt x="49117" y="32210"/>
                  </a:cubicBezTo>
                  <a:cubicBezTo>
                    <a:pt x="50294" y="33157"/>
                    <a:pt x="50294" y="33157"/>
                    <a:pt x="50294" y="33157"/>
                  </a:cubicBezTo>
                  <a:cubicBezTo>
                    <a:pt x="50294" y="33157"/>
                    <a:pt x="51764" y="33473"/>
                    <a:pt x="51764" y="33473"/>
                  </a:cubicBezTo>
                  <a:cubicBezTo>
                    <a:pt x="52058" y="33473"/>
                    <a:pt x="52647" y="34421"/>
                    <a:pt x="52647" y="34421"/>
                  </a:cubicBezTo>
                  <a:cubicBezTo>
                    <a:pt x="52647" y="35368"/>
                    <a:pt x="52647" y="35368"/>
                    <a:pt x="52647" y="35368"/>
                  </a:cubicBezTo>
                  <a:cubicBezTo>
                    <a:pt x="52352" y="36315"/>
                    <a:pt x="52352" y="36315"/>
                    <a:pt x="52352" y="36315"/>
                  </a:cubicBezTo>
                  <a:cubicBezTo>
                    <a:pt x="52352" y="36315"/>
                    <a:pt x="52352" y="36947"/>
                    <a:pt x="51764" y="36631"/>
                  </a:cubicBezTo>
                  <a:cubicBezTo>
                    <a:pt x="51176" y="36315"/>
                    <a:pt x="50882" y="36000"/>
                    <a:pt x="50882" y="36000"/>
                  </a:cubicBezTo>
                  <a:cubicBezTo>
                    <a:pt x="50000" y="35684"/>
                    <a:pt x="50000" y="35684"/>
                    <a:pt x="50000" y="35684"/>
                  </a:cubicBezTo>
                  <a:cubicBezTo>
                    <a:pt x="49705" y="34421"/>
                    <a:pt x="49705" y="34421"/>
                    <a:pt x="49705" y="34421"/>
                  </a:cubicBezTo>
                  <a:cubicBezTo>
                    <a:pt x="49705" y="34421"/>
                    <a:pt x="49117" y="33789"/>
                    <a:pt x="49117" y="33789"/>
                  </a:cubicBezTo>
                  <a:cubicBezTo>
                    <a:pt x="48823" y="33789"/>
                    <a:pt x="47352" y="32842"/>
                    <a:pt x="47352" y="32842"/>
                  </a:cubicBezTo>
                  <a:cubicBezTo>
                    <a:pt x="45588" y="32842"/>
                    <a:pt x="45588" y="32842"/>
                    <a:pt x="45588" y="32842"/>
                  </a:cubicBezTo>
                  <a:cubicBezTo>
                    <a:pt x="44411" y="32842"/>
                    <a:pt x="44411" y="32842"/>
                    <a:pt x="44411" y="32842"/>
                  </a:cubicBezTo>
                  <a:cubicBezTo>
                    <a:pt x="44117" y="33789"/>
                    <a:pt x="44117" y="33789"/>
                    <a:pt x="44117" y="33789"/>
                  </a:cubicBezTo>
                  <a:cubicBezTo>
                    <a:pt x="44117" y="33789"/>
                    <a:pt x="44117" y="34421"/>
                    <a:pt x="44411" y="34421"/>
                  </a:cubicBezTo>
                  <a:cubicBezTo>
                    <a:pt x="44411" y="34736"/>
                    <a:pt x="45294" y="35368"/>
                    <a:pt x="45294" y="35368"/>
                  </a:cubicBezTo>
                  <a:cubicBezTo>
                    <a:pt x="45294" y="35368"/>
                    <a:pt x="45882" y="35368"/>
                    <a:pt x="45882" y="35684"/>
                  </a:cubicBezTo>
                  <a:cubicBezTo>
                    <a:pt x="46176" y="36000"/>
                    <a:pt x="46764" y="36631"/>
                    <a:pt x="46764" y="36631"/>
                  </a:cubicBezTo>
                  <a:cubicBezTo>
                    <a:pt x="46764" y="36631"/>
                    <a:pt x="47058" y="36631"/>
                    <a:pt x="47352" y="36631"/>
                  </a:cubicBezTo>
                  <a:cubicBezTo>
                    <a:pt x="47941" y="36631"/>
                    <a:pt x="48529" y="36947"/>
                    <a:pt x="48529" y="36947"/>
                  </a:cubicBezTo>
                  <a:cubicBezTo>
                    <a:pt x="49411" y="37263"/>
                    <a:pt x="49411" y="37263"/>
                    <a:pt x="49411" y="37263"/>
                  </a:cubicBezTo>
                  <a:cubicBezTo>
                    <a:pt x="49705" y="37578"/>
                    <a:pt x="49705" y="37578"/>
                    <a:pt x="49705" y="37578"/>
                  </a:cubicBezTo>
                  <a:cubicBezTo>
                    <a:pt x="49705" y="37578"/>
                    <a:pt x="48823" y="37894"/>
                    <a:pt x="48529" y="37894"/>
                  </a:cubicBezTo>
                  <a:cubicBezTo>
                    <a:pt x="48235" y="38210"/>
                    <a:pt x="47352" y="38210"/>
                    <a:pt x="47352" y="38210"/>
                  </a:cubicBezTo>
                  <a:cubicBezTo>
                    <a:pt x="47352" y="38210"/>
                    <a:pt x="46764" y="37578"/>
                    <a:pt x="46470" y="37578"/>
                  </a:cubicBezTo>
                  <a:cubicBezTo>
                    <a:pt x="46470" y="37578"/>
                    <a:pt x="45588" y="37894"/>
                    <a:pt x="45588" y="37894"/>
                  </a:cubicBezTo>
                  <a:cubicBezTo>
                    <a:pt x="45588" y="37894"/>
                    <a:pt x="45000" y="38526"/>
                    <a:pt x="44705" y="37894"/>
                  </a:cubicBezTo>
                  <a:cubicBezTo>
                    <a:pt x="44411" y="37263"/>
                    <a:pt x="44117" y="36631"/>
                    <a:pt x="44117" y="36631"/>
                  </a:cubicBezTo>
                  <a:cubicBezTo>
                    <a:pt x="44117" y="36000"/>
                    <a:pt x="44117" y="36000"/>
                    <a:pt x="44117" y="36000"/>
                  </a:cubicBezTo>
                  <a:cubicBezTo>
                    <a:pt x="44117" y="35052"/>
                    <a:pt x="44117" y="35052"/>
                    <a:pt x="44117" y="35052"/>
                  </a:cubicBezTo>
                  <a:cubicBezTo>
                    <a:pt x="43823" y="34105"/>
                    <a:pt x="43823" y="34105"/>
                    <a:pt x="43823" y="34105"/>
                  </a:cubicBezTo>
                  <a:cubicBezTo>
                    <a:pt x="42647" y="33473"/>
                    <a:pt x="42647" y="33473"/>
                    <a:pt x="42647" y="33473"/>
                  </a:cubicBezTo>
                  <a:cubicBezTo>
                    <a:pt x="41176" y="33473"/>
                    <a:pt x="41176" y="33473"/>
                    <a:pt x="41176" y="33473"/>
                  </a:cubicBezTo>
                  <a:cubicBezTo>
                    <a:pt x="39705" y="32526"/>
                    <a:pt x="39705" y="32526"/>
                    <a:pt x="39705" y="32526"/>
                  </a:cubicBezTo>
                  <a:cubicBezTo>
                    <a:pt x="37941" y="31894"/>
                    <a:pt x="37941" y="31894"/>
                    <a:pt x="37941" y="31894"/>
                  </a:cubicBezTo>
                  <a:cubicBezTo>
                    <a:pt x="37352" y="30631"/>
                    <a:pt x="37352" y="30631"/>
                    <a:pt x="37352" y="30631"/>
                  </a:cubicBezTo>
                  <a:cubicBezTo>
                    <a:pt x="38529" y="29684"/>
                    <a:pt x="38529" y="29684"/>
                    <a:pt x="38529" y="29684"/>
                  </a:cubicBezTo>
                  <a:cubicBezTo>
                    <a:pt x="38235" y="28736"/>
                    <a:pt x="38235" y="28736"/>
                    <a:pt x="38235" y="28736"/>
                  </a:cubicBezTo>
                  <a:cubicBezTo>
                    <a:pt x="37647" y="28105"/>
                    <a:pt x="37647" y="28105"/>
                    <a:pt x="37647" y="28105"/>
                  </a:cubicBezTo>
                  <a:cubicBezTo>
                    <a:pt x="36176" y="29052"/>
                    <a:pt x="36176" y="29052"/>
                    <a:pt x="36176" y="29052"/>
                  </a:cubicBezTo>
                  <a:cubicBezTo>
                    <a:pt x="36176" y="30000"/>
                    <a:pt x="36176" y="30000"/>
                    <a:pt x="36176" y="30000"/>
                  </a:cubicBezTo>
                  <a:cubicBezTo>
                    <a:pt x="34705" y="30631"/>
                    <a:pt x="34705" y="30631"/>
                    <a:pt x="34705" y="30631"/>
                  </a:cubicBezTo>
                  <a:cubicBezTo>
                    <a:pt x="34117" y="31894"/>
                    <a:pt x="34117" y="31894"/>
                    <a:pt x="34117" y="31894"/>
                  </a:cubicBezTo>
                  <a:cubicBezTo>
                    <a:pt x="35000" y="32842"/>
                    <a:pt x="35000" y="32842"/>
                    <a:pt x="35000" y="32842"/>
                  </a:cubicBezTo>
                  <a:cubicBezTo>
                    <a:pt x="35000" y="34421"/>
                    <a:pt x="35000" y="34421"/>
                    <a:pt x="35000" y="34421"/>
                  </a:cubicBezTo>
                  <a:cubicBezTo>
                    <a:pt x="35000" y="34421"/>
                    <a:pt x="34705" y="36000"/>
                    <a:pt x="35000" y="36315"/>
                  </a:cubicBezTo>
                  <a:cubicBezTo>
                    <a:pt x="35000" y="36315"/>
                    <a:pt x="34705" y="37263"/>
                    <a:pt x="34705" y="37894"/>
                  </a:cubicBezTo>
                  <a:cubicBezTo>
                    <a:pt x="35000" y="38210"/>
                    <a:pt x="35000" y="38526"/>
                    <a:pt x="35588" y="38842"/>
                  </a:cubicBezTo>
                  <a:cubicBezTo>
                    <a:pt x="35882" y="39157"/>
                    <a:pt x="35882" y="39157"/>
                    <a:pt x="36470" y="39473"/>
                  </a:cubicBezTo>
                  <a:cubicBezTo>
                    <a:pt x="37058" y="39789"/>
                    <a:pt x="37352" y="40105"/>
                    <a:pt x="37352" y="40105"/>
                  </a:cubicBezTo>
                  <a:cubicBezTo>
                    <a:pt x="37941" y="41368"/>
                    <a:pt x="37941" y="41368"/>
                    <a:pt x="37941" y="41368"/>
                  </a:cubicBezTo>
                  <a:cubicBezTo>
                    <a:pt x="37941" y="41368"/>
                    <a:pt x="38235" y="41684"/>
                    <a:pt x="38529" y="41684"/>
                  </a:cubicBezTo>
                  <a:cubicBezTo>
                    <a:pt x="38823" y="42000"/>
                    <a:pt x="39705" y="42315"/>
                    <a:pt x="39705" y="42631"/>
                  </a:cubicBezTo>
                  <a:cubicBezTo>
                    <a:pt x="39705" y="43263"/>
                    <a:pt x="40000" y="43894"/>
                    <a:pt x="40000" y="43894"/>
                  </a:cubicBezTo>
                  <a:cubicBezTo>
                    <a:pt x="40000" y="43894"/>
                    <a:pt x="40294" y="44526"/>
                    <a:pt x="40294" y="44526"/>
                  </a:cubicBezTo>
                  <a:cubicBezTo>
                    <a:pt x="40588" y="44842"/>
                    <a:pt x="40882" y="44526"/>
                    <a:pt x="40882" y="44842"/>
                  </a:cubicBezTo>
                  <a:cubicBezTo>
                    <a:pt x="41176" y="45157"/>
                    <a:pt x="40882" y="45473"/>
                    <a:pt x="41470" y="45789"/>
                  </a:cubicBezTo>
                  <a:cubicBezTo>
                    <a:pt x="41764" y="46421"/>
                    <a:pt x="42352" y="46736"/>
                    <a:pt x="42352" y="46736"/>
                  </a:cubicBezTo>
                  <a:cubicBezTo>
                    <a:pt x="42647" y="46736"/>
                    <a:pt x="43235" y="47052"/>
                    <a:pt x="43235" y="47052"/>
                  </a:cubicBezTo>
                  <a:cubicBezTo>
                    <a:pt x="45000" y="48315"/>
                    <a:pt x="45000" y="48315"/>
                    <a:pt x="45000" y="48315"/>
                  </a:cubicBezTo>
                  <a:cubicBezTo>
                    <a:pt x="46176" y="49894"/>
                    <a:pt x="46176" y="49894"/>
                    <a:pt x="46176" y="49894"/>
                  </a:cubicBezTo>
                  <a:cubicBezTo>
                    <a:pt x="47058" y="50842"/>
                    <a:pt x="47058" y="50842"/>
                    <a:pt x="47058" y="50842"/>
                  </a:cubicBezTo>
                  <a:cubicBezTo>
                    <a:pt x="46764" y="52105"/>
                    <a:pt x="46764" y="52105"/>
                    <a:pt x="46764" y="52105"/>
                  </a:cubicBezTo>
                  <a:cubicBezTo>
                    <a:pt x="46470" y="52736"/>
                    <a:pt x="46470" y="52736"/>
                    <a:pt x="46470" y="52736"/>
                  </a:cubicBezTo>
                  <a:cubicBezTo>
                    <a:pt x="46470" y="52736"/>
                    <a:pt x="45882" y="53052"/>
                    <a:pt x="45588" y="53052"/>
                  </a:cubicBezTo>
                  <a:cubicBezTo>
                    <a:pt x="45588" y="53052"/>
                    <a:pt x="45000" y="53368"/>
                    <a:pt x="45000" y="53368"/>
                  </a:cubicBezTo>
                  <a:cubicBezTo>
                    <a:pt x="45000" y="53368"/>
                    <a:pt x="44705" y="53052"/>
                    <a:pt x="44705" y="53052"/>
                  </a:cubicBezTo>
                  <a:cubicBezTo>
                    <a:pt x="45000" y="52736"/>
                    <a:pt x="45882" y="52421"/>
                    <a:pt x="45882" y="52421"/>
                  </a:cubicBezTo>
                  <a:cubicBezTo>
                    <a:pt x="45882" y="52421"/>
                    <a:pt x="45882" y="51473"/>
                    <a:pt x="45588" y="51473"/>
                  </a:cubicBezTo>
                  <a:cubicBezTo>
                    <a:pt x="45294" y="51157"/>
                    <a:pt x="44411" y="50526"/>
                    <a:pt x="44411" y="50526"/>
                  </a:cubicBezTo>
                  <a:cubicBezTo>
                    <a:pt x="43823" y="49894"/>
                    <a:pt x="43823" y="49894"/>
                    <a:pt x="43823" y="49894"/>
                  </a:cubicBezTo>
                  <a:cubicBezTo>
                    <a:pt x="42941" y="49894"/>
                    <a:pt x="42941" y="49894"/>
                    <a:pt x="42941" y="49894"/>
                  </a:cubicBezTo>
                  <a:cubicBezTo>
                    <a:pt x="42941" y="49894"/>
                    <a:pt x="42352" y="49894"/>
                    <a:pt x="42352" y="50210"/>
                  </a:cubicBezTo>
                  <a:cubicBezTo>
                    <a:pt x="42058" y="50526"/>
                    <a:pt x="41176" y="51157"/>
                    <a:pt x="41176" y="51157"/>
                  </a:cubicBezTo>
                  <a:cubicBezTo>
                    <a:pt x="40588" y="52421"/>
                    <a:pt x="40588" y="52421"/>
                    <a:pt x="40588" y="52421"/>
                  </a:cubicBezTo>
                  <a:cubicBezTo>
                    <a:pt x="42058" y="52736"/>
                    <a:pt x="42058" y="52736"/>
                    <a:pt x="42058" y="52736"/>
                  </a:cubicBezTo>
                  <a:cubicBezTo>
                    <a:pt x="42058" y="52736"/>
                    <a:pt x="42647" y="53368"/>
                    <a:pt x="42647" y="53368"/>
                  </a:cubicBezTo>
                  <a:cubicBezTo>
                    <a:pt x="42647" y="53684"/>
                    <a:pt x="43235" y="54315"/>
                    <a:pt x="43235" y="54315"/>
                  </a:cubicBezTo>
                  <a:cubicBezTo>
                    <a:pt x="43823" y="54631"/>
                    <a:pt x="43823" y="54631"/>
                    <a:pt x="43823" y="54631"/>
                  </a:cubicBezTo>
                  <a:cubicBezTo>
                    <a:pt x="43823" y="55263"/>
                    <a:pt x="43823" y="55263"/>
                    <a:pt x="43823" y="55263"/>
                  </a:cubicBezTo>
                  <a:cubicBezTo>
                    <a:pt x="43529" y="56210"/>
                    <a:pt x="43529" y="56210"/>
                    <a:pt x="43529" y="56210"/>
                  </a:cubicBezTo>
                  <a:cubicBezTo>
                    <a:pt x="42647" y="57473"/>
                    <a:pt x="42647" y="57473"/>
                    <a:pt x="42647" y="57473"/>
                  </a:cubicBezTo>
                  <a:cubicBezTo>
                    <a:pt x="42647" y="57473"/>
                    <a:pt x="42058" y="57789"/>
                    <a:pt x="42058" y="57789"/>
                  </a:cubicBezTo>
                  <a:cubicBezTo>
                    <a:pt x="41764" y="57789"/>
                    <a:pt x="41176" y="58421"/>
                    <a:pt x="41176" y="58421"/>
                  </a:cubicBezTo>
                  <a:cubicBezTo>
                    <a:pt x="41176" y="58421"/>
                    <a:pt x="40882" y="58421"/>
                    <a:pt x="40882" y="58421"/>
                  </a:cubicBezTo>
                  <a:cubicBezTo>
                    <a:pt x="40588" y="58421"/>
                    <a:pt x="40000" y="58105"/>
                    <a:pt x="39705" y="58105"/>
                  </a:cubicBezTo>
                  <a:cubicBezTo>
                    <a:pt x="39705" y="58105"/>
                    <a:pt x="39117" y="58421"/>
                    <a:pt x="39117" y="58421"/>
                  </a:cubicBezTo>
                  <a:cubicBezTo>
                    <a:pt x="39117" y="58421"/>
                    <a:pt x="38235" y="59052"/>
                    <a:pt x="39411" y="59368"/>
                  </a:cubicBezTo>
                  <a:cubicBezTo>
                    <a:pt x="40588" y="59368"/>
                    <a:pt x="40882" y="59368"/>
                    <a:pt x="41176" y="59368"/>
                  </a:cubicBezTo>
                  <a:cubicBezTo>
                    <a:pt x="41176" y="59368"/>
                    <a:pt x="42352" y="59368"/>
                    <a:pt x="42352" y="59368"/>
                  </a:cubicBezTo>
                  <a:cubicBezTo>
                    <a:pt x="42352" y="59368"/>
                    <a:pt x="42647" y="59368"/>
                    <a:pt x="42941" y="59684"/>
                  </a:cubicBezTo>
                  <a:cubicBezTo>
                    <a:pt x="43529" y="59684"/>
                    <a:pt x="43823" y="59684"/>
                    <a:pt x="44117" y="60000"/>
                  </a:cubicBezTo>
                  <a:cubicBezTo>
                    <a:pt x="44411" y="60000"/>
                    <a:pt x="44705" y="60315"/>
                    <a:pt x="44705" y="60315"/>
                  </a:cubicBezTo>
                  <a:cubicBezTo>
                    <a:pt x="44705" y="60631"/>
                    <a:pt x="44705" y="60631"/>
                    <a:pt x="45000" y="60631"/>
                  </a:cubicBezTo>
                  <a:cubicBezTo>
                    <a:pt x="45294" y="60631"/>
                    <a:pt x="45588" y="60947"/>
                    <a:pt x="45588" y="60947"/>
                  </a:cubicBezTo>
                  <a:cubicBezTo>
                    <a:pt x="45882" y="60947"/>
                    <a:pt x="45882" y="60947"/>
                    <a:pt x="45882" y="60947"/>
                  </a:cubicBezTo>
                  <a:cubicBezTo>
                    <a:pt x="45882" y="60947"/>
                    <a:pt x="46176" y="60947"/>
                    <a:pt x="46470" y="60947"/>
                  </a:cubicBezTo>
                  <a:cubicBezTo>
                    <a:pt x="46764" y="60947"/>
                    <a:pt x="46764" y="60631"/>
                    <a:pt x="47058" y="60631"/>
                  </a:cubicBezTo>
                  <a:cubicBezTo>
                    <a:pt x="47352" y="60631"/>
                    <a:pt x="48235" y="60631"/>
                    <a:pt x="48235" y="60631"/>
                  </a:cubicBezTo>
                  <a:cubicBezTo>
                    <a:pt x="48823" y="61894"/>
                    <a:pt x="48823" y="61894"/>
                    <a:pt x="48823" y="61894"/>
                  </a:cubicBezTo>
                  <a:cubicBezTo>
                    <a:pt x="48823" y="61894"/>
                    <a:pt x="48823" y="62210"/>
                    <a:pt x="49117" y="62210"/>
                  </a:cubicBezTo>
                  <a:cubicBezTo>
                    <a:pt x="49117" y="62526"/>
                    <a:pt x="49705" y="62842"/>
                    <a:pt x="50000" y="62842"/>
                  </a:cubicBezTo>
                  <a:cubicBezTo>
                    <a:pt x="50294" y="62842"/>
                    <a:pt x="52647" y="62210"/>
                    <a:pt x="52647" y="62210"/>
                  </a:cubicBezTo>
                  <a:cubicBezTo>
                    <a:pt x="51470" y="61263"/>
                    <a:pt x="51470" y="61263"/>
                    <a:pt x="51470" y="61263"/>
                  </a:cubicBezTo>
                  <a:cubicBezTo>
                    <a:pt x="51470" y="61263"/>
                    <a:pt x="50882" y="60631"/>
                    <a:pt x="50588" y="60315"/>
                  </a:cubicBezTo>
                  <a:cubicBezTo>
                    <a:pt x="50588" y="60000"/>
                    <a:pt x="49117" y="59052"/>
                    <a:pt x="49117" y="59052"/>
                  </a:cubicBezTo>
                  <a:cubicBezTo>
                    <a:pt x="47647" y="58736"/>
                    <a:pt x="47647" y="58736"/>
                    <a:pt x="47647" y="58736"/>
                  </a:cubicBezTo>
                  <a:cubicBezTo>
                    <a:pt x="45882" y="57789"/>
                    <a:pt x="45882" y="57789"/>
                    <a:pt x="45882" y="57789"/>
                  </a:cubicBezTo>
                  <a:cubicBezTo>
                    <a:pt x="44117" y="57157"/>
                    <a:pt x="44117" y="57157"/>
                    <a:pt x="44117" y="57157"/>
                  </a:cubicBezTo>
                  <a:cubicBezTo>
                    <a:pt x="44117" y="57157"/>
                    <a:pt x="44705" y="55894"/>
                    <a:pt x="45000" y="55578"/>
                  </a:cubicBezTo>
                  <a:cubicBezTo>
                    <a:pt x="45000" y="55263"/>
                    <a:pt x="45000" y="54315"/>
                    <a:pt x="45294" y="54315"/>
                  </a:cubicBezTo>
                  <a:cubicBezTo>
                    <a:pt x="45588" y="54631"/>
                    <a:pt x="46176" y="54631"/>
                    <a:pt x="46470" y="54631"/>
                  </a:cubicBezTo>
                  <a:cubicBezTo>
                    <a:pt x="46764" y="54631"/>
                    <a:pt x="47352" y="54315"/>
                    <a:pt x="47647" y="54315"/>
                  </a:cubicBezTo>
                  <a:cubicBezTo>
                    <a:pt x="47941" y="54315"/>
                    <a:pt x="48529" y="54631"/>
                    <a:pt x="48529" y="54631"/>
                  </a:cubicBezTo>
                  <a:cubicBezTo>
                    <a:pt x="48529" y="54631"/>
                    <a:pt x="48823" y="55263"/>
                    <a:pt x="48823" y="55578"/>
                  </a:cubicBezTo>
                  <a:cubicBezTo>
                    <a:pt x="49117" y="55578"/>
                    <a:pt x="49117" y="56210"/>
                    <a:pt x="49411" y="56526"/>
                  </a:cubicBezTo>
                  <a:cubicBezTo>
                    <a:pt x="49705" y="56526"/>
                    <a:pt x="51176" y="57157"/>
                    <a:pt x="51176" y="57157"/>
                  </a:cubicBezTo>
                  <a:cubicBezTo>
                    <a:pt x="51176" y="57157"/>
                    <a:pt x="52941" y="57789"/>
                    <a:pt x="52941" y="57789"/>
                  </a:cubicBezTo>
                  <a:cubicBezTo>
                    <a:pt x="53235" y="57789"/>
                    <a:pt x="53823" y="57789"/>
                    <a:pt x="53823" y="57789"/>
                  </a:cubicBezTo>
                  <a:cubicBezTo>
                    <a:pt x="54705" y="58736"/>
                    <a:pt x="54705" y="58736"/>
                    <a:pt x="54705" y="58736"/>
                  </a:cubicBezTo>
                  <a:cubicBezTo>
                    <a:pt x="56470" y="58421"/>
                    <a:pt x="56470" y="58421"/>
                    <a:pt x="56470" y="58421"/>
                  </a:cubicBezTo>
                  <a:cubicBezTo>
                    <a:pt x="58235" y="58105"/>
                    <a:pt x="58235" y="58105"/>
                    <a:pt x="58235" y="58105"/>
                  </a:cubicBezTo>
                  <a:cubicBezTo>
                    <a:pt x="58529" y="58736"/>
                    <a:pt x="58529" y="58736"/>
                    <a:pt x="58529" y="58736"/>
                  </a:cubicBezTo>
                  <a:cubicBezTo>
                    <a:pt x="58529" y="58736"/>
                    <a:pt x="59411" y="59368"/>
                    <a:pt x="59411" y="59368"/>
                  </a:cubicBezTo>
                  <a:cubicBezTo>
                    <a:pt x="59411" y="59684"/>
                    <a:pt x="60000" y="60947"/>
                    <a:pt x="60000" y="60947"/>
                  </a:cubicBezTo>
                  <a:cubicBezTo>
                    <a:pt x="60000" y="60947"/>
                    <a:pt x="60000" y="61894"/>
                    <a:pt x="60000" y="61894"/>
                  </a:cubicBezTo>
                  <a:cubicBezTo>
                    <a:pt x="60000" y="62210"/>
                    <a:pt x="60588" y="63473"/>
                    <a:pt x="60588" y="63473"/>
                  </a:cubicBezTo>
                  <a:cubicBezTo>
                    <a:pt x="60882" y="63789"/>
                    <a:pt x="62058" y="65052"/>
                    <a:pt x="62058" y="65368"/>
                  </a:cubicBezTo>
                  <a:cubicBezTo>
                    <a:pt x="62058" y="65368"/>
                    <a:pt x="62647" y="66315"/>
                    <a:pt x="62941" y="66315"/>
                  </a:cubicBezTo>
                  <a:cubicBezTo>
                    <a:pt x="62941" y="66315"/>
                    <a:pt x="63235" y="66000"/>
                    <a:pt x="63235" y="66000"/>
                  </a:cubicBezTo>
                  <a:cubicBezTo>
                    <a:pt x="63529" y="66000"/>
                    <a:pt x="64411" y="65368"/>
                    <a:pt x="64411" y="65368"/>
                  </a:cubicBezTo>
                  <a:cubicBezTo>
                    <a:pt x="64411" y="65368"/>
                    <a:pt x="65294" y="65368"/>
                    <a:pt x="65294" y="65684"/>
                  </a:cubicBezTo>
                  <a:cubicBezTo>
                    <a:pt x="65294" y="66000"/>
                    <a:pt x="66470" y="66947"/>
                    <a:pt x="66470" y="66947"/>
                  </a:cubicBezTo>
                  <a:cubicBezTo>
                    <a:pt x="66470" y="66947"/>
                    <a:pt x="66764" y="68210"/>
                    <a:pt x="66764" y="68210"/>
                  </a:cubicBezTo>
                  <a:cubicBezTo>
                    <a:pt x="66470" y="68526"/>
                    <a:pt x="65588" y="68842"/>
                    <a:pt x="65588" y="69157"/>
                  </a:cubicBezTo>
                  <a:cubicBezTo>
                    <a:pt x="65294" y="69157"/>
                    <a:pt x="64411" y="69157"/>
                    <a:pt x="64411" y="69157"/>
                  </a:cubicBezTo>
                  <a:cubicBezTo>
                    <a:pt x="64117" y="69473"/>
                    <a:pt x="62941" y="69789"/>
                    <a:pt x="62941" y="69789"/>
                  </a:cubicBezTo>
                  <a:cubicBezTo>
                    <a:pt x="62941" y="68526"/>
                    <a:pt x="62941" y="68526"/>
                    <a:pt x="62941" y="68526"/>
                  </a:cubicBezTo>
                  <a:cubicBezTo>
                    <a:pt x="62941" y="68526"/>
                    <a:pt x="62941" y="68210"/>
                    <a:pt x="62647" y="68210"/>
                  </a:cubicBezTo>
                  <a:cubicBezTo>
                    <a:pt x="62647" y="68210"/>
                    <a:pt x="60882" y="67578"/>
                    <a:pt x="60882" y="67578"/>
                  </a:cubicBezTo>
                  <a:cubicBezTo>
                    <a:pt x="60588" y="66000"/>
                    <a:pt x="60588" y="66000"/>
                    <a:pt x="60588" y="66000"/>
                  </a:cubicBezTo>
                  <a:cubicBezTo>
                    <a:pt x="59705" y="65052"/>
                    <a:pt x="59705" y="65052"/>
                    <a:pt x="59705" y="65052"/>
                  </a:cubicBezTo>
                  <a:cubicBezTo>
                    <a:pt x="58823" y="64421"/>
                    <a:pt x="58823" y="64421"/>
                    <a:pt x="58823" y="64421"/>
                  </a:cubicBezTo>
                  <a:cubicBezTo>
                    <a:pt x="58235" y="63473"/>
                    <a:pt x="58235" y="63473"/>
                    <a:pt x="58235" y="63473"/>
                  </a:cubicBezTo>
                  <a:cubicBezTo>
                    <a:pt x="57058" y="63473"/>
                    <a:pt x="57058" y="63473"/>
                    <a:pt x="57058" y="63473"/>
                  </a:cubicBezTo>
                  <a:cubicBezTo>
                    <a:pt x="57058" y="63473"/>
                    <a:pt x="56470" y="63789"/>
                    <a:pt x="56470" y="63789"/>
                  </a:cubicBezTo>
                  <a:cubicBezTo>
                    <a:pt x="56176" y="64105"/>
                    <a:pt x="55000" y="63789"/>
                    <a:pt x="55000" y="63789"/>
                  </a:cubicBezTo>
                  <a:cubicBezTo>
                    <a:pt x="54117" y="64105"/>
                    <a:pt x="54117" y="64105"/>
                    <a:pt x="54117" y="64105"/>
                  </a:cubicBezTo>
                  <a:cubicBezTo>
                    <a:pt x="54117" y="64736"/>
                    <a:pt x="54117" y="64736"/>
                    <a:pt x="54117" y="64736"/>
                  </a:cubicBezTo>
                  <a:cubicBezTo>
                    <a:pt x="55588" y="64736"/>
                    <a:pt x="55588" y="64736"/>
                    <a:pt x="55588" y="64736"/>
                  </a:cubicBezTo>
                  <a:cubicBezTo>
                    <a:pt x="56764" y="65052"/>
                    <a:pt x="56764" y="65052"/>
                    <a:pt x="56764" y="65052"/>
                  </a:cubicBezTo>
                  <a:cubicBezTo>
                    <a:pt x="58529" y="65368"/>
                    <a:pt x="58529" y="65368"/>
                    <a:pt x="58529" y="65368"/>
                  </a:cubicBezTo>
                  <a:cubicBezTo>
                    <a:pt x="58529" y="66631"/>
                    <a:pt x="58529" y="66631"/>
                    <a:pt x="58529" y="66631"/>
                  </a:cubicBezTo>
                  <a:cubicBezTo>
                    <a:pt x="58529" y="66631"/>
                    <a:pt x="58823" y="67263"/>
                    <a:pt x="58823" y="67578"/>
                  </a:cubicBezTo>
                  <a:cubicBezTo>
                    <a:pt x="58823" y="67894"/>
                    <a:pt x="59411" y="69157"/>
                    <a:pt x="59411" y="69157"/>
                  </a:cubicBezTo>
                  <a:cubicBezTo>
                    <a:pt x="60000" y="71052"/>
                    <a:pt x="60000" y="71052"/>
                    <a:pt x="60000" y="71052"/>
                  </a:cubicBezTo>
                  <a:cubicBezTo>
                    <a:pt x="60588" y="72315"/>
                    <a:pt x="60588" y="72315"/>
                    <a:pt x="60588" y="72315"/>
                  </a:cubicBezTo>
                  <a:cubicBezTo>
                    <a:pt x="61176" y="72631"/>
                    <a:pt x="61176" y="72631"/>
                    <a:pt x="61176" y="72631"/>
                  </a:cubicBezTo>
                  <a:cubicBezTo>
                    <a:pt x="61176" y="73894"/>
                    <a:pt x="61176" y="73894"/>
                    <a:pt x="61176" y="73894"/>
                  </a:cubicBezTo>
                  <a:cubicBezTo>
                    <a:pt x="61764" y="74210"/>
                    <a:pt x="61764" y="74210"/>
                    <a:pt x="61764" y="74210"/>
                  </a:cubicBezTo>
                  <a:cubicBezTo>
                    <a:pt x="61764" y="74210"/>
                    <a:pt x="61470" y="74526"/>
                    <a:pt x="61470" y="74842"/>
                  </a:cubicBezTo>
                  <a:cubicBezTo>
                    <a:pt x="61470" y="74842"/>
                    <a:pt x="60882" y="75789"/>
                    <a:pt x="60882" y="75789"/>
                  </a:cubicBezTo>
                  <a:cubicBezTo>
                    <a:pt x="60882" y="75789"/>
                    <a:pt x="60294" y="75789"/>
                    <a:pt x="60000" y="75789"/>
                  </a:cubicBezTo>
                  <a:cubicBezTo>
                    <a:pt x="60000" y="75473"/>
                    <a:pt x="59705" y="74842"/>
                    <a:pt x="59411" y="74842"/>
                  </a:cubicBezTo>
                  <a:cubicBezTo>
                    <a:pt x="58823" y="74526"/>
                    <a:pt x="58823" y="73894"/>
                    <a:pt x="58529" y="73894"/>
                  </a:cubicBezTo>
                  <a:cubicBezTo>
                    <a:pt x="58235" y="73894"/>
                    <a:pt x="57352" y="73894"/>
                    <a:pt x="57352" y="73894"/>
                  </a:cubicBezTo>
                  <a:cubicBezTo>
                    <a:pt x="57352" y="73894"/>
                    <a:pt x="56764" y="72947"/>
                    <a:pt x="56470" y="72631"/>
                  </a:cubicBezTo>
                  <a:cubicBezTo>
                    <a:pt x="56470" y="72631"/>
                    <a:pt x="56176" y="72315"/>
                    <a:pt x="55882" y="72000"/>
                  </a:cubicBezTo>
                  <a:cubicBezTo>
                    <a:pt x="55588" y="71684"/>
                    <a:pt x="55000" y="70736"/>
                    <a:pt x="55000" y="71052"/>
                  </a:cubicBezTo>
                  <a:cubicBezTo>
                    <a:pt x="55000" y="71684"/>
                    <a:pt x="55294" y="72315"/>
                    <a:pt x="55000" y="72315"/>
                  </a:cubicBezTo>
                  <a:cubicBezTo>
                    <a:pt x="54411" y="72315"/>
                    <a:pt x="54117" y="72315"/>
                    <a:pt x="54117" y="72315"/>
                  </a:cubicBezTo>
                  <a:cubicBezTo>
                    <a:pt x="54117" y="72315"/>
                    <a:pt x="53529" y="72947"/>
                    <a:pt x="53235" y="73263"/>
                  </a:cubicBezTo>
                  <a:cubicBezTo>
                    <a:pt x="53235" y="73263"/>
                    <a:pt x="53529" y="73263"/>
                    <a:pt x="52941" y="73578"/>
                  </a:cubicBezTo>
                  <a:cubicBezTo>
                    <a:pt x="52647" y="73578"/>
                    <a:pt x="52058" y="73578"/>
                    <a:pt x="52058" y="73578"/>
                  </a:cubicBezTo>
                  <a:cubicBezTo>
                    <a:pt x="52058" y="73263"/>
                    <a:pt x="52058" y="73263"/>
                    <a:pt x="52058" y="72947"/>
                  </a:cubicBezTo>
                  <a:cubicBezTo>
                    <a:pt x="52352" y="72631"/>
                    <a:pt x="54117" y="71684"/>
                    <a:pt x="54117" y="71684"/>
                  </a:cubicBezTo>
                  <a:cubicBezTo>
                    <a:pt x="54117" y="71368"/>
                    <a:pt x="53529" y="70421"/>
                    <a:pt x="53529" y="70421"/>
                  </a:cubicBezTo>
                  <a:cubicBezTo>
                    <a:pt x="53235" y="70736"/>
                    <a:pt x="53235" y="70736"/>
                    <a:pt x="53235" y="70736"/>
                  </a:cubicBezTo>
                  <a:cubicBezTo>
                    <a:pt x="52352" y="71368"/>
                    <a:pt x="52352" y="71368"/>
                    <a:pt x="52352" y="71368"/>
                  </a:cubicBezTo>
                  <a:cubicBezTo>
                    <a:pt x="51176" y="72315"/>
                    <a:pt x="51176" y="72315"/>
                    <a:pt x="51176" y="72315"/>
                  </a:cubicBezTo>
                  <a:cubicBezTo>
                    <a:pt x="50294" y="72631"/>
                    <a:pt x="50294" y="72631"/>
                    <a:pt x="50294" y="72631"/>
                  </a:cubicBezTo>
                  <a:cubicBezTo>
                    <a:pt x="49411" y="73263"/>
                    <a:pt x="49411" y="73263"/>
                    <a:pt x="49411" y="73263"/>
                  </a:cubicBezTo>
                  <a:cubicBezTo>
                    <a:pt x="48235" y="73578"/>
                    <a:pt x="48235" y="73578"/>
                    <a:pt x="48235" y="73578"/>
                  </a:cubicBezTo>
                  <a:cubicBezTo>
                    <a:pt x="47058" y="73578"/>
                    <a:pt x="47058" y="73578"/>
                    <a:pt x="47058" y="73578"/>
                  </a:cubicBezTo>
                  <a:cubicBezTo>
                    <a:pt x="46470" y="73263"/>
                    <a:pt x="46470" y="73263"/>
                    <a:pt x="46470" y="73263"/>
                  </a:cubicBezTo>
                  <a:cubicBezTo>
                    <a:pt x="45882" y="72315"/>
                    <a:pt x="45882" y="72315"/>
                    <a:pt x="45882" y="72315"/>
                  </a:cubicBezTo>
                  <a:cubicBezTo>
                    <a:pt x="45588" y="72315"/>
                    <a:pt x="45588" y="72315"/>
                    <a:pt x="45588" y="72315"/>
                  </a:cubicBezTo>
                  <a:cubicBezTo>
                    <a:pt x="45588" y="72315"/>
                    <a:pt x="45294" y="71684"/>
                    <a:pt x="45588" y="71368"/>
                  </a:cubicBezTo>
                  <a:cubicBezTo>
                    <a:pt x="45588" y="71368"/>
                    <a:pt x="45882" y="71052"/>
                    <a:pt x="46470" y="71052"/>
                  </a:cubicBezTo>
                  <a:cubicBezTo>
                    <a:pt x="47058" y="71052"/>
                    <a:pt x="47352" y="71052"/>
                    <a:pt x="47647" y="71052"/>
                  </a:cubicBezTo>
                  <a:cubicBezTo>
                    <a:pt x="47941" y="71052"/>
                    <a:pt x="48235" y="70736"/>
                    <a:pt x="48235" y="70736"/>
                  </a:cubicBezTo>
                  <a:cubicBezTo>
                    <a:pt x="48235" y="70736"/>
                    <a:pt x="48529" y="70736"/>
                    <a:pt x="48529" y="70421"/>
                  </a:cubicBezTo>
                  <a:cubicBezTo>
                    <a:pt x="48529" y="70105"/>
                    <a:pt x="47647" y="68842"/>
                    <a:pt x="47647" y="68842"/>
                  </a:cubicBezTo>
                  <a:cubicBezTo>
                    <a:pt x="47647" y="68842"/>
                    <a:pt x="46470" y="68842"/>
                    <a:pt x="46176" y="69157"/>
                  </a:cubicBezTo>
                  <a:cubicBezTo>
                    <a:pt x="45588" y="69157"/>
                    <a:pt x="45588" y="69789"/>
                    <a:pt x="45000" y="69473"/>
                  </a:cubicBezTo>
                  <a:cubicBezTo>
                    <a:pt x="44411" y="69157"/>
                    <a:pt x="42941" y="68526"/>
                    <a:pt x="42941" y="68526"/>
                  </a:cubicBezTo>
                  <a:cubicBezTo>
                    <a:pt x="41764" y="67263"/>
                    <a:pt x="41764" y="67263"/>
                    <a:pt x="41764" y="67263"/>
                  </a:cubicBezTo>
                  <a:cubicBezTo>
                    <a:pt x="41176" y="67894"/>
                    <a:pt x="41176" y="67894"/>
                    <a:pt x="41176" y="67894"/>
                  </a:cubicBezTo>
                  <a:cubicBezTo>
                    <a:pt x="40294" y="68526"/>
                    <a:pt x="40294" y="68526"/>
                    <a:pt x="40294" y="68526"/>
                  </a:cubicBezTo>
                  <a:cubicBezTo>
                    <a:pt x="40294" y="68526"/>
                    <a:pt x="40294" y="69157"/>
                    <a:pt x="39705" y="68526"/>
                  </a:cubicBezTo>
                  <a:cubicBezTo>
                    <a:pt x="39117" y="67578"/>
                    <a:pt x="39117" y="66947"/>
                    <a:pt x="39117" y="66947"/>
                  </a:cubicBezTo>
                  <a:cubicBezTo>
                    <a:pt x="38235" y="66947"/>
                    <a:pt x="38235" y="66947"/>
                    <a:pt x="38235" y="66947"/>
                  </a:cubicBezTo>
                  <a:cubicBezTo>
                    <a:pt x="37941" y="67894"/>
                    <a:pt x="37941" y="67894"/>
                    <a:pt x="37941" y="67894"/>
                  </a:cubicBezTo>
                  <a:cubicBezTo>
                    <a:pt x="37941" y="67894"/>
                    <a:pt x="37352" y="68842"/>
                    <a:pt x="37352" y="68842"/>
                  </a:cubicBezTo>
                  <a:cubicBezTo>
                    <a:pt x="37058" y="68842"/>
                    <a:pt x="36176" y="68842"/>
                    <a:pt x="35882" y="69157"/>
                  </a:cubicBezTo>
                  <a:cubicBezTo>
                    <a:pt x="35882" y="69157"/>
                    <a:pt x="34411" y="69157"/>
                    <a:pt x="34411" y="69157"/>
                  </a:cubicBezTo>
                  <a:cubicBezTo>
                    <a:pt x="32352" y="68526"/>
                    <a:pt x="32352" y="68526"/>
                    <a:pt x="32352" y="68526"/>
                  </a:cubicBezTo>
                  <a:cubicBezTo>
                    <a:pt x="32352" y="68526"/>
                    <a:pt x="31764" y="68842"/>
                    <a:pt x="31764" y="68842"/>
                  </a:cubicBezTo>
                  <a:cubicBezTo>
                    <a:pt x="31470" y="69157"/>
                    <a:pt x="28529" y="69789"/>
                    <a:pt x="28529" y="69789"/>
                  </a:cubicBezTo>
                  <a:cubicBezTo>
                    <a:pt x="27058" y="70736"/>
                    <a:pt x="27058" y="70736"/>
                    <a:pt x="27058" y="70736"/>
                  </a:cubicBezTo>
                  <a:cubicBezTo>
                    <a:pt x="26176" y="70736"/>
                    <a:pt x="26176" y="70736"/>
                    <a:pt x="26176" y="70736"/>
                  </a:cubicBezTo>
                  <a:cubicBezTo>
                    <a:pt x="25294" y="69473"/>
                    <a:pt x="25294" y="69473"/>
                    <a:pt x="25294" y="69473"/>
                  </a:cubicBezTo>
                  <a:cubicBezTo>
                    <a:pt x="24705" y="68526"/>
                    <a:pt x="24705" y="68526"/>
                    <a:pt x="24705" y="68526"/>
                  </a:cubicBezTo>
                  <a:cubicBezTo>
                    <a:pt x="24705" y="69789"/>
                    <a:pt x="24705" y="69789"/>
                    <a:pt x="24705" y="69789"/>
                  </a:cubicBezTo>
                  <a:cubicBezTo>
                    <a:pt x="24411" y="70421"/>
                    <a:pt x="24411" y="70421"/>
                    <a:pt x="24411" y="70421"/>
                  </a:cubicBezTo>
                  <a:cubicBezTo>
                    <a:pt x="24411" y="70421"/>
                    <a:pt x="23235" y="71684"/>
                    <a:pt x="22941" y="72000"/>
                  </a:cubicBezTo>
                  <a:cubicBezTo>
                    <a:pt x="22941" y="72000"/>
                    <a:pt x="21470" y="70421"/>
                    <a:pt x="21470" y="70421"/>
                  </a:cubicBezTo>
                  <a:cubicBezTo>
                    <a:pt x="21176" y="68210"/>
                    <a:pt x="21176" y="68210"/>
                    <a:pt x="21176" y="68210"/>
                  </a:cubicBezTo>
                  <a:cubicBezTo>
                    <a:pt x="19705" y="66631"/>
                    <a:pt x="19705" y="66631"/>
                    <a:pt x="19705" y="66631"/>
                  </a:cubicBezTo>
                  <a:cubicBezTo>
                    <a:pt x="18823" y="66947"/>
                    <a:pt x="18823" y="66947"/>
                    <a:pt x="18823" y="66947"/>
                  </a:cubicBezTo>
                  <a:cubicBezTo>
                    <a:pt x="18529" y="65368"/>
                    <a:pt x="18529" y="65368"/>
                    <a:pt x="18529" y="65368"/>
                  </a:cubicBezTo>
                  <a:cubicBezTo>
                    <a:pt x="17941" y="64421"/>
                    <a:pt x="17941" y="64421"/>
                    <a:pt x="17941" y="64421"/>
                  </a:cubicBezTo>
                  <a:cubicBezTo>
                    <a:pt x="16764" y="64421"/>
                    <a:pt x="16764" y="64421"/>
                    <a:pt x="16764" y="64421"/>
                  </a:cubicBezTo>
                  <a:cubicBezTo>
                    <a:pt x="16470" y="65052"/>
                    <a:pt x="16470" y="65052"/>
                    <a:pt x="16470" y="65052"/>
                  </a:cubicBezTo>
                  <a:cubicBezTo>
                    <a:pt x="16176" y="66000"/>
                    <a:pt x="16176" y="66000"/>
                    <a:pt x="16176" y="66000"/>
                  </a:cubicBezTo>
                  <a:cubicBezTo>
                    <a:pt x="16176" y="66000"/>
                    <a:pt x="16470" y="66947"/>
                    <a:pt x="16470" y="66947"/>
                  </a:cubicBezTo>
                  <a:cubicBezTo>
                    <a:pt x="16470" y="67263"/>
                    <a:pt x="16176" y="67578"/>
                    <a:pt x="15882" y="67578"/>
                  </a:cubicBezTo>
                  <a:cubicBezTo>
                    <a:pt x="15882" y="67578"/>
                    <a:pt x="14411" y="68210"/>
                    <a:pt x="14411" y="68210"/>
                  </a:cubicBezTo>
                  <a:cubicBezTo>
                    <a:pt x="14411" y="68210"/>
                    <a:pt x="14117" y="67263"/>
                    <a:pt x="14117" y="66947"/>
                  </a:cubicBezTo>
                  <a:cubicBezTo>
                    <a:pt x="14117" y="66315"/>
                    <a:pt x="14117" y="65368"/>
                    <a:pt x="14117" y="65368"/>
                  </a:cubicBezTo>
                  <a:cubicBezTo>
                    <a:pt x="14117" y="65368"/>
                    <a:pt x="15294" y="64736"/>
                    <a:pt x="15294" y="64736"/>
                  </a:cubicBezTo>
                  <a:cubicBezTo>
                    <a:pt x="15294" y="64421"/>
                    <a:pt x="16176" y="62842"/>
                    <a:pt x="16176" y="62842"/>
                  </a:cubicBezTo>
                  <a:cubicBezTo>
                    <a:pt x="16176" y="61894"/>
                    <a:pt x="16176" y="61894"/>
                    <a:pt x="16176" y="61894"/>
                  </a:cubicBezTo>
                  <a:cubicBezTo>
                    <a:pt x="16176" y="61894"/>
                    <a:pt x="17352" y="61578"/>
                    <a:pt x="17647" y="61578"/>
                  </a:cubicBezTo>
                  <a:cubicBezTo>
                    <a:pt x="17941" y="61578"/>
                    <a:pt x="18529" y="61578"/>
                    <a:pt x="18823" y="61894"/>
                  </a:cubicBezTo>
                  <a:cubicBezTo>
                    <a:pt x="19411" y="62210"/>
                    <a:pt x="19117" y="62210"/>
                    <a:pt x="19705" y="62210"/>
                  </a:cubicBezTo>
                  <a:cubicBezTo>
                    <a:pt x="20294" y="61894"/>
                    <a:pt x="20882" y="61578"/>
                    <a:pt x="20882" y="61263"/>
                  </a:cubicBezTo>
                  <a:cubicBezTo>
                    <a:pt x="20882" y="60947"/>
                    <a:pt x="21176" y="59684"/>
                    <a:pt x="20294" y="59684"/>
                  </a:cubicBezTo>
                  <a:cubicBezTo>
                    <a:pt x="19705" y="59684"/>
                    <a:pt x="18823" y="60315"/>
                    <a:pt x="18529" y="60315"/>
                  </a:cubicBezTo>
                  <a:cubicBezTo>
                    <a:pt x="18235" y="60631"/>
                    <a:pt x="17941" y="60315"/>
                    <a:pt x="17352" y="60000"/>
                  </a:cubicBezTo>
                  <a:cubicBezTo>
                    <a:pt x="17058" y="60000"/>
                    <a:pt x="16470" y="59684"/>
                    <a:pt x="16470" y="59684"/>
                  </a:cubicBezTo>
                  <a:cubicBezTo>
                    <a:pt x="15588" y="60631"/>
                    <a:pt x="15588" y="60631"/>
                    <a:pt x="15588" y="60631"/>
                  </a:cubicBezTo>
                  <a:cubicBezTo>
                    <a:pt x="15588" y="60631"/>
                    <a:pt x="16176" y="61894"/>
                    <a:pt x="15000" y="60947"/>
                  </a:cubicBezTo>
                  <a:cubicBezTo>
                    <a:pt x="13823" y="60315"/>
                    <a:pt x="13823" y="60000"/>
                    <a:pt x="13823" y="60000"/>
                  </a:cubicBezTo>
                  <a:cubicBezTo>
                    <a:pt x="12647" y="58736"/>
                    <a:pt x="12647" y="58736"/>
                    <a:pt x="12647" y="58736"/>
                  </a:cubicBezTo>
                  <a:cubicBezTo>
                    <a:pt x="12058" y="56526"/>
                    <a:pt x="12058" y="56526"/>
                    <a:pt x="12058" y="56526"/>
                  </a:cubicBezTo>
                  <a:cubicBezTo>
                    <a:pt x="11176" y="55263"/>
                    <a:pt x="11176" y="55263"/>
                    <a:pt x="11176" y="55263"/>
                  </a:cubicBezTo>
                  <a:cubicBezTo>
                    <a:pt x="11176" y="55263"/>
                    <a:pt x="10882" y="55894"/>
                    <a:pt x="10588" y="56526"/>
                  </a:cubicBezTo>
                  <a:cubicBezTo>
                    <a:pt x="10294" y="56842"/>
                    <a:pt x="9705" y="56842"/>
                    <a:pt x="9411" y="56526"/>
                  </a:cubicBezTo>
                  <a:cubicBezTo>
                    <a:pt x="9411" y="55894"/>
                    <a:pt x="8529" y="54631"/>
                    <a:pt x="8529" y="54631"/>
                  </a:cubicBezTo>
                  <a:cubicBezTo>
                    <a:pt x="8823" y="53368"/>
                    <a:pt x="8823" y="53368"/>
                    <a:pt x="8823" y="53368"/>
                  </a:cubicBezTo>
                  <a:cubicBezTo>
                    <a:pt x="7647" y="53052"/>
                    <a:pt x="7647" y="53052"/>
                    <a:pt x="7647" y="53052"/>
                  </a:cubicBezTo>
                  <a:cubicBezTo>
                    <a:pt x="7647" y="53052"/>
                    <a:pt x="7058" y="52736"/>
                    <a:pt x="7058" y="52421"/>
                  </a:cubicBezTo>
                  <a:cubicBezTo>
                    <a:pt x="7352" y="51789"/>
                    <a:pt x="7941" y="50842"/>
                    <a:pt x="7941" y="50842"/>
                  </a:cubicBezTo>
                  <a:cubicBezTo>
                    <a:pt x="8529" y="49578"/>
                    <a:pt x="8529" y="49578"/>
                    <a:pt x="8529" y="49578"/>
                  </a:cubicBezTo>
                  <a:cubicBezTo>
                    <a:pt x="8529" y="49578"/>
                    <a:pt x="8529" y="48631"/>
                    <a:pt x="8235" y="48315"/>
                  </a:cubicBezTo>
                  <a:cubicBezTo>
                    <a:pt x="8235" y="48000"/>
                    <a:pt x="7941" y="43894"/>
                    <a:pt x="7941" y="43894"/>
                  </a:cubicBezTo>
                  <a:cubicBezTo>
                    <a:pt x="10294" y="42315"/>
                    <a:pt x="10294" y="42315"/>
                    <a:pt x="10294" y="42315"/>
                  </a:cubicBezTo>
                  <a:cubicBezTo>
                    <a:pt x="11764" y="39789"/>
                    <a:pt x="11764" y="39789"/>
                    <a:pt x="11764" y="39789"/>
                  </a:cubicBezTo>
                  <a:cubicBezTo>
                    <a:pt x="12352" y="36947"/>
                    <a:pt x="12352" y="36947"/>
                    <a:pt x="12352" y="36947"/>
                  </a:cubicBezTo>
                  <a:cubicBezTo>
                    <a:pt x="13235" y="34421"/>
                    <a:pt x="13235" y="34421"/>
                    <a:pt x="13235" y="34421"/>
                  </a:cubicBezTo>
                  <a:cubicBezTo>
                    <a:pt x="13235" y="34421"/>
                    <a:pt x="14411" y="33157"/>
                    <a:pt x="14411" y="33473"/>
                  </a:cubicBezTo>
                  <a:cubicBezTo>
                    <a:pt x="14705" y="33789"/>
                    <a:pt x="14411" y="30947"/>
                    <a:pt x="14411" y="30947"/>
                  </a:cubicBezTo>
                  <a:cubicBezTo>
                    <a:pt x="13529" y="30000"/>
                    <a:pt x="13529" y="30000"/>
                    <a:pt x="13529" y="30000"/>
                  </a:cubicBezTo>
                  <a:cubicBezTo>
                    <a:pt x="13529" y="28421"/>
                    <a:pt x="13529" y="28421"/>
                    <a:pt x="13529" y="28421"/>
                  </a:cubicBezTo>
                  <a:cubicBezTo>
                    <a:pt x="13529" y="28421"/>
                    <a:pt x="15000" y="28105"/>
                    <a:pt x="15294" y="28105"/>
                  </a:cubicBezTo>
                  <a:cubicBezTo>
                    <a:pt x="15588" y="28105"/>
                    <a:pt x="16176" y="27789"/>
                    <a:pt x="17058" y="27473"/>
                  </a:cubicBezTo>
                  <a:cubicBezTo>
                    <a:pt x="17647" y="27473"/>
                    <a:pt x="18235" y="26842"/>
                    <a:pt x="18823" y="26842"/>
                  </a:cubicBezTo>
                  <a:cubicBezTo>
                    <a:pt x="19117" y="26842"/>
                    <a:pt x="20588" y="26842"/>
                    <a:pt x="20588" y="26842"/>
                  </a:cubicBezTo>
                  <a:cubicBezTo>
                    <a:pt x="20588" y="26842"/>
                    <a:pt x="22058" y="25894"/>
                    <a:pt x="22352" y="25578"/>
                  </a:cubicBezTo>
                  <a:cubicBezTo>
                    <a:pt x="22647" y="25263"/>
                    <a:pt x="23529" y="24000"/>
                    <a:pt x="23529" y="24000"/>
                  </a:cubicBezTo>
                  <a:cubicBezTo>
                    <a:pt x="23529" y="24000"/>
                    <a:pt x="23823" y="22421"/>
                    <a:pt x="24411" y="22105"/>
                  </a:cubicBezTo>
                  <a:cubicBezTo>
                    <a:pt x="24705" y="22105"/>
                    <a:pt x="25588" y="21473"/>
                    <a:pt x="26176" y="21473"/>
                  </a:cubicBezTo>
                  <a:cubicBezTo>
                    <a:pt x="26764" y="21157"/>
                    <a:pt x="28235" y="20842"/>
                    <a:pt x="28529" y="20842"/>
                  </a:cubicBezTo>
                  <a:cubicBezTo>
                    <a:pt x="28823" y="20842"/>
                    <a:pt x="32352" y="20210"/>
                    <a:pt x="32352" y="20210"/>
                  </a:cubicBezTo>
                  <a:cubicBezTo>
                    <a:pt x="33823" y="18947"/>
                    <a:pt x="33823" y="18947"/>
                    <a:pt x="33823" y="18947"/>
                  </a:cubicBezTo>
                  <a:cubicBezTo>
                    <a:pt x="33529" y="16105"/>
                    <a:pt x="33529" y="16105"/>
                    <a:pt x="33529" y="16105"/>
                  </a:cubicBezTo>
                  <a:cubicBezTo>
                    <a:pt x="37941" y="15473"/>
                    <a:pt x="37941" y="15473"/>
                    <a:pt x="37941" y="15473"/>
                  </a:cubicBezTo>
                  <a:cubicBezTo>
                    <a:pt x="39705" y="14210"/>
                    <a:pt x="39705" y="14210"/>
                    <a:pt x="39705" y="14210"/>
                  </a:cubicBezTo>
                  <a:cubicBezTo>
                    <a:pt x="39705" y="14210"/>
                    <a:pt x="40588" y="13263"/>
                    <a:pt x="40882" y="13263"/>
                  </a:cubicBezTo>
                  <a:cubicBezTo>
                    <a:pt x="41176" y="13578"/>
                    <a:pt x="41764" y="13263"/>
                    <a:pt x="41764" y="13263"/>
                  </a:cubicBezTo>
                  <a:cubicBezTo>
                    <a:pt x="43823" y="12631"/>
                    <a:pt x="43823" y="12631"/>
                    <a:pt x="43823" y="12631"/>
                  </a:cubicBezTo>
                  <a:cubicBezTo>
                    <a:pt x="43823" y="12631"/>
                    <a:pt x="46470" y="11684"/>
                    <a:pt x="46764" y="11368"/>
                  </a:cubicBezTo>
                  <a:cubicBezTo>
                    <a:pt x="46764" y="11368"/>
                    <a:pt x="48235" y="10736"/>
                    <a:pt x="48235" y="10736"/>
                  </a:cubicBezTo>
                  <a:cubicBezTo>
                    <a:pt x="48823" y="9473"/>
                    <a:pt x="48823" y="9473"/>
                    <a:pt x="48823" y="9473"/>
                  </a:cubicBezTo>
                  <a:cubicBezTo>
                    <a:pt x="48823" y="9473"/>
                    <a:pt x="49411" y="8842"/>
                    <a:pt x="50294" y="8842"/>
                  </a:cubicBezTo>
                  <a:cubicBezTo>
                    <a:pt x="50882" y="8842"/>
                    <a:pt x="51470" y="8842"/>
                    <a:pt x="51764" y="8842"/>
                  </a:cubicBezTo>
                  <a:cubicBezTo>
                    <a:pt x="51764" y="8526"/>
                    <a:pt x="52058" y="7894"/>
                    <a:pt x="52352" y="7894"/>
                  </a:cubicBezTo>
                  <a:cubicBezTo>
                    <a:pt x="52647" y="7894"/>
                    <a:pt x="54411" y="7578"/>
                    <a:pt x="54411" y="7578"/>
                  </a:cubicBezTo>
                  <a:cubicBezTo>
                    <a:pt x="55294" y="9157"/>
                    <a:pt x="55294" y="9157"/>
                    <a:pt x="55294" y="9157"/>
                  </a:cubicBezTo>
                  <a:cubicBezTo>
                    <a:pt x="55294" y="9157"/>
                    <a:pt x="57058" y="10421"/>
                    <a:pt x="57352" y="10421"/>
                  </a:cubicBezTo>
                  <a:cubicBezTo>
                    <a:pt x="57647" y="10421"/>
                    <a:pt x="59117" y="9157"/>
                    <a:pt x="59117" y="9157"/>
                  </a:cubicBezTo>
                  <a:cubicBezTo>
                    <a:pt x="62058" y="10105"/>
                    <a:pt x="62058" y="10105"/>
                    <a:pt x="62058" y="10105"/>
                  </a:cubicBezTo>
                  <a:cubicBezTo>
                    <a:pt x="64411" y="10736"/>
                    <a:pt x="64411" y="10736"/>
                    <a:pt x="64411" y="10736"/>
                  </a:cubicBezTo>
                  <a:cubicBezTo>
                    <a:pt x="65294" y="10105"/>
                    <a:pt x="65294" y="10105"/>
                    <a:pt x="65294" y="10105"/>
                  </a:cubicBezTo>
                  <a:close/>
                  <a:moveTo>
                    <a:pt x="55294" y="47052"/>
                  </a:moveTo>
                  <a:cubicBezTo>
                    <a:pt x="55294" y="47052"/>
                    <a:pt x="55294" y="47052"/>
                    <a:pt x="55294" y="47052"/>
                  </a:cubicBezTo>
                  <a:cubicBezTo>
                    <a:pt x="55588" y="47368"/>
                    <a:pt x="55588" y="47368"/>
                    <a:pt x="55588" y="47368"/>
                  </a:cubicBezTo>
                  <a:cubicBezTo>
                    <a:pt x="55588" y="47368"/>
                    <a:pt x="56176" y="47368"/>
                    <a:pt x="56470" y="47052"/>
                  </a:cubicBezTo>
                  <a:cubicBezTo>
                    <a:pt x="56764" y="47052"/>
                    <a:pt x="56176" y="46736"/>
                    <a:pt x="56176" y="46736"/>
                  </a:cubicBezTo>
                  <a:cubicBezTo>
                    <a:pt x="55588" y="46736"/>
                    <a:pt x="55588" y="46736"/>
                    <a:pt x="55588" y="46736"/>
                  </a:cubicBezTo>
                  <a:cubicBezTo>
                    <a:pt x="55588" y="46736"/>
                    <a:pt x="55294" y="47052"/>
                    <a:pt x="55294" y="47052"/>
                  </a:cubicBezTo>
                  <a:close/>
                  <a:moveTo>
                    <a:pt x="54117" y="49578"/>
                  </a:moveTo>
                  <a:cubicBezTo>
                    <a:pt x="54117" y="49578"/>
                    <a:pt x="54117" y="49578"/>
                    <a:pt x="54117" y="49578"/>
                  </a:cubicBezTo>
                  <a:cubicBezTo>
                    <a:pt x="54411" y="49894"/>
                    <a:pt x="54411" y="49894"/>
                    <a:pt x="54411" y="49894"/>
                  </a:cubicBezTo>
                  <a:cubicBezTo>
                    <a:pt x="54411" y="49894"/>
                    <a:pt x="54705" y="48947"/>
                    <a:pt x="55000" y="48631"/>
                  </a:cubicBezTo>
                  <a:cubicBezTo>
                    <a:pt x="55294" y="48000"/>
                    <a:pt x="54705" y="48315"/>
                    <a:pt x="54705" y="48315"/>
                  </a:cubicBezTo>
                  <a:cubicBezTo>
                    <a:pt x="54411" y="48631"/>
                    <a:pt x="54411" y="48631"/>
                    <a:pt x="54411" y="48631"/>
                  </a:cubicBezTo>
                  <a:cubicBezTo>
                    <a:pt x="54411" y="48631"/>
                    <a:pt x="54117" y="49578"/>
                    <a:pt x="54117" y="49578"/>
                  </a:cubicBezTo>
                  <a:close/>
                  <a:moveTo>
                    <a:pt x="93529" y="72947"/>
                  </a:moveTo>
                  <a:cubicBezTo>
                    <a:pt x="93529" y="72947"/>
                    <a:pt x="93529" y="72947"/>
                    <a:pt x="93529" y="72947"/>
                  </a:cubicBezTo>
                  <a:cubicBezTo>
                    <a:pt x="93529" y="72947"/>
                    <a:pt x="94411" y="73578"/>
                    <a:pt x="94411" y="73578"/>
                  </a:cubicBezTo>
                  <a:cubicBezTo>
                    <a:pt x="93823" y="74842"/>
                    <a:pt x="93823" y="74842"/>
                    <a:pt x="93823" y="74842"/>
                  </a:cubicBezTo>
                  <a:cubicBezTo>
                    <a:pt x="92941" y="74210"/>
                    <a:pt x="92941" y="74210"/>
                    <a:pt x="92941" y="74210"/>
                  </a:cubicBezTo>
                  <a:cubicBezTo>
                    <a:pt x="93529" y="72947"/>
                    <a:pt x="93529" y="72947"/>
                    <a:pt x="93529" y="72947"/>
                  </a:cubicBezTo>
                  <a:close/>
                  <a:moveTo>
                    <a:pt x="100588" y="78947"/>
                  </a:moveTo>
                  <a:cubicBezTo>
                    <a:pt x="100588" y="78947"/>
                    <a:pt x="100588" y="78947"/>
                    <a:pt x="100588" y="78947"/>
                  </a:cubicBezTo>
                  <a:cubicBezTo>
                    <a:pt x="100588" y="78947"/>
                    <a:pt x="102058" y="79263"/>
                    <a:pt x="102058" y="78947"/>
                  </a:cubicBezTo>
                  <a:cubicBezTo>
                    <a:pt x="102058" y="78631"/>
                    <a:pt x="102352" y="78000"/>
                    <a:pt x="102352" y="78000"/>
                  </a:cubicBezTo>
                  <a:cubicBezTo>
                    <a:pt x="102058" y="77684"/>
                    <a:pt x="101176" y="77368"/>
                    <a:pt x="101176" y="77368"/>
                  </a:cubicBezTo>
                  <a:cubicBezTo>
                    <a:pt x="100882" y="77368"/>
                    <a:pt x="100588" y="77368"/>
                    <a:pt x="100294" y="77052"/>
                  </a:cubicBezTo>
                  <a:cubicBezTo>
                    <a:pt x="98529" y="74842"/>
                    <a:pt x="99705" y="77684"/>
                    <a:pt x="100588" y="78000"/>
                  </a:cubicBezTo>
                  <a:cubicBezTo>
                    <a:pt x="100588" y="78315"/>
                    <a:pt x="100588" y="78315"/>
                    <a:pt x="100588" y="78315"/>
                  </a:cubicBezTo>
                  <a:cubicBezTo>
                    <a:pt x="100588" y="78947"/>
                    <a:pt x="100588" y="78947"/>
                    <a:pt x="100588" y="78947"/>
                  </a:cubicBezTo>
                  <a:close/>
                  <a:moveTo>
                    <a:pt x="102647" y="81157"/>
                  </a:moveTo>
                  <a:cubicBezTo>
                    <a:pt x="102647" y="81157"/>
                    <a:pt x="102647" y="81157"/>
                    <a:pt x="102647" y="81157"/>
                  </a:cubicBezTo>
                  <a:cubicBezTo>
                    <a:pt x="103823" y="79578"/>
                    <a:pt x="103823" y="79578"/>
                    <a:pt x="103823" y="79578"/>
                  </a:cubicBezTo>
                  <a:cubicBezTo>
                    <a:pt x="103823" y="79578"/>
                    <a:pt x="104411" y="78947"/>
                    <a:pt x="104705" y="78947"/>
                  </a:cubicBezTo>
                  <a:cubicBezTo>
                    <a:pt x="105000" y="78947"/>
                    <a:pt x="106176" y="78631"/>
                    <a:pt x="106176" y="78631"/>
                  </a:cubicBezTo>
                  <a:cubicBezTo>
                    <a:pt x="106176" y="78631"/>
                    <a:pt x="107058" y="78947"/>
                    <a:pt x="106470" y="79263"/>
                  </a:cubicBezTo>
                  <a:cubicBezTo>
                    <a:pt x="106176" y="79578"/>
                    <a:pt x="105294" y="80210"/>
                    <a:pt x="105000" y="80210"/>
                  </a:cubicBezTo>
                  <a:cubicBezTo>
                    <a:pt x="104705" y="80526"/>
                    <a:pt x="104117" y="81473"/>
                    <a:pt x="104117" y="81473"/>
                  </a:cubicBezTo>
                  <a:cubicBezTo>
                    <a:pt x="102941" y="81789"/>
                    <a:pt x="102941" y="81789"/>
                    <a:pt x="102941" y="81789"/>
                  </a:cubicBezTo>
                  <a:cubicBezTo>
                    <a:pt x="101764" y="82421"/>
                    <a:pt x="101764" y="82421"/>
                    <a:pt x="101764" y="82421"/>
                  </a:cubicBezTo>
                  <a:cubicBezTo>
                    <a:pt x="102058" y="83684"/>
                    <a:pt x="102058" y="83684"/>
                    <a:pt x="102058" y="83684"/>
                  </a:cubicBezTo>
                  <a:cubicBezTo>
                    <a:pt x="102058" y="83684"/>
                    <a:pt x="101764" y="84000"/>
                    <a:pt x="101470" y="84000"/>
                  </a:cubicBezTo>
                  <a:cubicBezTo>
                    <a:pt x="101470" y="83684"/>
                    <a:pt x="100588" y="83052"/>
                    <a:pt x="100588" y="83052"/>
                  </a:cubicBezTo>
                  <a:cubicBezTo>
                    <a:pt x="100882" y="81473"/>
                    <a:pt x="100882" y="81473"/>
                    <a:pt x="100882" y="81473"/>
                  </a:cubicBezTo>
                  <a:cubicBezTo>
                    <a:pt x="102058" y="81473"/>
                    <a:pt x="102058" y="81473"/>
                    <a:pt x="102058" y="81473"/>
                  </a:cubicBezTo>
                  <a:cubicBezTo>
                    <a:pt x="102647" y="81157"/>
                    <a:pt x="102647" y="81157"/>
                    <a:pt x="102647" y="81157"/>
                  </a:cubicBezTo>
                  <a:close/>
                  <a:moveTo>
                    <a:pt x="114117" y="90315"/>
                  </a:moveTo>
                  <a:cubicBezTo>
                    <a:pt x="114117" y="90315"/>
                    <a:pt x="114117" y="90315"/>
                    <a:pt x="114117" y="90315"/>
                  </a:cubicBezTo>
                  <a:cubicBezTo>
                    <a:pt x="114117" y="90315"/>
                    <a:pt x="115294" y="91578"/>
                    <a:pt x="115294" y="91578"/>
                  </a:cubicBezTo>
                  <a:cubicBezTo>
                    <a:pt x="115000" y="93157"/>
                    <a:pt x="115000" y="93157"/>
                    <a:pt x="115000" y="93157"/>
                  </a:cubicBezTo>
                  <a:cubicBezTo>
                    <a:pt x="115000" y="93157"/>
                    <a:pt x="115000" y="93789"/>
                    <a:pt x="115588" y="93789"/>
                  </a:cubicBezTo>
                  <a:cubicBezTo>
                    <a:pt x="116176" y="94105"/>
                    <a:pt x="117058" y="94105"/>
                    <a:pt x="117058" y="93473"/>
                  </a:cubicBezTo>
                  <a:cubicBezTo>
                    <a:pt x="117058" y="92842"/>
                    <a:pt x="117352" y="92210"/>
                    <a:pt x="117647" y="91894"/>
                  </a:cubicBezTo>
                  <a:cubicBezTo>
                    <a:pt x="117941" y="91263"/>
                    <a:pt x="118529" y="90315"/>
                    <a:pt x="118529" y="90315"/>
                  </a:cubicBezTo>
                  <a:cubicBezTo>
                    <a:pt x="118529" y="90315"/>
                    <a:pt x="118823" y="90315"/>
                    <a:pt x="119117" y="90000"/>
                  </a:cubicBezTo>
                  <a:cubicBezTo>
                    <a:pt x="119411" y="90000"/>
                    <a:pt x="118823" y="89052"/>
                    <a:pt x="118823" y="89052"/>
                  </a:cubicBezTo>
                  <a:cubicBezTo>
                    <a:pt x="118823" y="89052"/>
                    <a:pt x="118529" y="89052"/>
                    <a:pt x="119117" y="87789"/>
                  </a:cubicBezTo>
                  <a:cubicBezTo>
                    <a:pt x="119705" y="86842"/>
                    <a:pt x="119705" y="86842"/>
                    <a:pt x="119705" y="86842"/>
                  </a:cubicBezTo>
                  <a:cubicBezTo>
                    <a:pt x="119705" y="86526"/>
                    <a:pt x="120000" y="85578"/>
                    <a:pt x="120000" y="85263"/>
                  </a:cubicBezTo>
                  <a:cubicBezTo>
                    <a:pt x="119705" y="84631"/>
                    <a:pt x="119411" y="83052"/>
                    <a:pt x="119411" y="83052"/>
                  </a:cubicBezTo>
                  <a:cubicBezTo>
                    <a:pt x="118823" y="83684"/>
                    <a:pt x="118823" y="83684"/>
                    <a:pt x="118823" y="83684"/>
                  </a:cubicBezTo>
                  <a:cubicBezTo>
                    <a:pt x="118823" y="83684"/>
                    <a:pt x="118235" y="84315"/>
                    <a:pt x="117647" y="84315"/>
                  </a:cubicBezTo>
                  <a:cubicBezTo>
                    <a:pt x="117058" y="84631"/>
                    <a:pt x="116470" y="84947"/>
                    <a:pt x="116470" y="85263"/>
                  </a:cubicBezTo>
                  <a:cubicBezTo>
                    <a:pt x="116470" y="85263"/>
                    <a:pt x="116470" y="86210"/>
                    <a:pt x="116176" y="86526"/>
                  </a:cubicBezTo>
                  <a:cubicBezTo>
                    <a:pt x="115882" y="86842"/>
                    <a:pt x="115000" y="87789"/>
                    <a:pt x="115000" y="87789"/>
                  </a:cubicBezTo>
                  <a:cubicBezTo>
                    <a:pt x="114411" y="89368"/>
                    <a:pt x="114411" y="89368"/>
                    <a:pt x="114411" y="89368"/>
                  </a:cubicBezTo>
                  <a:cubicBezTo>
                    <a:pt x="114411" y="89368"/>
                    <a:pt x="114117" y="90315"/>
                    <a:pt x="114117" y="90315"/>
                  </a:cubicBezTo>
                  <a:close/>
                  <a:moveTo>
                    <a:pt x="109705" y="104526"/>
                  </a:moveTo>
                  <a:cubicBezTo>
                    <a:pt x="109705" y="104526"/>
                    <a:pt x="109705" y="104526"/>
                    <a:pt x="109705" y="104526"/>
                  </a:cubicBezTo>
                  <a:cubicBezTo>
                    <a:pt x="109117" y="104210"/>
                    <a:pt x="108529" y="103578"/>
                    <a:pt x="108529" y="102947"/>
                  </a:cubicBezTo>
                  <a:cubicBezTo>
                    <a:pt x="108529" y="102631"/>
                    <a:pt x="108823" y="102000"/>
                    <a:pt x="108823" y="102000"/>
                  </a:cubicBezTo>
                  <a:cubicBezTo>
                    <a:pt x="108823" y="102000"/>
                    <a:pt x="108235" y="101684"/>
                    <a:pt x="108235" y="101368"/>
                  </a:cubicBezTo>
                  <a:cubicBezTo>
                    <a:pt x="108235" y="101368"/>
                    <a:pt x="108823" y="100105"/>
                    <a:pt x="108823" y="99473"/>
                  </a:cubicBezTo>
                  <a:cubicBezTo>
                    <a:pt x="108529" y="99157"/>
                    <a:pt x="108823" y="97263"/>
                    <a:pt x="108823" y="97263"/>
                  </a:cubicBezTo>
                  <a:cubicBezTo>
                    <a:pt x="108823" y="97263"/>
                    <a:pt x="109705" y="96947"/>
                    <a:pt x="109705" y="97263"/>
                  </a:cubicBezTo>
                  <a:cubicBezTo>
                    <a:pt x="109705" y="97578"/>
                    <a:pt x="109411" y="98526"/>
                    <a:pt x="109411" y="98842"/>
                  </a:cubicBezTo>
                  <a:cubicBezTo>
                    <a:pt x="109411" y="99157"/>
                    <a:pt x="109117" y="100421"/>
                    <a:pt x="109117" y="100736"/>
                  </a:cubicBezTo>
                  <a:cubicBezTo>
                    <a:pt x="109117" y="100736"/>
                    <a:pt x="109411" y="100421"/>
                    <a:pt x="110000" y="101052"/>
                  </a:cubicBezTo>
                  <a:cubicBezTo>
                    <a:pt x="110588" y="101684"/>
                    <a:pt x="110588" y="102631"/>
                    <a:pt x="110588" y="102631"/>
                  </a:cubicBezTo>
                  <a:cubicBezTo>
                    <a:pt x="110000" y="103263"/>
                    <a:pt x="110000" y="103263"/>
                    <a:pt x="110000" y="103263"/>
                  </a:cubicBezTo>
                  <a:cubicBezTo>
                    <a:pt x="109705" y="104526"/>
                    <a:pt x="109705" y="104526"/>
                    <a:pt x="109705" y="104526"/>
                  </a:cubicBezTo>
                  <a:close/>
                  <a:moveTo>
                    <a:pt x="106176" y="105157"/>
                  </a:moveTo>
                  <a:cubicBezTo>
                    <a:pt x="106176" y="105157"/>
                    <a:pt x="106176" y="105157"/>
                    <a:pt x="106176" y="105157"/>
                  </a:cubicBezTo>
                  <a:cubicBezTo>
                    <a:pt x="106176" y="105157"/>
                    <a:pt x="105882" y="106421"/>
                    <a:pt x="105882" y="106736"/>
                  </a:cubicBezTo>
                  <a:cubicBezTo>
                    <a:pt x="105882" y="106736"/>
                    <a:pt x="106176" y="106736"/>
                    <a:pt x="106470" y="106736"/>
                  </a:cubicBezTo>
                  <a:cubicBezTo>
                    <a:pt x="106764" y="106421"/>
                    <a:pt x="107058" y="106421"/>
                    <a:pt x="107352" y="106105"/>
                  </a:cubicBezTo>
                  <a:cubicBezTo>
                    <a:pt x="107647" y="105789"/>
                    <a:pt x="108529" y="105157"/>
                    <a:pt x="108823" y="105157"/>
                  </a:cubicBezTo>
                  <a:cubicBezTo>
                    <a:pt x="109117" y="104842"/>
                    <a:pt x="107647" y="104210"/>
                    <a:pt x="107647" y="104210"/>
                  </a:cubicBezTo>
                  <a:cubicBezTo>
                    <a:pt x="106176" y="105157"/>
                    <a:pt x="106176" y="105157"/>
                    <a:pt x="106176" y="105157"/>
                  </a:cubicBezTo>
                  <a:close/>
                  <a:moveTo>
                    <a:pt x="66176" y="41684"/>
                  </a:moveTo>
                  <a:cubicBezTo>
                    <a:pt x="66176" y="41684"/>
                    <a:pt x="66176" y="41684"/>
                    <a:pt x="66176" y="41684"/>
                  </a:cubicBezTo>
                  <a:cubicBezTo>
                    <a:pt x="66764" y="42000"/>
                    <a:pt x="66764" y="42000"/>
                    <a:pt x="66764" y="42000"/>
                  </a:cubicBezTo>
                  <a:cubicBezTo>
                    <a:pt x="66764" y="42000"/>
                    <a:pt x="67058" y="41684"/>
                    <a:pt x="67352" y="41368"/>
                  </a:cubicBezTo>
                  <a:cubicBezTo>
                    <a:pt x="67647" y="41052"/>
                    <a:pt x="67058" y="40736"/>
                    <a:pt x="67058" y="40736"/>
                  </a:cubicBezTo>
                  <a:cubicBezTo>
                    <a:pt x="66764" y="41052"/>
                    <a:pt x="66764" y="41052"/>
                    <a:pt x="66764" y="41052"/>
                  </a:cubicBezTo>
                  <a:cubicBezTo>
                    <a:pt x="66764" y="41052"/>
                    <a:pt x="66176" y="41684"/>
                    <a:pt x="66176" y="41684"/>
                  </a:cubicBezTo>
                  <a:close/>
                  <a:moveTo>
                    <a:pt x="48235" y="51789"/>
                  </a:moveTo>
                  <a:cubicBezTo>
                    <a:pt x="48235" y="51789"/>
                    <a:pt x="48235" y="51789"/>
                    <a:pt x="48235" y="51789"/>
                  </a:cubicBezTo>
                  <a:cubicBezTo>
                    <a:pt x="48529" y="52105"/>
                    <a:pt x="48529" y="52105"/>
                    <a:pt x="48529" y="52105"/>
                  </a:cubicBezTo>
                  <a:cubicBezTo>
                    <a:pt x="48529" y="52105"/>
                    <a:pt x="48823" y="51473"/>
                    <a:pt x="49411" y="51157"/>
                  </a:cubicBezTo>
                  <a:cubicBezTo>
                    <a:pt x="49705" y="50842"/>
                    <a:pt x="49117" y="50842"/>
                    <a:pt x="49117" y="50842"/>
                  </a:cubicBezTo>
                  <a:cubicBezTo>
                    <a:pt x="48529" y="51157"/>
                    <a:pt x="48529" y="51157"/>
                    <a:pt x="48529" y="51157"/>
                  </a:cubicBezTo>
                  <a:cubicBezTo>
                    <a:pt x="48529" y="51157"/>
                    <a:pt x="48235" y="51473"/>
                    <a:pt x="48235" y="51789"/>
                  </a:cubicBezTo>
                  <a:close/>
                  <a:moveTo>
                    <a:pt x="51176" y="51157"/>
                  </a:moveTo>
                  <a:cubicBezTo>
                    <a:pt x="51176" y="51157"/>
                    <a:pt x="51176" y="51157"/>
                    <a:pt x="51176" y="51157"/>
                  </a:cubicBezTo>
                  <a:cubicBezTo>
                    <a:pt x="51176" y="51789"/>
                    <a:pt x="51176" y="51789"/>
                    <a:pt x="51176" y="51789"/>
                  </a:cubicBezTo>
                  <a:cubicBezTo>
                    <a:pt x="51176" y="51789"/>
                    <a:pt x="52058" y="52105"/>
                    <a:pt x="52647" y="52421"/>
                  </a:cubicBezTo>
                  <a:cubicBezTo>
                    <a:pt x="53529" y="52736"/>
                    <a:pt x="52941" y="51789"/>
                    <a:pt x="52941" y="51789"/>
                  </a:cubicBezTo>
                  <a:cubicBezTo>
                    <a:pt x="52352" y="51157"/>
                    <a:pt x="52352" y="51157"/>
                    <a:pt x="52352" y="51157"/>
                  </a:cubicBezTo>
                  <a:cubicBezTo>
                    <a:pt x="52352" y="51157"/>
                    <a:pt x="51470" y="50842"/>
                    <a:pt x="51176" y="51157"/>
                  </a:cubicBezTo>
                  <a:close/>
                  <a:moveTo>
                    <a:pt x="62058" y="51789"/>
                  </a:moveTo>
                  <a:cubicBezTo>
                    <a:pt x="62058" y="51789"/>
                    <a:pt x="62058" y="51789"/>
                    <a:pt x="62058" y="51789"/>
                  </a:cubicBezTo>
                  <a:cubicBezTo>
                    <a:pt x="61764" y="52421"/>
                    <a:pt x="61764" y="52421"/>
                    <a:pt x="61764" y="52421"/>
                  </a:cubicBezTo>
                  <a:cubicBezTo>
                    <a:pt x="61764" y="52421"/>
                    <a:pt x="62352" y="53052"/>
                    <a:pt x="62647" y="53684"/>
                  </a:cubicBezTo>
                  <a:cubicBezTo>
                    <a:pt x="62941" y="53684"/>
                    <a:pt x="64117" y="54947"/>
                    <a:pt x="64705" y="54947"/>
                  </a:cubicBezTo>
                  <a:cubicBezTo>
                    <a:pt x="67058" y="55894"/>
                    <a:pt x="63235" y="52736"/>
                    <a:pt x="62941" y="52421"/>
                  </a:cubicBezTo>
                  <a:cubicBezTo>
                    <a:pt x="62941" y="52421"/>
                    <a:pt x="62058" y="51473"/>
                    <a:pt x="62058" y="51789"/>
                  </a:cubicBezTo>
                  <a:close/>
                  <a:moveTo>
                    <a:pt x="75882" y="56210"/>
                  </a:moveTo>
                  <a:cubicBezTo>
                    <a:pt x="75882" y="56210"/>
                    <a:pt x="75882" y="56210"/>
                    <a:pt x="75882" y="56210"/>
                  </a:cubicBezTo>
                  <a:cubicBezTo>
                    <a:pt x="76470" y="56842"/>
                    <a:pt x="76470" y="56842"/>
                    <a:pt x="76470" y="56842"/>
                  </a:cubicBezTo>
                  <a:cubicBezTo>
                    <a:pt x="76470" y="56842"/>
                    <a:pt x="77352" y="56526"/>
                    <a:pt x="77941" y="56210"/>
                  </a:cubicBezTo>
                  <a:cubicBezTo>
                    <a:pt x="78529" y="56210"/>
                    <a:pt x="77941" y="55578"/>
                    <a:pt x="77941" y="55578"/>
                  </a:cubicBezTo>
                  <a:cubicBezTo>
                    <a:pt x="77058" y="55578"/>
                    <a:pt x="77058" y="55578"/>
                    <a:pt x="77058" y="55578"/>
                  </a:cubicBezTo>
                  <a:cubicBezTo>
                    <a:pt x="77058" y="55578"/>
                    <a:pt x="75882" y="55894"/>
                    <a:pt x="75882" y="56210"/>
                  </a:cubicBezTo>
                  <a:close/>
                  <a:moveTo>
                    <a:pt x="70000" y="23052"/>
                  </a:moveTo>
                  <a:cubicBezTo>
                    <a:pt x="70000" y="23052"/>
                    <a:pt x="70000" y="23052"/>
                    <a:pt x="70000" y="23052"/>
                  </a:cubicBezTo>
                  <a:cubicBezTo>
                    <a:pt x="70000" y="23052"/>
                    <a:pt x="68823" y="23684"/>
                    <a:pt x="68823" y="23684"/>
                  </a:cubicBezTo>
                  <a:cubicBezTo>
                    <a:pt x="68529" y="23684"/>
                    <a:pt x="68823" y="24315"/>
                    <a:pt x="69117" y="24315"/>
                  </a:cubicBezTo>
                  <a:cubicBezTo>
                    <a:pt x="69411" y="24631"/>
                    <a:pt x="70294" y="24947"/>
                    <a:pt x="70294" y="24947"/>
                  </a:cubicBezTo>
                  <a:cubicBezTo>
                    <a:pt x="70588" y="24947"/>
                    <a:pt x="71470" y="24315"/>
                    <a:pt x="72058" y="23684"/>
                  </a:cubicBezTo>
                  <a:cubicBezTo>
                    <a:pt x="72647" y="23368"/>
                    <a:pt x="71470" y="23052"/>
                    <a:pt x="71470" y="23052"/>
                  </a:cubicBezTo>
                  <a:cubicBezTo>
                    <a:pt x="70000" y="23052"/>
                    <a:pt x="70000" y="23052"/>
                    <a:pt x="70000" y="23052"/>
                  </a:cubicBezTo>
                  <a:close/>
                  <a:moveTo>
                    <a:pt x="59411" y="20842"/>
                  </a:moveTo>
                  <a:cubicBezTo>
                    <a:pt x="59411" y="20842"/>
                    <a:pt x="59411" y="20842"/>
                    <a:pt x="59411" y="20842"/>
                  </a:cubicBezTo>
                  <a:cubicBezTo>
                    <a:pt x="59411" y="20842"/>
                    <a:pt x="58235" y="20842"/>
                    <a:pt x="57941" y="20842"/>
                  </a:cubicBezTo>
                  <a:cubicBezTo>
                    <a:pt x="57941" y="20842"/>
                    <a:pt x="57647" y="21157"/>
                    <a:pt x="57352" y="21473"/>
                  </a:cubicBezTo>
                  <a:cubicBezTo>
                    <a:pt x="57058" y="21789"/>
                    <a:pt x="57058" y="22421"/>
                    <a:pt x="56764" y="23052"/>
                  </a:cubicBezTo>
                  <a:cubicBezTo>
                    <a:pt x="56764" y="23684"/>
                    <a:pt x="57058" y="23684"/>
                    <a:pt x="57058" y="23684"/>
                  </a:cubicBezTo>
                  <a:cubicBezTo>
                    <a:pt x="57352" y="24000"/>
                    <a:pt x="57352" y="24000"/>
                    <a:pt x="57941" y="24631"/>
                  </a:cubicBezTo>
                  <a:cubicBezTo>
                    <a:pt x="58529" y="24947"/>
                    <a:pt x="59117" y="24315"/>
                    <a:pt x="59705" y="24000"/>
                  </a:cubicBezTo>
                  <a:cubicBezTo>
                    <a:pt x="60588" y="23684"/>
                    <a:pt x="60000" y="23368"/>
                    <a:pt x="60294" y="22736"/>
                  </a:cubicBezTo>
                  <a:cubicBezTo>
                    <a:pt x="60294" y="22421"/>
                    <a:pt x="60000" y="21473"/>
                    <a:pt x="60000" y="21473"/>
                  </a:cubicBezTo>
                  <a:cubicBezTo>
                    <a:pt x="60000" y="21157"/>
                    <a:pt x="59411" y="20842"/>
                    <a:pt x="59411" y="20842"/>
                  </a:cubicBezTo>
                  <a:close/>
                  <a:moveTo>
                    <a:pt x="69411" y="32526"/>
                  </a:moveTo>
                  <a:cubicBezTo>
                    <a:pt x="69411" y="32526"/>
                    <a:pt x="69411" y="32526"/>
                    <a:pt x="69411" y="32526"/>
                  </a:cubicBezTo>
                  <a:cubicBezTo>
                    <a:pt x="69411" y="32526"/>
                    <a:pt x="69117" y="33157"/>
                    <a:pt x="69117" y="33157"/>
                  </a:cubicBezTo>
                  <a:cubicBezTo>
                    <a:pt x="69117" y="33157"/>
                    <a:pt x="69117" y="33789"/>
                    <a:pt x="69117" y="33789"/>
                  </a:cubicBezTo>
                  <a:cubicBezTo>
                    <a:pt x="69117" y="33789"/>
                    <a:pt x="68823" y="34105"/>
                    <a:pt x="68529" y="34421"/>
                  </a:cubicBezTo>
                  <a:cubicBezTo>
                    <a:pt x="67941" y="35052"/>
                    <a:pt x="68529" y="35052"/>
                    <a:pt x="68823" y="35368"/>
                  </a:cubicBezTo>
                  <a:cubicBezTo>
                    <a:pt x="69117" y="36000"/>
                    <a:pt x="68823" y="35684"/>
                    <a:pt x="69117" y="35684"/>
                  </a:cubicBezTo>
                  <a:cubicBezTo>
                    <a:pt x="69117" y="36000"/>
                    <a:pt x="69411" y="35684"/>
                    <a:pt x="70000" y="35368"/>
                  </a:cubicBezTo>
                  <a:cubicBezTo>
                    <a:pt x="70588" y="35052"/>
                    <a:pt x="70294" y="35052"/>
                    <a:pt x="70294" y="35052"/>
                  </a:cubicBezTo>
                  <a:cubicBezTo>
                    <a:pt x="70294" y="35052"/>
                    <a:pt x="69705" y="34105"/>
                    <a:pt x="69705" y="34105"/>
                  </a:cubicBezTo>
                  <a:cubicBezTo>
                    <a:pt x="69705" y="34105"/>
                    <a:pt x="69705" y="33789"/>
                    <a:pt x="69705" y="33789"/>
                  </a:cubicBezTo>
                  <a:cubicBezTo>
                    <a:pt x="69705" y="33473"/>
                    <a:pt x="70000" y="33473"/>
                    <a:pt x="70294" y="33157"/>
                  </a:cubicBezTo>
                  <a:cubicBezTo>
                    <a:pt x="70588" y="32526"/>
                    <a:pt x="70588" y="32210"/>
                    <a:pt x="70588" y="32210"/>
                  </a:cubicBezTo>
                  <a:cubicBezTo>
                    <a:pt x="70588" y="31894"/>
                    <a:pt x="70000" y="31894"/>
                    <a:pt x="70000" y="31894"/>
                  </a:cubicBezTo>
                  <a:cubicBezTo>
                    <a:pt x="70000" y="31894"/>
                    <a:pt x="69411" y="32210"/>
                    <a:pt x="69411" y="32526"/>
                  </a:cubicBezTo>
                  <a:close/>
                  <a:moveTo>
                    <a:pt x="68529" y="33157"/>
                  </a:moveTo>
                  <a:cubicBezTo>
                    <a:pt x="68529" y="33157"/>
                    <a:pt x="68529" y="33157"/>
                    <a:pt x="68529" y="33157"/>
                  </a:cubicBezTo>
                  <a:cubicBezTo>
                    <a:pt x="68235" y="32526"/>
                    <a:pt x="68235" y="32526"/>
                    <a:pt x="68235" y="32526"/>
                  </a:cubicBezTo>
                  <a:cubicBezTo>
                    <a:pt x="68235" y="32526"/>
                    <a:pt x="67941" y="32210"/>
                    <a:pt x="67058" y="32210"/>
                  </a:cubicBezTo>
                  <a:cubicBezTo>
                    <a:pt x="66470" y="32210"/>
                    <a:pt x="66470" y="32526"/>
                    <a:pt x="65882" y="32526"/>
                  </a:cubicBezTo>
                  <a:cubicBezTo>
                    <a:pt x="65294" y="32526"/>
                    <a:pt x="65294" y="33157"/>
                    <a:pt x="65294" y="33473"/>
                  </a:cubicBezTo>
                  <a:cubicBezTo>
                    <a:pt x="65000" y="34105"/>
                    <a:pt x="65294" y="33789"/>
                    <a:pt x="65588" y="34105"/>
                  </a:cubicBezTo>
                  <a:cubicBezTo>
                    <a:pt x="65882" y="34421"/>
                    <a:pt x="65588" y="34421"/>
                    <a:pt x="65882" y="35368"/>
                  </a:cubicBezTo>
                  <a:cubicBezTo>
                    <a:pt x="65882" y="36000"/>
                    <a:pt x="66176" y="35684"/>
                    <a:pt x="66176" y="35684"/>
                  </a:cubicBezTo>
                  <a:cubicBezTo>
                    <a:pt x="66470" y="36000"/>
                    <a:pt x="66764" y="35684"/>
                    <a:pt x="67352" y="35368"/>
                  </a:cubicBezTo>
                  <a:cubicBezTo>
                    <a:pt x="67941" y="34736"/>
                    <a:pt x="67352" y="34736"/>
                    <a:pt x="67352" y="34736"/>
                  </a:cubicBezTo>
                  <a:cubicBezTo>
                    <a:pt x="67352" y="34736"/>
                    <a:pt x="67941" y="34421"/>
                    <a:pt x="68529" y="33789"/>
                  </a:cubicBezTo>
                  <a:cubicBezTo>
                    <a:pt x="68823" y="33157"/>
                    <a:pt x="68529" y="33157"/>
                    <a:pt x="68529" y="33157"/>
                  </a:cubicBezTo>
                  <a:close/>
                  <a:moveTo>
                    <a:pt x="83529" y="43894"/>
                  </a:moveTo>
                  <a:cubicBezTo>
                    <a:pt x="83529" y="43894"/>
                    <a:pt x="83529" y="43894"/>
                    <a:pt x="83529" y="43894"/>
                  </a:cubicBezTo>
                  <a:cubicBezTo>
                    <a:pt x="83235" y="43894"/>
                    <a:pt x="82941" y="44526"/>
                    <a:pt x="82941" y="44526"/>
                  </a:cubicBezTo>
                  <a:cubicBezTo>
                    <a:pt x="82941" y="44526"/>
                    <a:pt x="82647" y="44842"/>
                    <a:pt x="82647" y="45157"/>
                  </a:cubicBezTo>
                  <a:cubicBezTo>
                    <a:pt x="82352" y="45157"/>
                    <a:pt x="82058" y="45789"/>
                    <a:pt x="82058" y="45789"/>
                  </a:cubicBezTo>
                  <a:cubicBezTo>
                    <a:pt x="82058" y="45789"/>
                    <a:pt x="82352" y="46105"/>
                    <a:pt x="82647" y="46105"/>
                  </a:cubicBezTo>
                  <a:cubicBezTo>
                    <a:pt x="82941" y="46421"/>
                    <a:pt x="82941" y="46421"/>
                    <a:pt x="83235" y="46421"/>
                  </a:cubicBezTo>
                  <a:cubicBezTo>
                    <a:pt x="83529" y="46421"/>
                    <a:pt x="83529" y="46421"/>
                    <a:pt x="84411" y="46421"/>
                  </a:cubicBezTo>
                  <a:cubicBezTo>
                    <a:pt x="85588" y="46421"/>
                    <a:pt x="86470" y="46421"/>
                    <a:pt x="86764" y="46421"/>
                  </a:cubicBezTo>
                  <a:cubicBezTo>
                    <a:pt x="86764" y="46421"/>
                    <a:pt x="87352" y="46105"/>
                    <a:pt x="87352" y="46105"/>
                  </a:cubicBezTo>
                  <a:cubicBezTo>
                    <a:pt x="87352" y="45789"/>
                    <a:pt x="87352" y="45789"/>
                    <a:pt x="87058" y="45473"/>
                  </a:cubicBezTo>
                  <a:cubicBezTo>
                    <a:pt x="86764" y="44842"/>
                    <a:pt x="86176" y="44526"/>
                    <a:pt x="86176" y="44526"/>
                  </a:cubicBezTo>
                  <a:cubicBezTo>
                    <a:pt x="85882" y="44526"/>
                    <a:pt x="86176" y="43894"/>
                    <a:pt x="86470" y="44210"/>
                  </a:cubicBezTo>
                  <a:cubicBezTo>
                    <a:pt x="86470" y="44210"/>
                    <a:pt x="87352" y="45157"/>
                    <a:pt x="87352" y="45157"/>
                  </a:cubicBezTo>
                  <a:cubicBezTo>
                    <a:pt x="87647" y="45157"/>
                    <a:pt x="88235" y="45157"/>
                    <a:pt x="88235" y="44526"/>
                  </a:cubicBezTo>
                  <a:cubicBezTo>
                    <a:pt x="87941" y="44210"/>
                    <a:pt x="88529" y="43578"/>
                    <a:pt x="87647" y="43263"/>
                  </a:cubicBezTo>
                  <a:cubicBezTo>
                    <a:pt x="87058" y="42947"/>
                    <a:pt x="86764" y="42631"/>
                    <a:pt x="86470" y="42631"/>
                  </a:cubicBezTo>
                  <a:cubicBezTo>
                    <a:pt x="85882" y="42631"/>
                    <a:pt x="86764" y="42947"/>
                    <a:pt x="85588" y="42000"/>
                  </a:cubicBezTo>
                  <a:cubicBezTo>
                    <a:pt x="84411" y="41052"/>
                    <a:pt x="84411" y="41368"/>
                    <a:pt x="84411" y="41368"/>
                  </a:cubicBezTo>
                  <a:cubicBezTo>
                    <a:pt x="84411" y="41368"/>
                    <a:pt x="85000" y="40421"/>
                    <a:pt x="84705" y="40105"/>
                  </a:cubicBezTo>
                  <a:cubicBezTo>
                    <a:pt x="84705" y="40105"/>
                    <a:pt x="83529" y="39789"/>
                    <a:pt x="83529" y="39789"/>
                  </a:cubicBezTo>
                  <a:cubicBezTo>
                    <a:pt x="83529" y="39789"/>
                    <a:pt x="82058" y="40105"/>
                    <a:pt x="82058" y="40105"/>
                  </a:cubicBezTo>
                  <a:cubicBezTo>
                    <a:pt x="81764" y="40421"/>
                    <a:pt x="81470" y="40736"/>
                    <a:pt x="81470" y="40736"/>
                  </a:cubicBezTo>
                  <a:cubicBezTo>
                    <a:pt x="81470" y="41368"/>
                    <a:pt x="81470" y="41368"/>
                    <a:pt x="81470" y="41368"/>
                  </a:cubicBezTo>
                  <a:cubicBezTo>
                    <a:pt x="80882" y="41684"/>
                    <a:pt x="80882" y="41684"/>
                    <a:pt x="80882" y="41684"/>
                  </a:cubicBezTo>
                  <a:cubicBezTo>
                    <a:pt x="80882" y="41684"/>
                    <a:pt x="80588" y="42315"/>
                    <a:pt x="80588" y="42315"/>
                  </a:cubicBezTo>
                  <a:cubicBezTo>
                    <a:pt x="80294" y="42315"/>
                    <a:pt x="79705" y="42631"/>
                    <a:pt x="79705" y="42631"/>
                  </a:cubicBezTo>
                  <a:cubicBezTo>
                    <a:pt x="79411" y="42631"/>
                    <a:pt x="78823" y="42631"/>
                    <a:pt x="78823" y="42947"/>
                  </a:cubicBezTo>
                  <a:cubicBezTo>
                    <a:pt x="78529" y="43263"/>
                    <a:pt x="77647" y="43578"/>
                    <a:pt x="77647" y="43578"/>
                  </a:cubicBezTo>
                  <a:cubicBezTo>
                    <a:pt x="77647" y="43578"/>
                    <a:pt x="77352" y="43894"/>
                    <a:pt x="77941" y="44526"/>
                  </a:cubicBezTo>
                  <a:cubicBezTo>
                    <a:pt x="78529" y="44842"/>
                    <a:pt x="79117" y="44842"/>
                    <a:pt x="79117" y="45157"/>
                  </a:cubicBezTo>
                  <a:cubicBezTo>
                    <a:pt x="79411" y="45157"/>
                    <a:pt x="79411" y="45157"/>
                    <a:pt x="79705" y="45157"/>
                  </a:cubicBezTo>
                  <a:cubicBezTo>
                    <a:pt x="80000" y="45473"/>
                    <a:pt x="80000" y="45473"/>
                    <a:pt x="80588" y="45473"/>
                  </a:cubicBezTo>
                  <a:cubicBezTo>
                    <a:pt x="80882" y="45157"/>
                    <a:pt x="81470" y="45157"/>
                    <a:pt x="81470" y="44842"/>
                  </a:cubicBezTo>
                  <a:cubicBezTo>
                    <a:pt x="81764" y="44526"/>
                    <a:pt x="81764" y="44210"/>
                    <a:pt x="82058" y="43894"/>
                  </a:cubicBezTo>
                  <a:cubicBezTo>
                    <a:pt x="82058" y="43578"/>
                    <a:pt x="82058" y="43263"/>
                    <a:pt x="82647" y="43263"/>
                  </a:cubicBezTo>
                  <a:cubicBezTo>
                    <a:pt x="82941" y="43263"/>
                    <a:pt x="83529" y="42947"/>
                    <a:pt x="83529" y="42947"/>
                  </a:cubicBezTo>
                  <a:cubicBezTo>
                    <a:pt x="83529" y="42947"/>
                    <a:pt x="83529" y="43894"/>
                    <a:pt x="83529" y="43894"/>
                  </a:cubicBezTo>
                  <a:close/>
                  <a:moveTo>
                    <a:pt x="85000" y="57473"/>
                  </a:moveTo>
                  <a:cubicBezTo>
                    <a:pt x="85000" y="57473"/>
                    <a:pt x="85000" y="57473"/>
                    <a:pt x="85000" y="57473"/>
                  </a:cubicBezTo>
                  <a:cubicBezTo>
                    <a:pt x="84705" y="57157"/>
                    <a:pt x="84705" y="57157"/>
                    <a:pt x="84705" y="57157"/>
                  </a:cubicBezTo>
                  <a:cubicBezTo>
                    <a:pt x="84705" y="56842"/>
                    <a:pt x="84705" y="56842"/>
                    <a:pt x="84705" y="56842"/>
                  </a:cubicBezTo>
                  <a:cubicBezTo>
                    <a:pt x="83823" y="55894"/>
                    <a:pt x="83823" y="55894"/>
                    <a:pt x="83823" y="55894"/>
                  </a:cubicBezTo>
                  <a:cubicBezTo>
                    <a:pt x="83823" y="55894"/>
                    <a:pt x="85000" y="55578"/>
                    <a:pt x="85588" y="55263"/>
                  </a:cubicBezTo>
                  <a:cubicBezTo>
                    <a:pt x="86470" y="54947"/>
                    <a:pt x="85588" y="54631"/>
                    <a:pt x="85588" y="54315"/>
                  </a:cubicBezTo>
                  <a:cubicBezTo>
                    <a:pt x="85588" y="54315"/>
                    <a:pt x="85294" y="54315"/>
                    <a:pt x="84705" y="54315"/>
                  </a:cubicBezTo>
                  <a:cubicBezTo>
                    <a:pt x="84411" y="54315"/>
                    <a:pt x="84117" y="54315"/>
                    <a:pt x="83529" y="54631"/>
                  </a:cubicBezTo>
                  <a:cubicBezTo>
                    <a:pt x="83235" y="54631"/>
                    <a:pt x="82941" y="54000"/>
                    <a:pt x="82941" y="54000"/>
                  </a:cubicBezTo>
                  <a:cubicBezTo>
                    <a:pt x="82647" y="54000"/>
                    <a:pt x="81470" y="54000"/>
                    <a:pt x="81176" y="54000"/>
                  </a:cubicBezTo>
                  <a:cubicBezTo>
                    <a:pt x="81176" y="54000"/>
                    <a:pt x="80882" y="54631"/>
                    <a:pt x="80588" y="54947"/>
                  </a:cubicBezTo>
                  <a:cubicBezTo>
                    <a:pt x="80294" y="55263"/>
                    <a:pt x="80000" y="55578"/>
                    <a:pt x="79705" y="55578"/>
                  </a:cubicBezTo>
                  <a:cubicBezTo>
                    <a:pt x="79411" y="55894"/>
                    <a:pt x="80588" y="56526"/>
                    <a:pt x="80882" y="56526"/>
                  </a:cubicBezTo>
                  <a:cubicBezTo>
                    <a:pt x="80882" y="56842"/>
                    <a:pt x="81764" y="56842"/>
                    <a:pt x="81764" y="57157"/>
                  </a:cubicBezTo>
                  <a:cubicBezTo>
                    <a:pt x="82058" y="57157"/>
                    <a:pt x="82941" y="57789"/>
                    <a:pt x="83235" y="57789"/>
                  </a:cubicBezTo>
                  <a:cubicBezTo>
                    <a:pt x="83529" y="58105"/>
                    <a:pt x="82941" y="58421"/>
                    <a:pt x="82647" y="59052"/>
                  </a:cubicBezTo>
                  <a:cubicBezTo>
                    <a:pt x="82352" y="59684"/>
                    <a:pt x="82058" y="59684"/>
                    <a:pt x="81764" y="60000"/>
                  </a:cubicBezTo>
                  <a:cubicBezTo>
                    <a:pt x="81470" y="60315"/>
                    <a:pt x="82058" y="60631"/>
                    <a:pt x="82352" y="60947"/>
                  </a:cubicBezTo>
                  <a:cubicBezTo>
                    <a:pt x="82647" y="61263"/>
                    <a:pt x="83235" y="61578"/>
                    <a:pt x="83235" y="61578"/>
                  </a:cubicBezTo>
                  <a:cubicBezTo>
                    <a:pt x="83529" y="61578"/>
                    <a:pt x="84411" y="60947"/>
                    <a:pt x="84411" y="60947"/>
                  </a:cubicBezTo>
                  <a:cubicBezTo>
                    <a:pt x="84411" y="60947"/>
                    <a:pt x="84705" y="60000"/>
                    <a:pt x="84705" y="60000"/>
                  </a:cubicBezTo>
                  <a:cubicBezTo>
                    <a:pt x="84705" y="59684"/>
                    <a:pt x="85000" y="59052"/>
                    <a:pt x="85000" y="59052"/>
                  </a:cubicBezTo>
                  <a:cubicBezTo>
                    <a:pt x="85294" y="58736"/>
                    <a:pt x="85294" y="58736"/>
                    <a:pt x="85294" y="58736"/>
                  </a:cubicBezTo>
                  <a:cubicBezTo>
                    <a:pt x="85000" y="57473"/>
                    <a:pt x="85000" y="57473"/>
                    <a:pt x="85000" y="57473"/>
                  </a:cubicBezTo>
                  <a:close/>
                  <a:moveTo>
                    <a:pt x="92941" y="66000"/>
                  </a:moveTo>
                  <a:cubicBezTo>
                    <a:pt x="92941" y="66000"/>
                    <a:pt x="92941" y="66000"/>
                    <a:pt x="92941" y="66000"/>
                  </a:cubicBezTo>
                  <a:cubicBezTo>
                    <a:pt x="93235" y="65684"/>
                    <a:pt x="93823" y="65052"/>
                    <a:pt x="93823" y="64736"/>
                  </a:cubicBezTo>
                  <a:cubicBezTo>
                    <a:pt x="93823" y="64736"/>
                    <a:pt x="94411" y="64736"/>
                    <a:pt x="94705" y="64736"/>
                  </a:cubicBezTo>
                  <a:cubicBezTo>
                    <a:pt x="94705" y="64736"/>
                    <a:pt x="95882" y="65052"/>
                    <a:pt x="95882" y="65052"/>
                  </a:cubicBezTo>
                  <a:cubicBezTo>
                    <a:pt x="95882" y="65052"/>
                    <a:pt x="96764" y="65052"/>
                    <a:pt x="96764" y="65052"/>
                  </a:cubicBezTo>
                  <a:cubicBezTo>
                    <a:pt x="96764" y="65052"/>
                    <a:pt x="97647" y="64421"/>
                    <a:pt x="97647" y="64421"/>
                  </a:cubicBezTo>
                  <a:cubicBezTo>
                    <a:pt x="97941" y="64421"/>
                    <a:pt x="98823" y="65368"/>
                    <a:pt x="98823" y="65368"/>
                  </a:cubicBezTo>
                  <a:cubicBezTo>
                    <a:pt x="98823" y="65368"/>
                    <a:pt x="98235" y="66315"/>
                    <a:pt x="97941" y="66315"/>
                  </a:cubicBezTo>
                  <a:cubicBezTo>
                    <a:pt x="97647" y="66631"/>
                    <a:pt x="97352" y="66631"/>
                    <a:pt x="97058" y="66947"/>
                  </a:cubicBezTo>
                  <a:cubicBezTo>
                    <a:pt x="96764" y="67578"/>
                    <a:pt x="96764" y="67578"/>
                    <a:pt x="96764" y="67894"/>
                  </a:cubicBezTo>
                  <a:cubicBezTo>
                    <a:pt x="96470" y="67894"/>
                    <a:pt x="96176" y="68526"/>
                    <a:pt x="95588" y="67894"/>
                  </a:cubicBezTo>
                  <a:cubicBezTo>
                    <a:pt x="95000" y="67578"/>
                    <a:pt x="94411" y="66947"/>
                    <a:pt x="94411" y="66947"/>
                  </a:cubicBezTo>
                  <a:cubicBezTo>
                    <a:pt x="94411" y="66947"/>
                    <a:pt x="93823" y="67263"/>
                    <a:pt x="93529" y="67263"/>
                  </a:cubicBezTo>
                  <a:cubicBezTo>
                    <a:pt x="93235" y="67578"/>
                    <a:pt x="92647" y="67263"/>
                    <a:pt x="92647" y="67263"/>
                  </a:cubicBezTo>
                  <a:cubicBezTo>
                    <a:pt x="92941" y="66947"/>
                    <a:pt x="92647" y="66315"/>
                    <a:pt x="92941" y="66000"/>
                  </a:cubicBezTo>
                  <a:close/>
                  <a:moveTo>
                    <a:pt x="86764" y="72315"/>
                  </a:moveTo>
                  <a:cubicBezTo>
                    <a:pt x="86764" y="72315"/>
                    <a:pt x="86764" y="72315"/>
                    <a:pt x="86764" y="72315"/>
                  </a:cubicBezTo>
                  <a:cubicBezTo>
                    <a:pt x="86764" y="72315"/>
                    <a:pt x="85588" y="71684"/>
                    <a:pt x="85882" y="71368"/>
                  </a:cubicBezTo>
                  <a:cubicBezTo>
                    <a:pt x="86176" y="70736"/>
                    <a:pt x="87352" y="69473"/>
                    <a:pt x="87647" y="69157"/>
                  </a:cubicBezTo>
                  <a:cubicBezTo>
                    <a:pt x="87647" y="69157"/>
                    <a:pt x="88529" y="69473"/>
                    <a:pt x="88529" y="69473"/>
                  </a:cubicBezTo>
                  <a:cubicBezTo>
                    <a:pt x="88823" y="69473"/>
                    <a:pt x="89117" y="68526"/>
                    <a:pt x="89411" y="68526"/>
                  </a:cubicBezTo>
                  <a:cubicBezTo>
                    <a:pt x="89411" y="68526"/>
                    <a:pt x="90588" y="68526"/>
                    <a:pt x="90588" y="68526"/>
                  </a:cubicBezTo>
                  <a:cubicBezTo>
                    <a:pt x="90588" y="68526"/>
                    <a:pt x="90000" y="69789"/>
                    <a:pt x="89411" y="70105"/>
                  </a:cubicBezTo>
                  <a:cubicBezTo>
                    <a:pt x="88823" y="70421"/>
                    <a:pt x="88529" y="70421"/>
                    <a:pt x="88529" y="70736"/>
                  </a:cubicBezTo>
                  <a:cubicBezTo>
                    <a:pt x="88235" y="71052"/>
                    <a:pt x="87941" y="71368"/>
                    <a:pt x="87941" y="71684"/>
                  </a:cubicBezTo>
                  <a:cubicBezTo>
                    <a:pt x="87647" y="71684"/>
                    <a:pt x="86764" y="72315"/>
                    <a:pt x="86764" y="72315"/>
                  </a:cubicBezTo>
                  <a:close/>
                  <a:moveTo>
                    <a:pt x="82941" y="84631"/>
                  </a:moveTo>
                  <a:cubicBezTo>
                    <a:pt x="82941" y="84631"/>
                    <a:pt x="82941" y="84631"/>
                    <a:pt x="82941" y="84631"/>
                  </a:cubicBezTo>
                  <a:cubicBezTo>
                    <a:pt x="83235" y="84947"/>
                    <a:pt x="82647" y="86210"/>
                    <a:pt x="81764" y="85578"/>
                  </a:cubicBezTo>
                  <a:cubicBezTo>
                    <a:pt x="81764" y="85578"/>
                    <a:pt x="81470" y="84947"/>
                    <a:pt x="82058" y="84631"/>
                  </a:cubicBezTo>
                  <a:cubicBezTo>
                    <a:pt x="82352" y="84631"/>
                    <a:pt x="82941" y="84631"/>
                    <a:pt x="82941" y="84631"/>
                  </a:cubicBezTo>
                  <a:close/>
                  <a:moveTo>
                    <a:pt x="82058" y="92210"/>
                  </a:moveTo>
                  <a:cubicBezTo>
                    <a:pt x="82058" y="92210"/>
                    <a:pt x="82058" y="92210"/>
                    <a:pt x="82058" y="92210"/>
                  </a:cubicBezTo>
                  <a:cubicBezTo>
                    <a:pt x="82058" y="92210"/>
                    <a:pt x="82647" y="91578"/>
                    <a:pt x="82647" y="91578"/>
                  </a:cubicBezTo>
                  <a:cubicBezTo>
                    <a:pt x="82941" y="91578"/>
                    <a:pt x="83235" y="91894"/>
                    <a:pt x="83235" y="91894"/>
                  </a:cubicBezTo>
                  <a:cubicBezTo>
                    <a:pt x="83235" y="91894"/>
                    <a:pt x="84117" y="92526"/>
                    <a:pt x="84117" y="92526"/>
                  </a:cubicBezTo>
                  <a:cubicBezTo>
                    <a:pt x="84117" y="92842"/>
                    <a:pt x="84411" y="93473"/>
                    <a:pt x="84117" y="93473"/>
                  </a:cubicBezTo>
                  <a:cubicBezTo>
                    <a:pt x="83823" y="93789"/>
                    <a:pt x="83529" y="94105"/>
                    <a:pt x="83235" y="93789"/>
                  </a:cubicBezTo>
                  <a:cubicBezTo>
                    <a:pt x="82941" y="93789"/>
                    <a:pt x="82647" y="93789"/>
                    <a:pt x="82647" y="93473"/>
                  </a:cubicBezTo>
                  <a:cubicBezTo>
                    <a:pt x="82647" y="93157"/>
                    <a:pt x="82647" y="93157"/>
                    <a:pt x="82647" y="92842"/>
                  </a:cubicBezTo>
                  <a:cubicBezTo>
                    <a:pt x="82647" y="92842"/>
                    <a:pt x="82058" y="92842"/>
                    <a:pt x="82058" y="92842"/>
                  </a:cubicBezTo>
                  <a:cubicBezTo>
                    <a:pt x="82058" y="92210"/>
                    <a:pt x="82058" y="92210"/>
                    <a:pt x="82058" y="92210"/>
                  </a:cubicBezTo>
                  <a:close/>
                  <a:moveTo>
                    <a:pt x="70000" y="88105"/>
                  </a:moveTo>
                  <a:cubicBezTo>
                    <a:pt x="70000" y="88105"/>
                    <a:pt x="70000" y="88105"/>
                    <a:pt x="70000" y="88105"/>
                  </a:cubicBezTo>
                  <a:cubicBezTo>
                    <a:pt x="70294" y="88105"/>
                    <a:pt x="70882" y="87789"/>
                    <a:pt x="70882" y="88105"/>
                  </a:cubicBezTo>
                  <a:cubicBezTo>
                    <a:pt x="71176" y="88421"/>
                    <a:pt x="71470" y="88421"/>
                    <a:pt x="71470" y="88736"/>
                  </a:cubicBezTo>
                  <a:cubicBezTo>
                    <a:pt x="71470" y="88736"/>
                    <a:pt x="71764" y="89052"/>
                    <a:pt x="71176" y="89368"/>
                  </a:cubicBezTo>
                  <a:cubicBezTo>
                    <a:pt x="70588" y="89368"/>
                    <a:pt x="70294" y="89368"/>
                    <a:pt x="70294" y="89368"/>
                  </a:cubicBezTo>
                  <a:cubicBezTo>
                    <a:pt x="70588" y="90315"/>
                    <a:pt x="70588" y="90315"/>
                    <a:pt x="70588" y="90315"/>
                  </a:cubicBezTo>
                  <a:cubicBezTo>
                    <a:pt x="70588" y="90315"/>
                    <a:pt x="71176" y="90315"/>
                    <a:pt x="70294" y="90947"/>
                  </a:cubicBezTo>
                  <a:cubicBezTo>
                    <a:pt x="69705" y="91578"/>
                    <a:pt x="69117" y="91578"/>
                    <a:pt x="69117" y="91578"/>
                  </a:cubicBezTo>
                  <a:cubicBezTo>
                    <a:pt x="69117" y="91263"/>
                    <a:pt x="69117" y="91263"/>
                    <a:pt x="69117" y="91263"/>
                  </a:cubicBezTo>
                  <a:cubicBezTo>
                    <a:pt x="68235" y="91578"/>
                    <a:pt x="68235" y="91578"/>
                    <a:pt x="68235" y="91578"/>
                  </a:cubicBezTo>
                  <a:cubicBezTo>
                    <a:pt x="68235" y="91578"/>
                    <a:pt x="67941" y="91894"/>
                    <a:pt x="67941" y="91578"/>
                  </a:cubicBezTo>
                  <a:cubicBezTo>
                    <a:pt x="67647" y="90947"/>
                    <a:pt x="67352" y="90315"/>
                    <a:pt x="67941" y="90315"/>
                  </a:cubicBezTo>
                  <a:cubicBezTo>
                    <a:pt x="68529" y="90000"/>
                    <a:pt x="68529" y="89684"/>
                    <a:pt x="68823" y="90000"/>
                  </a:cubicBezTo>
                  <a:cubicBezTo>
                    <a:pt x="69117" y="90315"/>
                    <a:pt x="69117" y="90631"/>
                    <a:pt x="69117" y="90631"/>
                  </a:cubicBezTo>
                  <a:cubicBezTo>
                    <a:pt x="69411" y="89684"/>
                    <a:pt x="69411" y="89684"/>
                    <a:pt x="69411" y="89684"/>
                  </a:cubicBezTo>
                  <a:cubicBezTo>
                    <a:pt x="69411" y="89684"/>
                    <a:pt x="69117" y="89684"/>
                    <a:pt x="69117" y="89368"/>
                  </a:cubicBezTo>
                  <a:cubicBezTo>
                    <a:pt x="69411" y="89052"/>
                    <a:pt x="69411" y="89052"/>
                    <a:pt x="69705" y="88736"/>
                  </a:cubicBezTo>
                  <a:cubicBezTo>
                    <a:pt x="70000" y="88736"/>
                    <a:pt x="70294" y="89052"/>
                    <a:pt x="70294" y="89052"/>
                  </a:cubicBezTo>
                  <a:cubicBezTo>
                    <a:pt x="70000" y="88105"/>
                    <a:pt x="70000" y="88105"/>
                    <a:pt x="70000" y="88105"/>
                  </a:cubicBezTo>
                  <a:close/>
                  <a:moveTo>
                    <a:pt x="75882" y="90315"/>
                  </a:moveTo>
                  <a:cubicBezTo>
                    <a:pt x="75882" y="90315"/>
                    <a:pt x="75882" y="90315"/>
                    <a:pt x="75882" y="90315"/>
                  </a:cubicBezTo>
                  <a:cubicBezTo>
                    <a:pt x="75882" y="90315"/>
                    <a:pt x="76176" y="90315"/>
                    <a:pt x="76176" y="90631"/>
                  </a:cubicBezTo>
                  <a:cubicBezTo>
                    <a:pt x="76470" y="90947"/>
                    <a:pt x="76470" y="90947"/>
                    <a:pt x="76176" y="90947"/>
                  </a:cubicBezTo>
                  <a:cubicBezTo>
                    <a:pt x="76176" y="90947"/>
                    <a:pt x="75294" y="90947"/>
                    <a:pt x="75294" y="90947"/>
                  </a:cubicBezTo>
                  <a:cubicBezTo>
                    <a:pt x="75294" y="90947"/>
                    <a:pt x="75000" y="91263"/>
                    <a:pt x="75000" y="90631"/>
                  </a:cubicBezTo>
                  <a:cubicBezTo>
                    <a:pt x="75000" y="90315"/>
                    <a:pt x="75000" y="90000"/>
                    <a:pt x="75000" y="90000"/>
                  </a:cubicBezTo>
                  <a:cubicBezTo>
                    <a:pt x="75882" y="90315"/>
                    <a:pt x="75882" y="90315"/>
                    <a:pt x="75882" y="90315"/>
                  </a:cubicBezTo>
                  <a:close/>
                  <a:moveTo>
                    <a:pt x="77941" y="89052"/>
                  </a:moveTo>
                  <a:cubicBezTo>
                    <a:pt x="77941" y="89052"/>
                    <a:pt x="77941" y="89052"/>
                    <a:pt x="77941" y="89052"/>
                  </a:cubicBezTo>
                  <a:cubicBezTo>
                    <a:pt x="79117" y="88105"/>
                    <a:pt x="79117" y="88105"/>
                    <a:pt x="79117" y="88105"/>
                  </a:cubicBezTo>
                  <a:cubicBezTo>
                    <a:pt x="79117" y="88105"/>
                    <a:pt x="79411" y="89052"/>
                    <a:pt x="78823" y="89368"/>
                  </a:cubicBezTo>
                  <a:cubicBezTo>
                    <a:pt x="78529" y="89684"/>
                    <a:pt x="78235" y="89684"/>
                    <a:pt x="78235" y="89684"/>
                  </a:cubicBezTo>
                  <a:cubicBezTo>
                    <a:pt x="77647" y="89368"/>
                    <a:pt x="77647" y="89368"/>
                    <a:pt x="77647" y="89368"/>
                  </a:cubicBezTo>
                  <a:cubicBezTo>
                    <a:pt x="77941" y="89052"/>
                    <a:pt x="77941" y="89052"/>
                    <a:pt x="77941" y="89052"/>
                  </a:cubicBezTo>
                  <a:close/>
                  <a:moveTo>
                    <a:pt x="80294" y="86842"/>
                  </a:moveTo>
                  <a:cubicBezTo>
                    <a:pt x="80294" y="86842"/>
                    <a:pt x="80294" y="86842"/>
                    <a:pt x="80294" y="86842"/>
                  </a:cubicBezTo>
                  <a:cubicBezTo>
                    <a:pt x="80294" y="86842"/>
                    <a:pt x="80000" y="87789"/>
                    <a:pt x="80294" y="88421"/>
                  </a:cubicBezTo>
                  <a:cubicBezTo>
                    <a:pt x="80294" y="88736"/>
                    <a:pt x="80294" y="88736"/>
                    <a:pt x="80588" y="88736"/>
                  </a:cubicBezTo>
                  <a:cubicBezTo>
                    <a:pt x="80882" y="89052"/>
                    <a:pt x="81176" y="89052"/>
                    <a:pt x="81470" y="88736"/>
                  </a:cubicBezTo>
                  <a:cubicBezTo>
                    <a:pt x="81764" y="88736"/>
                    <a:pt x="81764" y="87789"/>
                    <a:pt x="81764" y="87789"/>
                  </a:cubicBezTo>
                  <a:cubicBezTo>
                    <a:pt x="81764" y="87789"/>
                    <a:pt x="81764" y="87473"/>
                    <a:pt x="81470" y="86842"/>
                  </a:cubicBezTo>
                  <a:cubicBezTo>
                    <a:pt x="81176" y="85894"/>
                    <a:pt x="80588" y="86842"/>
                    <a:pt x="80294" y="86842"/>
                  </a:cubicBezTo>
                  <a:close/>
                  <a:moveTo>
                    <a:pt x="80588" y="81789"/>
                  </a:moveTo>
                  <a:cubicBezTo>
                    <a:pt x="80588" y="81789"/>
                    <a:pt x="80588" y="81789"/>
                    <a:pt x="80588" y="81789"/>
                  </a:cubicBezTo>
                  <a:cubicBezTo>
                    <a:pt x="80588" y="81473"/>
                    <a:pt x="80588" y="80526"/>
                    <a:pt x="80882" y="80210"/>
                  </a:cubicBezTo>
                  <a:cubicBezTo>
                    <a:pt x="81176" y="80210"/>
                    <a:pt x="81176" y="79894"/>
                    <a:pt x="81470" y="79578"/>
                  </a:cubicBezTo>
                  <a:cubicBezTo>
                    <a:pt x="81470" y="79263"/>
                    <a:pt x="82647" y="79263"/>
                    <a:pt x="82647" y="79263"/>
                  </a:cubicBezTo>
                  <a:cubicBezTo>
                    <a:pt x="82941" y="79894"/>
                    <a:pt x="82941" y="79894"/>
                    <a:pt x="82941" y="79894"/>
                  </a:cubicBezTo>
                  <a:cubicBezTo>
                    <a:pt x="82941" y="79894"/>
                    <a:pt x="82941" y="80526"/>
                    <a:pt x="82941" y="80842"/>
                  </a:cubicBezTo>
                  <a:cubicBezTo>
                    <a:pt x="82941" y="81157"/>
                    <a:pt x="82941" y="81157"/>
                    <a:pt x="83235" y="81789"/>
                  </a:cubicBezTo>
                  <a:cubicBezTo>
                    <a:pt x="83235" y="82105"/>
                    <a:pt x="82941" y="82736"/>
                    <a:pt x="82941" y="83052"/>
                  </a:cubicBezTo>
                  <a:cubicBezTo>
                    <a:pt x="82647" y="83368"/>
                    <a:pt x="82647" y="83684"/>
                    <a:pt x="82352" y="83684"/>
                  </a:cubicBezTo>
                  <a:cubicBezTo>
                    <a:pt x="82058" y="84000"/>
                    <a:pt x="82058" y="84315"/>
                    <a:pt x="81764" y="84000"/>
                  </a:cubicBezTo>
                  <a:cubicBezTo>
                    <a:pt x="81470" y="83684"/>
                    <a:pt x="80588" y="83368"/>
                    <a:pt x="80588" y="83052"/>
                  </a:cubicBezTo>
                  <a:cubicBezTo>
                    <a:pt x="80588" y="83052"/>
                    <a:pt x="80588" y="82421"/>
                    <a:pt x="80588" y="82421"/>
                  </a:cubicBezTo>
                  <a:cubicBezTo>
                    <a:pt x="80588" y="81789"/>
                    <a:pt x="80588" y="81789"/>
                    <a:pt x="80588" y="81789"/>
                  </a:cubicBezTo>
                  <a:close/>
                  <a:moveTo>
                    <a:pt x="77058" y="83368"/>
                  </a:moveTo>
                  <a:cubicBezTo>
                    <a:pt x="77058" y="83368"/>
                    <a:pt x="77058" y="83368"/>
                    <a:pt x="77058" y="83368"/>
                  </a:cubicBezTo>
                  <a:cubicBezTo>
                    <a:pt x="77058" y="83052"/>
                    <a:pt x="77352" y="81789"/>
                    <a:pt x="77352" y="81789"/>
                  </a:cubicBezTo>
                  <a:cubicBezTo>
                    <a:pt x="77352" y="81789"/>
                    <a:pt x="77352" y="81157"/>
                    <a:pt x="77941" y="80842"/>
                  </a:cubicBezTo>
                  <a:cubicBezTo>
                    <a:pt x="78235" y="80842"/>
                    <a:pt x="78235" y="80526"/>
                    <a:pt x="78529" y="80842"/>
                  </a:cubicBezTo>
                  <a:cubicBezTo>
                    <a:pt x="78823" y="81157"/>
                    <a:pt x="79117" y="81473"/>
                    <a:pt x="79117" y="81473"/>
                  </a:cubicBezTo>
                  <a:cubicBezTo>
                    <a:pt x="79117" y="81473"/>
                    <a:pt x="78823" y="81473"/>
                    <a:pt x="78823" y="81789"/>
                  </a:cubicBezTo>
                  <a:cubicBezTo>
                    <a:pt x="78823" y="81789"/>
                    <a:pt x="79117" y="82421"/>
                    <a:pt x="79117" y="82421"/>
                  </a:cubicBezTo>
                  <a:cubicBezTo>
                    <a:pt x="78823" y="82736"/>
                    <a:pt x="78529" y="83052"/>
                    <a:pt x="78235" y="83368"/>
                  </a:cubicBezTo>
                  <a:cubicBezTo>
                    <a:pt x="78235" y="83684"/>
                    <a:pt x="77647" y="84000"/>
                    <a:pt x="77647" y="84000"/>
                  </a:cubicBezTo>
                  <a:cubicBezTo>
                    <a:pt x="76764" y="84631"/>
                    <a:pt x="76764" y="84631"/>
                    <a:pt x="76764" y="84631"/>
                  </a:cubicBezTo>
                  <a:cubicBezTo>
                    <a:pt x="76764" y="84947"/>
                    <a:pt x="76764" y="84947"/>
                    <a:pt x="76764" y="84947"/>
                  </a:cubicBezTo>
                  <a:cubicBezTo>
                    <a:pt x="76470" y="84947"/>
                    <a:pt x="76470" y="84947"/>
                    <a:pt x="76470" y="84947"/>
                  </a:cubicBezTo>
                  <a:cubicBezTo>
                    <a:pt x="75882" y="84000"/>
                    <a:pt x="75882" y="84000"/>
                    <a:pt x="75882" y="84000"/>
                  </a:cubicBezTo>
                  <a:cubicBezTo>
                    <a:pt x="76764" y="83368"/>
                    <a:pt x="76764" y="83368"/>
                    <a:pt x="76764" y="83368"/>
                  </a:cubicBezTo>
                  <a:cubicBezTo>
                    <a:pt x="77058" y="83368"/>
                    <a:pt x="77058" y="83368"/>
                    <a:pt x="77058" y="83368"/>
                  </a:cubicBezTo>
                  <a:close/>
                  <a:moveTo>
                    <a:pt x="71176" y="84631"/>
                  </a:moveTo>
                  <a:cubicBezTo>
                    <a:pt x="71176" y="84631"/>
                    <a:pt x="71176" y="84631"/>
                    <a:pt x="71176" y="84631"/>
                  </a:cubicBezTo>
                  <a:cubicBezTo>
                    <a:pt x="72058" y="84315"/>
                    <a:pt x="72058" y="84315"/>
                    <a:pt x="72058" y="84315"/>
                  </a:cubicBezTo>
                  <a:cubicBezTo>
                    <a:pt x="72941" y="84947"/>
                    <a:pt x="72941" y="84947"/>
                    <a:pt x="72941" y="84947"/>
                  </a:cubicBezTo>
                  <a:cubicBezTo>
                    <a:pt x="72941" y="85894"/>
                    <a:pt x="72941" y="85894"/>
                    <a:pt x="72941" y="85894"/>
                  </a:cubicBezTo>
                  <a:cubicBezTo>
                    <a:pt x="72941" y="85894"/>
                    <a:pt x="72352" y="87157"/>
                    <a:pt x="72058" y="86842"/>
                  </a:cubicBezTo>
                  <a:cubicBezTo>
                    <a:pt x="71764" y="86210"/>
                    <a:pt x="71764" y="85578"/>
                    <a:pt x="71764" y="85578"/>
                  </a:cubicBezTo>
                  <a:cubicBezTo>
                    <a:pt x="71176" y="84631"/>
                    <a:pt x="71176" y="84631"/>
                    <a:pt x="71176" y="84631"/>
                  </a:cubicBezTo>
                  <a:close/>
                  <a:moveTo>
                    <a:pt x="67352" y="82105"/>
                  </a:moveTo>
                  <a:cubicBezTo>
                    <a:pt x="67352" y="82105"/>
                    <a:pt x="67352" y="82105"/>
                    <a:pt x="67352" y="82105"/>
                  </a:cubicBezTo>
                  <a:cubicBezTo>
                    <a:pt x="67352" y="82105"/>
                    <a:pt x="68823" y="81789"/>
                    <a:pt x="68823" y="82105"/>
                  </a:cubicBezTo>
                  <a:cubicBezTo>
                    <a:pt x="68823" y="82105"/>
                    <a:pt x="68823" y="82736"/>
                    <a:pt x="69117" y="82736"/>
                  </a:cubicBezTo>
                  <a:cubicBezTo>
                    <a:pt x="69117" y="83052"/>
                    <a:pt x="68235" y="84000"/>
                    <a:pt x="67941" y="84000"/>
                  </a:cubicBezTo>
                  <a:cubicBezTo>
                    <a:pt x="67941" y="84000"/>
                    <a:pt x="67647" y="83684"/>
                    <a:pt x="67647" y="83684"/>
                  </a:cubicBezTo>
                  <a:cubicBezTo>
                    <a:pt x="67352" y="82105"/>
                    <a:pt x="67352" y="82105"/>
                    <a:pt x="67352" y="82105"/>
                  </a:cubicBezTo>
                  <a:close/>
                  <a:moveTo>
                    <a:pt x="66176" y="78000"/>
                  </a:moveTo>
                  <a:cubicBezTo>
                    <a:pt x="66176" y="78000"/>
                    <a:pt x="66176" y="78000"/>
                    <a:pt x="66176" y="78000"/>
                  </a:cubicBezTo>
                  <a:cubicBezTo>
                    <a:pt x="66176" y="78000"/>
                    <a:pt x="66470" y="77684"/>
                    <a:pt x="66764" y="77684"/>
                  </a:cubicBezTo>
                  <a:cubicBezTo>
                    <a:pt x="67058" y="78000"/>
                    <a:pt x="67058" y="78947"/>
                    <a:pt x="67058" y="78947"/>
                  </a:cubicBezTo>
                  <a:cubicBezTo>
                    <a:pt x="66764" y="79894"/>
                    <a:pt x="66764" y="79894"/>
                    <a:pt x="66764" y="79894"/>
                  </a:cubicBezTo>
                  <a:cubicBezTo>
                    <a:pt x="66764" y="79894"/>
                    <a:pt x="66176" y="80842"/>
                    <a:pt x="66176" y="80842"/>
                  </a:cubicBezTo>
                  <a:cubicBezTo>
                    <a:pt x="66176" y="80526"/>
                    <a:pt x="65882" y="78947"/>
                    <a:pt x="65882" y="78947"/>
                  </a:cubicBezTo>
                  <a:cubicBezTo>
                    <a:pt x="66176" y="78000"/>
                    <a:pt x="66176" y="78000"/>
                    <a:pt x="66176" y="78000"/>
                  </a:cubicBezTo>
                  <a:close/>
                  <a:moveTo>
                    <a:pt x="64411" y="75473"/>
                  </a:moveTo>
                  <a:cubicBezTo>
                    <a:pt x="64411" y="75473"/>
                    <a:pt x="64411" y="75473"/>
                    <a:pt x="64411" y="75473"/>
                  </a:cubicBezTo>
                  <a:cubicBezTo>
                    <a:pt x="64411" y="75473"/>
                    <a:pt x="64117" y="76421"/>
                    <a:pt x="64117" y="76736"/>
                  </a:cubicBezTo>
                  <a:cubicBezTo>
                    <a:pt x="64117" y="76736"/>
                    <a:pt x="64411" y="77368"/>
                    <a:pt x="64411" y="77368"/>
                  </a:cubicBezTo>
                  <a:cubicBezTo>
                    <a:pt x="64411" y="77684"/>
                    <a:pt x="64411" y="77368"/>
                    <a:pt x="64705" y="77052"/>
                  </a:cubicBezTo>
                  <a:cubicBezTo>
                    <a:pt x="65000" y="76736"/>
                    <a:pt x="65000" y="76421"/>
                    <a:pt x="65000" y="76421"/>
                  </a:cubicBezTo>
                  <a:cubicBezTo>
                    <a:pt x="65000" y="76421"/>
                    <a:pt x="65588" y="76105"/>
                    <a:pt x="65588" y="75789"/>
                  </a:cubicBezTo>
                  <a:cubicBezTo>
                    <a:pt x="65882" y="75789"/>
                    <a:pt x="65882" y="74842"/>
                    <a:pt x="65882" y="74842"/>
                  </a:cubicBezTo>
                  <a:cubicBezTo>
                    <a:pt x="65882" y="74842"/>
                    <a:pt x="65000" y="74210"/>
                    <a:pt x="65000" y="74526"/>
                  </a:cubicBezTo>
                  <a:cubicBezTo>
                    <a:pt x="64705" y="74526"/>
                    <a:pt x="64411" y="75473"/>
                    <a:pt x="64411" y="75473"/>
                  </a:cubicBezTo>
                  <a:close/>
                  <a:moveTo>
                    <a:pt x="68529" y="74842"/>
                  </a:moveTo>
                  <a:cubicBezTo>
                    <a:pt x="68529" y="74842"/>
                    <a:pt x="68529" y="74842"/>
                    <a:pt x="68529" y="74842"/>
                  </a:cubicBezTo>
                  <a:cubicBezTo>
                    <a:pt x="68823" y="74842"/>
                    <a:pt x="68823" y="74842"/>
                    <a:pt x="68823" y="74842"/>
                  </a:cubicBezTo>
                  <a:cubicBezTo>
                    <a:pt x="68823" y="75157"/>
                    <a:pt x="68823" y="75157"/>
                    <a:pt x="68823" y="75157"/>
                  </a:cubicBezTo>
                  <a:cubicBezTo>
                    <a:pt x="68823" y="75157"/>
                    <a:pt x="69705" y="74842"/>
                    <a:pt x="70000" y="74842"/>
                  </a:cubicBezTo>
                  <a:cubicBezTo>
                    <a:pt x="70294" y="74526"/>
                    <a:pt x="70000" y="74210"/>
                    <a:pt x="70000" y="73894"/>
                  </a:cubicBezTo>
                  <a:cubicBezTo>
                    <a:pt x="69705" y="73578"/>
                    <a:pt x="68529" y="74842"/>
                    <a:pt x="68529" y="74842"/>
                  </a:cubicBezTo>
                  <a:close/>
                  <a:moveTo>
                    <a:pt x="72647" y="76105"/>
                  </a:moveTo>
                  <a:cubicBezTo>
                    <a:pt x="72647" y="76105"/>
                    <a:pt x="72647" y="76105"/>
                    <a:pt x="72647" y="76105"/>
                  </a:cubicBezTo>
                  <a:cubicBezTo>
                    <a:pt x="72058" y="75789"/>
                    <a:pt x="72058" y="75789"/>
                    <a:pt x="72058" y="75789"/>
                  </a:cubicBezTo>
                  <a:cubicBezTo>
                    <a:pt x="72058" y="76421"/>
                    <a:pt x="72058" y="76421"/>
                    <a:pt x="72058" y="76421"/>
                  </a:cubicBezTo>
                  <a:cubicBezTo>
                    <a:pt x="72058" y="76421"/>
                    <a:pt x="72352" y="77052"/>
                    <a:pt x="72647" y="77368"/>
                  </a:cubicBezTo>
                  <a:cubicBezTo>
                    <a:pt x="72647" y="77368"/>
                    <a:pt x="72058" y="78000"/>
                    <a:pt x="72058" y="78000"/>
                  </a:cubicBezTo>
                  <a:cubicBezTo>
                    <a:pt x="72647" y="78947"/>
                    <a:pt x="72647" y="78947"/>
                    <a:pt x="72647" y="78947"/>
                  </a:cubicBezTo>
                  <a:cubicBezTo>
                    <a:pt x="73529" y="77368"/>
                    <a:pt x="73529" y="77368"/>
                    <a:pt x="73529" y="77368"/>
                  </a:cubicBezTo>
                  <a:cubicBezTo>
                    <a:pt x="73529" y="77368"/>
                    <a:pt x="73235" y="76736"/>
                    <a:pt x="73235" y="76736"/>
                  </a:cubicBezTo>
                  <a:cubicBezTo>
                    <a:pt x="73235" y="76421"/>
                    <a:pt x="72647" y="76105"/>
                    <a:pt x="72647" y="76105"/>
                  </a:cubicBezTo>
                  <a:close/>
                  <a:moveTo>
                    <a:pt x="76764" y="76105"/>
                  </a:moveTo>
                  <a:cubicBezTo>
                    <a:pt x="76764" y="76105"/>
                    <a:pt x="76764" y="76105"/>
                    <a:pt x="76764" y="76105"/>
                  </a:cubicBezTo>
                  <a:cubicBezTo>
                    <a:pt x="77058" y="76736"/>
                    <a:pt x="77058" y="76736"/>
                    <a:pt x="77058" y="76736"/>
                  </a:cubicBezTo>
                  <a:cubicBezTo>
                    <a:pt x="77058" y="76736"/>
                    <a:pt x="76764" y="77368"/>
                    <a:pt x="76470" y="77368"/>
                  </a:cubicBezTo>
                  <a:cubicBezTo>
                    <a:pt x="76470" y="77368"/>
                    <a:pt x="76176" y="77052"/>
                    <a:pt x="76176" y="77052"/>
                  </a:cubicBezTo>
                  <a:cubicBezTo>
                    <a:pt x="76764" y="76105"/>
                    <a:pt x="76764" y="76105"/>
                    <a:pt x="76764" y="76105"/>
                  </a:cubicBezTo>
                  <a:close/>
                  <a:moveTo>
                    <a:pt x="77647" y="75157"/>
                  </a:moveTo>
                  <a:cubicBezTo>
                    <a:pt x="77647" y="75157"/>
                    <a:pt x="77647" y="75157"/>
                    <a:pt x="77647" y="75157"/>
                  </a:cubicBezTo>
                  <a:cubicBezTo>
                    <a:pt x="77941" y="75789"/>
                    <a:pt x="77941" y="75789"/>
                    <a:pt x="77941" y="75789"/>
                  </a:cubicBezTo>
                  <a:cubicBezTo>
                    <a:pt x="77941" y="75789"/>
                    <a:pt x="78823" y="75473"/>
                    <a:pt x="79411" y="75157"/>
                  </a:cubicBezTo>
                  <a:cubicBezTo>
                    <a:pt x="80294" y="74842"/>
                    <a:pt x="79411" y="74526"/>
                    <a:pt x="79411" y="74526"/>
                  </a:cubicBezTo>
                  <a:cubicBezTo>
                    <a:pt x="78529" y="74526"/>
                    <a:pt x="78529" y="74526"/>
                    <a:pt x="78529" y="74526"/>
                  </a:cubicBezTo>
                  <a:cubicBezTo>
                    <a:pt x="78529" y="74526"/>
                    <a:pt x="77647" y="74842"/>
                    <a:pt x="77647" y="75157"/>
                  </a:cubicBezTo>
                  <a:close/>
                  <a:moveTo>
                    <a:pt x="72647" y="72631"/>
                  </a:moveTo>
                  <a:cubicBezTo>
                    <a:pt x="72647" y="72631"/>
                    <a:pt x="72647" y="72631"/>
                    <a:pt x="72647" y="72631"/>
                  </a:cubicBezTo>
                  <a:cubicBezTo>
                    <a:pt x="73529" y="73578"/>
                    <a:pt x="73529" y="73578"/>
                    <a:pt x="73529" y="73578"/>
                  </a:cubicBezTo>
                  <a:cubicBezTo>
                    <a:pt x="73529" y="73578"/>
                    <a:pt x="74705" y="74210"/>
                    <a:pt x="75000" y="74210"/>
                  </a:cubicBezTo>
                  <a:cubicBezTo>
                    <a:pt x="75000" y="74526"/>
                    <a:pt x="75588" y="74210"/>
                    <a:pt x="76176" y="74210"/>
                  </a:cubicBezTo>
                  <a:cubicBezTo>
                    <a:pt x="76470" y="73894"/>
                    <a:pt x="76470" y="73894"/>
                    <a:pt x="76470" y="73578"/>
                  </a:cubicBezTo>
                  <a:cubicBezTo>
                    <a:pt x="76470" y="73578"/>
                    <a:pt x="76176" y="73263"/>
                    <a:pt x="76176" y="73263"/>
                  </a:cubicBezTo>
                  <a:cubicBezTo>
                    <a:pt x="76176" y="73263"/>
                    <a:pt x="75882" y="72631"/>
                    <a:pt x="75000" y="72631"/>
                  </a:cubicBezTo>
                  <a:cubicBezTo>
                    <a:pt x="74411" y="72947"/>
                    <a:pt x="74411" y="72631"/>
                    <a:pt x="74411" y="72631"/>
                  </a:cubicBezTo>
                  <a:cubicBezTo>
                    <a:pt x="74411" y="72631"/>
                    <a:pt x="74117" y="72631"/>
                    <a:pt x="73235" y="72315"/>
                  </a:cubicBezTo>
                  <a:cubicBezTo>
                    <a:pt x="72647" y="72315"/>
                    <a:pt x="72941" y="72631"/>
                    <a:pt x="72647" y="72631"/>
                  </a:cubicBezTo>
                  <a:close/>
                  <a:moveTo>
                    <a:pt x="72058" y="72315"/>
                  </a:moveTo>
                  <a:cubicBezTo>
                    <a:pt x="72058" y="72315"/>
                    <a:pt x="72058" y="72315"/>
                    <a:pt x="72058" y="72315"/>
                  </a:cubicBezTo>
                  <a:cubicBezTo>
                    <a:pt x="72352" y="72000"/>
                    <a:pt x="72352" y="72000"/>
                    <a:pt x="72352" y="72000"/>
                  </a:cubicBezTo>
                  <a:cubicBezTo>
                    <a:pt x="72352" y="72000"/>
                    <a:pt x="72352" y="71368"/>
                    <a:pt x="72352" y="70421"/>
                  </a:cubicBezTo>
                  <a:cubicBezTo>
                    <a:pt x="72352" y="69789"/>
                    <a:pt x="72058" y="70105"/>
                    <a:pt x="72058" y="70105"/>
                  </a:cubicBezTo>
                  <a:cubicBezTo>
                    <a:pt x="72058" y="69789"/>
                    <a:pt x="72058" y="69473"/>
                    <a:pt x="71764" y="68842"/>
                  </a:cubicBezTo>
                  <a:cubicBezTo>
                    <a:pt x="71470" y="68526"/>
                    <a:pt x="71470" y="68842"/>
                    <a:pt x="71176" y="68842"/>
                  </a:cubicBezTo>
                  <a:cubicBezTo>
                    <a:pt x="71176" y="68842"/>
                    <a:pt x="70882" y="69157"/>
                    <a:pt x="70294" y="69157"/>
                  </a:cubicBezTo>
                  <a:cubicBezTo>
                    <a:pt x="69705" y="69157"/>
                    <a:pt x="70000" y="68526"/>
                    <a:pt x="69705" y="68210"/>
                  </a:cubicBezTo>
                  <a:cubicBezTo>
                    <a:pt x="69411" y="67894"/>
                    <a:pt x="68823" y="67894"/>
                    <a:pt x="68823" y="67894"/>
                  </a:cubicBezTo>
                  <a:cubicBezTo>
                    <a:pt x="68529" y="67894"/>
                    <a:pt x="67941" y="68842"/>
                    <a:pt x="67941" y="69157"/>
                  </a:cubicBezTo>
                  <a:cubicBezTo>
                    <a:pt x="67941" y="69473"/>
                    <a:pt x="68235" y="69473"/>
                    <a:pt x="69117" y="70421"/>
                  </a:cubicBezTo>
                  <a:cubicBezTo>
                    <a:pt x="70000" y="71052"/>
                    <a:pt x="70294" y="71052"/>
                    <a:pt x="70588" y="71052"/>
                  </a:cubicBezTo>
                  <a:cubicBezTo>
                    <a:pt x="70882" y="71368"/>
                    <a:pt x="71764" y="72000"/>
                    <a:pt x="72058" y="72315"/>
                  </a:cubicBezTo>
                  <a:close/>
                  <a:moveTo>
                    <a:pt x="63529" y="113684"/>
                  </a:moveTo>
                  <a:cubicBezTo>
                    <a:pt x="63529" y="113684"/>
                    <a:pt x="63529" y="113684"/>
                    <a:pt x="63529" y="113684"/>
                  </a:cubicBezTo>
                  <a:cubicBezTo>
                    <a:pt x="63823" y="112736"/>
                    <a:pt x="63823" y="112736"/>
                    <a:pt x="63823" y="112736"/>
                  </a:cubicBezTo>
                  <a:cubicBezTo>
                    <a:pt x="63235" y="111789"/>
                    <a:pt x="63235" y="111789"/>
                    <a:pt x="63235" y="111789"/>
                  </a:cubicBezTo>
                  <a:cubicBezTo>
                    <a:pt x="63235" y="110526"/>
                    <a:pt x="63235" y="110526"/>
                    <a:pt x="63235" y="110526"/>
                  </a:cubicBezTo>
                  <a:cubicBezTo>
                    <a:pt x="63529" y="110210"/>
                    <a:pt x="63529" y="110210"/>
                    <a:pt x="63529" y="110210"/>
                  </a:cubicBezTo>
                  <a:cubicBezTo>
                    <a:pt x="63529" y="110210"/>
                    <a:pt x="64117" y="110842"/>
                    <a:pt x="64117" y="111157"/>
                  </a:cubicBezTo>
                  <a:cubicBezTo>
                    <a:pt x="64117" y="111473"/>
                    <a:pt x="64117" y="112105"/>
                    <a:pt x="64117" y="112105"/>
                  </a:cubicBezTo>
                  <a:cubicBezTo>
                    <a:pt x="64117" y="112105"/>
                    <a:pt x="65000" y="112736"/>
                    <a:pt x="65000" y="112736"/>
                  </a:cubicBezTo>
                  <a:cubicBezTo>
                    <a:pt x="65294" y="112736"/>
                    <a:pt x="67058" y="112421"/>
                    <a:pt x="67058" y="112421"/>
                  </a:cubicBezTo>
                  <a:cubicBezTo>
                    <a:pt x="67058" y="112421"/>
                    <a:pt x="67647" y="111473"/>
                    <a:pt x="67647" y="111473"/>
                  </a:cubicBezTo>
                  <a:cubicBezTo>
                    <a:pt x="67941" y="111157"/>
                    <a:pt x="68823" y="110526"/>
                    <a:pt x="68823" y="110526"/>
                  </a:cubicBezTo>
                  <a:cubicBezTo>
                    <a:pt x="68823" y="110526"/>
                    <a:pt x="68823" y="110210"/>
                    <a:pt x="69411" y="110842"/>
                  </a:cubicBezTo>
                  <a:cubicBezTo>
                    <a:pt x="70000" y="111157"/>
                    <a:pt x="69411" y="112105"/>
                    <a:pt x="69411" y="112105"/>
                  </a:cubicBezTo>
                  <a:cubicBezTo>
                    <a:pt x="69117" y="112105"/>
                    <a:pt x="69117" y="112421"/>
                    <a:pt x="69117" y="112421"/>
                  </a:cubicBezTo>
                  <a:cubicBezTo>
                    <a:pt x="69705" y="113052"/>
                    <a:pt x="69705" y="113052"/>
                    <a:pt x="69705" y="113052"/>
                  </a:cubicBezTo>
                  <a:cubicBezTo>
                    <a:pt x="69705" y="113052"/>
                    <a:pt x="69705" y="112421"/>
                    <a:pt x="70000" y="112421"/>
                  </a:cubicBezTo>
                  <a:cubicBezTo>
                    <a:pt x="70294" y="112421"/>
                    <a:pt x="70294" y="112105"/>
                    <a:pt x="70588" y="112105"/>
                  </a:cubicBezTo>
                  <a:cubicBezTo>
                    <a:pt x="70588" y="112421"/>
                    <a:pt x="71176" y="113052"/>
                    <a:pt x="71176" y="113052"/>
                  </a:cubicBezTo>
                  <a:cubicBezTo>
                    <a:pt x="71176" y="113052"/>
                    <a:pt x="71176" y="114000"/>
                    <a:pt x="71470" y="114000"/>
                  </a:cubicBezTo>
                  <a:cubicBezTo>
                    <a:pt x="71764" y="113684"/>
                    <a:pt x="72352" y="114000"/>
                    <a:pt x="72647" y="113684"/>
                  </a:cubicBezTo>
                  <a:cubicBezTo>
                    <a:pt x="72941" y="113684"/>
                    <a:pt x="75882" y="112736"/>
                    <a:pt x="75882" y="112736"/>
                  </a:cubicBezTo>
                  <a:cubicBezTo>
                    <a:pt x="76764" y="112105"/>
                    <a:pt x="76764" y="112105"/>
                    <a:pt x="76764" y="112105"/>
                  </a:cubicBezTo>
                  <a:cubicBezTo>
                    <a:pt x="76764" y="112105"/>
                    <a:pt x="77352" y="111789"/>
                    <a:pt x="77941" y="111789"/>
                  </a:cubicBezTo>
                  <a:cubicBezTo>
                    <a:pt x="78235" y="111789"/>
                    <a:pt x="80000" y="111157"/>
                    <a:pt x="80000" y="111157"/>
                  </a:cubicBezTo>
                  <a:cubicBezTo>
                    <a:pt x="80000" y="111157"/>
                    <a:pt x="80882" y="110526"/>
                    <a:pt x="81470" y="110842"/>
                  </a:cubicBezTo>
                  <a:cubicBezTo>
                    <a:pt x="81764" y="111473"/>
                    <a:pt x="82941" y="112421"/>
                    <a:pt x="82941" y="112421"/>
                  </a:cubicBezTo>
                  <a:cubicBezTo>
                    <a:pt x="84705" y="112105"/>
                    <a:pt x="84705" y="112105"/>
                    <a:pt x="84705" y="112105"/>
                  </a:cubicBezTo>
                  <a:cubicBezTo>
                    <a:pt x="84705" y="112105"/>
                    <a:pt x="85294" y="111789"/>
                    <a:pt x="85294" y="111789"/>
                  </a:cubicBezTo>
                  <a:cubicBezTo>
                    <a:pt x="85588" y="112105"/>
                    <a:pt x="87352" y="111789"/>
                    <a:pt x="87352" y="111789"/>
                  </a:cubicBezTo>
                  <a:cubicBezTo>
                    <a:pt x="87352" y="111789"/>
                    <a:pt x="88235" y="110842"/>
                    <a:pt x="88529" y="110842"/>
                  </a:cubicBezTo>
                  <a:cubicBezTo>
                    <a:pt x="88529" y="110842"/>
                    <a:pt x="90588" y="110210"/>
                    <a:pt x="90588" y="110210"/>
                  </a:cubicBezTo>
                  <a:cubicBezTo>
                    <a:pt x="90588" y="110210"/>
                    <a:pt x="90882" y="110210"/>
                    <a:pt x="90882" y="110842"/>
                  </a:cubicBezTo>
                  <a:cubicBezTo>
                    <a:pt x="90882" y="111473"/>
                    <a:pt x="90882" y="112421"/>
                    <a:pt x="90882" y="112736"/>
                  </a:cubicBezTo>
                  <a:cubicBezTo>
                    <a:pt x="91176" y="113052"/>
                    <a:pt x="90882" y="113684"/>
                    <a:pt x="91470" y="113684"/>
                  </a:cubicBezTo>
                  <a:cubicBezTo>
                    <a:pt x="92058" y="113368"/>
                    <a:pt x="92647" y="113052"/>
                    <a:pt x="92647" y="113052"/>
                  </a:cubicBezTo>
                  <a:cubicBezTo>
                    <a:pt x="92647" y="113052"/>
                    <a:pt x="92058" y="113052"/>
                    <a:pt x="93235" y="112421"/>
                  </a:cubicBezTo>
                  <a:cubicBezTo>
                    <a:pt x="94117" y="111789"/>
                    <a:pt x="94411" y="111473"/>
                    <a:pt x="94705" y="111473"/>
                  </a:cubicBezTo>
                  <a:cubicBezTo>
                    <a:pt x="95000" y="111473"/>
                    <a:pt x="95000" y="111157"/>
                    <a:pt x="95294" y="111157"/>
                  </a:cubicBezTo>
                  <a:cubicBezTo>
                    <a:pt x="95882" y="111157"/>
                    <a:pt x="95882" y="111157"/>
                    <a:pt x="96176" y="111157"/>
                  </a:cubicBezTo>
                  <a:cubicBezTo>
                    <a:pt x="96470" y="110842"/>
                    <a:pt x="97058" y="109894"/>
                    <a:pt x="97058" y="109894"/>
                  </a:cubicBezTo>
                  <a:cubicBezTo>
                    <a:pt x="97058" y="109894"/>
                    <a:pt x="97352" y="109263"/>
                    <a:pt x="97647" y="109263"/>
                  </a:cubicBezTo>
                  <a:cubicBezTo>
                    <a:pt x="97647" y="109263"/>
                    <a:pt x="98235" y="108947"/>
                    <a:pt x="98235" y="108947"/>
                  </a:cubicBezTo>
                  <a:cubicBezTo>
                    <a:pt x="97941" y="109894"/>
                    <a:pt x="97941" y="109894"/>
                    <a:pt x="97941" y="109894"/>
                  </a:cubicBezTo>
                  <a:cubicBezTo>
                    <a:pt x="97941" y="109894"/>
                    <a:pt x="98529" y="111157"/>
                    <a:pt x="98529" y="111473"/>
                  </a:cubicBezTo>
                  <a:cubicBezTo>
                    <a:pt x="98529" y="111473"/>
                    <a:pt x="98529" y="111789"/>
                    <a:pt x="98235" y="112105"/>
                  </a:cubicBezTo>
                  <a:cubicBezTo>
                    <a:pt x="98235" y="112736"/>
                    <a:pt x="98235" y="113052"/>
                    <a:pt x="98235" y="113052"/>
                  </a:cubicBezTo>
                  <a:cubicBezTo>
                    <a:pt x="97941" y="113368"/>
                    <a:pt x="97941" y="113684"/>
                    <a:pt x="97941" y="114000"/>
                  </a:cubicBezTo>
                  <a:cubicBezTo>
                    <a:pt x="97647" y="114000"/>
                    <a:pt x="96764" y="114631"/>
                    <a:pt x="96764" y="114631"/>
                  </a:cubicBezTo>
                  <a:cubicBezTo>
                    <a:pt x="95294" y="114315"/>
                    <a:pt x="95294" y="114315"/>
                    <a:pt x="95294" y="114315"/>
                  </a:cubicBezTo>
                  <a:cubicBezTo>
                    <a:pt x="95294" y="114315"/>
                    <a:pt x="94705" y="114631"/>
                    <a:pt x="94411" y="114947"/>
                  </a:cubicBezTo>
                  <a:cubicBezTo>
                    <a:pt x="93823" y="114947"/>
                    <a:pt x="92941" y="115894"/>
                    <a:pt x="92647" y="115894"/>
                  </a:cubicBezTo>
                  <a:cubicBezTo>
                    <a:pt x="92352" y="115894"/>
                    <a:pt x="91470" y="115894"/>
                    <a:pt x="90588" y="115894"/>
                  </a:cubicBezTo>
                  <a:cubicBezTo>
                    <a:pt x="89705" y="116210"/>
                    <a:pt x="87352" y="116842"/>
                    <a:pt x="87352" y="116842"/>
                  </a:cubicBezTo>
                  <a:cubicBezTo>
                    <a:pt x="87352" y="116842"/>
                    <a:pt x="87058" y="117157"/>
                    <a:pt x="86764" y="117473"/>
                  </a:cubicBezTo>
                  <a:cubicBezTo>
                    <a:pt x="86176" y="117473"/>
                    <a:pt x="85000" y="118105"/>
                    <a:pt x="84705" y="118105"/>
                  </a:cubicBezTo>
                  <a:cubicBezTo>
                    <a:pt x="84411" y="118421"/>
                    <a:pt x="83529" y="119052"/>
                    <a:pt x="83235" y="119052"/>
                  </a:cubicBezTo>
                  <a:cubicBezTo>
                    <a:pt x="82941" y="119052"/>
                    <a:pt x="82647" y="119368"/>
                    <a:pt x="81470" y="119368"/>
                  </a:cubicBezTo>
                  <a:cubicBezTo>
                    <a:pt x="80000" y="119684"/>
                    <a:pt x="79705" y="120000"/>
                    <a:pt x="79705" y="120000"/>
                  </a:cubicBezTo>
                  <a:cubicBezTo>
                    <a:pt x="78823" y="120000"/>
                    <a:pt x="78823" y="120000"/>
                    <a:pt x="78823" y="120000"/>
                  </a:cubicBezTo>
                  <a:cubicBezTo>
                    <a:pt x="78823" y="117789"/>
                    <a:pt x="78823" y="117789"/>
                    <a:pt x="78823" y="117789"/>
                  </a:cubicBezTo>
                  <a:cubicBezTo>
                    <a:pt x="78823" y="117789"/>
                    <a:pt x="78823" y="116842"/>
                    <a:pt x="77941" y="117157"/>
                  </a:cubicBezTo>
                  <a:cubicBezTo>
                    <a:pt x="77058" y="117473"/>
                    <a:pt x="78235" y="117157"/>
                    <a:pt x="76470" y="117473"/>
                  </a:cubicBezTo>
                  <a:cubicBezTo>
                    <a:pt x="75000" y="117789"/>
                    <a:pt x="74117" y="116842"/>
                    <a:pt x="74117" y="116842"/>
                  </a:cubicBezTo>
                  <a:cubicBezTo>
                    <a:pt x="74117" y="116842"/>
                    <a:pt x="72647" y="116842"/>
                    <a:pt x="72058" y="117157"/>
                  </a:cubicBezTo>
                  <a:cubicBezTo>
                    <a:pt x="71470" y="117157"/>
                    <a:pt x="70588" y="117157"/>
                    <a:pt x="70294" y="117157"/>
                  </a:cubicBezTo>
                  <a:cubicBezTo>
                    <a:pt x="70000" y="117473"/>
                    <a:pt x="70000" y="117157"/>
                    <a:pt x="69117" y="117473"/>
                  </a:cubicBezTo>
                  <a:cubicBezTo>
                    <a:pt x="68235" y="117473"/>
                    <a:pt x="67352" y="117789"/>
                    <a:pt x="67352" y="117789"/>
                  </a:cubicBezTo>
                  <a:cubicBezTo>
                    <a:pt x="66470" y="117157"/>
                    <a:pt x="66470" y="117157"/>
                    <a:pt x="66470" y="117157"/>
                  </a:cubicBezTo>
                  <a:cubicBezTo>
                    <a:pt x="66470" y="117157"/>
                    <a:pt x="65588" y="117157"/>
                    <a:pt x="65294" y="117473"/>
                  </a:cubicBezTo>
                  <a:cubicBezTo>
                    <a:pt x="64705" y="117789"/>
                    <a:pt x="65000" y="118105"/>
                    <a:pt x="64411" y="118105"/>
                  </a:cubicBezTo>
                  <a:cubicBezTo>
                    <a:pt x="63823" y="118105"/>
                    <a:pt x="64117" y="118421"/>
                    <a:pt x="63529" y="118105"/>
                  </a:cubicBezTo>
                  <a:cubicBezTo>
                    <a:pt x="62647" y="117789"/>
                    <a:pt x="62058" y="117473"/>
                    <a:pt x="62058" y="117473"/>
                  </a:cubicBezTo>
                  <a:cubicBezTo>
                    <a:pt x="61764" y="115578"/>
                    <a:pt x="61764" y="115578"/>
                    <a:pt x="61764" y="115578"/>
                  </a:cubicBezTo>
                  <a:cubicBezTo>
                    <a:pt x="61764" y="115578"/>
                    <a:pt x="61764" y="115578"/>
                    <a:pt x="61764" y="114631"/>
                  </a:cubicBezTo>
                  <a:cubicBezTo>
                    <a:pt x="61470" y="114000"/>
                    <a:pt x="61176" y="112736"/>
                    <a:pt x="61176" y="112736"/>
                  </a:cubicBezTo>
                  <a:cubicBezTo>
                    <a:pt x="61764" y="111789"/>
                    <a:pt x="61764" y="111789"/>
                    <a:pt x="61764" y="111789"/>
                  </a:cubicBezTo>
                  <a:cubicBezTo>
                    <a:pt x="61764" y="111789"/>
                    <a:pt x="62058" y="112421"/>
                    <a:pt x="62058" y="112736"/>
                  </a:cubicBezTo>
                  <a:cubicBezTo>
                    <a:pt x="62058" y="112736"/>
                    <a:pt x="62058" y="113684"/>
                    <a:pt x="62352" y="113684"/>
                  </a:cubicBezTo>
                  <a:cubicBezTo>
                    <a:pt x="62941" y="113684"/>
                    <a:pt x="63529" y="113684"/>
                    <a:pt x="63529" y="113684"/>
                  </a:cubicBezTo>
                  <a:close/>
                  <a:moveTo>
                    <a:pt x="50588" y="100736"/>
                  </a:moveTo>
                  <a:cubicBezTo>
                    <a:pt x="50588" y="100736"/>
                    <a:pt x="50588" y="100736"/>
                    <a:pt x="50588" y="100736"/>
                  </a:cubicBezTo>
                  <a:cubicBezTo>
                    <a:pt x="51470" y="100421"/>
                    <a:pt x="51470" y="100421"/>
                    <a:pt x="51470" y="100421"/>
                  </a:cubicBezTo>
                  <a:cubicBezTo>
                    <a:pt x="51764" y="101368"/>
                    <a:pt x="51764" y="101368"/>
                    <a:pt x="51764" y="101368"/>
                  </a:cubicBezTo>
                  <a:cubicBezTo>
                    <a:pt x="52647" y="101684"/>
                    <a:pt x="52647" y="101684"/>
                    <a:pt x="52647" y="101684"/>
                  </a:cubicBezTo>
                  <a:cubicBezTo>
                    <a:pt x="52647" y="101684"/>
                    <a:pt x="53823" y="102315"/>
                    <a:pt x="53823" y="102631"/>
                  </a:cubicBezTo>
                  <a:cubicBezTo>
                    <a:pt x="53823" y="102631"/>
                    <a:pt x="53235" y="103578"/>
                    <a:pt x="53235" y="103578"/>
                  </a:cubicBezTo>
                  <a:cubicBezTo>
                    <a:pt x="53235" y="103578"/>
                    <a:pt x="53235" y="104210"/>
                    <a:pt x="53235" y="104526"/>
                  </a:cubicBezTo>
                  <a:cubicBezTo>
                    <a:pt x="53235" y="104526"/>
                    <a:pt x="52647" y="104526"/>
                    <a:pt x="52352" y="104526"/>
                  </a:cubicBezTo>
                  <a:cubicBezTo>
                    <a:pt x="52058" y="104210"/>
                    <a:pt x="51176" y="103894"/>
                    <a:pt x="51176" y="103894"/>
                  </a:cubicBezTo>
                  <a:cubicBezTo>
                    <a:pt x="51176" y="102631"/>
                    <a:pt x="51176" y="102631"/>
                    <a:pt x="51176" y="102631"/>
                  </a:cubicBezTo>
                  <a:cubicBezTo>
                    <a:pt x="50294" y="101684"/>
                    <a:pt x="50294" y="101684"/>
                    <a:pt x="50294" y="101684"/>
                  </a:cubicBezTo>
                  <a:cubicBezTo>
                    <a:pt x="50588" y="100736"/>
                    <a:pt x="50588" y="100736"/>
                    <a:pt x="50588" y="100736"/>
                  </a:cubicBezTo>
                  <a:close/>
                  <a:moveTo>
                    <a:pt x="27058" y="73263"/>
                  </a:moveTo>
                  <a:cubicBezTo>
                    <a:pt x="27058" y="73263"/>
                    <a:pt x="27058" y="73263"/>
                    <a:pt x="27058" y="73263"/>
                  </a:cubicBezTo>
                  <a:cubicBezTo>
                    <a:pt x="27058" y="73263"/>
                    <a:pt x="26470" y="73263"/>
                    <a:pt x="26470" y="73263"/>
                  </a:cubicBezTo>
                  <a:cubicBezTo>
                    <a:pt x="26176" y="73263"/>
                    <a:pt x="25882" y="73263"/>
                    <a:pt x="25588" y="73263"/>
                  </a:cubicBezTo>
                  <a:cubicBezTo>
                    <a:pt x="25294" y="73263"/>
                    <a:pt x="25588" y="73894"/>
                    <a:pt x="25588" y="74210"/>
                  </a:cubicBezTo>
                  <a:cubicBezTo>
                    <a:pt x="25588" y="74210"/>
                    <a:pt x="25588" y="74842"/>
                    <a:pt x="25588" y="75157"/>
                  </a:cubicBezTo>
                  <a:cubicBezTo>
                    <a:pt x="25294" y="75473"/>
                    <a:pt x="25000" y="75789"/>
                    <a:pt x="25000" y="76105"/>
                  </a:cubicBezTo>
                  <a:cubicBezTo>
                    <a:pt x="25000" y="76105"/>
                    <a:pt x="25000" y="76736"/>
                    <a:pt x="25000" y="77052"/>
                  </a:cubicBezTo>
                  <a:cubicBezTo>
                    <a:pt x="24705" y="77052"/>
                    <a:pt x="24117" y="77684"/>
                    <a:pt x="23823" y="77684"/>
                  </a:cubicBezTo>
                  <a:cubicBezTo>
                    <a:pt x="23529" y="78000"/>
                    <a:pt x="22941" y="78315"/>
                    <a:pt x="22941" y="78315"/>
                  </a:cubicBezTo>
                  <a:cubicBezTo>
                    <a:pt x="23529" y="79894"/>
                    <a:pt x="23529" y="79894"/>
                    <a:pt x="23529" y="79894"/>
                  </a:cubicBezTo>
                  <a:cubicBezTo>
                    <a:pt x="23529" y="79894"/>
                    <a:pt x="24117" y="79578"/>
                    <a:pt x="24411" y="79894"/>
                  </a:cubicBezTo>
                  <a:cubicBezTo>
                    <a:pt x="24705" y="80210"/>
                    <a:pt x="25588" y="80842"/>
                    <a:pt x="25882" y="80842"/>
                  </a:cubicBezTo>
                  <a:cubicBezTo>
                    <a:pt x="25882" y="80842"/>
                    <a:pt x="26470" y="82736"/>
                    <a:pt x="26470" y="82736"/>
                  </a:cubicBezTo>
                  <a:cubicBezTo>
                    <a:pt x="26764" y="83052"/>
                    <a:pt x="27058" y="82736"/>
                    <a:pt x="27058" y="82736"/>
                  </a:cubicBezTo>
                  <a:cubicBezTo>
                    <a:pt x="27058" y="82736"/>
                    <a:pt x="27647" y="83052"/>
                    <a:pt x="27941" y="83368"/>
                  </a:cubicBezTo>
                  <a:cubicBezTo>
                    <a:pt x="28235" y="83368"/>
                    <a:pt x="28823" y="83684"/>
                    <a:pt x="29117" y="84000"/>
                  </a:cubicBezTo>
                  <a:cubicBezTo>
                    <a:pt x="29411" y="84000"/>
                    <a:pt x="30000" y="84947"/>
                    <a:pt x="30294" y="84947"/>
                  </a:cubicBezTo>
                  <a:cubicBezTo>
                    <a:pt x="30588" y="85263"/>
                    <a:pt x="31176" y="85894"/>
                    <a:pt x="31176" y="85894"/>
                  </a:cubicBezTo>
                  <a:cubicBezTo>
                    <a:pt x="31176" y="85894"/>
                    <a:pt x="31764" y="86842"/>
                    <a:pt x="32058" y="87473"/>
                  </a:cubicBezTo>
                  <a:cubicBezTo>
                    <a:pt x="32058" y="87789"/>
                    <a:pt x="32058" y="87789"/>
                    <a:pt x="31764" y="88105"/>
                  </a:cubicBezTo>
                  <a:cubicBezTo>
                    <a:pt x="31470" y="88421"/>
                    <a:pt x="31470" y="88736"/>
                    <a:pt x="31176" y="89368"/>
                  </a:cubicBezTo>
                  <a:cubicBezTo>
                    <a:pt x="30882" y="90000"/>
                    <a:pt x="31470" y="90631"/>
                    <a:pt x="31470" y="90631"/>
                  </a:cubicBezTo>
                  <a:cubicBezTo>
                    <a:pt x="31470" y="92210"/>
                    <a:pt x="31470" y="92210"/>
                    <a:pt x="31470" y="92210"/>
                  </a:cubicBezTo>
                  <a:cubicBezTo>
                    <a:pt x="31764" y="92842"/>
                    <a:pt x="31764" y="92842"/>
                    <a:pt x="31764" y="92842"/>
                  </a:cubicBezTo>
                  <a:cubicBezTo>
                    <a:pt x="31764" y="92842"/>
                    <a:pt x="32058" y="93157"/>
                    <a:pt x="32352" y="93157"/>
                  </a:cubicBezTo>
                  <a:cubicBezTo>
                    <a:pt x="32647" y="93473"/>
                    <a:pt x="32647" y="93473"/>
                    <a:pt x="32647" y="93473"/>
                  </a:cubicBezTo>
                  <a:cubicBezTo>
                    <a:pt x="32647" y="93473"/>
                    <a:pt x="33235" y="94105"/>
                    <a:pt x="33529" y="94421"/>
                  </a:cubicBezTo>
                  <a:cubicBezTo>
                    <a:pt x="33529" y="94736"/>
                    <a:pt x="33235" y="95052"/>
                    <a:pt x="33235" y="95368"/>
                  </a:cubicBezTo>
                  <a:cubicBezTo>
                    <a:pt x="33235" y="95684"/>
                    <a:pt x="33529" y="96947"/>
                    <a:pt x="33529" y="96947"/>
                  </a:cubicBezTo>
                  <a:cubicBezTo>
                    <a:pt x="33529" y="96947"/>
                    <a:pt x="34117" y="96631"/>
                    <a:pt x="34705" y="96315"/>
                  </a:cubicBezTo>
                  <a:cubicBezTo>
                    <a:pt x="35000" y="96315"/>
                    <a:pt x="35294" y="96631"/>
                    <a:pt x="35588" y="96631"/>
                  </a:cubicBezTo>
                  <a:cubicBezTo>
                    <a:pt x="35882" y="96947"/>
                    <a:pt x="35882" y="97263"/>
                    <a:pt x="35882" y="97263"/>
                  </a:cubicBezTo>
                  <a:cubicBezTo>
                    <a:pt x="35882" y="97263"/>
                    <a:pt x="36764" y="96631"/>
                    <a:pt x="36764" y="96315"/>
                  </a:cubicBezTo>
                  <a:cubicBezTo>
                    <a:pt x="36764" y="96315"/>
                    <a:pt x="36764" y="95684"/>
                    <a:pt x="36764" y="95684"/>
                  </a:cubicBezTo>
                  <a:cubicBezTo>
                    <a:pt x="36764" y="95684"/>
                    <a:pt x="36764" y="94421"/>
                    <a:pt x="36764" y="94105"/>
                  </a:cubicBezTo>
                  <a:cubicBezTo>
                    <a:pt x="36764" y="93789"/>
                    <a:pt x="36470" y="92842"/>
                    <a:pt x="36470" y="92526"/>
                  </a:cubicBezTo>
                  <a:cubicBezTo>
                    <a:pt x="36470" y="92526"/>
                    <a:pt x="36764" y="91894"/>
                    <a:pt x="36764" y="91894"/>
                  </a:cubicBezTo>
                  <a:cubicBezTo>
                    <a:pt x="36764" y="91894"/>
                    <a:pt x="37647" y="91578"/>
                    <a:pt x="37941" y="91578"/>
                  </a:cubicBezTo>
                  <a:cubicBezTo>
                    <a:pt x="38235" y="91578"/>
                    <a:pt x="38529" y="91894"/>
                    <a:pt x="38823" y="92210"/>
                  </a:cubicBezTo>
                  <a:cubicBezTo>
                    <a:pt x="38823" y="92526"/>
                    <a:pt x="38823" y="93789"/>
                    <a:pt x="38823" y="93789"/>
                  </a:cubicBezTo>
                  <a:cubicBezTo>
                    <a:pt x="40588" y="94105"/>
                    <a:pt x="40588" y="94105"/>
                    <a:pt x="40588" y="94105"/>
                  </a:cubicBezTo>
                  <a:cubicBezTo>
                    <a:pt x="40588" y="94105"/>
                    <a:pt x="41176" y="94421"/>
                    <a:pt x="41176" y="94421"/>
                  </a:cubicBezTo>
                  <a:cubicBezTo>
                    <a:pt x="41176" y="94736"/>
                    <a:pt x="41470" y="95368"/>
                    <a:pt x="41764" y="95684"/>
                  </a:cubicBezTo>
                  <a:cubicBezTo>
                    <a:pt x="42058" y="96000"/>
                    <a:pt x="42352" y="96315"/>
                    <a:pt x="42352" y="96315"/>
                  </a:cubicBezTo>
                  <a:cubicBezTo>
                    <a:pt x="42352" y="96315"/>
                    <a:pt x="42941" y="97894"/>
                    <a:pt x="43235" y="98210"/>
                  </a:cubicBezTo>
                  <a:cubicBezTo>
                    <a:pt x="43235" y="98526"/>
                    <a:pt x="43235" y="99157"/>
                    <a:pt x="43235" y="99789"/>
                  </a:cubicBezTo>
                  <a:cubicBezTo>
                    <a:pt x="43235" y="100421"/>
                    <a:pt x="43235" y="100421"/>
                    <a:pt x="43235" y="100421"/>
                  </a:cubicBezTo>
                  <a:cubicBezTo>
                    <a:pt x="43235" y="100421"/>
                    <a:pt x="44117" y="100736"/>
                    <a:pt x="44411" y="101052"/>
                  </a:cubicBezTo>
                  <a:cubicBezTo>
                    <a:pt x="45000" y="101368"/>
                    <a:pt x="44705" y="101052"/>
                    <a:pt x="45000" y="100736"/>
                  </a:cubicBezTo>
                  <a:cubicBezTo>
                    <a:pt x="45294" y="100421"/>
                    <a:pt x="45000" y="100105"/>
                    <a:pt x="45000" y="99789"/>
                  </a:cubicBezTo>
                  <a:cubicBezTo>
                    <a:pt x="45000" y="99473"/>
                    <a:pt x="45000" y="98842"/>
                    <a:pt x="44705" y="98210"/>
                  </a:cubicBezTo>
                  <a:cubicBezTo>
                    <a:pt x="44705" y="97894"/>
                    <a:pt x="44705" y="97578"/>
                    <a:pt x="44705" y="97578"/>
                  </a:cubicBezTo>
                  <a:cubicBezTo>
                    <a:pt x="44705" y="97578"/>
                    <a:pt x="45000" y="96947"/>
                    <a:pt x="45000" y="96631"/>
                  </a:cubicBezTo>
                  <a:cubicBezTo>
                    <a:pt x="45000" y="96631"/>
                    <a:pt x="45000" y="96000"/>
                    <a:pt x="45000" y="95684"/>
                  </a:cubicBezTo>
                  <a:cubicBezTo>
                    <a:pt x="45000" y="95368"/>
                    <a:pt x="45588" y="95052"/>
                    <a:pt x="45588" y="95052"/>
                  </a:cubicBezTo>
                  <a:cubicBezTo>
                    <a:pt x="45588" y="95052"/>
                    <a:pt x="45588" y="94736"/>
                    <a:pt x="45882" y="94105"/>
                  </a:cubicBezTo>
                  <a:cubicBezTo>
                    <a:pt x="46176" y="93789"/>
                    <a:pt x="45882" y="94105"/>
                    <a:pt x="46176" y="94105"/>
                  </a:cubicBezTo>
                  <a:cubicBezTo>
                    <a:pt x="46470" y="93789"/>
                    <a:pt x="46764" y="93789"/>
                    <a:pt x="47352" y="93789"/>
                  </a:cubicBezTo>
                  <a:cubicBezTo>
                    <a:pt x="47647" y="93789"/>
                    <a:pt x="47941" y="94105"/>
                    <a:pt x="47941" y="94105"/>
                  </a:cubicBezTo>
                  <a:cubicBezTo>
                    <a:pt x="48529" y="95052"/>
                    <a:pt x="48529" y="95052"/>
                    <a:pt x="48529" y="95052"/>
                  </a:cubicBezTo>
                  <a:cubicBezTo>
                    <a:pt x="48529" y="95052"/>
                    <a:pt x="48529" y="95052"/>
                    <a:pt x="48529" y="95368"/>
                  </a:cubicBezTo>
                  <a:cubicBezTo>
                    <a:pt x="48529" y="95684"/>
                    <a:pt x="49117" y="96315"/>
                    <a:pt x="49117" y="96315"/>
                  </a:cubicBezTo>
                  <a:cubicBezTo>
                    <a:pt x="50294" y="97263"/>
                    <a:pt x="50294" y="97263"/>
                    <a:pt x="50294" y="97263"/>
                  </a:cubicBezTo>
                  <a:cubicBezTo>
                    <a:pt x="50294" y="97263"/>
                    <a:pt x="50294" y="97578"/>
                    <a:pt x="50294" y="97578"/>
                  </a:cubicBezTo>
                  <a:cubicBezTo>
                    <a:pt x="50294" y="97894"/>
                    <a:pt x="50588" y="98526"/>
                    <a:pt x="50882" y="98842"/>
                  </a:cubicBezTo>
                  <a:cubicBezTo>
                    <a:pt x="51176" y="99473"/>
                    <a:pt x="50882" y="98526"/>
                    <a:pt x="51176" y="98526"/>
                  </a:cubicBezTo>
                  <a:cubicBezTo>
                    <a:pt x="51176" y="98210"/>
                    <a:pt x="51470" y="97894"/>
                    <a:pt x="51470" y="97894"/>
                  </a:cubicBezTo>
                  <a:cubicBezTo>
                    <a:pt x="52058" y="98842"/>
                    <a:pt x="52058" y="98842"/>
                    <a:pt x="52058" y="98842"/>
                  </a:cubicBezTo>
                  <a:cubicBezTo>
                    <a:pt x="52058" y="98842"/>
                    <a:pt x="53235" y="99157"/>
                    <a:pt x="53529" y="99157"/>
                  </a:cubicBezTo>
                  <a:cubicBezTo>
                    <a:pt x="53823" y="98842"/>
                    <a:pt x="54117" y="98526"/>
                    <a:pt x="54117" y="98526"/>
                  </a:cubicBezTo>
                  <a:cubicBezTo>
                    <a:pt x="53529" y="97894"/>
                    <a:pt x="53529" y="97894"/>
                    <a:pt x="53529" y="97894"/>
                  </a:cubicBezTo>
                  <a:cubicBezTo>
                    <a:pt x="52941" y="96947"/>
                    <a:pt x="52941" y="96947"/>
                    <a:pt x="52941" y="96947"/>
                  </a:cubicBezTo>
                  <a:cubicBezTo>
                    <a:pt x="52941" y="96947"/>
                    <a:pt x="52058" y="96000"/>
                    <a:pt x="51764" y="96000"/>
                  </a:cubicBezTo>
                  <a:cubicBezTo>
                    <a:pt x="51470" y="95684"/>
                    <a:pt x="51176" y="95368"/>
                    <a:pt x="51176" y="95052"/>
                  </a:cubicBezTo>
                  <a:cubicBezTo>
                    <a:pt x="50882" y="94736"/>
                    <a:pt x="50882" y="94105"/>
                    <a:pt x="50882" y="94105"/>
                  </a:cubicBezTo>
                  <a:cubicBezTo>
                    <a:pt x="51176" y="93789"/>
                    <a:pt x="51176" y="93157"/>
                    <a:pt x="51470" y="92526"/>
                  </a:cubicBezTo>
                  <a:cubicBezTo>
                    <a:pt x="51764" y="91894"/>
                    <a:pt x="51176" y="92526"/>
                    <a:pt x="51176" y="92526"/>
                  </a:cubicBezTo>
                  <a:cubicBezTo>
                    <a:pt x="51176" y="92526"/>
                    <a:pt x="50588" y="91578"/>
                    <a:pt x="50882" y="91263"/>
                  </a:cubicBezTo>
                  <a:cubicBezTo>
                    <a:pt x="50882" y="91263"/>
                    <a:pt x="49705" y="89368"/>
                    <a:pt x="49705" y="89368"/>
                  </a:cubicBezTo>
                  <a:cubicBezTo>
                    <a:pt x="49705" y="89368"/>
                    <a:pt x="49411" y="88736"/>
                    <a:pt x="49411" y="88736"/>
                  </a:cubicBezTo>
                  <a:cubicBezTo>
                    <a:pt x="49411" y="88736"/>
                    <a:pt x="48529" y="88105"/>
                    <a:pt x="48235" y="88105"/>
                  </a:cubicBezTo>
                  <a:cubicBezTo>
                    <a:pt x="47941" y="87789"/>
                    <a:pt x="47647" y="87473"/>
                    <a:pt x="47647" y="87473"/>
                  </a:cubicBezTo>
                  <a:cubicBezTo>
                    <a:pt x="47647" y="87157"/>
                    <a:pt x="47647" y="86526"/>
                    <a:pt x="47647" y="86210"/>
                  </a:cubicBezTo>
                  <a:cubicBezTo>
                    <a:pt x="47352" y="85894"/>
                    <a:pt x="47058" y="85263"/>
                    <a:pt x="46764" y="84947"/>
                  </a:cubicBezTo>
                  <a:cubicBezTo>
                    <a:pt x="46470" y="84631"/>
                    <a:pt x="46176" y="84000"/>
                    <a:pt x="45882" y="83368"/>
                  </a:cubicBezTo>
                  <a:cubicBezTo>
                    <a:pt x="45588" y="83052"/>
                    <a:pt x="45294" y="82421"/>
                    <a:pt x="45294" y="82421"/>
                  </a:cubicBezTo>
                  <a:cubicBezTo>
                    <a:pt x="45000" y="81157"/>
                    <a:pt x="45000" y="81157"/>
                    <a:pt x="45000" y="81157"/>
                  </a:cubicBezTo>
                  <a:cubicBezTo>
                    <a:pt x="45000" y="80526"/>
                    <a:pt x="45000" y="80526"/>
                    <a:pt x="45000" y="80526"/>
                  </a:cubicBezTo>
                  <a:cubicBezTo>
                    <a:pt x="45882" y="81157"/>
                    <a:pt x="45882" y="81157"/>
                    <a:pt x="45882" y="81157"/>
                  </a:cubicBezTo>
                  <a:cubicBezTo>
                    <a:pt x="45882" y="81157"/>
                    <a:pt x="46470" y="80842"/>
                    <a:pt x="46764" y="80842"/>
                  </a:cubicBezTo>
                  <a:cubicBezTo>
                    <a:pt x="47058" y="80842"/>
                    <a:pt x="47941" y="81157"/>
                    <a:pt x="47941" y="81157"/>
                  </a:cubicBezTo>
                  <a:cubicBezTo>
                    <a:pt x="47941" y="81157"/>
                    <a:pt x="48529" y="81473"/>
                    <a:pt x="48823" y="81473"/>
                  </a:cubicBezTo>
                  <a:cubicBezTo>
                    <a:pt x="48823" y="81473"/>
                    <a:pt x="49117" y="81789"/>
                    <a:pt x="49411" y="81473"/>
                  </a:cubicBezTo>
                  <a:cubicBezTo>
                    <a:pt x="49705" y="81473"/>
                    <a:pt x="50000" y="82105"/>
                    <a:pt x="50000" y="82421"/>
                  </a:cubicBezTo>
                  <a:cubicBezTo>
                    <a:pt x="50000" y="82736"/>
                    <a:pt x="49705" y="83052"/>
                    <a:pt x="49705" y="83052"/>
                  </a:cubicBezTo>
                  <a:cubicBezTo>
                    <a:pt x="49705" y="83368"/>
                    <a:pt x="49705" y="83684"/>
                    <a:pt x="49705" y="83684"/>
                  </a:cubicBezTo>
                  <a:cubicBezTo>
                    <a:pt x="49705" y="83684"/>
                    <a:pt x="50294" y="84000"/>
                    <a:pt x="50588" y="84000"/>
                  </a:cubicBezTo>
                  <a:cubicBezTo>
                    <a:pt x="50588" y="84315"/>
                    <a:pt x="50294" y="84631"/>
                    <a:pt x="50294" y="84631"/>
                  </a:cubicBezTo>
                  <a:cubicBezTo>
                    <a:pt x="50294" y="84631"/>
                    <a:pt x="50294" y="85263"/>
                    <a:pt x="50294" y="85578"/>
                  </a:cubicBezTo>
                  <a:cubicBezTo>
                    <a:pt x="50588" y="85578"/>
                    <a:pt x="50882" y="84947"/>
                    <a:pt x="50882" y="84947"/>
                  </a:cubicBezTo>
                  <a:cubicBezTo>
                    <a:pt x="50882" y="84947"/>
                    <a:pt x="51176" y="84315"/>
                    <a:pt x="51176" y="84000"/>
                  </a:cubicBezTo>
                  <a:cubicBezTo>
                    <a:pt x="51176" y="83684"/>
                    <a:pt x="51764" y="83368"/>
                    <a:pt x="51764" y="83368"/>
                  </a:cubicBezTo>
                  <a:cubicBezTo>
                    <a:pt x="52352" y="82105"/>
                    <a:pt x="52352" y="82105"/>
                    <a:pt x="52352" y="82105"/>
                  </a:cubicBezTo>
                  <a:cubicBezTo>
                    <a:pt x="52941" y="81473"/>
                    <a:pt x="52941" y="81473"/>
                    <a:pt x="52941" y="81473"/>
                  </a:cubicBezTo>
                  <a:cubicBezTo>
                    <a:pt x="52941" y="81473"/>
                    <a:pt x="54117" y="81157"/>
                    <a:pt x="54411" y="80842"/>
                  </a:cubicBezTo>
                  <a:cubicBezTo>
                    <a:pt x="54705" y="80526"/>
                    <a:pt x="54705" y="80842"/>
                    <a:pt x="54705" y="80526"/>
                  </a:cubicBezTo>
                  <a:cubicBezTo>
                    <a:pt x="55000" y="80526"/>
                    <a:pt x="55000" y="79894"/>
                    <a:pt x="55000" y="79894"/>
                  </a:cubicBezTo>
                  <a:cubicBezTo>
                    <a:pt x="54411" y="79263"/>
                    <a:pt x="54411" y="79263"/>
                    <a:pt x="54411" y="79263"/>
                  </a:cubicBezTo>
                  <a:cubicBezTo>
                    <a:pt x="53235" y="79578"/>
                    <a:pt x="53235" y="79578"/>
                    <a:pt x="53235" y="79578"/>
                  </a:cubicBezTo>
                  <a:cubicBezTo>
                    <a:pt x="52941" y="78947"/>
                    <a:pt x="52941" y="78947"/>
                    <a:pt x="52941" y="78947"/>
                  </a:cubicBezTo>
                  <a:cubicBezTo>
                    <a:pt x="52941" y="78947"/>
                    <a:pt x="52941" y="78947"/>
                    <a:pt x="53235" y="78947"/>
                  </a:cubicBezTo>
                  <a:cubicBezTo>
                    <a:pt x="53235" y="78947"/>
                    <a:pt x="53235" y="77684"/>
                    <a:pt x="53235" y="77684"/>
                  </a:cubicBezTo>
                  <a:cubicBezTo>
                    <a:pt x="53235" y="77684"/>
                    <a:pt x="52647" y="78000"/>
                    <a:pt x="52352" y="78000"/>
                  </a:cubicBezTo>
                  <a:cubicBezTo>
                    <a:pt x="52058" y="78000"/>
                    <a:pt x="52352" y="78947"/>
                    <a:pt x="52352" y="78947"/>
                  </a:cubicBezTo>
                  <a:cubicBezTo>
                    <a:pt x="52352" y="78947"/>
                    <a:pt x="50882" y="78631"/>
                    <a:pt x="50588" y="78631"/>
                  </a:cubicBezTo>
                  <a:cubicBezTo>
                    <a:pt x="50294" y="78315"/>
                    <a:pt x="50294" y="78000"/>
                    <a:pt x="50294" y="78000"/>
                  </a:cubicBezTo>
                  <a:cubicBezTo>
                    <a:pt x="50000" y="77684"/>
                    <a:pt x="50588" y="76736"/>
                    <a:pt x="50588" y="76736"/>
                  </a:cubicBezTo>
                  <a:cubicBezTo>
                    <a:pt x="50882" y="75473"/>
                    <a:pt x="50882" y="75473"/>
                    <a:pt x="50882" y="75473"/>
                  </a:cubicBezTo>
                  <a:cubicBezTo>
                    <a:pt x="50882" y="75473"/>
                    <a:pt x="49411" y="75157"/>
                    <a:pt x="49411" y="74842"/>
                  </a:cubicBezTo>
                  <a:cubicBezTo>
                    <a:pt x="49411" y="74526"/>
                    <a:pt x="47941" y="75473"/>
                    <a:pt x="47352" y="74842"/>
                  </a:cubicBezTo>
                  <a:cubicBezTo>
                    <a:pt x="47058" y="74210"/>
                    <a:pt x="47058" y="74210"/>
                    <a:pt x="47058" y="74210"/>
                  </a:cubicBezTo>
                  <a:cubicBezTo>
                    <a:pt x="46470" y="73578"/>
                    <a:pt x="46470" y="73578"/>
                    <a:pt x="46470" y="73578"/>
                  </a:cubicBezTo>
                  <a:cubicBezTo>
                    <a:pt x="45882" y="73578"/>
                    <a:pt x="45882" y="73578"/>
                    <a:pt x="45882" y="73578"/>
                  </a:cubicBezTo>
                  <a:cubicBezTo>
                    <a:pt x="45882" y="73578"/>
                    <a:pt x="45000" y="73894"/>
                    <a:pt x="44705" y="73894"/>
                  </a:cubicBezTo>
                  <a:cubicBezTo>
                    <a:pt x="44411" y="73894"/>
                    <a:pt x="44411" y="73263"/>
                    <a:pt x="44411" y="73263"/>
                  </a:cubicBezTo>
                  <a:cubicBezTo>
                    <a:pt x="42941" y="72631"/>
                    <a:pt x="42941" y="72631"/>
                    <a:pt x="42941" y="72631"/>
                  </a:cubicBezTo>
                  <a:cubicBezTo>
                    <a:pt x="41470" y="72315"/>
                    <a:pt x="41470" y="72315"/>
                    <a:pt x="41470" y="72315"/>
                  </a:cubicBezTo>
                  <a:cubicBezTo>
                    <a:pt x="41470" y="72315"/>
                    <a:pt x="39705" y="72000"/>
                    <a:pt x="39117" y="71684"/>
                  </a:cubicBezTo>
                  <a:cubicBezTo>
                    <a:pt x="38823" y="71684"/>
                    <a:pt x="37352" y="71368"/>
                    <a:pt x="36764" y="71368"/>
                  </a:cubicBezTo>
                  <a:cubicBezTo>
                    <a:pt x="36176" y="71368"/>
                    <a:pt x="35588" y="71368"/>
                    <a:pt x="35000" y="71052"/>
                  </a:cubicBezTo>
                  <a:cubicBezTo>
                    <a:pt x="34705" y="70736"/>
                    <a:pt x="33823" y="70421"/>
                    <a:pt x="33823" y="70421"/>
                  </a:cubicBezTo>
                  <a:cubicBezTo>
                    <a:pt x="33823" y="70421"/>
                    <a:pt x="32058" y="69789"/>
                    <a:pt x="32058" y="69789"/>
                  </a:cubicBezTo>
                  <a:cubicBezTo>
                    <a:pt x="31764" y="69789"/>
                    <a:pt x="31470" y="69789"/>
                    <a:pt x="31470" y="69789"/>
                  </a:cubicBezTo>
                  <a:cubicBezTo>
                    <a:pt x="31176" y="69789"/>
                    <a:pt x="30588" y="70736"/>
                    <a:pt x="30000" y="71052"/>
                  </a:cubicBezTo>
                  <a:cubicBezTo>
                    <a:pt x="29705" y="71052"/>
                    <a:pt x="29705" y="72000"/>
                    <a:pt x="29411" y="72315"/>
                  </a:cubicBezTo>
                  <a:cubicBezTo>
                    <a:pt x="29411" y="72947"/>
                    <a:pt x="29117" y="73263"/>
                    <a:pt x="28823" y="73263"/>
                  </a:cubicBezTo>
                  <a:cubicBezTo>
                    <a:pt x="28823" y="73578"/>
                    <a:pt x="27058" y="72947"/>
                    <a:pt x="27058" y="73263"/>
                  </a:cubicBezTo>
                  <a:close/>
                  <a:moveTo>
                    <a:pt x="17647" y="79578"/>
                  </a:moveTo>
                  <a:cubicBezTo>
                    <a:pt x="17647" y="79578"/>
                    <a:pt x="17647" y="79578"/>
                    <a:pt x="17647" y="79578"/>
                  </a:cubicBezTo>
                  <a:cubicBezTo>
                    <a:pt x="17647" y="79578"/>
                    <a:pt x="18235" y="79263"/>
                    <a:pt x="18235" y="79578"/>
                  </a:cubicBezTo>
                  <a:cubicBezTo>
                    <a:pt x="18235" y="79578"/>
                    <a:pt x="18529" y="79894"/>
                    <a:pt x="18529" y="80210"/>
                  </a:cubicBezTo>
                  <a:cubicBezTo>
                    <a:pt x="18823" y="80210"/>
                    <a:pt x="19411" y="80842"/>
                    <a:pt x="19705" y="80842"/>
                  </a:cubicBezTo>
                  <a:cubicBezTo>
                    <a:pt x="20000" y="80842"/>
                    <a:pt x="20882" y="80842"/>
                    <a:pt x="20882" y="80842"/>
                  </a:cubicBezTo>
                  <a:cubicBezTo>
                    <a:pt x="21764" y="81789"/>
                    <a:pt x="21764" y="81789"/>
                    <a:pt x="21764" y="81789"/>
                  </a:cubicBezTo>
                  <a:cubicBezTo>
                    <a:pt x="21764" y="81789"/>
                    <a:pt x="22647" y="82105"/>
                    <a:pt x="22647" y="82421"/>
                  </a:cubicBezTo>
                  <a:cubicBezTo>
                    <a:pt x="22647" y="82421"/>
                    <a:pt x="21176" y="83368"/>
                    <a:pt x="21176" y="83368"/>
                  </a:cubicBezTo>
                  <a:cubicBezTo>
                    <a:pt x="20882" y="83684"/>
                    <a:pt x="20882" y="83684"/>
                    <a:pt x="20882" y="83684"/>
                  </a:cubicBezTo>
                  <a:cubicBezTo>
                    <a:pt x="20882" y="83684"/>
                    <a:pt x="20882" y="84315"/>
                    <a:pt x="20294" y="84000"/>
                  </a:cubicBezTo>
                  <a:cubicBezTo>
                    <a:pt x="20000" y="84000"/>
                    <a:pt x="19705" y="84000"/>
                    <a:pt x="19411" y="83684"/>
                  </a:cubicBezTo>
                  <a:cubicBezTo>
                    <a:pt x="19411" y="83368"/>
                    <a:pt x="19411" y="83368"/>
                    <a:pt x="19117" y="83052"/>
                  </a:cubicBezTo>
                  <a:cubicBezTo>
                    <a:pt x="18529" y="82736"/>
                    <a:pt x="17352" y="81789"/>
                    <a:pt x="17352" y="81789"/>
                  </a:cubicBezTo>
                  <a:cubicBezTo>
                    <a:pt x="17352" y="80842"/>
                    <a:pt x="17352" y="80842"/>
                    <a:pt x="17352" y="80842"/>
                  </a:cubicBezTo>
                  <a:cubicBezTo>
                    <a:pt x="17352" y="80210"/>
                    <a:pt x="17352" y="80210"/>
                    <a:pt x="17352" y="80210"/>
                  </a:cubicBezTo>
                  <a:cubicBezTo>
                    <a:pt x="17647" y="79578"/>
                    <a:pt x="17647" y="79578"/>
                    <a:pt x="17647" y="79578"/>
                  </a:cubicBezTo>
                  <a:close/>
                  <a:moveTo>
                    <a:pt x="14117" y="73894"/>
                  </a:moveTo>
                  <a:cubicBezTo>
                    <a:pt x="14117" y="73894"/>
                    <a:pt x="14117" y="73894"/>
                    <a:pt x="14117" y="73894"/>
                  </a:cubicBezTo>
                  <a:cubicBezTo>
                    <a:pt x="13235" y="72631"/>
                    <a:pt x="13235" y="72631"/>
                    <a:pt x="13235" y="72631"/>
                  </a:cubicBezTo>
                  <a:cubicBezTo>
                    <a:pt x="12647" y="73894"/>
                    <a:pt x="12647" y="73894"/>
                    <a:pt x="12647" y="73894"/>
                  </a:cubicBezTo>
                  <a:cubicBezTo>
                    <a:pt x="12352" y="75157"/>
                    <a:pt x="12352" y="75157"/>
                    <a:pt x="12352" y="75157"/>
                  </a:cubicBezTo>
                  <a:cubicBezTo>
                    <a:pt x="13235" y="75789"/>
                    <a:pt x="13235" y="75789"/>
                    <a:pt x="13235" y="75789"/>
                  </a:cubicBezTo>
                  <a:cubicBezTo>
                    <a:pt x="13529" y="75789"/>
                    <a:pt x="13529" y="75789"/>
                    <a:pt x="13529" y="75789"/>
                  </a:cubicBezTo>
                  <a:cubicBezTo>
                    <a:pt x="14117" y="74842"/>
                    <a:pt x="14117" y="74842"/>
                    <a:pt x="14117" y="74842"/>
                  </a:cubicBezTo>
                  <a:cubicBezTo>
                    <a:pt x="14705" y="75789"/>
                    <a:pt x="14705" y="75789"/>
                    <a:pt x="14705" y="75789"/>
                  </a:cubicBezTo>
                  <a:cubicBezTo>
                    <a:pt x="15294" y="77052"/>
                    <a:pt x="15294" y="77052"/>
                    <a:pt x="15294" y="77052"/>
                  </a:cubicBezTo>
                  <a:cubicBezTo>
                    <a:pt x="15294" y="77052"/>
                    <a:pt x="15882" y="76421"/>
                    <a:pt x="16176" y="76105"/>
                  </a:cubicBezTo>
                  <a:cubicBezTo>
                    <a:pt x="16470" y="76105"/>
                    <a:pt x="17647" y="77052"/>
                    <a:pt x="17647" y="77052"/>
                  </a:cubicBezTo>
                  <a:cubicBezTo>
                    <a:pt x="17647" y="77052"/>
                    <a:pt x="18823" y="76421"/>
                    <a:pt x="19117" y="76421"/>
                  </a:cubicBezTo>
                  <a:cubicBezTo>
                    <a:pt x="19411" y="76421"/>
                    <a:pt x="18529" y="75473"/>
                    <a:pt x="18529" y="75473"/>
                  </a:cubicBezTo>
                  <a:cubicBezTo>
                    <a:pt x="17647" y="74526"/>
                    <a:pt x="17647" y="74526"/>
                    <a:pt x="17647" y="74526"/>
                  </a:cubicBezTo>
                  <a:cubicBezTo>
                    <a:pt x="17058" y="73894"/>
                    <a:pt x="17058" y="73894"/>
                    <a:pt x="17058" y="73894"/>
                  </a:cubicBezTo>
                  <a:cubicBezTo>
                    <a:pt x="15882" y="73263"/>
                    <a:pt x="15882" y="73263"/>
                    <a:pt x="15882" y="73263"/>
                  </a:cubicBezTo>
                  <a:cubicBezTo>
                    <a:pt x="15882" y="72947"/>
                    <a:pt x="15882" y="72947"/>
                    <a:pt x="15882" y="72947"/>
                  </a:cubicBezTo>
                  <a:cubicBezTo>
                    <a:pt x="16176" y="72315"/>
                    <a:pt x="16176" y="72315"/>
                    <a:pt x="16176" y="72315"/>
                  </a:cubicBezTo>
                  <a:cubicBezTo>
                    <a:pt x="16176" y="72315"/>
                    <a:pt x="16176" y="72947"/>
                    <a:pt x="16764" y="72631"/>
                  </a:cubicBezTo>
                  <a:cubicBezTo>
                    <a:pt x="17352" y="72631"/>
                    <a:pt x="17352" y="72631"/>
                    <a:pt x="17352" y="72315"/>
                  </a:cubicBezTo>
                  <a:cubicBezTo>
                    <a:pt x="17647" y="72315"/>
                    <a:pt x="17352" y="72000"/>
                    <a:pt x="17352" y="72000"/>
                  </a:cubicBezTo>
                  <a:cubicBezTo>
                    <a:pt x="16470" y="71368"/>
                    <a:pt x="16470" y="71368"/>
                    <a:pt x="16470" y="71368"/>
                  </a:cubicBezTo>
                  <a:cubicBezTo>
                    <a:pt x="16764" y="70421"/>
                    <a:pt x="16764" y="70421"/>
                    <a:pt x="16764" y="70421"/>
                  </a:cubicBezTo>
                  <a:cubicBezTo>
                    <a:pt x="15882" y="69789"/>
                    <a:pt x="15882" y="69789"/>
                    <a:pt x="15882" y="69789"/>
                  </a:cubicBezTo>
                  <a:cubicBezTo>
                    <a:pt x="15588" y="70736"/>
                    <a:pt x="15588" y="70736"/>
                    <a:pt x="15588" y="70736"/>
                  </a:cubicBezTo>
                  <a:cubicBezTo>
                    <a:pt x="14705" y="70421"/>
                    <a:pt x="14705" y="70421"/>
                    <a:pt x="14705" y="70421"/>
                  </a:cubicBezTo>
                  <a:cubicBezTo>
                    <a:pt x="14705" y="70421"/>
                    <a:pt x="14411" y="71052"/>
                    <a:pt x="14411" y="71052"/>
                  </a:cubicBezTo>
                  <a:cubicBezTo>
                    <a:pt x="14411" y="71368"/>
                    <a:pt x="14705" y="72315"/>
                    <a:pt x="14705" y="72315"/>
                  </a:cubicBezTo>
                  <a:cubicBezTo>
                    <a:pt x="14117" y="73894"/>
                    <a:pt x="14117" y="73894"/>
                    <a:pt x="14117" y="73894"/>
                  </a:cubicBezTo>
                  <a:close/>
                  <a:moveTo>
                    <a:pt x="3235" y="50842"/>
                  </a:moveTo>
                  <a:cubicBezTo>
                    <a:pt x="3235" y="50842"/>
                    <a:pt x="3235" y="50842"/>
                    <a:pt x="3235" y="50842"/>
                  </a:cubicBezTo>
                  <a:cubicBezTo>
                    <a:pt x="2647" y="50842"/>
                    <a:pt x="2647" y="50842"/>
                    <a:pt x="2647" y="50842"/>
                  </a:cubicBezTo>
                  <a:cubicBezTo>
                    <a:pt x="2647" y="50842"/>
                    <a:pt x="2647" y="51157"/>
                    <a:pt x="2941" y="51473"/>
                  </a:cubicBezTo>
                  <a:cubicBezTo>
                    <a:pt x="3235" y="51789"/>
                    <a:pt x="3823" y="53684"/>
                    <a:pt x="3823" y="53684"/>
                  </a:cubicBezTo>
                  <a:cubicBezTo>
                    <a:pt x="4411" y="54000"/>
                    <a:pt x="4411" y="54000"/>
                    <a:pt x="4411" y="54000"/>
                  </a:cubicBezTo>
                  <a:cubicBezTo>
                    <a:pt x="5588" y="54631"/>
                    <a:pt x="5588" y="54631"/>
                    <a:pt x="5588" y="54631"/>
                  </a:cubicBezTo>
                  <a:cubicBezTo>
                    <a:pt x="6470" y="55578"/>
                    <a:pt x="6470" y="55578"/>
                    <a:pt x="6470" y="55578"/>
                  </a:cubicBezTo>
                  <a:cubicBezTo>
                    <a:pt x="6470" y="55578"/>
                    <a:pt x="7058" y="56526"/>
                    <a:pt x="6176" y="56210"/>
                  </a:cubicBezTo>
                  <a:cubicBezTo>
                    <a:pt x="5294" y="55894"/>
                    <a:pt x="4411" y="55263"/>
                    <a:pt x="4117" y="54947"/>
                  </a:cubicBezTo>
                  <a:cubicBezTo>
                    <a:pt x="3529" y="54947"/>
                    <a:pt x="2941" y="54631"/>
                    <a:pt x="2941" y="54631"/>
                  </a:cubicBezTo>
                  <a:cubicBezTo>
                    <a:pt x="2941" y="54631"/>
                    <a:pt x="2647" y="53052"/>
                    <a:pt x="2647" y="52736"/>
                  </a:cubicBezTo>
                  <a:cubicBezTo>
                    <a:pt x="2352" y="52736"/>
                    <a:pt x="1764" y="52421"/>
                    <a:pt x="1764" y="52421"/>
                  </a:cubicBezTo>
                  <a:cubicBezTo>
                    <a:pt x="0" y="51473"/>
                    <a:pt x="0" y="51473"/>
                    <a:pt x="0" y="51473"/>
                  </a:cubicBezTo>
                  <a:cubicBezTo>
                    <a:pt x="0" y="51473"/>
                    <a:pt x="0" y="50210"/>
                    <a:pt x="294" y="49894"/>
                  </a:cubicBezTo>
                  <a:cubicBezTo>
                    <a:pt x="294" y="49894"/>
                    <a:pt x="294" y="49263"/>
                    <a:pt x="882" y="49263"/>
                  </a:cubicBezTo>
                  <a:cubicBezTo>
                    <a:pt x="1176" y="48947"/>
                    <a:pt x="2058" y="48947"/>
                    <a:pt x="2058" y="48947"/>
                  </a:cubicBezTo>
                  <a:cubicBezTo>
                    <a:pt x="2058" y="48947"/>
                    <a:pt x="2058" y="48000"/>
                    <a:pt x="2352" y="48315"/>
                  </a:cubicBezTo>
                  <a:cubicBezTo>
                    <a:pt x="2647" y="48631"/>
                    <a:pt x="3235" y="49578"/>
                    <a:pt x="3235" y="49578"/>
                  </a:cubicBezTo>
                  <a:lnTo>
                    <a:pt x="3235" y="5084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 cmpd="sng">
              <a:solidFill>
                <a:schemeClr val="tx1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defTabSz="457200"/>
              <a:endParaRPr kern="0">
                <a:solidFill>
                  <a:srgbClr val="7F7F7F"/>
                </a:solidFill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59" name="Shape 2057">
              <a:extLst>
                <a:ext uri="{FF2B5EF4-FFF2-40B4-BE49-F238E27FC236}">
                  <a16:creationId xmlns:a16="http://schemas.microsoft.com/office/drawing/2014/main" id="{0840D4D6-0916-11BC-BDC8-19D686C5547B}"/>
                </a:ext>
              </a:extLst>
            </p:cNvPr>
            <p:cNvSpPr/>
            <p:nvPr/>
          </p:nvSpPr>
          <p:spPr>
            <a:xfrm>
              <a:off x="4572753" y="745827"/>
              <a:ext cx="665423" cy="1178093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7570" y="20761"/>
                  </a:moveTo>
                  <a:cubicBezTo>
                    <a:pt x="6435" y="19723"/>
                    <a:pt x="6435" y="19723"/>
                    <a:pt x="6435" y="19723"/>
                  </a:cubicBezTo>
                  <a:cubicBezTo>
                    <a:pt x="4921" y="19307"/>
                    <a:pt x="4921" y="19307"/>
                    <a:pt x="4921" y="19307"/>
                  </a:cubicBezTo>
                  <a:cubicBezTo>
                    <a:pt x="3028" y="18892"/>
                    <a:pt x="3028" y="18892"/>
                    <a:pt x="3028" y="18892"/>
                  </a:cubicBezTo>
                  <a:cubicBezTo>
                    <a:pt x="3028" y="18062"/>
                    <a:pt x="3028" y="18062"/>
                    <a:pt x="3028" y="18062"/>
                  </a:cubicBezTo>
                  <a:cubicBezTo>
                    <a:pt x="378" y="17231"/>
                    <a:pt x="378" y="17231"/>
                    <a:pt x="378" y="17231"/>
                  </a:cubicBezTo>
                  <a:cubicBezTo>
                    <a:pt x="378" y="17231"/>
                    <a:pt x="0" y="16816"/>
                    <a:pt x="378" y="16816"/>
                  </a:cubicBezTo>
                  <a:cubicBezTo>
                    <a:pt x="757" y="16608"/>
                    <a:pt x="2271" y="16608"/>
                    <a:pt x="2649" y="16608"/>
                  </a:cubicBezTo>
                  <a:cubicBezTo>
                    <a:pt x="2649" y="16401"/>
                    <a:pt x="2649" y="16401"/>
                    <a:pt x="2649" y="16401"/>
                  </a:cubicBezTo>
                  <a:cubicBezTo>
                    <a:pt x="3028" y="16401"/>
                    <a:pt x="3028" y="16401"/>
                    <a:pt x="3028" y="16401"/>
                  </a:cubicBezTo>
                  <a:cubicBezTo>
                    <a:pt x="3406" y="16401"/>
                    <a:pt x="3406" y="16193"/>
                    <a:pt x="3406" y="16193"/>
                  </a:cubicBezTo>
                  <a:cubicBezTo>
                    <a:pt x="3406" y="16193"/>
                    <a:pt x="2271" y="14948"/>
                    <a:pt x="3028" y="14325"/>
                  </a:cubicBezTo>
                  <a:cubicBezTo>
                    <a:pt x="3028" y="14117"/>
                    <a:pt x="3028" y="14117"/>
                    <a:pt x="3028" y="14117"/>
                  </a:cubicBezTo>
                  <a:cubicBezTo>
                    <a:pt x="3028" y="14117"/>
                    <a:pt x="3028" y="14117"/>
                    <a:pt x="3028" y="14117"/>
                  </a:cubicBezTo>
                  <a:cubicBezTo>
                    <a:pt x="3785" y="13702"/>
                    <a:pt x="5299" y="13702"/>
                    <a:pt x="6056" y="14117"/>
                  </a:cubicBezTo>
                  <a:cubicBezTo>
                    <a:pt x="7570" y="14325"/>
                    <a:pt x="7570" y="14325"/>
                    <a:pt x="7570" y="14325"/>
                  </a:cubicBezTo>
                  <a:cubicBezTo>
                    <a:pt x="10220" y="15986"/>
                    <a:pt x="10220" y="15986"/>
                    <a:pt x="10220" y="15986"/>
                  </a:cubicBezTo>
                  <a:cubicBezTo>
                    <a:pt x="12492" y="17439"/>
                    <a:pt x="12492" y="17439"/>
                    <a:pt x="12492" y="17439"/>
                  </a:cubicBezTo>
                  <a:cubicBezTo>
                    <a:pt x="12492" y="17439"/>
                    <a:pt x="15899" y="18892"/>
                    <a:pt x="16656" y="19100"/>
                  </a:cubicBezTo>
                  <a:cubicBezTo>
                    <a:pt x="17413" y="19307"/>
                    <a:pt x="21577" y="19723"/>
                    <a:pt x="21955" y="19930"/>
                  </a:cubicBezTo>
                  <a:cubicBezTo>
                    <a:pt x="23091" y="19100"/>
                    <a:pt x="23091" y="19100"/>
                    <a:pt x="23091" y="19100"/>
                  </a:cubicBezTo>
                  <a:cubicBezTo>
                    <a:pt x="24605" y="18477"/>
                    <a:pt x="24605" y="18477"/>
                    <a:pt x="24605" y="18477"/>
                  </a:cubicBezTo>
                  <a:cubicBezTo>
                    <a:pt x="24227" y="18062"/>
                    <a:pt x="24227" y="18062"/>
                    <a:pt x="24227" y="18062"/>
                  </a:cubicBezTo>
                  <a:cubicBezTo>
                    <a:pt x="26119" y="17439"/>
                    <a:pt x="26119" y="17439"/>
                    <a:pt x="26119" y="17439"/>
                  </a:cubicBezTo>
                  <a:cubicBezTo>
                    <a:pt x="27634" y="18062"/>
                    <a:pt x="27634" y="18062"/>
                    <a:pt x="27634" y="18062"/>
                  </a:cubicBezTo>
                  <a:cubicBezTo>
                    <a:pt x="31419" y="18477"/>
                    <a:pt x="31419" y="18477"/>
                    <a:pt x="31419" y="18477"/>
                  </a:cubicBezTo>
                  <a:cubicBezTo>
                    <a:pt x="32933" y="19100"/>
                    <a:pt x="32933" y="19100"/>
                    <a:pt x="32933" y="19100"/>
                  </a:cubicBezTo>
                  <a:cubicBezTo>
                    <a:pt x="32933" y="19100"/>
                    <a:pt x="33312" y="19100"/>
                    <a:pt x="33690" y="18892"/>
                  </a:cubicBezTo>
                  <a:cubicBezTo>
                    <a:pt x="33690" y="18892"/>
                    <a:pt x="33690" y="18892"/>
                    <a:pt x="33690" y="18892"/>
                  </a:cubicBezTo>
                  <a:cubicBezTo>
                    <a:pt x="34069" y="18892"/>
                    <a:pt x="34069" y="18892"/>
                    <a:pt x="34447" y="18685"/>
                  </a:cubicBezTo>
                  <a:cubicBezTo>
                    <a:pt x="34447" y="18685"/>
                    <a:pt x="34447" y="18685"/>
                    <a:pt x="34447" y="18685"/>
                  </a:cubicBezTo>
                  <a:cubicBezTo>
                    <a:pt x="34447" y="18685"/>
                    <a:pt x="34447" y="18685"/>
                    <a:pt x="34447" y="18685"/>
                  </a:cubicBezTo>
                  <a:cubicBezTo>
                    <a:pt x="34447" y="18685"/>
                    <a:pt x="34447" y="18685"/>
                    <a:pt x="34447" y="18685"/>
                  </a:cubicBezTo>
                  <a:cubicBezTo>
                    <a:pt x="34447" y="18685"/>
                    <a:pt x="34447" y="18685"/>
                    <a:pt x="34447" y="18685"/>
                  </a:cubicBezTo>
                  <a:cubicBezTo>
                    <a:pt x="34447" y="18685"/>
                    <a:pt x="34447" y="18685"/>
                    <a:pt x="34447" y="18685"/>
                  </a:cubicBezTo>
                  <a:cubicBezTo>
                    <a:pt x="34447" y="18477"/>
                    <a:pt x="34447" y="18477"/>
                    <a:pt x="34447" y="18477"/>
                  </a:cubicBezTo>
                  <a:cubicBezTo>
                    <a:pt x="34447" y="18269"/>
                    <a:pt x="34447" y="17024"/>
                    <a:pt x="34447" y="17024"/>
                  </a:cubicBezTo>
                  <a:cubicBezTo>
                    <a:pt x="34447" y="17024"/>
                    <a:pt x="33312" y="16608"/>
                    <a:pt x="34447" y="16193"/>
                  </a:cubicBezTo>
                  <a:cubicBezTo>
                    <a:pt x="35583" y="15570"/>
                    <a:pt x="37097" y="14948"/>
                    <a:pt x="37097" y="14948"/>
                  </a:cubicBezTo>
                  <a:cubicBezTo>
                    <a:pt x="37097" y="14948"/>
                    <a:pt x="37854" y="14740"/>
                    <a:pt x="37854" y="14117"/>
                  </a:cubicBezTo>
                  <a:cubicBezTo>
                    <a:pt x="37854" y="13494"/>
                    <a:pt x="37097" y="11833"/>
                    <a:pt x="37097" y="11833"/>
                  </a:cubicBezTo>
                  <a:cubicBezTo>
                    <a:pt x="37097" y="11833"/>
                    <a:pt x="36340" y="10795"/>
                    <a:pt x="36340" y="10380"/>
                  </a:cubicBezTo>
                  <a:cubicBezTo>
                    <a:pt x="37097" y="7889"/>
                    <a:pt x="35205" y="6020"/>
                    <a:pt x="36340" y="5813"/>
                  </a:cubicBezTo>
                  <a:cubicBezTo>
                    <a:pt x="36340" y="5813"/>
                    <a:pt x="36340" y="5813"/>
                    <a:pt x="36340" y="5813"/>
                  </a:cubicBezTo>
                  <a:cubicBezTo>
                    <a:pt x="37097" y="5605"/>
                    <a:pt x="37097" y="5605"/>
                    <a:pt x="37097" y="5605"/>
                  </a:cubicBezTo>
                  <a:cubicBezTo>
                    <a:pt x="38233" y="5190"/>
                    <a:pt x="38233" y="5190"/>
                    <a:pt x="38233" y="5190"/>
                  </a:cubicBezTo>
                  <a:cubicBezTo>
                    <a:pt x="38233" y="5190"/>
                    <a:pt x="38233" y="4982"/>
                    <a:pt x="38233" y="4982"/>
                  </a:cubicBezTo>
                  <a:cubicBezTo>
                    <a:pt x="38233" y="3944"/>
                    <a:pt x="35962" y="2906"/>
                    <a:pt x="38611" y="2698"/>
                  </a:cubicBezTo>
                  <a:cubicBezTo>
                    <a:pt x="39747" y="2283"/>
                    <a:pt x="39747" y="2283"/>
                    <a:pt x="39747" y="2283"/>
                  </a:cubicBezTo>
                  <a:cubicBezTo>
                    <a:pt x="43154" y="2283"/>
                    <a:pt x="43154" y="2283"/>
                    <a:pt x="43154" y="2283"/>
                  </a:cubicBezTo>
                  <a:cubicBezTo>
                    <a:pt x="43911" y="1038"/>
                    <a:pt x="43911" y="1038"/>
                    <a:pt x="43911" y="1038"/>
                  </a:cubicBezTo>
                  <a:cubicBezTo>
                    <a:pt x="45425" y="207"/>
                    <a:pt x="45425" y="207"/>
                    <a:pt x="45425" y="207"/>
                  </a:cubicBezTo>
                  <a:cubicBezTo>
                    <a:pt x="46561" y="207"/>
                    <a:pt x="48075" y="0"/>
                    <a:pt x="48832" y="207"/>
                  </a:cubicBezTo>
                  <a:cubicBezTo>
                    <a:pt x="49589" y="830"/>
                    <a:pt x="49589" y="1245"/>
                    <a:pt x="51104" y="1453"/>
                  </a:cubicBezTo>
                  <a:cubicBezTo>
                    <a:pt x="55646" y="2283"/>
                    <a:pt x="55646" y="2283"/>
                    <a:pt x="55646" y="2283"/>
                  </a:cubicBezTo>
                  <a:cubicBezTo>
                    <a:pt x="58296" y="2491"/>
                    <a:pt x="58296" y="2491"/>
                    <a:pt x="58296" y="2491"/>
                  </a:cubicBezTo>
                  <a:cubicBezTo>
                    <a:pt x="59053" y="2906"/>
                    <a:pt x="59053" y="2906"/>
                    <a:pt x="59053" y="2906"/>
                  </a:cubicBezTo>
                  <a:cubicBezTo>
                    <a:pt x="59053" y="2906"/>
                    <a:pt x="59053" y="2906"/>
                    <a:pt x="59053" y="2906"/>
                  </a:cubicBezTo>
                  <a:cubicBezTo>
                    <a:pt x="59053" y="3321"/>
                    <a:pt x="59053" y="3737"/>
                    <a:pt x="59432" y="3944"/>
                  </a:cubicBezTo>
                  <a:cubicBezTo>
                    <a:pt x="59432" y="4359"/>
                    <a:pt x="59810" y="4982"/>
                    <a:pt x="59810" y="4982"/>
                  </a:cubicBezTo>
                  <a:cubicBezTo>
                    <a:pt x="59810" y="4982"/>
                    <a:pt x="59432" y="5605"/>
                    <a:pt x="59432" y="6020"/>
                  </a:cubicBezTo>
                  <a:cubicBezTo>
                    <a:pt x="59053" y="6228"/>
                    <a:pt x="59053" y="6851"/>
                    <a:pt x="59053" y="7058"/>
                  </a:cubicBezTo>
                  <a:cubicBezTo>
                    <a:pt x="59053" y="7266"/>
                    <a:pt x="59053" y="7474"/>
                    <a:pt x="59053" y="7681"/>
                  </a:cubicBezTo>
                  <a:cubicBezTo>
                    <a:pt x="59053" y="8096"/>
                    <a:pt x="59432" y="8719"/>
                    <a:pt x="59810" y="8927"/>
                  </a:cubicBezTo>
                  <a:cubicBezTo>
                    <a:pt x="59810" y="9134"/>
                    <a:pt x="61703" y="9757"/>
                    <a:pt x="61703" y="9757"/>
                  </a:cubicBezTo>
                  <a:cubicBezTo>
                    <a:pt x="61703" y="9757"/>
                    <a:pt x="61703" y="9965"/>
                    <a:pt x="59810" y="10795"/>
                  </a:cubicBezTo>
                  <a:cubicBezTo>
                    <a:pt x="58296" y="11833"/>
                    <a:pt x="58296" y="11833"/>
                    <a:pt x="58296" y="11833"/>
                  </a:cubicBezTo>
                  <a:cubicBezTo>
                    <a:pt x="60946" y="12249"/>
                    <a:pt x="60946" y="12249"/>
                    <a:pt x="60946" y="12249"/>
                  </a:cubicBezTo>
                  <a:cubicBezTo>
                    <a:pt x="60946" y="13287"/>
                    <a:pt x="60946" y="13287"/>
                    <a:pt x="60946" y="13287"/>
                  </a:cubicBezTo>
                  <a:cubicBezTo>
                    <a:pt x="60946" y="14117"/>
                    <a:pt x="60946" y="14117"/>
                    <a:pt x="60946" y="14117"/>
                  </a:cubicBezTo>
                  <a:cubicBezTo>
                    <a:pt x="60567" y="15363"/>
                    <a:pt x="60567" y="15363"/>
                    <a:pt x="60567" y="15363"/>
                  </a:cubicBezTo>
                  <a:cubicBezTo>
                    <a:pt x="59432" y="16193"/>
                    <a:pt x="59432" y="16193"/>
                    <a:pt x="59432" y="16193"/>
                  </a:cubicBezTo>
                  <a:cubicBezTo>
                    <a:pt x="60946" y="17439"/>
                    <a:pt x="60946" y="17439"/>
                    <a:pt x="60946" y="17439"/>
                  </a:cubicBezTo>
                  <a:cubicBezTo>
                    <a:pt x="62839" y="19100"/>
                    <a:pt x="62839" y="19100"/>
                    <a:pt x="62839" y="19100"/>
                  </a:cubicBezTo>
                  <a:cubicBezTo>
                    <a:pt x="65488" y="19930"/>
                    <a:pt x="65488" y="19930"/>
                    <a:pt x="65488" y="19930"/>
                  </a:cubicBezTo>
                  <a:cubicBezTo>
                    <a:pt x="65488" y="19930"/>
                    <a:pt x="65867" y="19723"/>
                    <a:pt x="68517" y="19930"/>
                  </a:cubicBezTo>
                  <a:cubicBezTo>
                    <a:pt x="71167" y="20346"/>
                    <a:pt x="71924" y="21591"/>
                    <a:pt x="71924" y="21591"/>
                  </a:cubicBezTo>
                  <a:cubicBezTo>
                    <a:pt x="73438" y="22629"/>
                    <a:pt x="73438" y="22629"/>
                    <a:pt x="73438" y="22629"/>
                  </a:cubicBezTo>
                  <a:cubicBezTo>
                    <a:pt x="75709" y="23460"/>
                    <a:pt x="75709" y="23460"/>
                    <a:pt x="75709" y="23460"/>
                  </a:cubicBezTo>
                  <a:cubicBezTo>
                    <a:pt x="76845" y="24083"/>
                    <a:pt x="76845" y="24083"/>
                    <a:pt x="76845" y="24083"/>
                  </a:cubicBezTo>
                  <a:cubicBezTo>
                    <a:pt x="76466" y="25951"/>
                    <a:pt x="76466" y="25951"/>
                    <a:pt x="76466" y="25951"/>
                  </a:cubicBezTo>
                  <a:cubicBezTo>
                    <a:pt x="76466" y="25951"/>
                    <a:pt x="75331" y="26989"/>
                    <a:pt x="75709" y="27820"/>
                  </a:cubicBezTo>
                  <a:cubicBezTo>
                    <a:pt x="75709" y="28858"/>
                    <a:pt x="74574" y="30311"/>
                    <a:pt x="74574" y="30726"/>
                  </a:cubicBezTo>
                  <a:cubicBezTo>
                    <a:pt x="74574" y="30934"/>
                    <a:pt x="73817" y="32595"/>
                    <a:pt x="73817" y="32595"/>
                  </a:cubicBezTo>
                  <a:cubicBezTo>
                    <a:pt x="74952" y="34048"/>
                    <a:pt x="74952" y="34048"/>
                    <a:pt x="74952" y="34048"/>
                  </a:cubicBezTo>
                  <a:cubicBezTo>
                    <a:pt x="76466" y="34878"/>
                    <a:pt x="76466" y="34878"/>
                    <a:pt x="76466" y="34878"/>
                  </a:cubicBezTo>
                  <a:cubicBezTo>
                    <a:pt x="78738" y="36332"/>
                    <a:pt x="78738" y="36332"/>
                    <a:pt x="78738" y="36332"/>
                  </a:cubicBezTo>
                  <a:cubicBezTo>
                    <a:pt x="81766" y="38200"/>
                    <a:pt x="81766" y="38200"/>
                    <a:pt x="81766" y="38200"/>
                  </a:cubicBezTo>
                  <a:cubicBezTo>
                    <a:pt x="82902" y="39653"/>
                    <a:pt x="82902" y="39653"/>
                    <a:pt x="82902" y="39653"/>
                  </a:cubicBezTo>
                  <a:cubicBezTo>
                    <a:pt x="82902" y="39653"/>
                    <a:pt x="85930" y="40692"/>
                    <a:pt x="85930" y="40899"/>
                  </a:cubicBezTo>
                  <a:cubicBezTo>
                    <a:pt x="85930" y="41107"/>
                    <a:pt x="87066" y="42145"/>
                    <a:pt x="87066" y="42145"/>
                  </a:cubicBezTo>
                  <a:cubicBezTo>
                    <a:pt x="88580" y="43598"/>
                    <a:pt x="88580" y="43598"/>
                    <a:pt x="88580" y="43598"/>
                  </a:cubicBezTo>
                  <a:cubicBezTo>
                    <a:pt x="88201" y="44636"/>
                    <a:pt x="88201" y="44636"/>
                    <a:pt x="88201" y="44636"/>
                  </a:cubicBezTo>
                  <a:cubicBezTo>
                    <a:pt x="87066" y="45674"/>
                    <a:pt x="87066" y="45674"/>
                    <a:pt x="87066" y="45674"/>
                  </a:cubicBezTo>
                  <a:cubicBezTo>
                    <a:pt x="87066" y="46297"/>
                    <a:pt x="87066" y="46297"/>
                    <a:pt x="87066" y="46297"/>
                  </a:cubicBezTo>
                  <a:cubicBezTo>
                    <a:pt x="88201" y="47128"/>
                    <a:pt x="88201" y="47128"/>
                    <a:pt x="88201" y="47128"/>
                  </a:cubicBezTo>
                  <a:cubicBezTo>
                    <a:pt x="87823" y="47958"/>
                    <a:pt x="87823" y="47958"/>
                    <a:pt x="87823" y="47958"/>
                  </a:cubicBezTo>
                  <a:cubicBezTo>
                    <a:pt x="88958" y="49204"/>
                    <a:pt x="88958" y="49204"/>
                    <a:pt x="88958" y="49204"/>
                  </a:cubicBezTo>
                  <a:cubicBezTo>
                    <a:pt x="88201" y="50034"/>
                    <a:pt x="88201" y="50034"/>
                    <a:pt x="88201" y="50034"/>
                  </a:cubicBezTo>
                  <a:cubicBezTo>
                    <a:pt x="90094" y="50449"/>
                    <a:pt x="90094" y="50449"/>
                    <a:pt x="90094" y="50449"/>
                  </a:cubicBezTo>
                  <a:cubicBezTo>
                    <a:pt x="90094" y="50449"/>
                    <a:pt x="90473" y="50657"/>
                    <a:pt x="90094" y="51072"/>
                  </a:cubicBezTo>
                  <a:cubicBezTo>
                    <a:pt x="89716" y="51280"/>
                    <a:pt x="89337" y="52733"/>
                    <a:pt x="89337" y="52733"/>
                  </a:cubicBezTo>
                  <a:cubicBezTo>
                    <a:pt x="91230" y="54394"/>
                    <a:pt x="91230" y="54394"/>
                    <a:pt x="91230" y="54394"/>
                  </a:cubicBezTo>
                  <a:cubicBezTo>
                    <a:pt x="93880" y="54602"/>
                    <a:pt x="93880" y="54602"/>
                    <a:pt x="93880" y="54602"/>
                  </a:cubicBezTo>
                  <a:cubicBezTo>
                    <a:pt x="93880" y="54602"/>
                    <a:pt x="95394" y="54602"/>
                    <a:pt x="95394" y="54809"/>
                  </a:cubicBezTo>
                  <a:cubicBezTo>
                    <a:pt x="95772" y="55017"/>
                    <a:pt x="96151" y="55640"/>
                    <a:pt x="96151" y="55640"/>
                  </a:cubicBezTo>
                  <a:cubicBezTo>
                    <a:pt x="95015" y="56885"/>
                    <a:pt x="95015" y="56885"/>
                    <a:pt x="95015" y="56885"/>
                  </a:cubicBezTo>
                  <a:cubicBezTo>
                    <a:pt x="95015" y="56885"/>
                    <a:pt x="95394" y="57508"/>
                    <a:pt x="96529" y="57923"/>
                  </a:cubicBezTo>
                  <a:cubicBezTo>
                    <a:pt x="97287" y="58131"/>
                    <a:pt x="98044" y="58131"/>
                    <a:pt x="98044" y="58546"/>
                  </a:cubicBezTo>
                  <a:cubicBezTo>
                    <a:pt x="98422" y="58961"/>
                    <a:pt x="98422" y="59584"/>
                    <a:pt x="98801" y="59377"/>
                  </a:cubicBezTo>
                  <a:cubicBezTo>
                    <a:pt x="99558" y="59377"/>
                    <a:pt x="101072" y="59584"/>
                    <a:pt x="101072" y="59584"/>
                  </a:cubicBezTo>
                  <a:cubicBezTo>
                    <a:pt x="102208" y="60622"/>
                    <a:pt x="102208" y="60622"/>
                    <a:pt x="102208" y="60622"/>
                  </a:cubicBezTo>
                  <a:cubicBezTo>
                    <a:pt x="102965" y="61453"/>
                    <a:pt x="102965" y="61453"/>
                    <a:pt x="102965" y="61453"/>
                  </a:cubicBezTo>
                  <a:cubicBezTo>
                    <a:pt x="102965" y="61453"/>
                    <a:pt x="102965" y="62076"/>
                    <a:pt x="102965" y="62283"/>
                  </a:cubicBezTo>
                  <a:cubicBezTo>
                    <a:pt x="102965" y="62698"/>
                    <a:pt x="102586" y="63944"/>
                    <a:pt x="102586" y="63944"/>
                  </a:cubicBezTo>
                  <a:cubicBezTo>
                    <a:pt x="100694" y="65605"/>
                    <a:pt x="100694" y="65605"/>
                    <a:pt x="100694" y="65605"/>
                  </a:cubicBezTo>
                  <a:cubicBezTo>
                    <a:pt x="100694" y="65605"/>
                    <a:pt x="102208" y="66643"/>
                    <a:pt x="103343" y="67058"/>
                  </a:cubicBezTo>
                  <a:cubicBezTo>
                    <a:pt x="104479" y="67474"/>
                    <a:pt x="105993" y="68096"/>
                    <a:pt x="106372" y="68096"/>
                  </a:cubicBezTo>
                  <a:cubicBezTo>
                    <a:pt x="106750" y="68096"/>
                    <a:pt x="108643" y="68304"/>
                    <a:pt x="109400" y="68512"/>
                  </a:cubicBezTo>
                  <a:cubicBezTo>
                    <a:pt x="109779" y="68512"/>
                    <a:pt x="111293" y="68927"/>
                    <a:pt x="111671" y="69134"/>
                  </a:cubicBezTo>
                  <a:cubicBezTo>
                    <a:pt x="112050" y="69342"/>
                    <a:pt x="114700" y="70173"/>
                    <a:pt x="114700" y="70173"/>
                  </a:cubicBezTo>
                  <a:cubicBezTo>
                    <a:pt x="116971" y="70795"/>
                    <a:pt x="116971" y="70795"/>
                    <a:pt x="116971" y="70795"/>
                  </a:cubicBezTo>
                  <a:cubicBezTo>
                    <a:pt x="119242" y="71833"/>
                    <a:pt x="119242" y="71833"/>
                    <a:pt x="119242" y="71833"/>
                  </a:cubicBezTo>
                  <a:cubicBezTo>
                    <a:pt x="120000" y="74325"/>
                    <a:pt x="120000" y="74325"/>
                    <a:pt x="120000" y="74325"/>
                  </a:cubicBezTo>
                  <a:cubicBezTo>
                    <a:pt x="120000" y="74325"/>
                    <a:pt x="119242" y="78062"/>
                    <a:pt x="118864" y="78477"/>
                  </a:cubicBezTo>
                  <a:cubicBezTo>
                    <a:pt x="118864" y="78892"/>
                    <a:pt x="117728" y="80761"/>
                    <a:pt x="117350" y="80968"/>
                  </a:cubicBezTo>
                  <a:cubicBezTo>
                    <a:pt x="116593" y="81176"/>
                    <a:pt x="115835" y="81384"/>
                    <a:pt x="115835" y="81799"/>
                  </a:cubicBezTo>
                  <a:cubicBezTo>
                    <a:pt x="115835" y="82214"/>
                    <a:pt x="114700" y="84498"/>
                    <a:pt x="114700" y="84498"/>
                  </a:cubicBezTo>
                  <a:cubicBezTo>
                    <a:pt x="114700" y="84498"/>
                    <a:pt x="113564" y="85951"/>
                    <a:pt x="113564" y="86366"/>
                  </a:cubicBezTo>
                  <a:cubicBezTo>
                    <a:pt x="113564" y="86782"/>
                    <a:pt x="112429" y="88027"/>
                    <a:pt x="112429" y="88442"/>
                  </a:cubicBezTo>
                  <a:cubicBezTo>
                    <a:pt x="112050" y="88650"/>
                    <a:pt x="111293" y="90311"/>
                    <a:pt x="111293" y="90311"/>
                  </a:cubicBezTo>
                  <a:cubicBezTo>
                    <a:pt x="106372" y="95709"/>
                    <a:pt x="106372" y="95709"/>
                    <a:pt x="106372" y="95709"/>
                  </a:cubicBezTo>
                  <a:cubicBezTo>
                    <a:pt x="105236" y="97785"/>
                    <a:pt x="105236" y="97785"/>
                    <a:pt x="105236" y="97785"/>
                  </a:cubicBezTo>
                  <a:cubicBezTo>
                    <a:pt x="105236" y="97785"/>
                    <a:pt x="104100" y="97993"/>
                    <a:pt x="103722" y="98408"/>
                  </a:cubicBezTo>
                  <a:cubicBezTo>
                    <a:pt x="103343" y="99031"/>
                    <a:pt x="102965" y="99446"/>
                    <a:pt x="102586" y="100069"/>
                  </a:cubicBezTo>
                  <a:cubicBezTo>
                    <a:pt x="102586" y="100484"/>
                    <a:pt x="100694" y="102352"/>
                    <a:pt x="100694" y="102352"/>
                  </a:cubicBezTo>
                  <a:cubicBezTo>
                    <a:pt x="99936" y="103391"/>
                    <a:pt x="99936" y="103391"/>
                    <a:pt x="99936" y="103391"/>
                  </a:cubicBezTo>
                  <a:cubicBezTo>
                    <a:pt x="98422" y="104429"/>
                    <a:pt x="98422" y="104429"/>
                    <a:pt x="98422" y="104429"/>
                  </a:cubicBezTo>
                  <a:cubicBezTo>
                    <a:pt x="98422" y="104429"/>
                    <a:pt x="97287" y="104844"/>
                    <a:pt x="97287" y="104844"/>
                  </a:cubicBezTo>
                  <a:cubicBezTo>
                    <a:pt x="97287" y="104844"/>
                    <a:pt x="96529" y="104844"/>
                    <a:pt x="96529" y="104844"/>
                  </a:cubicBezTo>
                  <a:cubicBezTo>
                    <a:pt x="94637" y="104844"/>
                    <a:pt x="94637" y="104844"/>
                    <a:pt x="94637" y="104844"/>
                  </a:cubicBezTo>
                  <a:cubicBezTo>
                    <a:pt x="93501" y="104429"/>
                    <a:pt x="93501" y="104429"/>
                    <a:pt x="93501" y="104429"/>
                  </a:cubicBezTo>
                  <a:cubicBezTo>
                    <a:pt x="93501" y="104429"/>
                    <a:pt x="92365" y="104844"/>
                    <a:pt x="92365" y="104844"/>
                  </a:cubicBezTo>
                  <a:cubicBezTo>
                    <a:pt x="92365" y="105051"/>
                    <a:pt x="91608" y="105259"/>
                    <a:pt x="91608" y="105467"/>
                  </a:cubicBezTo>
                  <a:cubicBezTo>
                    <a:pt x="91608" y="105467"/>
                    <a:pt x="91230" y="105882"/>
                    <a:pt x="90851" y="105882"/>
                  </a:cubicBezTo>
                  <a:cubicBezTo>
                    <a:pt x="90473" y="106089"/>
                    <a:pt x="90094" y="106297"/>
                    <a:pt x="89716" y="106297"/>
                  </a:cubicBezTo>
                  <a:cubicBezTo>
                    <a:pt x="89716" y="106505"/>
                    <a:pt x="88958" y="106505"/>
                    <a:pt x="88958" y="106505"/>
                  </a:cubicBezTo>
                  <a:cubicBezTo>
                    <a:pt x="88958" y="106505"/>
                    <a:pt x="88958" y="106712"/>
                    <a:pt x="88580" y="106920"/>
                  </a:cubicBezTo>
                  <a:cubicBezTo>
                    <a:pt x="88580" y="106920"/>
                    <a:pt x="87444" y="106920"/>
                    <a:pt x="87066" y="106712"/>
                  </a:cubicBezTo>
                  <a:cubicBezTo>
                    <a:pt x="86687" y="106505"/>
                    <a:pt x="85930" y="106297"/>
                    <a:pt x="86309" y="106297"/>
                  </a:cubicBezTo>
                  <a:cubicBezTo>
                    <a:pt x="86309" y="106505"/>
                    <a:pt x="85930" y="106920"/>
                    <a:pt x="85930" y="106920"/>
                  </a:cubicBezTo>
                  <a:cubicBezTo>
                    <a:pt x="85930" y="107128"/>
                    <a:pt x="85173" y="107750"/>
                    <a:pt x="84794" y="107750"/>
                  </a:cubicBezTo>
                  <a:cubicBezTo>
                    <a:pt x="84416" y="107750"/>
                    <a:pt x="83659" y="107543"/>
                    <a:pt x="83280" y="107335"/>
                  </a:cubicBezTo>
                  <a:cubicBezTo>
                    <a:pt x="82902" y="107335"/>
                    <a:pt x="82523" y="107335"/>
                    <a:pt x="82523" y="107335"/>
                  </a:cubicBezTo>
                  <a:cubicBezTo>
                    <a:pt x="82523" y="107543"/>
                    <a:pt x="82523" y="108166"/>
                    <a:pt x="82523" y="108373"/>
                  </a:cubicBezTo>
                  <a:cubicBezTo>
                    <a:pt x="82523" y="108373"/>
                    <a:pt x="82523" y="108581"/>
                    <a:pt x="82523" y="108788"/>
                  </a:cubicBezTo>
                  <a:cubicBezTo>
                    <a:pt x="82145" y="108788"/>
                    <a:pt x="81388" y="108996"/>
                    <a:pt x="81388" y="108996"/>
                  </a:cubicBezTo>
                  <a:cubicBezTo>
                    <a:pt x="81388" y="108996"/>
                    <a:pt x="81766" y="109411"/>
                    <a:pt x="81388" y="109411"/>
                  </a:cubicBezTo>
                  <a:cubicBezTo>
                    <a:pt x="81009" y="109619"/>
                    <a:pt x="80630" y="109826"/>
                    <a:pt x="80252" y="109826"/>
                  </a:cubicBezTo>
                  <a:cubicBezTo>
                    <a:pt x="80252" y="109619"/>
                    <a:pt x="79495" y="109411"/>
                    <a:pt x="79495" y="109411"/>
                  </a:cubicBezTo>
                  <a:cubicBezTo>
                    <a:pt x="79116" y="109619"/>
                    <a:pt x="78738" y="110034"/>
                    <a:pt x="78738" y="110034"/>
                  </a:cubicBezTo>
                  <a:cubicBezTo>
                    <a:pt x="78738" y="110242"/>
                    <a:pt x="78359" y="110449"/>
                    <a:pt x="78359" y="110449"/>
                  </a:cubicBezTo>
                  <a:cubicBezTo>
                    <a:pt x="78359" y="110449"/>
                    <a:pt x="75709" y="112110"/>
                    <a:pt x="75709" y="112110"/>
                  </a:cubicBezTo>
                  <a:cubicBezTo>
                    <a:pt x="75331" y="112110"/>
                    <a:pt x="74574" y="111487"/>
                    <a:pt x="74574" y="111487"/>
                  </a:cubicBezTo>
                  <a:cubicBezTo>
                    <a:pt x="74574" y="111695"/>
                    <a:pt x="74574" y="112110"/>
                    <a:pt x="74574" y="112110"/>
                  </a:cubicBezTo>
                  <a:cubicBezTo>
                    <a:pt x="74195" y="112318"/>
                    <a:pt x="73438" y="112525"/>
                    <a:pt x="73438" y="112525"/>
                  </a:cubicBezTo>
                  <a:cubicBezTo>
                    <a:pt x="73438" y="112733"/>
                    <a:pt x="73059" y="112525"/>
                    <a:pt x="72681" y="112525"/>
                  </a:cubicBezTo>
                  <a:cubicBezTo>
                    <a:pt x="72681" y="112733"/>
                    <a:pt x="72302" y="112733"/>
                    <a:pt x="72302" y="112941"/>
                  </a:cubicBezTo>
                  <a:cubicBezTo>
                    <a:pt x="72302" y="113148"/>
                    <a:pt x="71924" y="113356"/>
                    <a:pt x="71924" y="113356"/>
                  </a:cubicBezTo>
                  <a:cubicBezTo>
                    <a:pt x="71924" y="113356"/>
                    <a:pt x="71167" y="113564"/>
                    <a:pt x="71167" y="113771"/>
                  </a:cubicBezTo>
                  <a:cubicBezTo>
                    <a:pt x="70788" y="113979"/>
                    <a:pt x="70031" y="114186"/>
                    <a:pt x="70031" y="114186"/>
                  </a:cubicBezTo>
                  <a:cubicBezTo>
                    <a:pt x="70031" y="114186"/>
                    <a:pt x="69652" y="114394"/>
                    <a:pt x="69274" y="114186"/>
                  </a:cubicBezTo>
                  <a:cubicBezTo>
                    <a:pt x="68895" y="114186"/>
                    <a:pt x="68138" y="113564"/>
                    <a:pt x="68138" y="113564"/>
                  </a:cubicBezTo>
                  <a:cubicBezTo>
                    <a:pt x="68138" y="113564"/>
                    <a:pt x="67381" y="113564"/>
                    <a:pt x="67381" y="113771"/>
                  </a:cubicBezTo>
                  <a:cubicBezTo>
                    <a:pt x="67003" y="113979"/>
                    <a:pt x="67003" y="114186"/>
                    <a:pt x="66624" y="114186"/>
                  </a:cubicBezTo>
                  <a:cubicBezTo>
                    <a:pt x="66246" y="114394"/>
                    <a:pt x="65867" y="114394"/>
                    <a:pt x="65488" y="114394"/>
                  </a:cubicBezTo>
                  <a:cubicBezTo>
                    <a:pt x="65110" y="114602"/>
                    <a:pt x="64353" y="114602"/>
                    <a:pt x="64353" y="114809"/>
                  </a:cubicBezTo>
                  <a:cubicBezTo>
                    <a:pt x="63974" y="114809"/>
                    <a:pt x="63596" y="115224"/>
                    <a:pt x="63596" y="115432"/>
                  </a:cubicBezTo>
                  <a:cubicBezTo>
                    <a:pt x="63596" y="115640"/>
                    <a:pt x="64353" y="115640"/>
                    <a:pt x="63596" y="115640"/>
                  </a:cubicBezTo>
                  <a:cubicBezTo>
                    <a:pt x="62839" y="115847"/>
                    <a:pt x="61703" y="115847"/>
                    <a:pt x="61703" y="115847"/>
                  </a:cubicBezTo>
                  <a:cubicBezTo>
                    <a:pt x="61703" y="115847"/>
                    <a:pt x="60946" y="116055"/>
                    <a:pt x="60946" y="116262"/>
                  </a:cubicBezTo>
                  <a:cubicBezTo>
                    <a:pt x="60567" y="116470"/>
                    <a:pt x="60946" y="116470"/>
                    <a:pt x="60189" y="116678"/>
                  </a:cubicBezTo>
                  <a:cubicBezTo>
                    <a:pt x="59810" y="116678"/>
                    <a:pt x="59432" y="116885"/>
                    <a:pt x="59432" y="116885"/>
                  </a:cubicBezTo>
                  <a:cubicBezTo>
                    <a:pt x="58675" y="116470"/>
                    <a:pt x="58675" y="116470"/>
                    <a:pt x="58675" y="116470"/>
                  </a:cubicBezTo>
                  <a:cubicBezTo>
                    <a:pt x="59053" y="116055"/>
                    <a:pt x="59053" y="116055"/>
                    <a:pt x="59053" y="116055"/>
                  </a:cubicBezTo>
                  <a:cubicBezTo>
                    <a:pt x="59053" y="116055"/>
                    <a:pt x="58675" y="115640"/>
                    <a:pt x="58675" y="115847"/>
                  </a:cubicBezTo>
                  <a:cubicBezTo>
                    <a:pt x="58296" y="116262"/>
                    <a:pt x="58675" y="116470"/>
                    <a:pt x="58675" y="116470"/>
                  </a:cubicBezTo>
                  <a:cubicBezTo>
                    <a:pt x="58675" y="116470"/>
                    <a:pt x="58296" y="116470"/>
                    <a:pt x="58296" y="116678"/>
                  </a:cubicBezTo>
                  <a:cubicBezTo>
                    <a:pt x="57917" y="116885"/>
                    <a:pt x="58296" y="116885"/>
                    <a:pt x="57917" y="117093"/>
                  </a:cubicBezTo>
                  <a:cubicBezTo>
                    <a:pt x="57917" y="117301"/>
                    <a:pt x="57539" y="117508"/>
                    <a:pt x="57160" y="117508"/>
                  </a:cubicBezTo>
                  <a:cubicBezTo>
                    <a:pt x="57160" y="117716"/>
                    <a:pt x="56782" y="117716"/>
                    <a:pt x="56403" y="117716"/>
                  </a:cubicBezTo>
                  <a:cubicBezTo>
                    <a:pt x="56403" y="117716"/>
                    <a:pt x="55646" y="117716"/>
                    <a:pt x="55646" y="117716"/>
                  </a:cubicBezTo>
                  <a:cubicBezTo>
                    <a:pt x="55268" y="117716"/>
                    <a:pt x="54889" y="117508"/>
                    <a:pt x="55268" y="117508"/>
                  </a:cubicBezTo>
                  <a:cubicBezTo>
                    <a:pt x="55268" y="117508"/>
                    <a:pt x="56025" y="117301"/>
                    <a:pt x="56025" y="117301"/>
                  </a:cubicBezTo>
                  <a:cubicBezTo>
                    <a:pt x="56025" y="117301"/>
                    <a:pt x="56403" y="117093"/>
                    <a:pt x="56025" y="117093"/>
                  </a:cubicBezTo>
                  <a:cubicBezTo>
                    <a:pt x="55646" y="116885"/>
                    <a:pt x="55268" y="116678"/>
                    <a:pt x="55268" y="116678"/>
                  </a:cubicBezTo>
                  <a:cubicBezTo>
                    <a:pt x="55268" y="116678"/>
                    <a:pt x="55646" y="116885"/>
                    <a:pt x="54511" y="116885"/>
                  </a:cubicBezTo>
                  <a:cubicBezTo>
                    <a:pt x="53753" y="117093"/>
                    <a:pt x="53375" y="117093"/>
                    <a:pt x="53375" y="116885"/>
                  </a:cubicBezTo>
                  <a:cubicBezTo>
                    <a:pt x="53375" y="116885"/>
                    <a:pt x="52618" y="116885"/>
                    <a:pt x="52996" y="116678"/>
                  </a:cubicBezTo>
                  <a:cubicBezTo>
                    <a:pt x="53753" y="116470"/>
                    <a:pt x="53753" y="116262"/>
                    <a:pt x="54132" y="116262"/>
                  </a:cubicBezTo>
                  <a:cubicBezTo>
                    <a:pt x="54511" y="116262"/>
                    <a:pt x="54511" y="115847"/>
                    <a:pt x="54511" y="115640"/>
                  </a:cubicBezTo>
                  <a:cubicBezTo>
                    <a:pt x="54511" y="115640"/>
                    <a:pt x="55268" y="116055"/>
                    <a:pt x="54132" y="115640"/>
                  </a:cubicBezTo>
                  <a:cubicBezTo>
                    <a:pt x="53375" y="115017"/>
                    <a:pt x="53375" y="115017"/>
                    <a:pt x="53375" y="115017"/>
                  </a:cubicBezTo>
                  <a:cubicBezTo>
                    <a:pt x="53375" y="115017"/>
                    <a:pt x="52996" y="115224"/>
                    <a:pt x="52996" y="115432"/>
                  </a:cubicBezTo>
                  <a:cubicBezTo>
                    <a:pt x="53375" y="115640"/>
                    <a:pt x="54132" y="115847"/>
                    <a:pt x="52996" y="116055"/>
                  </a:cubicBezTo>
                  <a:cubicBezTo>
                    <a:pt x="51861" y="116055"/>
                    <a:pt x="51861" y="116055"/>
                    <a:pt x="51861" y="116055"/>
                  </a:cubicBezTo>
                  <a:cubicBezTo>
                    <a:pt x="51482" y="116262"/>
                    <a:pt x="50347" y="116262"/>
                    <a:pt x="50347" y="116262"/>
                  </a:cubicBezTo>
                  <a:cubicBezTo>
                    <a:pt x="50347" y="116262"/>
                    <a:pt x="49589" y="116262"/>
                    <a:pt x="49968" y="116470"/>
                  </a:cubicBezTo>
                  <a:cubicBezTo>
                    <a:pt x="49968" y="116678"/>
                    <a:pt x="50725" y="116885"/>
                    <a:pt x="50725" y="116885"/>
                  </a:cubicBezTo>
                  <a:cubicBezTo>
                    <a:pt x="50725" y="116885"/>
                    <a:pt x="50725" y="117093"/>
                    <a:pt x="49968" y="117093"/>
                  </a:cubicBezTo>
                  <a:cubicBezTo>
                    <a:pt x="49589" y="117301"/>
                    <a:pt x="48832" y="117301"/>
                    <a:pt x="48832" y="117301"/>
                  </a:cubicBezTo>
                  <a:cubicBezTo>
                    <a:pt x="48454" y="117508"/>
                    <a:pt x="48454" y="117508"/>
                    <a:pt x="48454" y="117508"/>
                  </a:cubicBezTo>
                  <a:cubicBezTo>
                    <a:pt x="48454" y="117508"/>
                    <a:pt x="48075" y="117508"/>
                    <a:pt x="48075" y="117301"/>
                  </a:cubicBezTo>
                  <a:cubicBezTo>
                    <a:pt x="48075" y="117301"/>
                    <a:pt x="48454" y="117093"/>
                    <a:pt x="48454" y="116885"/>
                  </a:cubicBezTo>
                  <a:cubicBezTo>
                    <a:pt x="48454" y="116678"/>
                    <a:pt x="48832" y="116885"/>
                    <a:pt x="48454" y="116678"/>
                  </a:cubicBezTo>
                  <a:cubicBezTo>
                    <a:pt x="48075" y="116262"/>
                    <a:pt x="47697" y="116262"/>
                    <a:pt x="47697" y="116055"/>
                  </a:cubicBezTo>
                  <a:cubicBezTo>
                    <a:pt x="48075" y="115847"/>
                    <a:pt x="48832" y="115640"/>
                    <a:pt x="48832" y="115640"/>
                  </a:cubicBezTo>
                  <a:cubicBezTo>
                    <a:pt x="48832" y="115432"/>
                    <a:pt x="48832" y="115224"/>
                    <a:pt x="48832" y="115224"/>
                  </a:cubicBezTo>
                  <a:cubicBezTo>
                    <a:pt x="48832" y="115224"/>
                    <a:pt x="48454" y="115224"/>
                    <a:pt x="48832" y="115017"/>
                  </a:cubicBezTo>
                  <a:cubicBezTo>
                    <a:pt x="49211" y="114602"/>
                    <a:pt x="49589" y="114394"/>
                    <a:pt x="49589" y="114394"/>
                  </a:cubicBezTo>
                  <a:cubicBezTo>
                    <a:pt x="49589" y="114186"/>
                    <a:pt x="49211" y="113979"/>
                    <a:pt x="48832" y="113979"/>
                  </a:cubicBezTo>
                  <a:cubicBezTo>
                    <a:pt x="48832" y="113979"/>
                    <a:pt x="48454" y="114394"/>
                    <a:pt x="48454" y="114602"/>
                  </a:cubicBezTo>
                  <a:cubicBezTo>
                    <a:pt x="48454" y="114602"/>
                    <a:pt x="48832" y="115017"/>
                    <a:pt x="47697" y="114809"/>
                  </a:cubicBezTo>
                  <a:cubicBezTo>
                    <a:pt x="46561" y="114809"/>
                    <a:pt x="45804" y="114809"/>
                    <a:pt x="45425" y="114602"/>
                  </a:cubicBezTo>
                  <a:cubicBezTo>
                    <a:pt x="45425" y="114394"/>
                    <a:pt x="44668" y="114186"/>
                    <a:pt x="45804" y="114186"/>
                  </a:cubicBezTo>
                  <a:cubicBezTo>
                    <a:pt x="46940" y="113979"/>
                    <a:pt x="46940" y="113979"/>
                    <a:pt x="46940" y="113979"/>
                  </a:cubicBezTo>
                  <a:cubicBezTo>
                    <a:pt x="47318" y="113771"/>
                    <a:pt x="47318" y="113564"/>
                    <a:pt x="47318" y="113356"/>
                  </a:cubicBezTo>
                  <a:cubicBezTo>
                    <a:pt x="46940" y="113356"/>
                    <a:pt x="46561" y="112941"/>
                    <a:pt x="46561" y="113148"/>
                  </a:cubicBezTo>
                  <a:cubicBezTo>
                    <a:pt x="46182" y="113564"/>
                    <a:pt x="46182" y="113771"/>
                    <a:pt x="46182" y="113771"/>
                  </a:cubicBezTo>
                  <a:cubicBezTo>
                    <a:pt x="46182" y="113771"/>
                    <a:pt x="44668" y="113771"/>
                    <a:pt x="44668" y="113771"/>
                  </a:cubicBezTo>
                  <a:cubicBezTo>
                    <a:pt x="44668" y="113771"/>
                    <a:pt x="44290" y="113564"/>
                    <a:pt x="44290" y="113356"/>
                  </a:cubicBezTo>
                  <a:cubicBezTo>
                    <a:pt x="44290" y="113356"/>
                    <a:pt x="44668" y="112525"/>
                    <a:pt x="44668" y="112525"/>
                  </a:cubicBezTo>
                  <a:cubicBezTo>
                    <a:pt x="44668" y="112525"/>
                    <a:pt x="45425" y="112318"/>
                    <a:pt x="45047" y="112318"/>
                  </a:cubicBezTo>
                  <a:cubicBezTo>
                    <a:pt x="45047" y="112318"/>
                    <a:pt x="44290" y="112110"/>
                    <a:pt x="44290" y="112318"/>
                  </a:cubicBezTo>
                  <a:cubicBezTo>
                    <a:pt x="43911" y="112318"/>
                    <a:pt x="44290" y="112525"/>
                    <a:pt x="44290" y="112733"/>
                  </a:cubicBezTo>
                  <a:cubicBezTo>
                    <a:pt x="44290" y="112941"/>
                    <a:pt x="44290" y="113148"/>
                    <a:pt x="43911" y="113148"/>
                  </a:cubicBezTo>
                  <a:cubicBezTo>
                    <a:pt x="43533" y="113356"/>
                    <a:pt x="42018" y="113356"/>
                    <a:pt x="42018" y="113356"/>
                  </a:cubicBezTo>
                  <a:cubicBezTo>
                    <a:pt x="42018" y="113148"/>
                    <a:pt x="41640" y="113148"/>
                    <a:pt x="42018" y="112941"/>
                  </a:cubicBezTo>
                  <a:cubicBezTo>
                    <a:pt x="42018" y="112733"/>
                    <a:pt x="42018" y="112525"/>
                    <a:pt x="42018" y="112525"/>
                  </a:cubicBezTo>
                  <a:cubicBezTo>
                    <a:pt x="42018" y="112525"/>
                    <a:pt x="41640" y="112110"/>
                    <a:pt x="41640" y="112318"/>
                  </a:cubicBezTo>
                  <a:cubicBezTo>
                    <a:pt x="41261" y="112318"/>
                    <a:pt x="40883" y="112318"/>
                    <a:pt x="40883" y="112318"/>
                  </a:cubicBezTo>
                  <a:cubicBezTo>
                    <a:pt x="40883" y="111903"/>
                    <a:pt x="40883" y="111903"/>
                    <a:pt x="40883" y="111903"/>
                  </a:cubicBezTo>
                  <a:cubicBezTo>
                    <a:pt x="40126" y="111903"/>
                    <a:pt x="40126" y="111903"/>
                    <a:pt x="40126" y="111903"/>
                  </a:cubicBezTo>
                  <a:cubicBezTo>
                    <a:pt x="39747" y="111903"/>
                    <a:pt x="39747" y="111903"/>
                    <a:pt x="39747" y="111903"/>
                  </a:cubicBezTo>
                  <a:cubicBezTo>
                    <a:pt x="39747" y="111903"/>
                    <a:pt x="39369" y="111695"/>
                    <a:pt x="39369" y="111695"/>
                  </a:cubicBezTo>
                  <a:cubicBezTo>
                    <a:pt x="38990" y="111695"/>
                    <a:pt x="38990" y="111695"/>
                    <a:pt x="38990" y="111903"/>
                  </a:cubicBezTo>
                  <a:cubicBezTo>
                    <a:pt x="38611" y="111903"/>
                    <a:pt x="37476" y="112110"/>
                    <a:pt x="37476" y="112110"/>
                  </a:cubicBezTo>
                  <a:cubicBezTo>
                    <a:pt x="37476" y="112110"/>
                    <a:pt x="37476" y="111695"/>
                    <a:pt x="37097" y="112110"/>
                  </a:cubicBezTo>
                  <a:cubicBezTo>
                    <a:pt x="37097" y="112318"/>
                    <a:pt x="35205" y="112318"/>
                    <a:pt x="35205" y="112318"/>
                  </a:cubicBezTo>
                  <a:cubicBezTo>
                    <a:pt x="35205" y="112318"/>
                    <a:pt x="34826" y="111903"/>
                    <a:pt x="34826" y="111695"/>
                  </a:cubicBezTo>
                  <a:cubicBezTo>
                    <a:pt x="34826" y="111695"/>
                    <a:pt x="35205" y="111072"/>
                    <a:pt x="35205" y="111072"/>
                  </a:cubicBezTo>
                  <a:cubicBezTo>
                    <a:pt x="35583" y="110865"/>
                    <a:pt x="35583" y="110865"/>
                    <a:pt x="35583" y="110865"/>
                  </a:cubicBezTo>
                  <a:cubicBezTo>
                    <a:pt x="35205" y="110657"/>
                    <a:pt x="35205" y="110657"/>
                    <a:pt x="35205" y="110657"/>
                  </a:cubicBezTo>
                  <a:cubicBezTo>
                    <a:pt x="35205" y="110657"/>
                    <a:pt x="34069" y="110657"/>
                    <a:pt x="34447" y="110657"/>
                  </a:cubicBezTo>
                  <a:cubicBezTo>
                    <a:pt x="34447" y="110449"/>
                    <a:pt x="35205" y="110034"/>
                    <a:pt x="35205" y="110034"/>
                  </a:cubicBezTo>
                  <a:cubicBezTo>
                    <a:pt x="35205" y="110034"/>
                    <a:pt x="35583" y="109826"/>
                    <a:pt x="35583" y="109826"/>
                  </a:cubicBezTo>
                  <a:cubicBezTo>
                    <a:pt x="35962" y="109619"/>
                    <a:pt x="36719" y="109619"/>
                    <a:pt x="36340" y="109411"/>
                  </a:cubicBezTo>
                  <a:cubicBezTo>
                    <a:pt x="35962" y="109411"/>
                    <a:pt x="35583" y="109204"/>
                    <a:pt x="35583" y="109204"/>
                  </a:cubicBezTo>
                  <a:cubicBezTo>
                    <a:pt x="35583" y="109204"/>
                    <a:pt x="35205" y="109204"/>
                    <a:pt x="35205" y="108996"/>
                  </a:cubicBezTo>
                  <a:cubicBezTo>
                    <a:pt x="35205" y="108996"/>
                    <a:pt x="35583" y="108581"/>
                    <a:pt x="35583" y="108373"/>
                  </a:cubicBezTo>
                  <a:cubicBezTo>
                    <a:pt x="35583" y="108166"/>
                    <a:pt x="35205" y="107958"/>
                    <a:pt x="35205" y="107958"/>
                  </a:cubicBezTo>
                  <a:cubicBezTo>
                    <a:pt x="34826" y="107958"/>
                    <a:pt x="35205" y="108166"/>
                    <a:pt x="34447" y="108166"/>
                  </a:cubicBezTo>
                  <a:cubicBezTo>
                    <a:pt x="34069" y="108373"/>
                    <a:pt x="32933" y="108788"/>
                    <a:pt x="32933" y="108788"/>
                  </a:cubicBezTo>
                  <a:cubicBezTo>
                    <a:pt x="32933" y="108581"/>
                    <a:pt x="32933" y="108373"/>
                    <a:pt x="32933" y="108166"/>
                  </a:cubicBezTo>
                  <a:cubicBezTo>
                    <a:pt x="33312" y="107958"/>
                    <a:pt x="34447" y="107958"/>
                    <a:pt x="34826" y="107750"/>
                  </a:cubicBezTo>
                  <a:cubicBezTo>
                    <a:pt x="34826" y="107543"/>
                    <a:pt x="34069" y="106920"/>
                    <a:pt x="34069" y="106920"/>
                  </a:cubicBezTo>
                  <a:cubicBezTo>
                    <a:pt x="34069" y="106920"/>
                    <a:pt x="34826" y="107128"/>
                    <a:pt x="34447" y="106712"/>
                  </a:cubicBezTo>
                  <a:cubicBezTo>
                    <a:pt x="33690" y="106505"/>
                    <a:pt x="33690" y="106505"/>
                    <a:pt x="33690" y="106505"/>
                  </a:cubicBezTo>
                  <a:cubicBezTo>
                    <a:pt x="33690" y="106297"/>
                    <a:pt x="33690" y="106089"/>
                    <a:pt x="34069" y="105882"/>
                  </a:cubicBezTo>
                  <a:cubicBezTo>
                    <a:pt x="34447" y="105467"/>
                    <a:pt x="34826" y="105467"/>
                    <a:pt x="34826" y="105259"/>
                  </a:cubicBezTo>
                  <a:cubicBezTo>
                    <a:pt x="34826" y="105259"/>
                    <a:pt x="33690" y="105051"/>
                    <a:pt x="33690" y="104844"/>
                  </a:cubicBezTo>
                  <a:cubicBezTo>
                    <a:pt x="33690" y="104636"/>
                    <a:pt x="32933" y="104636"/>
                    <a:pt x="33690" y="104221"/>
                  </a:cubicBezTo>
                  <a:cubicBezTo>
                    <a:pt x="34069" y="104013"/>
                    <a:pt x="34447" y="104013"/>
                    <a:pt x="34447" y="104013"/>
                  </a:cubicBezTo>
                  <a:cubicBezTo>
                    <a:pt x="34447" y="104013"/>
                    <a:pt x="34447" y="103391"/>
                    <a:pt x="34447" y="103183"/>
                  </a:cubicBezTo>
                  <a:cubicBezTo>
                    <a:pt x="34447" y="102975"/>
                    <a:pt x="34826" y="102975"/>
                    <a:pt x="34826" y="102768"/>
                  </a:cubicBezTo>
                  <a:cubicBezTo>
                    <a:pt x="34447" y="102560"/>
                    <a:pt x="34069" y="102560"/>
                    <a:pt x="33690" y="102145"/>
                  </a:cubicBezTo>
                  <a:cubicBezTo>
                    <a:pt x="33690" y="101937"/>
                    <a:pt x="33690" y="101937"/>
                    <a:pt x="33690" y="101730"/>
                  </a:cubicBezTo>
                  <a:cubicBezTo>
                    <a:pt x="34069" y="101730"/>
                    <a:pt x="34447" y="101522"/>
                    <a:pt x="34069" y="101522"/>
                  </a:cubicBezTo>
                  <a:cubicBezTo>
                    <a:pt x="34069" y="101314"/>
                    <a:pt x="34069" y="101107"/>
                    <a:pt x="34069" y="101107"/>
                  </a:cubicBezTo>
                  <a:cubicBezTo>
                    <a:pt x="34069" y="101107"/>
                    <a:pt x="34069" y="101107"/>
                    <a:pt x="33690" y="100692"/>
                  </a:cubicBezTo>
                  <a:cubicBezTo>
                    <a:pt x="33312" y="100484"/>
                    <a:pt x="33312" y="100069"/>
                    <a:pt x="33312" y="99861"/>
                  </a:cubicBezTo>
                  <a:cubicBezTo>
                    <a:pt x="33312" y="99653"/>
                    <a:pt x="33690" y="98823"/>
                    <a:pt x="33690" y="98823"/>
                  </a:cubicBezTo>
                  <a:cubicBezTo>
                    <a:pt x="33690" y="98823"/>
                    <a:pt x="33690" y="98200"/>
                    <a:pt x="32933" y="97993"/>
                  </a:cubicBezTo>
                  <a:cubicBezTo>
                    <a:pt x="32555" y="97577"/>
                    <a:pt x="31798" y="97370"/>
                    <a:pt x="31798" y="97370"/>
                  </a:cubicBezTo>
                  <a:cubicBezTo>
                    <a:pt x="31798" y="97370"/>
                    <a:pt x="31798" y="96955"/>
                    <a:pt x="31798" y="96747"/>
                  </a:cubicBezTo>
                  <a:cubicBezTo>
                    <a:pt x="31798" y="96747"/>
                    <a:pt x="31041" y="96539"/>
                    <a:pt x="31041" y="96332"/>
                  </a:cubicBezTo>
                  <a:cubicBezTo>
                    <a:pt x="31041" y="96124"/>
                    <a:pt x="30662" y="95709"/>
                    <a:pt x="30662" y="95709"/>
                  </a:cubicBezTo>
                  <a:cubicBezTo>
                    <a:pt x="30662" y="95709"/>
                    <a:pt x="30283" y="95709"/>
                    <a:pt x="30662" y="95294"/>
                  </a:cubicBezTo>
                  <a:cubicBezTo>
                    <a:pt x="30662" y="94671"/>
                    <a:pt x="30662" y="94463"/>
                    <a:pt x="30662" y="94256"/>
                  </a:cubicBezTo>
                  <a:cubicBezTo>
                    <a:pt x="30283" y="94048"/>
                    <a:pt x="29905" y="93633"/>
                    <a:pt x="29905" y="93425"/>
                  </a:cubicBezTo>
                  <a:cubicBezTo>
                    <a:pt x="29905" y="93217"/>
                    <a:pt x="29905" y="92802"/>
                    <a:pt x="29905" y="92802"/>
                  </a:cubicBezTo>
                  <a:cubicBezTo>
                    <a:pt x="29905" y="92802"/>
                    <a:pt x="29905" y="92595"/>
                    <a:pt x="29526" y="92387"/>
                  </a:cubicBezTo>
                  <a:cubicBezTo>
                    <a:pt x="29148" y="92179"/>
                    <a:pt x="28012" y="91141"/>
                    <a:pt x="28012" y="91141"/>
                  </a:cubicBezTo>
                  <a:cubicBezTo>
                    <a:pt x="28012" y="91141"/>
                    <a:pt x="27634" y="91141"/>
                    <a:pt x="27634" y="90726"/>
                  </a:cubicBezTo>
                  <a:cubicBezTo>
                    <a:pt x="27255" y="90311"/>
                    <a:pt x="27255" y="89896"/>
                    <a:pt x="27255" y="89896"/>
                  </a:cubicBezTo>
                  <a:cubicBezTo>
                    <a:pt x="27255" y="89896"/>
                    <a:pt x="27255" y="89273"/>
                    <a:pt x="27255" y="89273"/>
                  </a:cubicBezTo>
                  <a:cubicBezTo>
                    <a:pt x="26119" y="88650"/>
                    <a:pt x="26119" y="88650"/>
                    <a:pt x="26119" y="88650"/>
                  </a:cubicBezTo>
                  <a:cubicBezTo>
                    <a:pt x="26498" y="87820"/>
                    <a:pt x="26498" y="87820"/>
                    <a:pt x="26498" y="87820"/>
                  </a:cubicBezTo>
                  <a:cubicBezTo>
                    <a:pt x="26498" y="86989"/>
                    <a:pt x="26498" y="86989"/>
                    <a:pt x="26498" y="86989"/>
                  </a:cubicBezTo>
                  <a:cubicBezTo>
                    <a:pt x="26498" y="86989"/>
                    <a:pt x="26498" y="85951"/>
                    <a:pt x="26876" y="85951"/>
                  </a:cubicBezTo>
                  <a:cubicBezTo>
                    <a:pt x="27255" y="85951"/>
                    <a:pt x="28012" y="85328"/>
                    <a:pt x="28012" y="85328"/>
                  </a:cubicBezTo>
                  <a:cubicBezTo>
                    <a:pt x="28012" y="85328"/>
                    <a:pt x="28769" y="84705"/>
                    <a:pt x="28391" y="84498"/>
                  </a:cubicBezTo>
                  <a:cubicBezTo>
                    <a:pt x="28391" y="84290"/>
                    <a:pt x="28012" y="83460"/>
                    <a:pt x="28012" y="83460"/>
                  </a:cubicBezTo>
                  <a:cubicBezTo>
                    <a:pt x="28012" y="83460"/>
                    <a:pt x="28769" y="82837"/>
                    <a:pt x="28391" y="82837"/>
                  </a:cubicBezTo>
                  <a:cubicBezTo>
                    <a:pt x="28391" y="82629"/>
                    <a:pt x="27634" y="81799"/>
                    <a:pt x="27634" y="81799"/>
                  </a:cubicBezTo>
                  <a:cubicBezTo>
                    <a:pt x="26498" y="82422"/>
                    <a:pt x="26498" y="82422"/>
                    <a:pt x="26498" y="82422"/>
                  </a:cubicBezTo>
                  <a:cubicBezTo>
                    <a:pt x="25741" y="82214"/>
                    <a:pt x="25741" y="82214"/>
                    <a:pt x="25741" y="82214"/>
                  </a:cubicBezTo>
                  <a:cubicBezTo>
                    <a:pt x="26119" y="81384"/>
                    <a:pt x="26119" y="81384"/>
                    <a:pt x="26119" y="81384"/>
                  </a:cubicBezTo>
                  <a:cubicBezTo>
                    <a:pt x="26119" y="81384"/>
                    <a:pt x="25362" y="80968"/>
                    <a:pt x="25362" y="80761"/>
                  </a:cubicBezTo>
                  <a:cubicBezTo>
                    <a:pt x="25362" y="80553"/>
                    <a:pt x="26119" y="80138"/>
                    <a:pt x="26119" y="80138"/>
                  </a:cubicBezTo>
                  <a:cubicBezTo>
                    <a:pt x="26119" y="80138"/>
                    <a:pt x="26876" y="80968"/>
                    <a:pt x="26876" y="81176"/>
                  </a:cubicBezTo>
                  <a:cubicBezTo>
                    <a:pt x="26876" y="81384"/>
                    <a:pt x="27634" y="81591"/>
                    <a:pt x="27634" y="81591"/>
                  </a:cubicBezTo>
                  <a:cubicBezTo>
                    <a:pt x="28012" y="81384"/>
                    <a:pt x="28012" y="80968"/>
                    <a:pt x="28391" y="80968"/>
                  </a:cubicBezTo>
                  <a:cubicBezTo>
                    <a:pt x="28769" y="80968"/>
                    <a:pt x="29148" y="81176"/>
                    <a:pt x="29148" y="81384"/>
                  </a:cubicBezTo>
                  <a:cubicBezTo>
                    <a:pt x="29148" y="81384"/>
                    <a:pt x="30662" y="81176"/>
                    <a:pt x="30662" y="81176"/>
                  </a:cubicBezTo>
                  <a:cubicBezTo>
                    <a:pt x="30662" y="81176"/>
                    <a:pt x="30283" y="80968"/>
                    <a:pt x="31419" y="80968"/>
                  </a:cubicBezTo>
                  <a:cubicBezTo>
                    <a:pt x="32555" y="81176"/>
                    <a:pt x="32555" y="80968"/>
                    <a:pt x="32555" y="80553"/>
                  </a:cubicBezTo>
                  <a:cubicBezTo>
                    <a:pt x="32555" y="80346"/>
                    <a:pt x="31419" y="79515"/>
                    <a:pt x="32176" y="79515"/>
                  </a:cubicBezTo>
                  <a:cubicBezTo>
                    <a:pt x="33312" y="79515"/>
                    <a:pt x="33690" y="79723"/>
                    <a:pt x="33690" y="79723"/>
                  </a:cubicBezTo>
                  <a:cubicBezTo>
                    <a:pt x="33690" y="79723"/>
                    <a:pt x="33690" y="79930"/>
                    <a:pt x="33690" y="80138"/>
                  </a:cubicBezTo>
                  <a:cubicBezTo>
                    <a:pt x="33690" y="80553"/>
                    <a:pt x="34826" y="80968"/>
                    <a:pt x="34826" y="80553"/>
                  </a:cubicBezTo>
                  <a:cubicBezTo>
                    <a:pt x="35205" y="80138"/>
                    <a:pt x="35205" y="80346"/>
                    <a:pt x="35205" y="79930"/>
                  </a:cubicBezTo>
                  <a:cubicBezTo>
                    <a:pt x="35205" y="79515"/>
                    <a:pt x="34447" y="79515"/>
                    <a:pt x="34069" y="79100"/>
                  </a:cubicBezTo>
                  <a:cubicBezTo>
                    <a:pt x="34069" y="78892"/>
                    <a:pt x="33690" y="79307"/>
                    <a:pt x="33690" y="78685"/>
                  </a:cubicBezTo>
                  <a:cubicBezTo>
                    <a:pt x="34069" y="78062"/>
                    <a:pt x="34069" y="77854"/>
                    <a:pt x="34447" y="77854"/>
                  </a:cubicBezTo>
                  <a:cubicBezTo>
                    <a:pt x="35205" y="77647"/>
                    <a:pt x="34447" y="77854"/>
                    <a:pt x="35205" y="77647"/>
                  </a:cubicBezTo>
                  <a:cubicBezTo>
                    <a:pt x="35962" y="77647"/>
                    <a:pt x="36340" y="77231"/>
                    <a:pt x="35962" y="76608"/>
                  </a:cubicBezTo>
                  <a:cubicBezTo>
                    <a:pt x="35962" y="76193"/>
                    <a:pt x="35583" y="75986"/>
                    <a:pt x="35962" y="75778"/>
                  </a:cubicBezTo>
                  <a:cubicBezTo>
                    <a:pt x="36719" y="75570"/>
                    <a:pt x="36340" y="75363"/>
                    <a:pt x="37097" y="75570"/>
                  </a:cubicBezTo>
                  <a:cubicBezTo>
                    <a:pt x="37854" y="75778"/>
                    <a:pt x="37476" y="75778"/>
                    <a:pt x="38233" y="75778"/>
                  </a:cubicBezTo>
                  <a:cubicBezTo>
                    <a:pt x="38611" y="75570"/>
                    <a:pt x="38611" y="74532"/>
                    <a:pt x="38611" y="74532"/>
                  </a:cubicBezTo>
                  <a:cubicBezTo>
                    <a:pt x="38233" y="74740"/>
                    <a:pt x="37476" y="74325"/>
                    <a:pt x="37476" y="74325"/>
                  </a:cubicBezTo>
                  <a:cubicBezTo>
                    <a:pt x="37097" y="74325"/>
                    <a:pt x="37097" y="73910"/>
                    <a:pt x="37476" y="73702"/>
                  </a:cubicBezTo>
                  <a:cubicBezTo>
                    <a:pt x="37476" y="73702"/>
                    <a:pt x="37476" y="73287"/>
                    <a:pt x="37854" y="73287"/>
                  </a:cubicBezTo>
                  <a:cubicBezTo>
                    <a:pt x="38611" y="73287"/>
                    <a:pt x="38611" y="73494"/>
                    <a:pt x="39369" y="73287"/>
                  </a:cubicBezTo>
                  <a:cubicBezTo>
                    <a:pt x="39747" y="73079"/>
                    <a:pt x="39747" y="73079"/>
                    <a:pt x="40126" y="72871"/>
                  </a:cubicBezTo>
                  <a:cubicBezTo>
                    <a:pt x="40504" y="72664"/>
                    <a:pt x="40883" y="72664"/>
                    <a:pt x="41261" y="72249"/>
                  </a:cubicBezTo>
                  <a:cubicBezTo>
                    <a:pt x="41261" y="72041"/>
                    <a:pt x="41640" y="70795"/>
                    <a:pt x="41640" y="70795"/>
                  </a:cubicBezTo>
                  <a:cubicBezTo>
                    <a:pt x="41261" y="70588"/>
                    <a:pt x="42018" y="70795"/>
                    <a:pt x="42776" y="70588"/>
                  </a:cubicBezTo>
                  <a:cubicBezTo>
                    <a:pt x="43154" y="70380"/>
                    <a:pt x="43533" y="69134"/>
                    <a:pt x="43911" y="68927"/>
                  </a:cubicBezTo>
                  <a:cubicBezTo>
                    <a:pt x="44290" y="68512"/>
                    <a:pt x="45425" y="67681"/>
                    <a:pt x="45425" y="67474"/>
                  </a:cubicBezTo>
                  <a:cubicBezTo>
                    <a:pt x="45425" y="67266"/>
                    <a:pt x="46561" y="65813"/>
                    <a:pt x="46561" y="65813"/>
                  </a:cubicBezTo>
                  <a:cubicBezTo>
                    <a:pt x="48075" y="64359"/>
                    <a:pt x="48075" y="64359"/>
                    <a:pt x="48075" y="64359"/>
                  </a:cubicBezTo>
                  <a:cubicBezTo>
                    <a:pt x="48075" y="64359"/>
                    <a:pt x="48075" y="63944"/>
                    <a:pt x="47697" y="63529"/>
                  </a:cubicBezTo>
                  <a:cubicBezTo>
                    <a:pt x="47697" y="63321"/>
                    <a:pt x="47318" y="62491"/>
                    <a:pt x="47697" y="62283"/>
                  </a:cubicBezTo>
                  <a:cubicBezTo>
                    <a:pt x="48075" y="62283"/>
                    <a:pt x="48454" y="61660"/>
                    <a:pt x="48454" y="61660"/>
                  </a:cubicBezTo>
                  <a:cubicBezTo>
                    <a:pt x="48454" y="60830"/>
                    <a:pt x="48454" y="60830"/>
                    <a:pt x="48454" y="60830"/>
                  </a:cubicBezTo>
                  <a:cubicBezTo>
                    <a:pt x="48454" y="60830"/>
                    <a:pt x="50347" y="60207"/>
                    <a:pt x="50347" y="60207"/>
                  </a:cubicBezTo>
                  <a:cubicBezTo>
                    <a:pt x="52618" y="60000"/>
                    <a:pt x="51104" y="59377"/>
                    <a:pt x="53753" y="60000"/>
                  </a:cubicBezTo>
                  <a:cubicBezTo>
                    <a:pt x="53753" y="60000"/>
                    <a:pt x="55268" y="59792"/>
                    <a:pt x="54889" y="59584"/>
                  </a:cubicBezTo>
                  <a:cubicBezTo>
                    <a:pt x="54889" y="59584"/>
                    <a:pt x="53375" y="58754"/>
                    <a:pt x="53375" y="58754"/>
                  </a:cubicBezTo>
                  <a:cubicBezTo>
                    <a:pt x="54132" y="58131"/>
                    <a:pt x="54132" y="58131"/>
                    <a:pt x="54132" y="58131"/>
                  </a:cubicBezTo>
                  <a:cubicBezTo>
                    <a:pt x="54132" y="58131"/>
                    <a:pt x="55268" y="57716"/>
                    <a:pt x="54132" y="57508"/>
                  </a:cubicBezTo>
                  <a:cubicBezTo>
                    <a:pt x="53375" y="57301"/>
                    <a:pt x="52618" y="57093"/>
                    <a:pt x="52618" y="56885"/>
                  </a:cubicBezTo>
                  <a:cubicBezTo>
                    <a:pt x="52618" y="56885"/>
                    <a:pt x="52239" y="56055"/>
                    <a:pt x="52239" y="55847"/>
                  </a:cubicBezTo>
                  <a:cubicBezTo>
                    <a:pt x="52239" y="55640"/>
                    <a:pt x="51861" y="55017"/>
                    <a:pt x="51861" y="55017"/>
                  </a:cubicBezTo>
                  <a:cubicBezTo>
                    <a:pt x="51861" y="55017"/>
                    <a:pt x="51861" y="54186"/>
                    <a:pt x="51861" y="53979"/>
                  </a:cubicBezTo>
                  <a:cubicBezTo>
                    <a:pt x="51861" y="53771"/>
                    <a:pt x="51482" y="53148"/>
                    <a:pt x="51104" y="52941"/>
                  </a:cubicBezTo>
                  <a:cubicBezTo>
                    <a:pt x="50725" y="52733"/>
                    <a:pt x="49211" y="52110"/>
                    <a:pt x="49211" y="52110"/>
                  </a:cubicBezTo>
                  <a:cubicBezTo>
                    <a:pt x="46561" y="51487"/>
                    <a:pt x="46561" y="51487"/>
                    <a:pt x="46561" y="51487"/>
                  </a:cubicBezTo>
                  <a:cubicBezTo>
                    <a:pt x="45804" y="51903"/>
                    <a:pt x="45804" y="51903"/>
                    <a:pt x="45804" y="51903"/>
                  </a:cubicBezTo>
                  <a:cubicBezTo>
                    <a:pt x="43911" y="50865"/>
                    <a:pt x="43911" y="50865"/>
                    <a:pt x="43911" y="50865"/>
                  </a:cubicBezTo>
                  <a:cubicBezTo>
                    <a:pt x="42397" y="50657"/>
                    <a:pt x="42397" y="50657"/>
                    <a:pt x="42397" y="50657"/>
                  </a:cubicBezTo>
                  <a:cubicBezTo>
                    <a:pt x="40883" y="50657"/>
                    <a:pt x="40883" y="50657"/>
                    <a:pt x="40883" y="50657"/>
                  </a:cubicBezTo>
                  <a:cubicBezTo>
                    <a:pt x="38233" y="47543"/>
                    <a:pt x="38233" y="47543"/>
                    <a:pt x="38233" y="47543"/>
                  </a:cubicBezTo>
                  <a:cubicBezTo>
                    <a:pt x="35962" y="46920"/>
                    <a:pt x="35962" y="46920"/>
                    <a:pt x="35962" y="46920"/>
                  </a:cubicBezTo>
                  <a:cubicBezTo>
                    <a:pt x="34447" y="46089"/>
                    <a:pt x="34447" y="46089"/>
                    <a:pt x="34447" y="46089"/>
                  </a:cubicBezTo>
                  <a:cubicBezTo>
                    <a:pt x="34447" y="45051"/>
                    <a:pt x="34447" y="45051"/>
                    <a:pt x="34447" y="45051"/>
                  </a:cubicBezTo>
                  <a:cubicBezTo>
                    <a:pt x="33312" y="44221"/>
                    <a:pt x="33312" y="44221"/>
                    <a:pt x="33312" y="44221"/>
                  </a:cubicBezTo>
                  <a:cubicBezTo>
                    <a:pt x="33312" y="44221"/>
                    <a:pt x="33690" y="43598"/>
                    <a:pt x="33690" y="43391"/>
                  </a:cubicBezTo>
                  <a:cubicBezTo>
                    <a:pt x="34069" y="43183"/>
                    <a:pt x="34826" y="42145"/>
                    <a:pt x="34826" y="42145"/>
                  </a:cubicBezTo>
                  <a:cubicBezTo>
                    <a:pt x="34826" y="42145"/>
                    <a:pt x="34447" y="41314"/>
                    <a:pt x="34447" y="41107"/>
                  </a:cubicBezTo>
                  <a:cubicBezTo>
                    <a:pt x="34447" y="40899"/>
                    <a:pt x="34826" y="39861"/>
                    <a:pt x="34826" y="39861"/>
                  </a:cubicBezTo>
                  <a:cubicBezTo>
                    <a:pt x="34447" y="38823"/>
                    <a:pt x="34447" y="38823"/>
                    <a:pt x="34447" y="38823"/>
                  </a:cubicBezTo>
                  <a:cubicBezTo>
                    <a:pt x="29905" y="35916"/>
                    <a:pt x="29905" y="35916"/>
                    <a:pt x="29905" y="35916"/>
                  </a:cubicBezTo>
                  <a:cubicBezTo>
                    <a:pt x="30283" y="34671"/>
                    <a:pt x="30283" y="34671"/>
                    <a:pt x="30283" y="34671"/>
                  </a:cubicBezTo>
                  <a:cubicBezTo>
                    <a:pt x="29905" y="34048"/>
                    <a:pt x="29905" y="34048"/>
                    <a:pt x="29905" y="34048"/>
                  </a:cubicBezTo>
                  <a:cubicBezTo>
                    <a:pt x="29526" y="33425"/>
                    <a:pt x="29526" y="33425"/>
                    <a:pt x="29905" y="33010"/>
                  </a:cubicBezTo>
                  <a:cubicBezTo>
                    <a:pt x="29905" y="32802"/>
                    <a:pt x="29905" y="32802"/>
                    <a:pt x="29905" y="32802"/>
                  </a:cubicBezTo>
                  <a:cubicBezTo>
                    <a:pt x="28391" y="33010"/>
                    <a:pt x="28391" y="33010"/>
                    <a:pt x="28391" y="33010"/>
                  </a:cubicBezTo>
                  <a:cubicBezTo>
                    <a:pt x="27255" y="32179"/>
                    <a:pt x="27255" y="32179"/>
                    <a:pt x="27255" y="32179"/>
                  </a:cubicBezTo>
                  <a:cubicBezTo>
                    <a:pt x="27634" y="31141"/>
                    <a:pt x="27634" y="31141"/>
                    <a:pt x="27634" y="31141"/>
                  </a:cubicBezTo>
                  <a:cubicBezTo>
                    <a:pt x="26876" y="28650"/>
                    <a:pt x="26876" y="28650"/>
                    <a:pt x="26876" y="28650"/>
                  </a:cubicBezTo>
                  <a:cubicBezTo>
                    <a:pt x="27634" y="27404"/>
                    <a:pt x="27634" y="27404"/>
                    <a:pt x="27634" y="27404"/>
                  </a:cubicBezTo>
                  <a:cubicBezTo>
                    <a:pt x="25362" y="26782"/>
                    <a:pt x="25362" y="26782"/>
                    <a:pt x="25362" y="26782"/>
                  </a:cubicBezTo>
                  <a:cubicBezTo>
                    <a:pt x="23848" y="25536"/>
                    <a:pt x="23848" y="25536"/>
                    <a:pt x="23848" y="25536"/>
                  </a:cubicBezTo>
                  <a:cubicBezTo>
                    <a:pt x="23848" y="25536"/>
                    <a:pt x="23470" y="25951"/>
                    <a:pt x="23091" y="25743"/>
                  </a:cubicBezTo>
                  <a:cubicBezTo>
                    <a:pt x="22712" y="25536"/>
                    <a:pt x="20820" y="23875"/>
                    <a:pt x="20820" y="23875"/>
                  </a:cubicBezTo>
                  <a:cubicBezTo>
                    <a:pt x="17413" y="23252"/>
                    <a:pt x="17413" y="23252"/>
                    <a:pt x="17413" y="23252"/>
                  </a:cubicBezTo>
                  <a:cubicBezTo>
                    <a:pt x="15899" y="22837"/>
                    <a:pt x="15899" y="22837"/>
                    <a:pt x="15899" y="22837"/>
                  </a:cubicBezTo>
                  <a:cubicBezTo>
                    <a:pt x="14006" y="22629"/>
                    <a:pt x="14006" y="22629"/>
                    <a:pt x="14006" y="22629"/>
                  </a:cubicBezTo>
                  <a:cubicBezTo>
                    <a:pt x="14006" y="22629"/>
                    <a:pt x="13627" y="23044"/>
                    <a:pt x="13249" y="22629"/>
                  </a:cubicBezTo>
                  <a:cubicBezTo>
                    <a:pt x="12870" y="22214"/>
                    <a:pt x="12113" y="21799"/>
                    <a:pt x="12113" y="21799"/>
                  </a:cubicBezTo>
                  <a:cubicBezTo>
                    <a:pt x="10599" y="22006"/>
                    <a:pt x="10599" y="22006"/>
                    <a:pt x="10599" y="22006"/>
                  </a:cubicBezTo>
                  <a:cubicBezTo>
                    <a:pt x="9463" y="21176"/>
                    <a:pt x="9463" y="21176"/>
                    <a:pt x="9463" y="21176"/>
                  </a:cubicBezTo>
                  <a:cubicBezTo>
                    <a:pt x="9463" y="21176"/>
                    <a:pt x="9085" y="21176"/>
                    <a:pt x="8706" y="21176"/>
                  </a:cubicBezTo>
                  <a:cubicBezTo>
                    <a:pt x="8328" y="20968"/>
                    <a:pt x="7570" y="20761"/>
                    <a:pt x="7570" y="20761"/>
                  </a:cubicBezTo>
                  <a:close/>
                  <a:moveTo>
                    <a:pt x="53753" y="117923"/>
                  </a:moveTo>
                  <a:cubicBezTo>
                    <a:pt x="53753" y="117923"/>
                    <a:pt x="53753" y="117923"/>
                    <a:pt x="53753" y="117923"/>
                  </a:cubicBezTo>
                  <a:cubicBezTo>
                    <a:pt x="53753" y="117923"/>
                    <a:pt x="53753" y="118131"/>
                    <a:pt x="53753" y="118339"/>
                  </a:cubicBezTo>
                  <a:cubicBezTo>
                    <a:pt x="53753" y="118339"/>
                    <a:pt x="54132" y="118546"/>
                    <a:pt x="54511" y="118546"/>
                  </a:cubicBezTo>
                  <a:cubicBezTo>
                    <a:pt x="54511" y="118546"/>
                    <a:pt x="55268" y="118339"/>
                    <a:pt x="55646" y="118131"/>
                  </a:cubicBezTo>
                  <a:cubicBezTo>
                    <a:pt x="56403" y="117923"/>
                    <a:pt x="55646" y="118131"/>
                    <a:pt x="55646" y="118131"/>
                  </a:cubicBezTo>
                  <a:cubicBezTo>
                    <a:pt x="54889" y="117716"/>
                    <a:pt x="54889" y="117716"/>
                    <a:pt x="54889" y="117716"/>
                  </a:cubicBezTo>
                  <a:cubicBezTo>
                    <a:pt x="54889" y="117716"/>
                    <a:pt x="54132" y="117923"/>
                    <a:pt x="53753" y="117923"/>
                  </a:cubicBezTo>
                  <a:close/>
                  <a:moveTo>
                    <a:pt x="48832" y="117923"/>
                  </a:moveTo>
                  <a:cubicBezTo>
                    <a:pt x="48832" y="117923"/>
                    <a:pt x="48832" y="117923"/>
                    <a:pt x="48832" y="117923"/>
                  </a:cubicBezTo>
                  <a:cubicBezTo>
                    <a:pt x="48832" y="117923"/>
                    <a:pt x="48832" y="118339"/>
                    <a:pt x="48832" y="118339"/>
                  </a:cubicBezTo>
                  <a:cubicBezTo>
                    <a:pt x="48832" y="118546"/>
                    <a:pt x="49211" y="118546"/>
                    <a:pt x="49589" y="118339"/>
                  </a:cubicBezTo>
                  <a:cubicBezTo>
                    <a:pt x="49589" y="118339"/>
                    <a:pt x="49968" y="118339"/>
                    <a:pt x="50347" y="118131"/>
                  </a:cubicBezTo>
                  <a:cubicBezTo>
                    <a:pt x="50725" y="117923"/>
                    <a:pt x="50347" y="117716"/>
                    <a:pt x="49968" y="117716"/>
                  </a:cubicBezTo>
                  <a:cubicBezTo>
                    <a:pt x="49968" y="117508"/>
                    <a:pt x="49589" y="117716"/>
                    <a:pt x="49589" y="117716"/>
                  </a:cubicBezTo>
                  <a:cubicBezTo>
                    <a:pt x="49211" y="117716"/>
                    <a:pt x="48832" y="117923"/>
                    <a:pt x="48832" y="117923"/>
                  </a:cubicBezTo>
                  <a:close/>
                  <a:moveTo>
                    <a:pt x="39747" y="115432"/>
                  </a:moveTo>
                  <a:cubicBezTo>
                    <a:pt x="39747" y="115432"/>
                    <a:pt x="39747" y="115432"/>
                    <a:pt x="39747" y="115432"/>
                  </a:cubicBezTo>
                  <a:cubicBezTo>
                    <a:pt x="39369" y="115640"/>
                    <a:pt x="39369" y="115640"/>
                    <a:pt x="39369" y="115640"/>
                  </a:cubicBezTo>
                  <a:cubicBezTo>
                    <a:pt x="39369" y="115640"/>
                    <a:pt x="38990" y="115847"/>
                    <a:pt x="39369" y="116055"/>
                  </a:cubicBezTo>
                  <a:cubicBezTo>
                    <a:pt x="39369" y="116470"/>
                    <a:pt x="39747" y="116470"/>
                    <a:pt x="39747" y="116470"/>
                  </a:cubicBezTo>
                  <a:cubicBezTo>
                    <a:pt x="39747" y="116470"/>
                    <a:pt x="40126" y="116262"/>
                    <a:pt x="40883" y="116262"/>
                  </a:cubicBezTo>
                  <a:cubicBezTo>
                    <a:pt x="41261" y="116262"/>
                    <a:pt x="42018" y="115847"/>
                    <a:pt x="42018" y="115640"/>
                  </a:cubicBezTo>
                  <a:cubicBezTo>
                    <a:pt x="42397" y="115640"/>
                    <a:pt x="42397" y="115224"/>
                    <a:pt x="42776" y="115224"/>
                  </a:cubicBezTo>
                  <a:cubicBezTo>
                    <a:pt x="43154" y="115224"/>
                    <a:pt x="44290" y="115432"/>
                    <a:pt x="44668" y="115432"/>
                  </a:cubicBezTo>
                  <a:cubicBezTo>
                    <a:pt x="45047" y="115432"/>
                    <a:pt x="44290" y="114809"/>
                    <a:pt x="44290" y="114809"/>
                  </a:cubicBezTo>
                  <a:cubicBezTo>
                    <a:pt x="44290" y="114602"/>
                    <a:pt x="43154" y="114809"/>
                    <a:pt x="43154" y="114809"/>
                  </a:cubicBezTo>
                  <a:cubicBezTo>
                    <a:pt x="43154" y="114809"/>
                    <a:pt x="42397" y="114809"/>
                    <a:pt x="42018" y="114602"/>
                  </a:cubicBezTo>
                  <a:cubicBezTo>
                    <a:pt x="41640" y="114602"/>
                    <a:pt x="41640" y="114602"/>
                    <a:pt x="41640" y="114602"/>
                  </a:cubicBezTo>
                  <a:cubicBezTo>
                    <a:pt x="41261" y="114809"/>
                    <a:pt x="41261" y="115017"/>
                    <a:pt x="40883" y="115224"/>
                  </a:cubicBezTo>
                  <a:cubicBezTo>
                    <a:pt x="40504" y="115432"/>
                    <a:pt x="40504" y="115224"/>
                    <a:pt x="40504" y="115017"/>
                  </a:cubicBezTo>
                  <a:cubicBezTo>
                    <a:pt x="40504" y="115017"/>
                    <a:pt x="39747" y="114809"/>
                    <a:pt x="39369" y="115017"/>
                  </a:cubicBezTo>
                  <a:cubicBezTo>
                    <a:pt x="39369" y="115017"/>
                    <a:pt x="39747" y="115224"/>
                    <a:pt x="39747" y="115432"/>
                  </a:cubicBezTo>
                  <a:close/>
                  <a:moveTo>
                    <a:pt x="36719" y="115432"/>
                  </a:moveTo>
                  <a:cubicBezTo>
                    <a:pt x="36719" y="115432"/>
                    <a:pt x="36719" y="115432"/>
                    <a:pt x="36719" y="115432"/>
                  </a:cubicBezTo>
                  <a:cubicBezTo>
                    <a:pt x="36719" y="115432"/>
                    <a:pt x="37476" y="115640"/>
                    <a:pt x="38233" y="115640"/>
                  </a:cubicBezTo>
                  <a:cubicBezTo>
                    <a:pt x="38611" y="115640"/>
                    <a:pt x="38233" y="115432"/>
                    <a:pt x="38611" y="115224"/>
                  </a:cubicBezTo>
                  <a:cubicBezTo>
                    <a:pt x="38611" y="115017"/>
                    <a:pt x="38233" y="115224"/>
                    <a:pt x="37854" y="115017"/>
                  </a:cubicBezTo>
                  <a:cubicBezTo>
                    <a:pt x="37476" y="115017"/>
                    <a:pt x="37476" y="115017"/>
                    <a:pt x="37097" y="115017"/>
                  </a:cubicBezTo>
                  <a:cubicBezTo>
                    <a:pt x="36340" y="115017"/>
                    <a:pt x="36719" y="115432"/>
                    <a:pt x="36719" y="115432"/>
                  </a:cubicBezTo>
                  <a:close/>
                  <a:moveTo>
                    <a:pt x="33312" y="113148"/>
                  </a:moveTo>
                  <a:cubicBezTo>
                    <a:pt x="33312" y="113148"/>
                    <a:pt x="33312" y="113148"/>
                    <a:pt x="33312" y="113148"/>
                  </a:cubicBezTo>
                  <a:cubicBezTo>
                    <a:pt x="32933" y="114186"/>
                    <a:pt x="34826" y="113564"/>
                    <a:pt x="34826" y="112941"/>
                  </a:cubicBezTo>
                  <a:cubicBezTo>
                    <a:pt x="34447" y="112525"/>
                    <a:pt x="34826" y="112525"/>
                    <a:pt x="34069" y="112110"/>
                  </a:cubicBezTo>
                  <a:cubicBezTo>
                    <a:pt x="33690" y="111487"/>
                    <a:pt x="33690" y="112110"/>
                    <a:pt x="33312" y="112318"/>
                  </a:cubicBezTo>
                  <a:cubicBezTo>
                    <a:pt x="32933" y="112733"/>
                    <a:pt x="33690" y="112733"/>
                    <a:pt x="33690" y="112941"/>
                  </a:cubicBezTo>
                  <a:cubicBezTo>
                    <a:pt x="33690" y="113148"/>
                    <a:pt x="33312" y="112941"/>
                    <a:pt x="33312" y="113148"/>
                  </a:cubicBezTo>
                  <a:close/>
                  <a:moveTo>
                    <a:pt x="30283" y="115640"/>
                  </a:moveTo>
                  <a:cubicBezTo>
                    <a:pt x="30283" y="115640"/>
                    <a:pt x="30283" y="115640"/>
                    <a:pt x="30283" y="115640"/>
                  </a:cubicBezTo>
                  <a:cubicBezTo>
                    <a:pt x="30283" y="115640"/>
                    <a:pt x="29905" y="115847"/>
                    <a:pt x="30283" y="116262"/>
                  </a:cubicBezTo>
                  <a:cubicBezTo>
                    <a:pt x="30283" y="116470"/>
                    <a:pt x="30283" y="116262"/>
                    <a:pt x="31419" y="115847"/>
                  </a:cubicBezTo>
                  <a:cubicBezTo>
                    <a:pt x="32176" y="115432"/>
                    <a:pt x="31041" y="115640"/>
                    <a:pt x="31041" y="115640"/>
                  </a:cubicBezTo>
                  <a:cubicBezTo>
                    <a:pt x="31041" y="115432"/>
                    <a:pt x="30662" y="115640"/>
                    <a:pt x="30283" y="115640"/>
                  </a:cubicBezTo>
                  <a:close/>
                  <a:moveTo>
                    <a:pt x="30283" y="116885"/>
                  </a:moveTo>
                  <a:cubicBezTo>
                    <a:pt x="30283" y="116885"/>
                    <a:pt x="30283" y="116885"/>
                    <a:pt x="30283" y="116885"/>
                  </a:cubicBezTo>
                  <a:cubicBezTo>
                    <a:pt x="30283" y="116885"/>
                    <a:pt x="30283" y="117301"/>
                    <a:pt x="30662" y="117301"/>
                  </a:cubicBezTo>
                  <a:cubicBezTo>
                    <a:pt x="31041" y="117301"/>
                    <a:pt x="31041" y="117093"/>
                    <a:pt x="31419" y="116885"/>
                  </a:cubicBezTo>
                  <a:cubicBezTo>
                    <a:pt x="31419" y="116678"/>
                    <a:pt x="31041" y="116678"/>
                    <a:pt x="31041" y="116470"/>
                  </a:cubicBezTo>
                  <a:cubicBezTo>
                    <a:pt x="30662" y="116470"/>
                    <a:pt x="30283" y="116678"/>
                    <a:pt x="30283" y="116885"/>
                  </a:cubicBezTo>
                  <a:close/>
                  <a:moveTo>
                    <a:pt x="29148" y="117923"/>
                  </a:moveTo>
                  <a:cubicBezTo>
                    <a:pt x="29148" y="117923"/>
                    <a:pt x="29148" y="117923"/>
                    <a:pt x="29148" y="117923"/>
                  </a:cubicBezTo>
                  <a:cubicBezTo>
                    <a:pt x="28391" y="117923"/>
                    <a:pt x="28391" y="117923"/>
                    <a:pt x="28391" y="117923"/>
                  </a:cubicBezTo>
                  <a:cubicBezTo>
                    <a:pt x="28391" y="117923"/>
                    <a:pt x="28391" y="117923"/>
                    <a:pt x="27255" y="118339"/>
                  </a:cubicBezTo>
                  <a:cubicBezTo>
                    <a:pt x="26119" y="118546"/>
                    <a:pt x="26876" y="118754"/>
                    <a:pt x="26876" y="118961"/>
                  </a:cubicBezTo>
                  <a:cubicBezTo>
                    <a:pt x="26876" y="119377"/>
                    <a:pt x="28012" y="118961"/>
                    <a:pt x="28769" y="118754"/>
                  </a:cubicBezTo>
                  <a:cubicBezTo>
                    <a:pt x="29148" y="118754"/>
                    <a:pt x="28769" y="118546"/>
                    <a:pt x="29148" y="118546"/>
                  </a:cubicBezTo>
                  <a:cubicBezTo>
                    <a:pt x="29148" y="118546"/>
                    <a:pt x="29148" y="118546"/>
                    <a:pt x="29905" y="118339"/>
                  </a:cubicBezTo>
                  <a:cubicBezTo>
                    <a:pt x="30662" y="118131"/>
                    <a:pt x="30283" y="118131"/>
                    <a:pt x="30283" y="117923"/>
                  </a:cubicBezTo>
                  <a:cubicBezTo>
                    <a:pt x="30283" y="117923"/>
                    <a:pt x="29526" y="117716"/>
                    <a:pt x="29148" y="117923"/>
                  </a:cubicBezTo>
                  <a:close/>
                  <a:moveTo>
                    <a:pt x="19305" y="118961"/>
                  </a:moveTo>
                  <a:cubicBezTo>
                    <a:pt x="19305" y="118961"/>
                    <a:pt x="19305" y="118961"/>
                    <a:pt x="19305" y="118961"/>
                  </a:cubicBezTo>
                  <a:cubicBezTo>
                    <a:pt x="19684" y="118961"/>
                    <a:pt x="20063" y="118754"/>
                    <a:pt x="20441" y="118961"/>
                  </a:cubicBezTo>
                  <a:cubicBezTo>
                    <a:pt x="20820" y="119169"/>
                    <a:pt x="20441" y="119584"/>
                    <a:pt x="20441" y="119584"/>
                  </a:cubicBezTo>
                  <a:cubicBezTo>
                    <a:pt x="20063" y="119792"/>
                    <a:pt x="19684" y="120000"/>
                    <a:pt x="19305" y="120000"/>
                  </a:cubicBezTo>
                  <a:cubicBezTo>
                    <a:pt x="18927" y="120000"/>
                    <a:pt x="18548" y="120000"/>
                    <a:pt x="18170" y="119792"/>
                  </a:cubicBezTo>
                  <a:cubicBezTo>
                    <a:pt x="18170" y="119584"/>
                    <a:pt x="18170" y="118961"/>
                    <a:pt x="18170" y="118961"/>
                  </a:cubicBezTo>
                  <a:cubicBezTo>
                    <a:pt x="18548" y="118961"/>
                    <a:pt x="19305" y="118961"/>
                    <a:pt x="19305" y="118961"/>
                  </a:cubicBezTo>
                  <a:close/>
                  <a:moveTo>
                    <a:pt x="22334" y="115847"/>
                  </a:moveTo>
                  <a:cubicBezTo>
                    <a:pt x="22334" y="115847"/>
                    <a:pt x="22334" y="115847"/>
                    <a:pt x="22334" y="115847"/>
                  </a:cubicBezTo>
                  <a:cubicBezTo>
                    <a:pt x="22334" y="115847"/>
                    <a:pt x="22334" y="115847"/>
                    <a:pt x="22334" y="115847"/>
                  </a:cubicBezTo>
                  <a:cubicBezTo>
                    <a:pt x="22334" y="115847"/>
                    <a:pt x="22334" y="116262"/>
                    <a:pt x="21955" y="116262"/>
                  </a:cubicBezTo>
                  <a:cubicBezTo>
                    <a:pt x="21198" y="116470"/>
                    <a:pt x="21577" y="115847"/>
                    <a:pt x="21577" y="115640"/>
                  </a:cubicBezTo>
                  <a:cubicBezTo>
                    <a:pt x="21577" y="115432"/>
                    <a:pt x="20063" y="115847"/>
                    <a:pt x="20063" y="115847"/>
                  </a:cubicBezTo>
                  <a:cubicBezTo>
                    <a:pt x="20063" y="115847"/>
                    <a:pt x="20063" y="116470"/>
                    <a:pt x="19684" y="116678"/>
                  </a:cubicBezTo>
                  <a:cubicBezTo>
                    <a:pt x="19305" y="116678"/>
                    <a:pt x="19305" y="116678"/>
                    <a:pt x="18927" y="116885"/>
                  </a:cubicBezTo>
                  <a:cubicBezTo>
                    <a:pt x="18548" y="117093"/>
                    <a:pt x="18548" y="117508"/>
                    <a:pt x="18548" y="117508"/>
                  </a:cubicBezTo>
                  <a:cubicBezTo>
                    <a:pt x="18927" y="117716"/>
                    <a:pt x="19684" y="117716"/>
                    <a:pt x="19684" y="117716"/>
                  </a:cubicBezTo>
                  <a:cubicBezTo>
                    <a:pt x="20063" y="117716"/>
                    <a:pt x="20063" y="117716"/>
                    <a:pt x="21198" y="118131"/>
                  </a:cubicBezTo>
                  <a:cubicBezTo>
                    <a:pt x="22712" y="118339"/>
                    <a:pt x="21577" y="118131"/>
                    <a:pt x="22712" y="118131"/>
                  </a:cubicBezTo>
                  <a:cubicBezTo>
                    <a:pt x="23470" y="118131"/>
                    <a:pt x="23091" y="118339"/>
                    <a:pt x="23470" y="118339"/>
                  </a:cubicBezTo>
                  <a:cubicBezTo>
                    <a:pt x="23848" y="118339"/>
                    <a:pt x="24227" y="118754"/>
                    <a:pt x="24605" y="118961"/>
                  </a:cubicBezTo>
                  <a:cubicBezTo>
                    <a:pt x="25362" y="119169"/>
                    <a:pt x="25741" y="118754"/>
                    <a:pt x="26119" y="118754"/>
                  </a:cubicBezTo>
                  <a:cubicBezTo>
                    <a:pt x="26119" y="118546"/>
                    <a:pt x="26876" y="117923"/>
                    <a:pt x="26876" y="117923"/>
                  </a:cubicBezTo>
                  <a:cubicBezTo>
                    <a:pt x="26876" y="117923"/>
                    <a:pt x="24605" y="117508"/>
                    <a:pt x="24605" y="117508"/>
                  </a:cubicBezTo>
                  <a:cubicBezTo>
                    <a:pt x="24227" y="117508"/>
                    <a:pt x="23848" y="116885"/>
                    <a:pt x="24605" y="116885"/>
                  </a:cubicBezTo>
                  <a:cubicBezTo>
                    <a:pt x="24984" y="116885"/>
                    <a:pt x="24984" y="117093"/>
                    <a:pt x="25362" y="117301"/>
                  </a:cubicBezTo>
                  <a:cubicBezTo>
                    <a:pt x="25362" y="117508"/>
                    <a:pt x="25741" y="117508"/>
                    <a:pt x="26119" y="117508"/>
                  </a:cubicBezTo>
                  <a:cubicBezTo>
                    <a:pt x="26498" y="117508"/>
                    <a:pt x="26876" y="117301"/>
                    <a:pt x="26876" y="117093"/>
                  </a:cubicBezTo>
                  <a:cubicBezTo>
                    <a:pt x="26876" y="116885"/>
                    <a:pt x="26498" y="117093"/>
                    <a:pt x="25741" y="116470"/>
                  </a:cubicBezTo>
                  <a:cubicBezTo>
                    <a:pt x="24605" y="115847"/>
                    <a:pt x="25741" y="116055"/>
                    <a:pt x="26119" y="116055"/>
                  </a:cubicBezTo>
                  <a:cubicBezTo>
                    <a:pt x="26119" y="115847"/>
                    <a:pt x="26876" y="115432"/>
                    <a:pt x="26876" y="115432"/>
                  </a:cubicBezTo>
                  <a:cubicBezTo>
                    <a:pt x="27255" y="115224"/>
                    <a:pt x="26119" y="115224"/>
                    <a:pt x="25741" y="115017"/>
                  </a:cubicBezTo>
                  <a:cubicBezTo>
                    <a:pt x="25362" y="115017"/>
                    <a:pt x="25362" y="115017"/>
                    <a:pt x="25362" y="115017"/>
                  </a:cubicBezTo>
                  <a:cubicBezTo>
                    <a:pt x="25362" y="115224"/>
                    <a:pt x="24227" y="115017"/>
                    <a:pt x="23848" y="114809"/>
                  </a:cubicBezTo>
                  <a:cubicBezTo>
                    <a:pt x="23848" y="114809"/>
                    <a:pt x="23848" y="114394"/>
                    <a:pt x="23470" y="114186"/>
                  </a:cubicBezTo>
                  <a:cubicBezTo>
                    <a:pt x="23470" y="114186"/>
                    <a:pt x="22712" y="114186"/>
                    <a:pt x="21955" y="114186"/>
                  </a:cubicBezTo>
                  <a:cubicBezTo>
                    <a:pt x="21198" y="114186"/>
                    <a:pt x="21577" y="114809"/>
                    <a:pt x="21577" y="114809"/>
                  </a:cubicBezTo>
                  <a:cubicBezTo>
                    <a:pt x="21577" y="114809"/>
                    <a:pt x="21955" y="115224"/>
                    <a:pt x="22334" y="115432"/>
                  </a:cubicBezTo>
                  <a:cubicBezTo>
                    <a:pt x="22334" y="115432"/>
                    <a:pt x="22334" y="115847"/>
                    <a:pt x="22334" y="115847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 cmpd="sng">
              <a:solidFill>
                <a:schemeClr val="tx1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endParaRPr kern="0">
                <a:solidFill>
                  <a:srgbClr val="7F7F7F"/>
                </a:solidFill>
                <a:latin typeface="Calibri" panose="020F0502020204030204" pitchFamily="34" charset="0"/>
                <a:cs typeface="Calibri" panose="020F0502020204030204" pitchFamily="34" charset="0"/>
                <a:sym typeface="Source Sans Pro"/>
              </a:endParaRPr>
            </a:p>
          </p:txBody>
        </p:sp>
      </p:grpSp>
      <p:sp>
        <p:nvSpPr>
          <p:cNvPr id="2" name="Titre 1">
            <a:extLst>
              <a:ext uri="{FF2B5EF4-FFF2-40B4-BE49-F238E27FC236}">
                <a16:creationId xmlns:a16="http://schemas.microsoft.com/office/drawing/2014/main" id="{B20AA302-3CB0-DC84-2ABA-E91537C475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Condiciones de cultivo en Europa
</a:t>
            </a:r>
            <a:endParaRPr lang="fr-FR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535FECC3-4210-43A5-5DCB-7172453D809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fr-FR" dirty="0" err="1"/>
              <a:t>Cosecha</a:t>
            </a:r>
            <a:r>
              <a:rPr lang="fr-FR" dirty="0"/>
              <a:t> 2023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610ADAEB-03C1-E94C-19BB-DD575E1E7B50}"/>
              </a:ext>
            </a:extLst>
          </p:cNvPr>
          <p:cNvSpPr txBox="1"/>
          <p:nvPr/>
        </p:nvSpPr>
        <p:spPr>
          <a:xfrm>
            <a:off x="302926" y="4527344"/>
            <a:ext cx="3411574" cy="259014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normAutofit/>
          </a:bodyPr>
          <a:lstStyle/>
          <a:p>
            <a:r>
              <a:rPr lang="fr-FR" sz="800" dirty="0">
                <a:solidFill>
                  <a:srgbClr val="77777A"/>
                </a:solidFill>
              </a:rPr>
              <a:t>Source : </a:t>
            </a:r>
            <a:r>
              <a:rPr lang="fr-FR" sz="800" dirty="0" err="1">
                <a:solidFill>
                  <a:srgbClr val="77777A"/>
                </a:solidFill>
              </a:rPr>
              <a:t>Internal</a:t>
            </a:r>
            <a:r>
              <a:rPr lang="fr-FR" sz="800" dirty="0">
                <a:solidFill>
                  <a:srgbClr val="77777A"/>
                </a:solidFill>
              </a:rPr>
              <a:t> </a:t>
            </a:r>
            <a:r>
              <a:rPr lang="fr-FR" sz="800" dirty="0" err="1">
                <a:solidFill>
                  <a:srgbClr val="77777A"/>
                </a:solidFill>
              </a:rPr>
              <a:t>assessment</a:t>
            </a:r>
            <a:r>
              <a:rPr lang="fr-FR" sz="800" dirty="0">
                <a:solidFill>
                  <a:srgbClr val="77777A"/>
                </a:solidFill>
              </a:rPr>
              <a:t> by local LG OSR Product Manager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0451DD7-DA31-D0D4-C916-1EBECA2BEE1D}"/>
              </a:ext>
            </a:extLst>
          </p:cNvPr>
          <p:cNvSpPr/>
          <p:nvPr/>
        </p:nvSpPr>
        <p:spPr>
          <a:xfrm>
            <a:off x="4534404" y="4063172"/>
            <a:ext cx="391885" cy="179054"/>
          </a:xfrm>
          <a:prstGeom prst="rect">
            <a:avLst/>
          </a:prstGeom>
          <a:solidFill>
            <a:srgbClr val="00B050"/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E9F2502-9000-D444-66AE-4CA80D5B32BB}"/>
              </a:ext>
            </a:extLst>
          </p:cNvPr>
          <p:cNvSpPr/>
          <p:nvPr/>
        </p:nvSpPr>
        <p:spPr>
          <a:xfrm>
            <a:off x="4530608" y="4292537"/>
            <a:ext cx="391885" cy="179054"/>
          </a:xfrm>
          <a:prstGeom prst="rect">
            <a:avLst/>
          </a:prstGeom>
          <a:solidFill>
            <a:srgbClr val="92D050"/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7791289D-9464-4554-2083-A2EFB87B6C4D}"/>
              </a:ext>
            </a:extLst>
          </p:cNvPr>
          <p:cNvSpPr txBox="1"/>
          <p:nvPr/>
        </p:nvSpPr>
        <p:spPr>
          <a:xfrm>
            <a:off x="4902105" y="4002924"/>
            <a:ext cx="1724568" cy="285750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normAutofit/>
          </a:bodyPr>
          <a:lstStyle/>
          <a:p>
            <a:r>
              <a:rPr lang="fr-FR" sz="1000" dirty="0"/>
              <a:t>Muy bien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7D32B941-C2B6-9637-D759-24A1679B393C}"/>
              </a:ext>
            </a:extLst>
          </p:cNvPr>
          <p:cNvSpPr txBox="1"/>
          <p:nvPr/>
        </p:nvSpPr>
        <p:spPr>
          <a:xfrm>
            <a:off x="4898309" y="4240578"/>
            <a:ext cx="1724568" cy="26799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normAutofit/>
          </a:bodyPr>
          <a:lstStyle/>
          <a:p>
            <a:r>
              <a:rPr lang="fr-FR" sz="1000" dirty="0"/>
              <a:t>Medio / </a:t>
            </a:r>
            <a:r>
              <a:rPr lang="fr-FR" sz="1000" dirty="0" err="1"/>
              <a:t>Bueno</a:t>
            </a:r>
            <a:endParaRPr lang="fr-FR" sz="1000" dirty="0"/>
          </a:p>
        </p:txBody>
      </p:sp>
      <p:sp>
        <p:nvSpPr>
          <p:cNvPr id="18" name="Rectangle 4">
            <a:extLst>
              <a:ext uri="{FF2B5EF4-FFF2-40B4-BE49-F238E27FC236}">
                <a16:creationId xmlns:a16="http://schemas.microsoft.com/office/drawing/2014/main" id="{88214D5D-6294-5AA5-9CED-864555D111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78265" y="5346701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fr-FR"/>
          </a:p>
        </p:txBody>
      </p:sp>
      <p:graphicFrame>
        <p:nvGraphicFramePr>
          <p:cNvPr id="21" name="Diagramme 20">
            <a:extLst>
              <a:ext uri="{FF2B5EF4-FFF2-40B4-BE49-F238E27FC236}">
                <a16:creationId xmlns:a16="http://schemas.microsoft.com/office/drawing/2014/main" id="{41B9C892-7F38-3C31-1F44-12158C57820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62541652"/>
              </p:ext>
            </p:extLst>
          </p:nvPr>
        </p:nvGraphicFramePr>
        <p:xfrm>
          <a:off x="-781474" y="996177"/>
          <a:ext cx="6107678" cy="265883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4" name="Rectangle 63">
            <a:extLst>
              <a:ext uri="{FF2B5EF4-FFF2-40B4-BE49-F238E27FC236}">
                <a16:creationId xmlns:a16="http://schemas.microsoft.com/office/drawing/2014/main" id="{DCD50396-20D3-5484-20A0-8A039A433C4B}"/>
              </a:ext>
            </a:extLst>
          </p:cNvPr>
          <p:cNvSpPr/>
          <p:nvPr/>
        </p:nvSpPr>
        <p:spPr>
          <a:xfrm>
            <a:off x="7079262" y="4069064"/>
            <a:ext cx="391885" cy="179054"/>
          </a:xfrm>
          <a:prstGeom prst="rect">
            <a:avLst/>
          </a:prstGeom>
          <a:pattFill prst="dashHorz">
            <a:fgClr>
              <a:srgbClr val="FF0000"/>
            </a:fgClr>
            <a:bgClr>
              <a:schemeClr val="bg1"/>
            </a:bgClr>
          </a:patt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BCD721CE-073B-9B1E-B475-E4D9177A773E}"/>
              </a:ext>
            </a:extLst>
          </p:cNvPr>
          <p:cNvSpPr/>
          <p:nvPr/>
        </p:nvSpPr>
        <p:spPr>
          <a:xfrm>
            <a:off x="7079262" y="4303664"/>
            <a:ext cx="391885" cy="179054"/>
          </a:xfrm>
          <a:prstGeom prst="rect">
            <a:avLst/>
          </a:prstGeom>
          <a:pattFill prst="wdUpDiag">
            <a:fgClr>
              <a:srgbClr val="996633"/>
            </a:fgClr>
            <a:bgClr>
              <a:schemeClr val="bg1"/>
            </a:bgClr>
          </a:patt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DB1915F9-EDE8-EAAC-5360-AFDF7866A90A}"/>
              </a:ext>
            </a:extLst>
          </p:cNvPr>
          <p:cNvSpPr/>
          <p:nvPr/>
        </p:nvSpPr>
        <p:spPr>
          <a:xfrm>
            <a:off x="7081426" y="4531030"/>
            <a:ext cx="391885" cy="179054"/>
          </a:xfrm>
          <a:prstGeom prst="rect">
            <a:avLst/>
          </a:prstGeom>
          <a:pattFill prst="ltHorz">
            <a:fgClr>
              <a:srgbClr val="FF0000"/>
            </a:fgClr>
            <a:bgClr>
              <a:schemeClr val="bg1"/>
            </a:bgClr>
          </a:patt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7" name="ZoneTexte 66">
            <a:extLst>
              <a:ext uri="{FF2B5EF4-FFF2-40B4-BE49-F238E27FC236}">
                <a16:creationId xmlns:a16="http://schemas.microsoft.com/office/drawing/2014/main" id="{F0045837-A539-E2A2-35D0-19AED6DDC41B}"/>
              </a:ext>
            </a:extLst>
          </p:cNvPr>
          <p:cNvSpPr txBox="1"/>
          <p:nvPr/>
        </p:nvSpPr>
        <p:spPr>
          <a:xfrm>
            <a:off x="7471147" y="4041549"/>
            <a:ext cx="1577251" cy="256827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normAutofit fontScale="62500" lnSpcReduction="20000"/>
          </a:bodyPr>
          <a:lstStyle/>
          <a:p>
            <a:r>
              <a:rPr lang="es-ES" sz="1000" b="1" dirty="0"/>
              <a:t>Endurecimiento invernal y muerte por heladas</a:t>
            </a:r>
            <a:endParaRPr lang="fr-FR" sz="1000" b="1" dirty="0"/>
          </a:p>
        </p:txBody>
      </p:sp>
      <p:sp>
        <p:nvSpPr>
          <p:cNvPr id="68" name="ZoneTexte 67">
            <a:extLst>
              <a:ext uri="{FF2B5EF4-FFF2-40B4-BE49-F238E27FC236}">
                <a16:creationId xmlns:a16="http://schemas.microsoft.com/office/drawing/2014/main" id="{8D7FF695-143E-8614-C944-6A2A246CB3E7}"/>
              </a:ext>
            </a:extLst>
          </p:cNvPr>
          <p:cNvSpPr txBox="1"/>
          <p:nvPr/>
        </p:nvSpPr>
        <p:spPr>
          <a:xfrm>
            <a:off x="7471147" y="4255568"/>
            <a:ext cx="1577251" cy="256827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normAutofit/>
          </a:bodyPr>
          <a:lstStyle/>
          <a:p>
            <a:r>
              <a:rPr lang="es-ES" sz="1000" b="1" dirty="0"/>
              <a:t>LLS/CYL de alta presión</a:t>
            </a:r>
            <a:endParaRPr lang="fr-FR" sz="1000" b="1" dirty="0"/>
          </a:p>
        </p:txBody>
      </p:sp>
      <p:sp>
        <p:nvSpPr>
          <p:cNvPr id="69" name="ZoneTexte 68">
            <a:extLst>
              <a:ext uri="{FF2B5EF4-FFF2-40B4-BE49-F238E27FC236}">
                <a16:creationId xmlns:a16="http://schemas.microsoft.com/office/drawing/2014/main" id="{2FF339AB-5A78-F49E-D5D4-3F03A3F82636}"/>
              </a:ext>
            </a:extLst>
          </p:cNvPr>
          <p:cNvSpPr txBox="1"/>
          <p:nvPr/>
        </p:nvSpPr>
        <p:spPr>
          <a:xfrm>
            <a:off x="7486549" y="4484360"/>
            <a:ext cx="1577251" cy="256827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normAutofit/>
          </a:bodyPr>
          <a:lstStyle/>
          <a:p>
            <a:r>
              <a:rPr lang="fr-FR" sz="1000" b="1" dirty="0" err="1"/>
              <a:t>Sequía</a:t>
            </a:r>
            <a:r>
              <a:rPr lang="fr-FR" sz="1000" b="1" dirty="0"/>
              <a:t> en </a:t>
            </a:r>
            <a:r>
              <a:rPr lang="fr-FR" sz="1000" b="1" dirty="0" err="1"/>
              <a:t>floración</a:t>
            </a:r>
            <a:endParaRPr lang="fr-FR" sz="1000" b="1" dirty="0"/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EE97493A-6D14-DDFB-85F8-BEE5375B49C5}"/>
              </a:ext>
            </a:extLst>
          </p:cNvPr>
          <p:cNvSpPr/>
          <p:nvPr/>
        </p:nvSpPr>
        <p:spPr>
          <a:xfrm>
            <a:off x="4530608" y="4535030"/>
            <a:ext cx="391885" cy="179054"/>
          </a:xfrm>
          <a:prstGeom prst="rect">
            <a:avLst/>
          </a:prstGeom>
          <a:solidFill>
            <a:srgbClr val="FFC000"/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1" name="ZoneTexte 70">
            <a:extLst>
              <a:ext uri="{FF2B5EF4-FFF2-40B4-BE49-F238E27FC236}">
                <a16:creationId xmlns:a16="http://schemas.microsoft.com/office/drawing/2014/main" id="{8AEC1779-751B-D8DC-4391-63DE4D6D0950}"/>
              </a:ext>
            </a:extLst>
          </p:cNvPr>
          <p:cNvSpPr txBox="1"/>
          <p:nvPr/>
        </p:nvSpPr>
        <p:spPr>
          <a:xfrm>
            <a:off x="4898308" y="4482718"/>
            <a:ext cx="1577251" cy="256827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normAutofit/>
          </a:bodyPr>
          <a:lstStyle/>
          <a:p>
            <a:r>
              <a:rPr lang="fr-FR" sz="1000" dirty="0" err="1"/>
              <a:t>Cultivo</a:t>
            </a:r>
            <a:r>
              <a:rPr lang="fr-FR" sz="1000" dirty="0"/>
              <a:t> </a:t>
            </a:r>
            <a:r>
              <a:rPr lang="fr-FR" sz="1000" dirty="0" err="1"/>
              <a:t>difícil</a:t>
            </a:r>
            <a:r>
              <a:rPr lang="fr-FR" sz="1000" dirty="0"/>
              <a:t> / </a:t>
            </a:r>
            <a:r>
              <a:rPr lang="fr-FR" sz="1000" dirty="0" err="1"/>
              <a:t>estresado</a:t>
            </a:r>
            <a:endParaRPr lang="fr-FR" sz="1000" dirty="0"/>
          </a:p>
        </p:txBody>
      </p:sp>
      <p:sp>
        <p:nvSpPr>
          <p:cNvPr id="73" name="ZoneTexte 72">
            <a:extLst>
              <a:ext uri="{FF2B5EF4-FFF2-40B4-BE49-F238E27FC236}">
                <a16:creationId xmlns:a16="http://schemas.microsoft.com/office/drawing/2014/main" id="{0E226BA9-6561-1189-5BE2-A3DF11140046}"/>
              </a:ext>
            </a:extLst>
          </p:cNvPr>
          <p:cNvSpPr txBox="1"/>
          <p:nvPr/>
        </p:nvSpPr>
        <p:spPr>
          <a:xfrm>
            <a:off x="4445274" y="3752029"/>
            <a:ext cx="1902440" cy="328501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normAutofit/>
          </a:bodyPr>
          <a:lstStyle/>
          <a:p>
            <a:r>
              <a:rPr lang="fr-FR" sz="1100" b="1" u="sng" dirty="0" err="1"/>
              <a:t>Condiciones</a:t>
            </a:r>
            <a:r>
              <a:rPr lang="fr-FR" sz="1100" b="1" u="sng" dirty="0"/>
              <a:t> del </a:t>
            </a:r>
            <a:r>
              <a:rPr lang="fr-FR" sz="1100" b="1" u="sng" dirty="0" err="1"/>
              <a:t>cultivo</a:t>
            </a:r>
            <a:r>
              <a:rPr lang="fr-FR" sz="1100" b="1" u="sng" dirty="0"/>
              <a:t>:</a:t>
            </a:r>
          </a:p>
        </p:txBody>
      </p:sp>
      <p:sp>
        <p:nvSpPr>
          <p:cNvPr id="74" name="ZoneTexte 73">
            <a:extLst>
              <a:ext uri="{FF2B5EF4-FFF2-40B4-BE49-F238E27FC236}">
                <a16:creationId xmlns:a16="http://schemas.microsoft.com/office/drawing/2014/main" id="{DEAF10DD-EE9B-DFDF-4F86-27B72E57927D}"/>
              </a:ext>
            </a:extLst>
          </p:cNvPr>
          <p:cNvSpPr txBox="1"/>
          <p:nvPr/>
        </p:nvSpPr>
        <p:spPr>
          <a:xfrm>
            <a:off x="6985678" y="3747382"/>
            <a:ext cx="1902440" cy="328501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normAutofit/>
          </a:bodyPr>
          <a:lstStyle/>
          <a:p>
            <a:r>
              <a:rPr lang="fr-FR" sz="1100" b="1" u="sng" dirty="0" err="1"/>
              <a:t>Hechos</a:t>
            </a:r>
            <a:r>
              <a:rPr lang="fr-FR" sz="1100" b="1" u="sng" dirty="0"/>
              <a:t> </a:t>
            </a:r>
            <a:r>
              <a:rPr lang="fr-FR" sz="1100" b="1" u="sng" dirty="0" err="1"/>
              <a:t>significativos</a:t>
            </a:r>
            <a:r>
              <a:rPr lang="fr-FR" sz="1100" b="1" u="sng" dirty="0"/>
              <a:t> :</a:t>
            </a:r>
          </a:p>
        </p:txBody>
      </p:sp>
    </p:spTree>
    <p:extLst>
      <p:ext uri="{BB962C8B-B14F-4D97-AF65-F5344CB8AC3E}">
        <p14:creationId xmlns:p14="http://schemas.microsoft.com/office/powerpoint/2010/main" val="89014334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20AA302-3CB0-DC84-2ABA-E91537C475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Condiciones de cultivo en España
</a:t>
            </a:r>
            <a:endParaRPr lang="fr-FR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535FECC3-4210-43A5-5DCB-7172453D809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fr-FR" dirty="0" err="1"/>
              <a:t>Cosecha</a:t>
            </a:r>
            <a:r>
              <a:rPr lang="fr-FR" dirty="0"/>
              <a:t> 2023</a:t>
            </a:r>
          </a:p>
        </p:txBody>
      </p:sp>
      <p:sp>
        <p:nvSpPr>
          <p:cNvPr id="18" name="Rectangle 4">
            <a:extLst>
              <a:ext uri="{FF2B5EF4-FFF2-40B4-BE49-F238E27FC236}">
                <a16:creationId xmlns:a16="http://schemas.microsoft.com/office/drawing/2014/main" id="{88214D5D-6294-5AA5-9CED-864555D111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78265" y="5346701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fr-FR"/>
          </a:p>
        </p:txBody>
      </p:sp>
      <p:graphicFrame>
        <p:nvGraphicFramePr>
          <p:cNvPr id="21" name="Diagramme 20">
            <a:extLst>
              <a:ext uri="{FF2B5EF4-FFF2-40B4-BE49-F238E27FC236}">
                <a16:creationId xmlns:a16="http://schemas.microsoft.com/office/drawing/2014/main" id="{41B9C892-7F38-3C31-1F44-12158C57820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57025266"/>
              </p:ext>
            </p:extLst>
          </p:nvPr>
        </p:nvGraphicFramePr>
        <p:xfrm>
          <a:off x="-429262" y="1098183"/>
          <a:ext cx="4472875" cy="166673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8" name="Imagen 7">
            <a:extLst>
              <a:ext uri="{FF2B5EF4-FFF2-40B4-BE49-F238E27FC236}">
                <a16:creationId xmlns:a16="http://schemas.microsoft.com/office/drawing/2014/main" id="{56E71ADF-2B02-72DA-4614-7A870F3BFB69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4970" y="3062627"/>
            <a:ext cx="2293848" cy="1414093"/>
          </a:xfrm>
          <a:prstGeom prst="rect">
            <a:avLst/>
          </a:prstGeom>
        </p:spPr>
      </p:pic>
      <p:pic>
        <p:nvPicPr>
          <p:cNvPr id="15" name="Imagen 14">
            <a:extLst>
              <a:ext uri="{FF2B5EF4-FFF2-40B4-BE49-F238E27FC236}">
                <a16:creationId xmlns:a16="http://schemas.microsoft.com/office/drawing/2014/main" id="{8821FBD8-05A8-3F4A-FFBE-DB1C48867BD6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80662" y="582976"/>
            <a:ext cx="2362298" cy="1452872"/>
          </a:xfrm>
          <a:prstGeom prst="rect">
            <a:avLst/>
          </a:prstGeom>
        </p:spPr>
      </p:pic>
      <p:pic>
        <p:nvPicPr>
          <p:cNvPr id="17" name="Imagen 16">
            <a:extLst>
              <a:ext uri="{FF2B5EF4-FFF2-40B4-BE49-F238E27FC236}">
                <a16:creationId xmlns:a16="http://schemas.microsoft.com/office/drawing/2014/main" id="{2CE20E81-89DF-B690-4A1D-D2630C553397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4084" y="559764"/>
            <a:ext cx="2362298" cy="1499297"/>
          </a:xfrm>
          <a:prstGeom prst="rect">
            <a:avLst/>
          </a:prstGeom>
        </p:spPr>
      </p:pic>
      <p:pic>
        <p:nvPicPr>
          <p:cNvPr id="46" name="Imagen 45">
            <a:extLst>
              <a:ext uri="{FF2B5EF4-FFF2-40B4-BE49-F238E27FC236}">
                <a16:creationId xmlns:a16="http://schemas.microsoft.com/office/drawing/2014/main" id="{78DD3AD0-39D0-64B7-34D1-0EF5E6C94B49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62549" y="3040539"/>
            <a:ext cx="2241720" cy="1436182"/>
          </a:xfrm>
          <a:prstGeom prst="rect">
            <a:avLst/>
          </a:prstGeom>
        </p:spPr>
      </p:pic>
      <p:pic>
        <p:nvPicPr>
          <p:cNvPr id="61" name="Imagen 60">
            <a:extLst>
              <a:ext uri="{FF2B5EF4-FFF2-40B4-BE49-F238E27FC236}">
                <a16:creationId xmlns:a16="http://schemas.microsoft.com/office/drawing/2014/main" id="{56DA0AEE-CC72-2D8E-44B5-1B1461B9E3B9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078952" y="93676"/>
            <a:ext cx="1961468" cy="320786"/>
          </a:xfrm>
          <a:prstGeom prst="rect">
            <a:avLst/>
          </a:prstGeom>
        </p:spPr>
      </p:pic>
      <p:pic>
        <p:nvPicPr>
          <p:cNvPr id="1026" name="Picture 2" descr="Porcentaje de la precipitación acumulada con respecto al promedio del período de referencia 1991-2020">
            <a:extLst>
              <a:ext uri="{FF2B5EF4-FFF2-40B4-BE49-F238E27FC236}">
                <a16:creationId xmlns:a16="http://schemas.microsoft.com/office/drawing/2014/main" id="{B31D46ED-2822-A27A-8BBF-4C99EBB309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85026" y="3062627"/>
            <a:ext cx="2185041" cy="14140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Imagen 3">
            <a:extLst>
              <a:ext uri="{FF2B5EF4-FFF2-40B4-BE49-F238E27FC236}">
                <a16:creationId xmlns:a16="http://schemas.microsoft.com/office/drawing/2014/main" id="{4610A001-0F90-B79D-AA2E-F68E53FD46C4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40756" y="2223346"/>
            <a:ext cx="3298483" cy="665078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43354E3E-78A2-12A4-FE0D-EFC886FBE072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04883" y="2273969"/>
            <a:ext cx="2639117" cy="6974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598164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FF70E6D-C3E4-E595-6465-1FEA77A215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9767" y="144738"/>
            <a:ext cx="7494555" cy="375010"/>
          </a:xfrm>
        </p:spPr>
        <p:txBody>
          <a:bodyPr/>
          <a:lstStyle/>
          <a:p>
            <a:r>
              <a:rPr lang="es-ES" sz="2000" dirty="0"/>
              <a:t>Precipitaciones suficientes en la mayoría de los países en primavera
</a:t>
            </a:r>
            <a:endParaRPr lang="en-GB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0FDB658-E4C9-2D22-9567-CE602F9C7DD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s-ES" dirty="0"/>
              <a:t>Revisión meteorológica abril/mayo 2023
</a:t>
            </a:r>
            <a:endParaRPr lang="en-GB" dirty="0"/>
          </a:p>
        </p:txBody>
      </p:sp>
      <p:grpSp>
        <p:nvGrpSpPr>
          <p:cNvPr id="9" name="Group 9">
            <a:extLst>
              <a:ext uri="{FF2B5EF4-FFF2-40B4-BE49-F238E27FC236}">
                <a16:creationId xmlns:a16="http://schemas.microsoft.com/office/drawing/2014/main" id="{3CD116F5-93F7-D8C4-137A-9A1D3C7640FF}"/>
              </a:ext>
            </a:extLst>
          </p:cNvPr>
          <p:cNvGrpSpPr/>
          <p:nvPr/>
        </p:nvGrpSpPr>
        <p:grpSpPr>
          <a:xfrm rot="16200000">
            <a:off x="8457754" y="4009197"/>
            <a:ext cx="927501" cy="230656"/>
            <a:chOff x="8766811" y="250670"/>
            <a:chExt cx="1200150" cy="298460"/>
          </a:xfrm>
          <a:solidFill>
            <a:schemeClr val="bg1">
              <a:alpha val="42000"/>
            </a:schemeClr>
          </a:solidFill>
        </p:grpSpPr>
        <p:sp>
          <p:nvSpPr>
            <p:cNvPr id="10" name="Freeform: Shape 5">
              <a:extLst>
                <a:ext uri="{FF2B5EF4-FFF2-40B4-BE49-F238E27FC236}">
                  <a16:creationId xmlns:a16="http://schemas.microsoft.com/office/drawing/2014/main" id="{C93E817F-3A68-C918-5693-9C14FB7DEB5D}"/>
                </a:ext>
              </a:extLst>
            </p:cNvPr>
            <p:cNvSpPr/>
            <p:nvPr/>
          </p:nvSpPr>
          <p:spPr>
            <a:xfrm>
              <a:off x="9340947" y="259788"/>
              <a:ext cx="396639" cy="280066"/>
            </a:xfrm>
            <a:custGeom>
              <a:avLst/>
              <a:gdLst>
                <a:gd name="connsiteX0" fmla="*/ 188626 w 578185"/>
                <a:gd name="connsiteY0" fmla="*/ 247351 h 408253"/>
                <a:gd name="connsiteX1" fmla="*/ 209084 w 578185"/>
                <a:gd name="connsiteY1" fmla="*/ 156671 h 408253"/>
                <a:gd name="connsiteX2" fmla="*/ 241634 w 578185"/>
                <a:gd name="connsiteY2" fmla="*/ 10757 h 408253"/>
                <a:gd name="connsiteX3" fmla="*/ 255014 w 578185"/>
                <a:gd name="connsiteY3" fmla="*/ 5 h 408253"/>
                <a:gd name="connsiteX4" fmla="*/ 343468 w 578185"/>
                <a:gd name="connsiteY4" fmla="*/ 86 h 408253"/>
                <a:gd name="connsiteX5" fmla="*/ 356258 w 578185"/>
                <a:gd name="connsiteY5" fmla="*/ 9926 h 408253"/>
                <a:gd name="connsiteX6" fmla="*/ 402000 w 578185"/>
                <a:gd name="connsiteY6" fmla="*/ 237699 h 408253"/>
                <a:gd name="connsiteX7" fmla="*/ 406853 w 578185"/>
                <a:gd name="connsiteY7" fmla="*/ 247646 h 408253"/>
                <a:gd name="connsiteX8" fmla="*/ 443881 w 578185"/>
                <a:gd name="connsiteY8" fmla="*/ 88487 h 408253"/>
                <a:gd name="connsiteX9" fmla="*/ 418275 w 578185"/>
                <a:gd name="connsiteY9" fmla="*/ 64463 h 408253"/>
                <a:gd name="connsiteX10" fmla="*/ 418275 w 578185"/>
                <a:gd name="connsiteY10" fmla="*/ 1132 h 408253"/>
                <a:gd name="connsiteX11" fmla="*/ 578185 w 578185"/>
                <a:gd name="connsiteY11" fmla="*/ 1132 h 408253"/>
                <a:gd name="connsiteX12" fmla="*/ 578185 w 578185"/>
                <a:gd name="connsiteY12" fmla="*/ 65482 h 408253"/>
                <a:gd name="connsiteX13" fmla="*/ 535580 w 578185"/>
                <a:gd name="connsiteY13" fmla="*/ 107309 h 408253"/>
                <a:gd name="connsiteX14" fmla="*/ 450423 w 578185"/>
                <a:gd name="connsiteY14" fmla="*/ 398306 h 408253"/>
                <a:gd name="connsiteX15" fmla="*/ 447072 w 578185"/>
                <a:gd name="connsiteY15" fmla="*/ 408146 h 408253"/>
                <a:gd name="connsiteX16" fmla="*/ 338964 w 578185"/>
                <a:gd name="connsiteY16" fmla="*/ 408146 h 408253"/>
                <a:gd name="connsiteX17" fmla="*/ 289414 w 578185"/>
                <a:gd name="connsiteY17" fmla="*/ 183832 h 408253"/>
                <a:gd name="connsiteX18" fmla="*/ 287189 w 578185"/>
                <a:gd name="connsiteY18" fmla="*/ 183644 h 408253"/>
                <a:gd name="connsiteX19" fmla="*/ 234663 w 578185"/>
                <a:gd name="connsiteY19" fmla="*/ 408253 h 408253"/>
                <a:gd name="connsiteX20" fmla="*/ 124035 w 578185"/>
                <a:gd name="connsiteY20" fmla="*/ 408253 h 408253"/>
                <a:gd name="connsiteX21" fmla="*/ 101941 w 578185"/>
                <a:gd name="connsiteY21" fmla="*/ 325536 h 408253"/>
                <a:gd name="connsiteX22" fmla="*/ 42176 w 578185"/>
                <a:gd name="connsiteY22" fmla="*/ 100874 h 408253"/>
                <a:gd name="connsiteX23" fmla="*/ 0 w 578185"/>
                <a:gd name="connsiteY23" fmla="*/ 66072 h 408253"/>
                <a:gd name="connsiteX24" fmla="*/ 0 w 578185"/>
                <a:gd name="connsiteY24" fmla="*/ 1266 h 408253"/>
                <a:gd name="connsiteX25" fmla="*/ 183880 w 578185"/>
                <a:gd name="connsiteY25" fmla="*/ 1266 h 408253"/>
                <a:gd name="connsiteX26" fmla="*/ 183880 w 578185"/>
                <a:gd name="connsiteY26" fmla="*/ 64650 h 408253"/>
                <a:gd name="connsiteX27" fmla="*/ 157658 w 578185"/>
                <a:gd name="connsiteY27" fmla="*/ 101920 h 408253"/>
                <a:gd name="connsiteX28" fmla="*/ 185677 w 578185"/>
                <a:gd name="connsiteY28" fmla="*/ 247485 h 408253"/>
                <a:gd name="connsiteX29" fmla="*/ 188599 w 578185"/>
                <a:gd name="connsiteY29" fmla="*/ 247351 h 408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78185" h="408253">
                  <a:moveTo>
                    <a:pt x="188626" y="247351"/>
                  </a:moveTo>
                  <a:cubicBezTo>
                    <a:pt x="195436" y="217133"/>
                    <a:pt x="202300" y="186889"/>
                    <a:pt x="209084" y="156671"/>
                  </a:cubicBezTo>
                  <a:cubicBezTo>
                    <a:pt x="219997" y="108033"/>
                    <a:pt x="230883" y="59422"/>
                    <a:pt x="241634" y="10757"/>
                  </a:cubicBezTo>
                  <a:cubicBezTo>
                    <a:pt x="243297" y="3250"/>
                    <a:pt x="246461" y="-155"/>
                    <a:pt x="255014" y="5"/>
                  </a:cubicBezTo>
                  <a:cubicBezTo>
                    <a:pt x="284481" y="595"/>
                    <a:pt x="314001" y="461"/>
                    <a:pt x="343468" y="86"/>
                  </a:cubicBezTo>
                  <a:cubicBezTo>
                    <a:pt x="351056" y="-21"/>
                    <a:pt x="354756" y="2285"/>
                    <a:pt x="356258" y="9926"/>
                  </a:cubicBezTo>
                  <a:cubicBezTo>
                    <a:pt x="371353" y="85886"/>
                    <a:pt x="386690" y="161792"/>
                    <a:pt x="402000" y="237699"/>
                  </a:cubicBezTo>
                  <a:cubicBezTo>
                    <a:pt x="402670" y="241050"/>
                    <a:pt x="403770" y="244321"/>
                    <a:pt x="406853" y="247646"/>
                  </a:cubicBezTo>
                  <a:cubicBezTo>
                    <a:pt x="419240" y="194611"/>
                    <a:pt x="431896" y="141602"/>
                    <a:pt x="443881" y="88487"/>
                  </a:cubicBezTo>
                  <a:cubicBezTo>
                    <a:pt x="447367" y="73043"/>
                    <a:pt x="441843" y="68377"/>
                    <a:pt x="418275" y="64463"/>
                  </a:cubicBezTo>
                  <a:lnTo>
                    <a:pt x="418275" y="1132"/>
                  </a:lnTo>
                  <a:lnTo>
                    <a:pt x="578185" y="1132"/>
                  </a:lnTo>
                  <a:lnTo>
                    <a:pt x="578185" y="65482"/>
                  </a:lnTo>
                  <a:cubicBezTo>
                    <a:pt x="549657" y="64302"/>
                    <a:pt x="542122" y="84626"/>
                    <a:pt x="535580" y="107309"/>
                  </a:cubicBezTo>
                  <a:cubicBezTo>
                    <a:pt x="507534" y="204397"/>
                    <a:pt x="478871" y="301325"/>
                    <a:pt x="450423" y="398306"/>
                  </a:cubicBezTo>
                  <a:cubicBezTo>
                    <a:pt x="449431" y="401657"/>
                    <a:pt x="448171" y="404955"/>
                    <a:pt x="447072" y="408146"/>
                  </a:cubicBezTo>
                  <a:lnTo>
                    <a:pt x="338964" y="408146"/>
                  </a:lnTo>
                  <a:cubicBezTo>
                    <a:pt x="322367" y="333044"/>
                    <a:pt x="305904" y="258425"/>
                    <a:pt x="289414" y="183832"/>
                  </a:cubicBezTo>
                  <a:lnTo>
                    <a:pt x="287189" y="183644"/>
                  </a:lnTo>
                  <a:cubicBezTo>
                    <a:pt x="269707" y="258398"/>
                    <a:pt x="252225" y="333151"/>
                    <a:pt x="234663" y="408253"/>
                  </a:cubicBezTo>
                  <a:lnTo>
                    <a:pt x="124035" y="408253"/>
                  </a:lnTo>
                  <a:cubicBezTo>
                    <a:pt x="116742" y="381012"/>
                    <a:pt x="109315" y="353287"/>
                    <a:pt x="101941" y="325536"/>
                  </a:cubicBezTo>
                  <a:cubicBezTo>
                    <a:pt x="82019" y="250649"/>
                    <a:pt x="62151" y="175735"/>
                    <a:pt x="42176" y="100874"/>
                  </a:cubicBezTo>
                  <a:cubicBezTo>
                    <a:pt x="36519" y="79665"/>
                    <a:pt x="28207" y="61192"/>
                    <a:pt x="0" y="66072"/>
                  </a:cubicBezTo>
                  <a:lnTo>
                    <a:pt x="0" y="1266"/>
                  </a:lnTo>
                  <a:lnTo>
                    <a:pt x="183880" y="1266"/>
                  </a:lnTo>
                  <a:lnTo>
                    <a:pt x="183880" y="64650"/>
                  </a:lnTo>
                  <a:cubicBezTo>
                    <a:pt x="152107" y="68726"/>
                    <a:pt x="151437" y="69691"/>
                    <a:pt x="157658" y="101920"/>
                  </a:cubicBezTo>
                  <a:cubicBezTo>
                    <a:pt x="167015" y="150451"/>
                    <a:pt x="176346" y="198954"/>
                    <a:pt x="185677" y="247485"/>
                  </a:cubicBezTo>
                  <a:lnTo>
                    <a:pt x="188599" y="247351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: Shape 6">
              <a:extLst>
                <a:ext uri="{FF2B5EF4-FFF2-40B4-BE49-F238E27FC236}">
                  <a16:creationId xmlns:a16="http://schemas.microsoft.com/office/drawing/2014/main" id="{EB69C67E-7641-F077-5B41-62D8AA722181}"/>
                </a:ext>
              </a:extLst>
            </p:cNvPr>
            <p:cNvSpPr/>
            <p:nvPr/>
          </p:nvSpPr>
          <p:spPr>
            <a:xfrm>
              <a:off x="8766811" y="259809"/>
              <a:ext cx="277264" cy="283641"/>
            </a:xfrm>
            <a:custGeom>
              <a:avLst/>
              <a:gdLst>
                <a:gd name="connsiteX0" fmla="*/ 0 w 404171"/>
                <a:gd name="connsiteY0" fmla="*/ 407794 h 413465"/>
                <a:gd name="connsiteX1" fmla="*/ 0 w 404171"/>
                <a:gd name="connsiteY1" fmla="*/ 342854 h 413465"/>
                <a:gd name="connsiteX2" fmla="*/ 21879 w 404171"/>
                <a:gd name="connsiteY2" fmla="*/ 341835 h 413465"/>
                <a:gd name="connsiteX3" fmla="*/ 38422 w 404171"/>
                <a:gd name="connsiteY3" fmla="*/ 324970 h 413465"/>
                <a:gd name="connsiteX4" fmla="*/ 38664 w 404171"/>
                <a:gd name="connsiteY4" fmla="*/ 280729 h 413465"/>
                <a:gd name="connsiteX5" fmla="*/ 38664 w 404171"/>
                <a:gd name="connsiteY5" fmla="*/ 99691 h 413465"/>
                <a:gd name="connsiteX6" fmla="*/ 6274 w 404171"/>
                <a:gd name="connsiteY6" fmla="*/ 65773 h 413465"/>
                <a:gd name="connsiteX7" fmla="*/ 134 w 404171"/>
                <a:gd name="connsiteY7" fmla="*/ 65076 h 413465"/>
                <a:gd name="connsiteX8" fmla="*/ 134 w 404171"/>
                <a:gd name="connsiteY8" fmla="*/ 860 h 413465"/>
                <a:gd name="connsiteX9" fmla="*/ 12843 w 404171"/>
                <a:gd name="connsiteY9" fmla="*/ 190 h 413465"/>
                <a:gd name="connsiteX10" fmla="*/ 156263 w 404171"/>
                <a:gd name="connsiteY10" fmla="*/ 2 h 413465"/>
                <a:gd name="connsiteX11" fmla="*/ 173852 w 404171"/>
                <a:gd name="connsiteY11" fmla="*/ 11961 h 413465"/>
                <a:gd name="connsiteX12" fmla="*/ 265605 w 404171"/>
                <a:gd name="connsiteY12" fmla="*/ 219811 h 413465"/>
                <a:gd name="connsiteX13" fmla="*/ 273675 w 404171"/>
                <a:gd name="connsiteY13" fmla="*/ 231260 h 413465"/>
                <a:gd name="connsiteX14" fmla="*/ 273675 w 404171"/>
                <a:gd name="connsiteY14" fmla="*/ 204153 h 413465"/>
                <a:gd name="connsiteX15" fmla="*/ 273675 w 404171"/>
                <a:gd name="connsiteY15" fmla="*/ 103579 h 413465"/>
                <a:gd name="connsiteX16" fmla="*/ 237103 w 404171"/>
                <a:gd name="connsiteY16" fmla="*/ 65130 h 413465"/>
                <a:gd name="connsiteX17" fmla="*/ 237103 w 404171"/>
                <a:gd name="connsiteY17" fmla="*/ 941 h 413465"/>
                <a:gd name="connsiteX18" fmla="*/ 404172 w 404171"/>
                <a:gd name="connsiteY18" fmla="*/ 941 h 413465"/>
                <a:gd name="connsiteX19" fmla="*/ 404172 w 404171"/>
                <a:gd name="connsiteY19" fmla="*/ 64245 h 413465"/>
                <a:gd name="connsiteX20" fmla="*/ 401759 w 404171"/>
                <a:gd name="connsiteY20" fmla="*/ 65398 h 413465"/>
                <a:gd name="connsiteX21" fmla="*/ 365374 w 404171"/>
                <a:gd name="connsiteY21" fmla="*/ 103445 h 413465"/>
                <a:gd name="connsiteX22" fmla="*/ 365508 w 404171"/>
                <a:gd name="connsiteY22" fmla="*/ 394441 h 413465"/>
                <a:gd name="connsiteX23" fmla="*/ 365508 w 404171"/>
                <a:gd name="connsiteY23" fmla="*/ 412004 h 413465"/>
                <a:gd name="connsiteX24" fmla="*/ 299201 w 404171"/>
                <a:gd name="connsiteY24" fmla="*/ 411977 h 413465"/>
                <a:gd name="connsiteX25" fmla="*/ 254665 w 404171"/>
                <a:gd name="connsiteY25" fmla="*/ 409698 h 413465"/>
                <a:gd name="connsiteX26" fmla="*/ 233752 w 404171"/>
                <a:gd name="connsiteY26" fmla="*/ 370498 h 413465"/>
                <a:gd name="connsiteX27" fmla="*/ 139613 w 404171"/>
                <a:gd name="connsiteY27" fmla="*/ 170986 h 413465"/>
                <a:gd name="connsiteX28" fmla="*/ 131569 w 404171"/>
                <a:gd name="connsiteY28" fmla="*/ 160019 h 413465"/>
                <a:gd name="connsiteX29" fmla="*/ 131569 w 404171"/>
                <a:gd name="connsiteY29" fmla="*/ 206191 h 413465"/>
                <a:gd name="connsiteX30" fmla="*/ 131489 w 404171"/>
                <a:gd name="connsiteY30" fmla="*/ 314808 h 413465"/>
                <a:gd name="connsiteX31" fmla="*/ 158355 w 404171"/>
                <a:gd name="connsiteY31" fmla="*/ 342211 h 413465"/>
                <a:gd name="connsiteX32" fmla="*/ 169830 w 404171"/>
                <a:gd name="connsiteY32" fmla="*/ 342211 h 413465"/>
                <a:gd name="connsiteX33" fmla="*/ 169830 w 404171"/>
                <a:gd name="connsiteY33" fmla="*/ 407740 h 413465"/>
                <a:gd name="connsiteX34" fmla="*/ 0 w 404171"/>
                <a:gd name="connsiteY34" fmla="*/ 407740 h 41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404171" h="413465">
                  <a:moveTo>
                    <a:pt x="0" y="407794"/>
                  </a:moveTo>
                  <a:lnTo>
                    <a:pt x="0" y="342854"/>
                  </a:lnTo>
                  <a:cubicBezTo>
                    <a:pt x="7776" y="342506"/>
                    <a:pt x="14827" y="342184"/>
                    <a:pt x="21879" y="341835"/>
                  </a:cubicBezTo>
                  <a:cubicBezTo>
                    <a:pt x="32550" y="341299"/>
                    <a:pt x="38342" y="335910"/>
                    <a:pt x="38422" y="324970"/>
                  </a:cubicBezTo>
                  <a:cubicBezTo>
                    <a:pt x="38530" y="310223"/>
                    <a:pt x="38664" y="295476"/>
                    <a:pt x="38664" y="280729"/>
                  </a:cubicBezTo>
                  <a:cubicBezTo>
                    <a:pt x="38664" y="220374"/>
                    <a:pt x="38664" y="160046"/>
                    <a:pt x="38664" y="99691"/>
                  </a:cubicBezTo>
                  <a:cubicBezTo>
                    <a:pt x="38664" y="69581"/>
                    <a:pt x="36197" y="67034"/>
                    <a:pt x="6274" y="65773"/>
                  </a:cubicBezTo>
                  <a:cubicBezTo>
                    <a:pt x="4531" y="65693"/>
                    <a:pt x="2789" y="65371"/>
                    <a:pt x="134" y="65076"/>
                  </a:cubicBezTo>
                  <a:lnTo>
                    <a:pt x="134" y="860"/>
                  </a:lnTo>
                  <a:cubicBezTo>
                    <a:pt x="4317" y="619"/>
                    <a:pt x="8580" y="190"/>
                    <a:pt x="12843" y="190"/>
                  </a:cubicBezTo>
                  <a:cubicBezTo>
                    <a:pt x="60650" y="190"/>
                    <a:pt x="108457" y="565"/>
                    <a:pt x="156263" y="2"/>
                  </a:cubicBezTo>
                  <a:cubicBezTo>
                    <a:pt x="166077" y="-105"/>
                    <a:pt x="170233" y="3649"/>
                    <a:pt x="173852" y="11961"/>
                  </a:cubicBezTo>
                  <a:cubicBezTo>
                    <a:pt x="204231" y="81351"/>
                    <a:pt x="234958" y="150555"/>
                    <a:pt x="265605" y="219811"/>
                  </a:cubicBezTo>
                  <a:cubicBezTo>
                    <a:pt x="267348" y="223753"/>
                    <a:pt x="269251" y="227641"/>
                    <a:pt x="273675" y="231260"/>
                  </a:cubicBezTo>
                  <a:cubicBezTo>
                    <a:pt x="273675" y="222224"/>
                    <a:pt x="273675" y="213189"/>
                    <a:pt x="273675" y="204153"/>
                  </a:cubicBezTo>
                  <a:cubicBezTo>
                    <a:pt x="273675" y="170637"/>
                    <a:pt x="273675" y="137095"/>
                    <a:pt x="273675" y="103579"/>
                  </a:cubicBezTo>
                  <a:cubicBezTo>
                    <a:pt x="273675" y="69152"/>
                    <a:pt x="272388" y="67784"/>
                    <a:pt x="237103" y="65130"/>
                  </a:cubicBezTo>
                  <a:lnTo>
                    <a:pt x="237103" y="941"/>
                  </a:lnTo>
                  <a:lnTo>
                    <a:pt x="404172" y="941"/>
                  </a:lnTo>
                  <a:lnTo>
                    <a:pt x="404172" y="64245"/>
                  </a:lnTo>
                  <a:cubicBezTo>
                    <a:pt x="403260" y="64701"/>
                    <a:pt x="402536" y="65344"/>
                    <a:pt x="401759" y="65398"/>
                  </a:cubicBezTo>
                  <a:cubicBezTo>
                    <a:pt x="365991" y="67168"/>
                    <a:pt x="365347" y="67838"/>
                    <a:pt x="365374" y="103445"/>
                  </a:cubicBezTo>
                  <a:cubicBezTo>
                    <a:pt x="365428" y="200453"/>
                    <a:pt x="365481" y="297434"/>
                    <a:pt x="365508" y="394441"/>
                  </a:cubicBezTo>
                  <a:cubicBezTo>
                    <a:pt x="365508" y="399723"/>
                    <a:pt x="365508" y="404979"/>
                    <a:pt x="365508" y="412004"/>
                  </a:cubicBezTo>
                  <a:cubicBezTo>
                    <a:pt x="342637" y="412004"/>
                    <a:pt x="320919" y="412111"/>
                    <a:pt x="299201" y="411977"/>
                  </a:cubicBezTo>
                  <a:cubicBezTo>
                    <a:pt x="284052" y="411870"/>
                    <a:pt x="265632" y="416615"/>
                    <a:pt x="254665" y="409698"/>
                  </a:cubicBezTo>
                  <a:cubicBezTo>
                    <a:pt x="243779" y="402834"/>
                    <a:pt x="240187" y="384145"/>
                    <a:pt x="233752" y="370498"/>
                  </a:cubicBezTo>
                  <a:cubicBezTo>
                    <a:pt x="202327" y="304030"/>
                    <a:pt x="171010" y="237481"/>
                    <a:pt x="139613" y="170986"/>
                  </a:cubicBezTo>
                  <a:cubicBezTo>
                    <a:pt x="137790" y="167125"/>
                    <a:pt x="135725" y="163398"/>
                    <a:pt x="131569" y="160019"/>
                  </a:cubicBezTo>
                  <a:cubicBezTo>
                    <a:pt x="131569" y="175410"/>
                    <a:pt x="131569" y="190800"/>
                    <a:pt x="131569" y="206191"/>
                  </a:cubicBezTo>
                  <a:cubicBezTo>
                    <a:pt x="131542" y="242388"/>
                    <a:pt x="131462" y="278611"/>
                    <a:pt x="131489" y="314808"/>
                  </a:cubicBezTo>
                  <a:cubicBezTo>
                    <a:pt x="131489" y="338618"/>
                    <a:pt x="134706" y="341835"/>
                    <a:pt x="158355" y="342211"/>
                  </a:cubicBezTo>
                  <a:cubicBezTo>
                    <a:pt x="161894" y="342264"/>
                    <a:pt x="165406" y="342211"/>
                    <a:pt x="169830" y="342211"/>
                  </a:cubicBezTo>
                  <a:lnTo>
                    <a:pt x="169830" y="407740"/>
                  </a:lnTo>
                  <a:lnTo>
                    <a:pt x="0" y="40774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: Shape 7">
              <a:extLst>
                <a:ext uri="{FF2B5EF4-FFF2-40B4-BE49-F238E27FC236}">
                  <a16:creationId xmlns:a16="http://schemas.microsoft.com/office/drawing/2014/main" id="{297A5739-E1FC-72BF-6C6A-997A8DEA7413}"/>
                </a:ext>
              </a:extLst>
            </p:cNvPr>
            <p:cNvSpPr/>
            <p:nvPr/>
          </p:nvSpPr>
          <p:spPr>
            <a:xfrm>
              <a:off x="9085608" y="260399"/>
              <a:ext cx="223758" cy="279344"/>
            </a:xfrm>
            <a:custGeom>
              <a:avLst/>
              <a:gdLst>
                <a:gd name="connsiteX0" fmla="*/ 27 w 326174"/>
                <a:gd name="connsiteY0" fmla="*/ 0 h 407201"/>
                <a:gd name="connsiteX1" fmla="*/ 319981 w 326174"/>
                <a:gd name="connsiteY1" fmla="*/ 0 h 407201"/>
                <a:gd name="connsiteX2" fmla="*/ 319981 w 326174"/>
                <a:gd name="connsiteY2" fmla="*/ 119879 h 407201"/>
                <a:gd name="connsiteX3" fmla="*/ 235628 w 326174"/>
                <a:gd name="connsiteY3" fmla="*/ 119879 h 407201"/>
                <a:gd name="connsiteX4" fmla="*/ 235682 w 326174"/>
                <a:gd name="connsiteY4" fmla="*/ 98429 h 407201"/>
                <a:gd name="connsiteX5" fmla="*/ 218656 w 326174"/>
                <a:gd name="connsiteY5" fmla="*/ 78936 h 407201"/>
                <a:gd name="connsiteX6" fmla="*/ 152670 w 326174"/>
                <a:gd name="connsiteY6" fmla="*/ 78722 h 407201"/>
                <a:gd name="connsiteX7" fmla="*/ 152670 w 326174"/>
                <a:gd name="connsiteY7" fmla="*/ 156210 h 407201"/>
                <a:gd name="connsiteX8" fmla="*/ 271638 w 326174"/>
                <a:gd name="connsiteY8" fmla="*/ 156210 h 407201"/>
                <a:gd name="connsiteX9" fmla="*/ 271638 w 326174"/>
                <a:gd name="connsiteY9" fmla="*/ 238980 h 407201"/>
                <a:gd name="connsiteX10" fmla="*/ 152858 w 326174"/>
                <a:gd name="connsiteY10" fmla="*/ 238980 h 407201"/>
                <a:gd name="connsiteX11" fmla="*/ 152858 w 326174"/>
                <a:gd name="connsiteY11" fmla="*/ 327542 h 407201"/>
                <a:gd name="connsiteX12" fmla="*/ 227933 w 326174"/>
                <a:gd name="connsiteY12" fmla="*/ 327354 h 407201"/>
                <a:gd name="connsiteX13" fmla="*/ 243163 w 326174"/>
                <a:gd name="connsiteY13" fmla="*/ 308800 h 407201"/>
                <a:gd name="connsiteX14" fmla="*/ 243243 w 326174"/>
                <a:gd name="connsiteY14" fmla="*/ 282685 h 407201"/>
                <a:gd name="connsiteX15" fmla="*/ 326174 w 326174"/>
                <a:gd name="connsiteY15" fmla="*/ 282685 h 407201"/>
                <a:gd name="connsiteX16" fmla="*/ 326174 w 326174"/>
                <a:gd name="connsiteY16" fmla="*/ 407202 h 407201"/>
                <a:gd name="connsiteX17" fmla="*/ 0 w 326174"/>
                <a:gd name="connsiteY17" fmla="*/ 407202 h 407201"/>
                <a:gd name="connsiteX18" fmla="*/ 0 w 326174"/>
                <a:gd name="connsiteY18" fmla="*/ 341216 h 407201"/>
                <a:gd name="connsiteX19" fmla="*/ 17991 w 326174"/>
                <a:gd name="connsiteY19" fmla="*/ 341163 h 407201"/>
                <a:gd name="connsiteX20" fmla="*/ 37001 w 326174"/>
                <a:gd name="connsiteY20" fmla="*/ 321831 h 407201"/>
                <a:gd name="connsiteX21" fmla="*/ 37109 w 326174"/>
                <a:gd name="connsiteY21" fmla="*/ 198493 h 407201"/>
                <a:gd name="connsiteX22" fmla="*/ 37109 w 326174"/>
                <a:gd name="connsiteY22" fmla="*/ 92584 h 407201"/>
                <a:gd name="connsiteX23" fmla="*/ 10216 w 326174"/>
                <a:gd name="connsiteY23" fmla="*/ 64860 h 407201"/>
                <a:gd name="connsiteX24" fmla="*/ 27 w 326174"/>
                <a:gd name="connsiteY24" fmla="*/ 64404 h 407201"/>
                <a:gd name="connsiteX25" fmla="*/ 27 w 326174"/>
                <a:gd name="connsiteY25" fmla="*/ 0 h 407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26174" h="407201">
                  <a:moveTo>
                    <a:pt x="27" y="0"/>
                  </a:moveTo>
                  <a:lnTo>
                    <a:pt x="319981" y="0"/>
                  </a:lnTo>
                  <a:lnTo>
                    <a:pt x="319981" y="119879"/>
                  </a:lnTo>
                  <a:lnTo>
                    <a:pt x="235628" y="119879"/>
                  </a:lnTo>
                  <a:cubicBezTo>
                    <a:pt x="235628" y="112479"/>
                    <a:pt x="235333" y="105427"/>
                    <a:pt x="235682" y="98429"/>
                  </a:cubicBezTo>
                  <a:cubicBezTo>
                    <a:pt x="236272" y="86283"/>
                    <a:pt x="230185" y="79311"/>
                    <a:pt x="218656" y="78936"/>
                  </a:cubicBezTo>
                  <a:cubicBezTo>
                    <a:pt x="196911" y="78239"/>
                    <a:pt x="175139" y="78722"/>
                    <a:pt x="152670" y="78722"/>
                  </a:cubicBezTo>
                  <a:lnTo>
                    <a:pt x="152670" y="156210"/>
                  </a:lnTo>
                  <a:lnTo>
                    <a:pt x="271638" y="156210"/>
                  </a:lnTo>
                  <a:lnTo>
                    <a:pt x="271638" y="238980"/>
                  </a:lnTo>
                  <a:lnTo>
                    <a:pt x="152858" y="238980"/>
                  </a:lnTo>
                  <a:lnTo>
                    <a:pt x="152858" y="327542"/>
                  </a:lnTo>
                  <a:cubicBezTo>
                    <a:pt x="178196" y="327542"/>
                    <a:pt x="203078" y="327944"/>
                    <a:pt x="227933" y="327354"/>
                  </a:cubicBezTo>
                  <a:cubicBezTo>
                    <a:pt x="239007" y="327086"/>
                    <a:pt x="242680" y="318560"/>
                    <a:pt x="243163" y="308800"/>
                  </a:cubicBezTo>
                  <a:cubicBezTo>
                    <a:pt x="243565" y="300408"/>
                    <a:pt x="243243" y="291962"/>
                    <a:pt x="243243" y="282685"/>
                  </a:cubicBezTo>
                  <a:lnTo>
                    <a:pt x="326174" y="282685"/>
                  </a:lnTo>
                  <a:lnTo>
                    <a:pt x="326174" y="407202"/>
                  </a:lnTo>
                  <a:lnTo>
                    <a:pt x="0" y="407202"/>
                  </a:lnTo>
                  <a:lnTo>
                    <a:pt x="0" y="341216"/>
                  </a:lnTo>
                  <a:cubicBezTo>
                    <a:pt x="5872" y="341216"/>
                    <a:pt x="11932" y="341431"/>
                    <a:pt x="17991" y="341163"/>
                  </a:cubicBezTo>
                  <a:cubicBezTo>
                    <a:pt x="33301" y="340519"/>
                    <a:pt x="36948" y="337007"/>
                    <a:pt x="37001" y="321831"/>
                  </a:cubicBezTo>
                  <a:cubicBezTo>
                    <a:pt x="37162" y="280727"/>
                    <a:pt x="37082" y="239624"/>
                    <a:pt x="37109" y="198493"/>
                  </a:cubicBezTo>
                  <a:cubicBezTo>
                    <a:pt x="37109" y="163181"/>
                    <a:pt x="37109" y="127896"/>
                    <a:pt x="37109" y="92584"/>
                  </a:cubicBezTo>
                  <a:cubicBezTo>
                    <a:pt x="37109" y="69015"/>
                    <a:pt x="33650" y="65503"/>
                    <a:pt x="10216" y="64860"/>
                  </a:cubicBezTo>
                  <a:cubicBezTo>
                    <a:pt x="7132" y="64779"/>
                    <a:pt x="4049" y="64591"/>
                    <a:pt x="27" y="64404"/>
                  </a:cubicBezTo>
                  <a:lnTo>
                    <a:pt x="27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: Shape 8">
              <a:extLst>
                <a:ext uri="{FF2B5EF4-FFF2-40B4-BE49-F238E27FC236}">
                  <a16:creationId xmlns:a16="http://schemas.microsoft.com/office/drawing/2014/main" id="{EC18E542-FA57-E723-7A22-8BE3C45854AA}"/>
                </a:ext>
              </a:extLst>
            </p:cNvPr>
            <p:cNvSpPr/>
            <p:nvPr/>
          </p:nvSpPr>
          <p:spPr>
            <a:xfrm>
              <a:off x="9761971" y="250670"/>
              <a:ext cx="204990" cy="298460"/>
            </a:xfrm>
            <a:custGeom>
              <a:avLst/>
              <a:gdLst>
                <a:gd name="connsiteX0" fmla="*/ 248 w 298816"/>
                <a:gd name="connsiteY0" fmla="*/ 286088 h 435066"/>
                <a:gd name="connsiteX1" fmla="*/ 91304 w 298816"/>
                <a:gd name="connsiteY1" fmla="*/ 286088 h 435066"/>
                <a:gd name="connsiteX2" fmla="*/ 91357 w 298816"/>
                <a:gd name="connsiteY2" fmla="*/ 318049 h 435066"/>
                <a:gd name="connsiteX3" fmla="*/ 163242 w 298816"/>
                <a:gd name="connsiteY3" fmla="*/ 359742 h 435066"/>
                <a:gd name="connsiteX4" fmla="*/ 170159 w 298816"/>
                <a:gd name="connsiteY4" fmla="*/ 288662 h 435066"/>
                <a:gd name="connsiteX5" fmla="*/ 124551 w 298816"/>
                <a:gd name="connsiteY5" fmla="*/ 258418 h 435066"/>
                <a:gd name="connsiteX6" fmla="*/ 55455 w 298816"/>
                <a:gd name="connsiteY6" fmla="*/ 215089 h 435066"/>
                <a:gd name="connsiteX7" fmla="*/ 543 w 298816"/>
                <a:gd name="connsiteY7" fmla="*/ 124221 h 435066"/>
                <a:gd name="connsiteX8" fmla="*/ 99240 w 298816"/>
                <a:gd name="connsiteY8" fmla="*/ 4074 h 435066"/>
                <a:gd name="connsiteX9" fmla="*/ 267891 w 298816"/>
                <a:gd name="connsiteY9" fmla="*/ 20430 h 435066"/>
                <a:gd name="connsiteX10" fmla="*/ 278509 w 298816"/>
                <a:gd name="connsiteY10" fmla="*/ 31021 h 435066"/>
                <a:gd name="connsiteX11" fmla="*/ 278991 w 298816"/>
                <a:gd name="connsiteY11" fmla="*/ 136501 h 435066"/>
                <a:gd name="connsiteX12" fmla="*/ 191153 w 298816"/>
                <a:gd name="connsiteY12" fmla="*/ 136501 h 435066"/>
                <a:gd name="connsiteX13" fmla="*/ 191019 w 298816"/>
                <a:gd name="connsiteY13" fmla="*/ 100706 h 435066"/>
                <a:gd name="connsiteX14" fmla="*/ 161928 w 298816"/>
                <a:gd name="connsiteY14" fmla="*/ 65796 h 435066"/>
                <a:gd name="connsiteX15" fmla="*/ 113933 w 298816"/>
                <a:gd name="connsiteY15" fmla="*/ 83493 h 435066"/>
                <a:gd name="connsiteX16" fmla="*/ 122165 w 298816"/>
                <a:gd name="connsiteY16" fmla="*/ 131648 h 435066"/>
                <a:gd name="connsiteX17" fmla="*/ 172438 w 298816"/>
                <a:gd name="connsiteY17" fmla="*/ 164386 h 435066"/>
                <a:gd name="connsiteX18" fmla="*/ 246360 w 298816"/>
                <a:gd name="connsiteY18" fmla="*/ 207447 h 435066"/>
                <a:gd name="connsiteX19" fmla="*/ 294945 w 298816"/>
                <a:gd name="connsiteY19" fmla="*/ 337836 h 435066"/>
                <a:gd name="connsiteX20" fmla="*/ 194746 w 298816"/>
                <a:gd name="connsiteY20" fmla="*/ 430259 h 435066"/>
                <a:gd name="connsiteX21" fmla="*/ 12448 w 298816"/>
                <a:gd name="connsiteY21" fmla="*/ 415432 h 435066"/>
                <a:gd name="connsiteX22" fmla="*/ 7 w 298816"/>
                <a:gd name="connsiteY22" fmla="*/ 398915 h 435066"/>
                <a:gd name="connsiteX23" fmla="*/ 275 w 298816"/>
                <a:gd name="connsiteY23" fmla="*/ 286088 h 4350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98816" h="435066">
                  <a:moveTo>
                    <a:pt x="248" y="286088"/>
                  </a:moveTo>
                  <a:lnTo>
                    <a:pt x="91304" y="286088"/>
                  </a:lnTo>
                  <a:cubicBezTo>
                    <a:pt x="91304" y="296921"/>
                    <a:pt x="90982" y="307485"/>
                    <a:pt x="91357" y="318049"/>
                  </a:cubicBezTo>
                  <a:cubicBezTo>
                    <a:pt x="92725" y="356283"/>
                    <a:pt x="129351" y="377439"/>
                    <a:pt x="163242" y="359742"/>
                  </a:cubicBezTo>
                  <a:cubicBezTo>
                    <a:pt x="188070" y="346765"/>
                    <a:pt x="192682" y="307994"/>
                    <a:pt x="170159" y="288662"/>
                  </a:cubicBezTo>
                  <a:cubicBezTo>
                    <a:pt x="156431" y="276865"/>
                    <a:pt x="139995" y="268151"/>
                    <a:pt x="124551" y="258418"/>
                  </a:cubicBezTo>
                  <a:cubicBezTo>
                    <a:pt x="101546" y="243912"/>
                    <a:pt x="77388" y="231015"/>
                    <a:pt x="55455" y="215089"/>
                  </a:cubicBezTo>
                  <a:cubicBezTo>
                    <a:pt x="24808" y="192834"/>
                    <a:pt x="2903" y="163823"/>
                    <a:pt x="543" y="124221"/>
                  </a:cubicBezTo>
                  <a:cubicBezTo>
                    <a:pt x="-3103" y="63142"/>
                    <a:pt x="37437" y="13405"/>
                    <a:pt x="99240" y="4074"/>
                  </a:cubicBezTo>
                  <a:cubicBezTo>
                    <a:pt x="156646" y="-4613"/>
                    <a:pt x="213140" y="481"/>
                    <a:pt x="267891" y="20430"/>
                  </a:cubicBezTo>
                  <a:cubicBezTo>
                    <a:pt x="272288" y="22038"/>
                    <a:pt x="278428" y="27321"/>
                    <a:pt x="278509" y="31021"/>
                  </a:cubicBezTo>
                  <a:cubicBezTo>
                    <a:pt x="279313" y="65823"/>
                    <a:pt x="278991" y="100653"/>
                    <a:pt x="278991" y="136501"/>
                  </a:cubicBezTo>
                  <a:lnTo>
                    <a:pt x="191153" y="136501"/>
                  </a:lnTo>
                  <a:cubicBezTo>
                    <a:pt x="191153" y="124543"/>
                    <a:pt x="191797" y="112584"/>
                    <a:pt x="191019" y="100706"/>
                  </a:cubicBezTo>
                  <a:cubicBezTo>
                    <a:pt x="189679" y="80677"/>
                    <a:pt x="179678" y="69202"/>
                    <a:pt x="161928" y="65796"/>
                  </a:cubicBezTo>
                  <a:cubicBezTo>
                    <a:pt x="140317" y="61641"/>
                    <a:pt x="122138" y="68370"/>
                    <a:pt x="113933" y="83493"/>
                  </a:cubicBezTo>
                  <a:cubicBezTo>
                    <a:pt x="104281" y="101323"/>
                    <a:pt x="105809" y="118349"/>
                    <a:pt x="122165" y="131648"/>
                  </a:cubicBezTo>
                  <a:cubicBezTo>
                    <a:pt x="137582" y="144196"/>
                    <a:pt x="155251" y="154117"/>
                    <a:pt x="172438" y="164386"/>
                  </a:cubicBezTo>
                  <a:cubicBezTo>
                    <a:pt x="196918" y="179026"/>
                    <a:pt x="222765" y="191547"/>
                    <a:pt x="246360" y="207447"/>
                  </a:cubicBezTo>
                  <a:cubicBezTo>
                    <a:pt x="290601" y="237236"/>
                    <a:pt x="307091" y="283863"/>
                    <a:pt x="294945" y="337836"/>
                  </a:cubicBezTo>
                  <a:cubicBezTo>
                    <a:pt x="284300" y="385161"/>
                    <a:pt x="244081" y="422081"/>
                    <a:pt x="194746" y="430259"/>
                  </a:cubicBezTo>
                  <a:cubicBezTo>
                    <a:pt x="132702" y="440555"/>
                    <a:pt x="72186" y="433718"/>
                    <a:pt x="12448" y="415432"/>
                  </a:cubicBezTo>
                  <a:cubicBezTo>
                    <a:pt x="3439" y="412670"/>
                    <a:pt x="-181" y="408970"/>
                    <a:pt x="7" y="398915"/>
                  </a:cubicBezTo>
                  <a:cubicBezTo>
                    <a:pt x="704" y="361834"/>
                    <a:pt x="275" y="324752"/>
                    <a:pt x="275" y="286088"/>
                  </a:cubicBezTo>
                  <a:close/>
                </a:path>
              </a:pathLst>
            </a:custGeom>
            <a:grpFill/>
            <a:ln w="254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15" name="Grafik 14">
            <a:extLst>
              <a:ext uri="{FF2B5EF4-FFF2-40B4-BE49-F238E27FC236}">
                <a16:creationId xmlns:a16="http://schemas.microsoft.com/office/drawing/2014/main" id="{89A79D9B-1470-E30E-083F-F467FBF1896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6017" y="1079433"/>
            <a:ext cx="4381827" cy="3617243"/>
          </a:xfrm>
          <a:prstGeom prst="rect">
            <a:avLst/>
          </a:prstGeom>
        </p:spPr>
      </p:pic>
      <p:sp>
        <p:nvSpPr>
          <p:cNvPr id="16" name="Ellipse 15">
            <a:extLst>
              <a:ext uri="{FF2B5EF4-FFF2-40B4-BE49-F238E27FC236}">
                <a16:creationId xmlns:a16="http://schemas.microsoft.com/office/drawing/2014/main" id="{F465A5FC-E0BF-D0CC-D094-B4D2920868E4}"/>
              </a:ext>
            </a:extLst>
          </p:cNvPr>
          <p:cNvSpPr/>
          <p:nvPr/>
        </p:nvSpPr>
        <p:spPr>
          <a:xfrm rot="2691861">
            <a:off x="2297802" y="2791221"/>
            <a:ext cx="1278119" cy="566401"/>
          </a:xfrm>
          <a:prstGeom prst="ellipse">
            <a:avLst/>
          </a:prstGeom>
          <a:noFill/>
          <a:ln w="38100">
            <a:solidFill>
              <a:schemeClr val="accent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Ellipse 16">
            <a:extLst>
              <a:ext uri="{FF2B5EF4-FFF2-40B4-BE49-F238E27FC236}">
                <a16:creationId xmlns:a16="http://schemas.microsoft.com/office/drawing/2014/main" id="{74A17510-9D0A-24FB-39CC-B8C0FEF03A19}"/>
              </a:ext>
            </a:extLst>
          </p:cNvPr>
          <p:cNvSpPr/>
          <p:nvPr/>
        </p:nvSpPr>
        <p:spPr>
          <a:xfrm rot="6649135">
            <a:off x="3127516" y="2991368"/>
            <a:ext cx="1049522" cy="429512"/>
          </a:xfrm>
          <a:prstGeom prst="ellipse">
            <a:avLst/>
          </a:prstGeom>
          <a:noFill/>
          <a:ln w="38100">
            <a:solidFill>
              <a:schemeClr val="accent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Ellipse 17">
            <a:extLst>
              <a:ext uri="{FF2B5EF4-FFF2-40B4-BE49-F238E27FC236}">
                <a16:creationId xmlns:a16="http://schemas.microsoft.com/office/drawing/2014/main" id="{D161849E-7345-5755-484D-9AF7338A1171}"/>
              </a:ext>
            </a:extLst>
          </p:cNvPr>
          <p:cNvSpPr/>
          <p:nvPr/>
        </p:nvSpPr>
        <p:spPr>
          <a:xfrm rot="8603918">
            <a:off x="2960895" y="2193213"/>
            <a:ext cx="738597" cy="634602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Ellipse 18">
            <a:extLst>
              <a:ext uri="{FF2B5EF4-FFF2-40B4-BE49-F238E27FC236}">
                <a16:creationId xmlns:a16="http://schemas.microsoft.com/office/drawing/2014/main" id="{DEDC1AF0-13A2-588D-72FD-EC80156731D6}"/>
              </a:ext>
            </a:extLst>
          </p:cNvPr>
          <p:cNvSpPr/>
          <p:nvPr/>
        </p:nvSpPr>
        <p:spPr>
          <a:xfrm rot="8603918">
            <a:off x="1972500" y="3237710"/>
            <a:ext cx="595459" cy="511469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5178533C-1B85-0A23-1471-856A1312DE8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3415" y="1079432"/>
            <a:ext cx="3620907" cy="3617243"/>
          </a:xfrm>
          <a:prstGeom prst="rect">
            <a:avLst/>
          </a:prstGeom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3808E075-6852-DA19-3462-9E4B408BBF40}"/>
              </a:ext>
            </a:extLst>
          </p:cNvPr>
          <p:cNvSpPr txBox="1"/>
          <p:nvPr/>
        </p:nvSpPr>
        <p:spPr>
          <a:xfrm>
            <a:off x="3787088" y="1284348"/>
            <a:ext cx="792000" cy="32400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vert="horz" wrap="none" lIns="36000" tIns="36000" rIns="36000" bIns="36000" rtlCol="0" anchor="ctr">
            <a:noAutofit/>
          </a:bodyPr>
          <a:lstStyle/>
          <a:p>
            <a:r>
              <a:rPr lang="en-GB" sz="900" b="1" dirty="0">
                <a:solidFill>
                  <a:schemeClr val="accent6"/>
                </a:solidFill>
              </a:rPr>
              <a:t>Rainfall surplus</a:t>
            </a:r>
          </a:p>
          <a:p>
            <a:r>
              <a:rPr lang="en-GB" sz="900" b="1" dirty="0">
                <a:solidFill>
                  <a:srgbClr val="FF0000"/>
                </a:solidFill>
              </a:rPr>
              <a:t>Rainfall deficit</a:t>
            </a:r>
          </a:p>
        </p:txBody>
      </p:sp>
    </p:spTree>
    <p:extLst>
      <p:ext uri="{BB962C8B-B14F-4D97-AF65-F5344CB8AC3E}">
        <p14:creationId xmlns:p14="http://schemas.microsoft.com/office/powerpoint/2010/main" val="323150710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D8E16F6-AA17-545B-3887-BAC3AABB09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z="2400" dirty="0"/>
              <a:t>Muy buen pronóstico de rendimiento Colza </a:t>
            </a:r>
            <a:r>
              <a:rPr lang="en-GB" sz="2400" dirty="0"/>
              <a:t>2023</a:t>
            </a:r>
            <a:endParaRPr lang="en-GB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C3E52BF-E8DB-5DF2-BC8A-BF68A340A89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65786" y="865637"/>
            <a:ext cx="3840390" cy="1476934"/>
          </a:xfrm>
        </p:spPr>
        <p:txBody>
          <a:bodyPr/>
          <a:lstStyle/>
          <a:p>
            <a:pPr marL="176213" indent="-176213" defTabSz="288000"/>
            <a:r>
              <a:rPr lang="es-ES" sz="1000" dirty="0"/>
              <a:t>Muy buen pronóstico de rendimiento para la cosecha </a:t>
            </a:r>
            <a:r>
              <a:rPr lang="en-GB" sz="1000" dirty="0"/>
              <a:t>2023</a:t>
            </a:r>
          </a:p>
          <a:p>
            <a:pPr marL="176213" indent="-176213" defTabSz="288000"/>
            <a:r>
              <a:rPr lang="es-ES" sz="1000" dirty="0"/>
              <a:t>Alto nivel de rendimiento promedio similar al de 2022 </a:t>
            </a:r>
            <a:r>
              <a:rPr lang="en-GB" sz="1000" dirty="0"/>
              <a:t>(</a:t>
            </a:r>
            <a:r>
              <a:rPr lang="en-GB" sz="1000" dirty="0" err="1"/>
              <a:t>en</a:t>
            </a:r>
            <a:r>
              <a:rPr lang="en-GB" sz="1000" dirty="0"/>
              <a:t> la UE)</a:t>
            </a:r>
          </a:p>
          <a:p>
            <a:pPr marL="176213" indent="-176213" defTabSz="288000"/>
            <a:r>
              <a:rPr lang="es-ES" sz="1000" dirty="0"/>
              <a:t>+8% frente a una media de 5 años (nivel de la UE)</a:t>
            </a:r>
            <a:r>
              <a:rPr lang="en-GB" sz="1000" dirty="0"/>
              <a:t>)</a:t>
            </a:r>
          </a:p>
          <a:p>
            <a:pPr marL="176213" indent="-176213" defTabSz="288000"/>
            <a:r>
              <a:rPr lang="es-ES" sz="1000" dirty="0"/>
              <a:t>Aspectos destacados vs promedio de 5 años: RO + 21%, BG + 18%, HU + 16%, DE &amp; LV +12</a:t>
            </a:r>
            <a:r>
              <a:rPr lang="en-GB" sz="1000" dirty="0"/>
              <a:t>%</a:t>
            </a:r>
          </a:p>
          <a:p>
            <a:pPr marL="176213" indent="-176213" defTabSz="288000"/>
            <a:r>
              <a:rPr lang="es-ES" sz="1000" dirty="0"/>
              <a:t>Pronóstico de rendimiento más bajo vs promedio de 5 años: </a:t>
            </a:r>
          </a:p>
          <a:p>
            <a:pPr marL="0" indent="0" defTabSz="288000">
              <a:buNone/>
            </a:pPr>
            <a:r>
              <a:rPr lang="es-ES" sz="1000" dirty="0"/>
              <a:t>      ES -23% (debido a la ola de calor en la primavera de 2023), EE -9%,              	FI -8%</a:t>
            </a:r>
            <a:endParaRPr lang="en-GB" sz="1000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99F3752B-7DB4-057F-0E3A-366709A6668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1588" y="1116675"/>
            <a:ext cx="2640320" cy="3323541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9B4A9FEA-C4AC-1C7B-DD24-D6DD9FF6CB2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20916" y="1103975"/>
            <a:ext cx="2044870" cy="3353930"/>
          </a:xfrm>
          <a:prstGeom prst="rect">
            <a:avLst/>
          </a:prstGeom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3902EAC7-7EC6-71EF-54A5-7F0F4B19C553}"/>
              </a:ext>
            </a:extLst>
          </p:cNvPr>
          <p:cNvSpPr/>
          <p:nvPr/>
        </p:nvSpPr>
        <p:spPr>
          <a:xfrm>
            <a:off x="5074114" y="2369196"/>
            <a:ext cx="3200944" cy="205786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200" b="1" dirty="0"/>
              <a:t>¡Los augurios para la mayoría de países europeos son buenos!
¡Los agricultores europeos deben esperar altos rendimientos de COLZA en la cosecha 2023!</a:t>
            </a:r>
          </a:p>
          <a:p>
            <a:pPr algn="ctr"/>
            <a:endParaRPr lang="es-ES" sz="1200" b="1" dirty="0"/>
          </a:p>
          <a:p>
            <a:pPr algn="ctr"/>
            <a:endParaRPr lang="es-ES" sz="1200" b="1" dirty="0"/>
          </a:p>
          <a:p>
            <a:pPr algn="ctr"/>
            <a:r>
              <a:rPr lang="es-ES" sz="1200" b="1" dirty="0"/>
              <a:t>En España, sin embargo, esta situación es la contraria, con una bajada en el rendimiento del 23% respecto a la media de los últimos 5 años!</a:t>
            </a:r>
          </a:p>
        </p:txBody>
      </p:sp>
      <p:grpSp>
        <p:nvGrpSpPr>
          <p:cNvPr id="12" name="Group 33">
            <a:extLst>
              <a:ext uri="{FF2B5EF4-FFF2-40B4-BE49-F238E27FC236}">
                <a16:creationId xmlns:a16="http://schemas.microsoft.com/office/drawing/2014/main" id="{DD4FFB98-7278-79E2-E8C9-D0060258B911}"/>
              </a:ext>
            </a:extLst>
          </p:cNvPr>
          <p:cNvGrpSpPr/>
          <p:nvPr/>
        </p:nvGrpSpPr>
        <p:grpSpPr>
          <a:xfrm>
            <a:off x="8072762" y="2313337"/>
            <a:ext cx="612096" cy="596601"/>
            <a:chOff x="8438268" y="890624"/>
            <a:chExt cx="612096" cy="596601"/>
          </a:xfrm>
        </p:grpSpPr>
        <p:pic>
          <p:nvPicPr>
            <p:cNvPr id="13" name="Picture 62">
              <a:extLst>
                <a:ext uri="{FF2B5EF4-FFF2-40B4-BE49-F238E27FC236}">
                  <a16:creationId xmlns:a16="http://schemas.microsoft.com/office/drawing/2014/main" id="{3C916FBC-05BE-64A3-173A-F294D21D694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438268" y="890624"/>
              <a:ext cx="612096" cy="596601"/>
            </a:xfrm>
            <a:custGeom>
              <a:avLst/>
              <a:gdLst>
                <a:gd name="connsiteX0" fmla="*/ 0 w 418839"/>
                <a:gd name="connsiteY0" fmla="*/ 0 h 408236"/>
                <a:gd name="connsiteX1" fmla="*/ 418840 w 418839"/>
                <a:gd name="connsiteY1" fmla="*/ 0 h 408236"/>
                <a:gd name="connsiteX2" fmla="*/ 418840 w 418839"/>
                <a:gd name="connsiteY2" fmla="*/ 408236 h 408236"/>
                <a:gd name="connsiteX3" fmla="*/ 0 w 418839"/>
                <a:gd name="connsiteY3" fmla="*/ 408236 h 40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8839" h="408236">
                  <a:moveTo>
                    <a:pt x="0" y="0"/>
                  </a:moveTo>
                  <a:lnTo>
                    <a:pt x="418840" y="0"/>
                  </a:lnTo>
                  <a:lnTo>
                    <a:pt x="418840" y="408236"/>
                  </a:lnTo>
                  <a:lnTo>
                    <a:pt x="0" y="408236"/>
                  </a:lnTo>
                  <a:close/>
                </a:path>
              </a:pathLst>
            </a:custGeom>
          </p:spPr>
        </p:pic>
        <p:sp>
          <p:nvSpPr>
            <p:cNvPr id="14" name="Freeform: Shape 63">
              <a:extLst>
                <a:ext uri="{FF2B5EF4-FFF2-40B4-BE49-F238E27FC236}">
                  <a16:creationId xmlns:a16="http://schemas.microsoft.com/office/drawing/2014/main" id="{ADCAC338-D5C9-0E22-2CBC-6A4545B6CBDE}"/>
                </a:ext>
              </a:extLst>
            </p:cNvPr>
            <p:cNvSpPr/>
            <p:nvPr/>
          </p:nvSpPr>
          <p:spPr>
            <a:xfrm>
              <a:off x="8511346" y="937440"/>
              <a:ext cx="465937" cy="454411"/>
            </a:xfrm>
            <a:custGeom>
              <a:avLst/>
              <a:gdLst>
                <a:gd name="connsiteX0" fmla="*/ 318827 w 318827"/>
                <a:gd name="connsiteY0" fmla="*/ 155470 h 310940"/>
                <a:gd name="connsiteX1" fmla="*/ 158850 w 318827"/>
                <a:gd name="connsiteY1" fmla="*/ 310941 h 310940"/>
                <a:gd name="connsiteX2" fmla="*/ 0 w 318827"/>
                <a:gd name="connsiteY2" fmla="*/ 155470 h 310940"/>
                <a:gd name="connsiteX3" fmla="*/ 159977 w 318827"/>
                <a:gd name="connsiteY3" fmla="*/ 0 h 310940"/>
                <a:gd name="connsiteX4" fmla="*/ 318827 w 318827"/>
                <a:gd name="connsiteY4" fmla="*/ 155470 h 310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8827" h="310940">
                  <a:moveTo>
                    <a:pt x="318827" y="155470"/>
                  </a:moveTo>
                  <a:cubicBezTo>
                    <a:pt x="318827" y="241092"/>
                    <a:pt x="246725" y="310941"/>
                    <a:pt x="158850" y="310941"/>
                  </a:cubicBezTo>
                  <a:cubicBezTo>
                    <a:pt x="70976" y="310941"/>
                    <a:pt x="0" y="242218"/>
                    <a:pt x="0" y="155470"/>
                  </a:cubicBezTo>
                  <a:cubicBezTo>
                    <a:pt x="0" y="68722"/>
                    <a:pt x="70976" y="0"/>
                    <a:pt x="159977" y="0"/>
                  </a:cubicBezTo>
                  <a:cubicBezTo>
                    <a:pt x="248978" y="0"/>
                    <a:pt x="318827" y="69849"/>
                    <a:pt x="318827" y="155470"/>
                  </a:cubicBezTo>
                  <a:close/>
                </a:path>
              </a:pathLst>
            </a:custGeom>
            <a:solidFill>
              <a:schemeClr val="accent6"/>
            </a:solidFill>
            <a:ln w="111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: Shape 23">
              <a:extLst>
                <a:ext uri="{FF2B5EF4-FFF2-40B4-BE49-F238E27FC236}">
                  <a16:creationId xmlns:a16="http://schemas.microsoft.com/office/drawing/2014/main" id="{C40BD73E-E614-D576-5F53-87F9340D5BE9}"/>
                </a:ext>
              </a:extLst>
            </p:cNvPr>
            <p:cNvSpPr/>
            <p:nvPr/>
          </p:nvSpPr>
          <p:spPr>
            <a:xfrm>
              <a:off x="8608536" y="1037411"/>
              <a:ext cx="271560" cy="254469"/>
            </a:xfrm>
            <a:custGeom>
              <a:avLst/>
              <a:gdLst>
                <a:gd name="connsiteX0" fmla="*/ 75581 w 271559"/>
                <a:gd name="connsiteY0" fmla="*/ 245912 h 254468"/>
                <a:gd name="connsiteX1" fmla="*/ 56781 w 271559"/>
                <a:gd name="connsiteY1" fmla="*/ 255597 h 254468"/>
                <a:gd name="connsiteX2" fmla="*/ 15952 w 271559"/>
                <a:gd name="connsiteY2" fmla="*/ 255407 h 254468"/>
                <a:gd name="connsiteX3" fmla="*/ 0 w 271559"/>
                <a:gd name="connsiteY3" fmla="*/ 239835 h 254468"/>
                <a:gd name="connsiteX4" fmla="*/ 190 w 271559"/>
                <a:gd name="connsiteY4" fmla="*/ 126843 h 254468"/>
                <a:gd name="connsiteX5" fmla="*/ 16142 w 271559"/>
                <a:gd name="connsiteY5" fmla="*/ 110892 h 254468"/>
                <a:gd name="connsiteX6" fmla="*/ 59819 w 271559"/>
                <a:gd name="connsiteY6" fmla="*/ 111271 h 254468"/>
                <a:gd name="connsiteX7" fmla="*/ 79949 w 271559"/>
                <a:gd name="connsiteY7" fmla="*/ 121716 h 254468"/>
                <a:gd name="connsiteX8" fmla="*/ 115460 w 271559"/>
                <a:gd name="connsiteY8" fmla="*/ 57149 h 254468"/>
                <a:gd name="connsiteX9" fmla="*/ 116980 w 271559"/>
                <a:gd name="connsiteY9" fmla="*/ 38539 h 254468"/>
                <a:gd name="connsiteX10" fmla="*/ 116790 w 271559"/>
                <a:gd name="connsiteY10" fmla="*/ 24296 h 254468"/>
                <a:gd name="connsiteX11" fmla="*/ 135210 w 271559"/>
                <a:gd name="connsiteY11" fmla="*/ 558 h 254468"/>
                <a:gd name="connsiteX12" fmla="*/ 163126 w 271559"/>
                <a:gd name="connsiteY12" fmla="*/ 13852 h 254468"/>
                <a:gd name="connsiteX13" fmla="*/ 170912 w 271559"/>
                <a:gd name="connsiteY13" fmla="*/ 75380 h 254468"/>
                <a:gd name="connsiteX14" fmla="*/ 163886 w 271559"/>
                <a:gd name="connsiteY14" fmla="*/ 106714 h 254468"/>
                <a:gd name="connsiteX15" fmla="*/ 229971 w 271559"/>
                <a:gd name="connsiteY15" fmla="*/ 106714 h 254468"/>
                <a:gd name="connsiteX16" fmla="*/ 251810 w 271559"/>
                <a:gd name="connsiteY16" fmla="*/ 106714 h 254468"/>
                <a:gd name="connsiteX17" fmla="*/ 271750 w 271559"/>
                <a:gd name="connsiteY17" fmla="*/ 117918 h 254468"/>
                <a:gd name="connsiteX18" fmla="*/ 264913 w 271559"/>
                <a:gd name="connsiteY18" fmla="*/ 142036 h 254468"/>
                <a:gd name="connsiteX19" fmla="*/ 260736 w 271559"/>
                <a:gd name="connsiteY19" fmla="*/ 145454 h 254468"/>
                <a:gd name="connsiteX20" fmla="*/ 253899 w 271559"/>
                <a:gd name="connsiteY20" fmla="*/ 180776 h 254468"/>
                <a:gd name="connsiteX21" fmla="*/ 255988 w 271559"/>
                <a:gd name="connsiteY21" fmla="*/ 202994 h 254468"/>
                <a:gd name="connsiteX22" fmla="*/ 242885 w 271559"/>
                <a:gd name="connsiteY22" fmla="*/ 221604 h 254468"/>
                <a:gd name="connsiteX23" fmla="*/ 244594 w 271559"/>
                <a:gd name="connsiteY23" fmla="*/ 225782 h 254468"/>
                <a:gd name="connsiteX24" fmla="*/ 225034 w 271559"/>
                <a:gd name="connsiteY24" fmla="*/ 255217 h 254468"/>
                <a:gd name="connsiteX25" fmla="*/ 99699 w 271559"/>
                <a:gd name="connsiteY25" fmla="*/ 254837 h 254468"/>
                <a:gd name="connsiteX26" fmla="*/ 75581 w 271559"/>
                <a:gd name="connsiteY26" fmla="*/ 245912 h 254468"/>
                <a:gd name="connsiteX27" fmla="*/ 76341 w 271559"/>
                <a:gd name="connsiteY27" fmla="*/ 236987 h 254468"/>
                <a:gd name="connsiteX28" fmla="*/ 109953 w 271559"/>
                <a:gd name="connsiteY28" fmla="*/ 248001 h 254468"/>
                <a:gd name="connsiteX29" fmla="*/ 219147 w 271559"/>
                <a:gd name="connsiteY29" fmla="*/ 247621 h 254468"/>
                <a:gd name="connsiteX30" fmla="*/ 237188 w 271559"/>
                <a:gd name="connsiteY30" fmla="*/ 236227 h 254468"/>
                <a:gd name="connsiteX31" fmla="*/ 224654 w 271559"/>
                <a:gd name="connsiteY31" fmla="*/ 219136 h 254468"/>
                <a:gd name="connsiteX32" fmla="*/ 220666 w 271559"/>
                <a:gd name="connsiteY32" fmla="*/ 215148 h 254468"/>
                <a:gd name="connsiteX33" fmla="*/ 225414 w 271559"/>
                <a:gd name="connsiteY33" fmla="*/ 211540 h 254468"/>
                <a:gd name="connsiteX34" fmla="*/ 234719 w 271559"/>
                <a:gd name="connsiteY34" fmla="*/ 211160 h 254468"/>
                <a:gd name="connsiteX35" fmla="*/ 247063 w 271559"/>
                <a:gd name="connsiteY35" fmla="*/ 202804 h 254468"/>
                <a:gd name="connsiteX36" fmla="*/ 236238 w 271559"/>
                <a:gd name="connsiteY36" fmla="*/ 183054 h 254468"/>
                <a:gd name="connsiteX37" fmla="*/ 231870 w 271559"/>
                <a:gd name="connsiteY37" fmla="*/ 178307 h 254468"/>
                <a:gd name="connsiteX38" fmla="*/ 236998 w 271559"/>
                <a:gd name="connsiteY38" fmla="*/ 175268 h 254468"/>
                <a:gd name="connsiteX39" fmla="*/ 241745 w 271559"/>
                <a:gd name="connsiteY39" fmla="*/ 175078 h 254468"/>
                <a:gd name="connsiteX40" fmla="*/ 256558 w 271559"/>
                <a:gd name="connsiteY40" fmla="*/ 164254 h 254468"/>
                <a:gd name="connsiteX41" fmla="*/ 247632 w 271559"/>
                <a:gd name="connsiteY41" fmla="*/ 147353 h 254468"/>
                <a:gd name="connsiteX42" fmla="*/ 241555 w 271559"/>
                <a:gd name="connsiteY42" fmla="*/ 142415 h 254468"/>
                <a:gd name="connsiteX43" fmla="*/ 249341 w 271559"/>
                <a:gd name="connsiteY43" fmla="*/ 138997 h 254468"/>
                <a:gd name="connsiteX44" fmla="*/ 264154 w 271559"/>
                <a:gd name="connsiteY44" fmla="*/ 123995 h 254468"/>
                <a:gd name="connsiteX45" fmla="*/ 248582 w 271559"/>
                <a:gd name="connsiteY45" fmla="*/ 114500 h 254468"/>
                <a:gd name="connsiteX46" fmla="*/ 169772 w 271559"/>
                <a:gd name="connsiteY46" fmla="*/ 114500 h 254468"/>
                <a:gd name="connsiteX47" fmla="*/ 157049 w 271559"/>
                <a:gd name="connsiteY47" fmla="*/ 97978 h 254468"/>
                <a:gd name="connsiteX48" fmla="*/ 160087 w 271559"/>
                <a:gd name="connsiteY48" fmla="*/ 27525 h 254468"/>
                <a:gd name="connsiteX49" fmla="*/ 136919 w 271559"/>
                <a:gd name="connsiteY49" fmla="*/ 8344 h 254468"/>
                <a:gd name="connsiteX50" fmla="*/ 124576 w 271559"/>
                <a:gd name="connsiteY50" fmla="*/ 34931 h 254468"/>
                <a:gd name="connsiteX51" fmla="*/ 121727 w 271559"/>
                <a:gd name="connsiteY51" fmla="*/ 61707 h 254468"/>
                <a:gd name="connsiteX52" fmla="*/ 78050 w 271559"/>
                <a:gd name="connsiteY52" fmla="*/ 132920 h 254468"/>
                <a:gd name="connsiteX53" fmla="*/ 76151 w 271559"/>
                <a:gd name="connsiteY53" fmla="*/ 138807 h 254468"/>
                <a:gd name="connsiteX54" fmla="*/ 76341 w 271559"/>
                <a:gd name="connsiteY54" fmla="*/ 236987 h 254468"/>
                <a:gd name="connsiteX55" fmla="*/ 7976 w 271559"/>
                <a:gd name="connsiteY55" fmla="*/ 182864 h 254468"/>
                <a:gd name="connsiteX56" fmla="*/ 7786 w 271559"/>
                <a:gd name="connsiteY56" fmla="*/ 236797 h 254468"/>
                <a:gd name="connsiteX57" fmla="*/ 18231 w 271559"/>
                <a:gd name="connsiteY57" fmla="*/ 247431 h 254468"/>
                <a:gd name="connsiteX58" fmla="*/ 57161 w 271559"/>
                <a:gd name="connsiteY58" fmla="*/ 247431 h 254468"/>
                <a:gd name="connsiteX59" fmla="*/ 68365 w 271559"/>
                <a:gd name="connsiteY59" fmla="*/ 236227 h 254468"/>
                <a:gd name="connsiteX60" fmla="*/ 68365 w 271559"/>
                <a:gd name="connsiteY60" fmla="*/ 130262 h 254468"/>
                <a:gd name="connsiteX61" fmla="*/ 56971 w 271559"/>
                <a:gd name="connsiteY61" fmla="*/ 118678 h 254468"/>
                <a:gd name="connsiteX62" fmla="*/ 18990 w 271559"/>
                <a:gd name="connsiteY62" fmla="*/ 118678 h 254468"/>
                <a:gd name="connsiteX63" fmla="*/ 7786 w 271559"/>
                <a:gd name="connsiteY63" fmla="*/ 129882 h 254468"/>
                <a:gd name="connsiteX64" fmla="*/ 7976 w 271559"/>
                <a:gd name="connsiteY64" fmla="*/ 182864 h 254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271559" h="254468">
                  <a:moveTo>
                    <a:pt x="75581" y="245912"/>
                  </a:moveTo>
                  <a:cubicBezTo>
                    <a:pt x="71783" y="253888"/>
                    <a:pt x="65136" y="255787"/>
                    <a:pt x="56781" y="255597"/>
                  </a:cubicBezTo>
                  <a:cubicBezTo>
                    <a:pt x="43108" y="255217"/>
                    <a:pt x="29625" y="255597"/>
                    <a:pt x="15952" y="255407"/>
                  </a:cubicBezTo>
                  <a:cubicBezTo>
                    <a:pt x="5317" y="255217"/>
                    <a:pt x="0" y="250090"/>
                    <a:pt x="0" y="239835"/>
                  </a:cubicBezTo>
                  <a:cubicBezTo>
                    <a:pt x="0" y="202234"/>
                    <a:pt x="0" y="164444"/>
                    <a:pt x="190" y="126843"/>
                  </a:cubicBezTo>
                  <a:cubicBezTo>
                    <a:pt x="190" y="116589"/>
                    <a:pt x="5887" y="111081"/>
                    <a:pt x="16142" y="110892"/>
                  </a:cubicBezTo>
                  <a:cubicBezTo>
                    <a:pt x="30764" y="110702"/>
                    <a:pt x="45387" y="109752"/>
                    <a:pt x="59819" y="111271"/>
                  </a:cubicBezTo>
                  <a:cubicBezTo>
                    <a:pt x="66276" y="111841"/>
                    <a:pt x="72163" y="117538"/>
                    <a:pt x="79949" y="121716"/>
                  </a:cubicBezTo>
                  <a:cubicBezTo>
                    <a:pt x="90963" y="101776"/>
                    <a:pt x="103876" y="79748"/>
                    <a:pt x="115460" y="57149"/>
                  </a:cubicBezTo>
                  <a:cubicBezTo>
                    <a:pt x="118119" y="52022"/>
                    <a:pt x="116790" y="44806"/>
                    <a:pt x="116980" y="38539"/>
                  </a:cubicBezTo>
                  <a:cubicBezTo>
                    <a:pt x="117170" y="33791"/>
                    <a:pt x="116410" y="29044"/>
                    <a:pt x="116790" y="24296"/>
                  </a:cubicBezTo>
                  <a:cubicBezTo>
                    <a:pt x="117739" y="11953"/>
                    <a:pt x="125145" y="2647"/>
                    <a:pt x="135210" y="558"/>
                  </a:cubicBezTo>
                  <a:cubicBezTo>
                    <a:pt x="146035" y="-1720"/>
                    <a:pt x="157619" y="3027"/>
                    <a:pt x="163126" y="13852"/>
                  </a:cubicBezTo>
                  <a:cubicBezTo>
                    <a:pt x="173381" y="33222"/>
                    <a:pt x="176229" y="53921"/>
                    <a:pt x="170912" y="75380"/>
                  </a:cubicBezTo>
                  <a:cubicBezTo>
                    <a:pt x="168443" y="85445"/>
                    <a:pt x="166354" y="95509"/>
                    <a:pt x="163886" y="106714"/>
                  </a:cubicBezTo>
                  <a:cubicBezTo>
                    <a:pt x="186294" y="106714"/>
                    <a:pt x="208133" y="106714"/>
                    <a:pt x="229971" y="106714"/>
                  </a:cubicBezTo>
                  <a:cubicBezTo>
                    <a:pt x="237188" y="106714"/>
                    <a:pt x="244594" y="106714"/>
                    <a:pt x="251810" y="106714"/>
                  </a:cubicBezTo>
                  <a:cubicBezTo>
                    <a:pt x="260546" y="106714"/>
                    <a:pt x="268711" y="108803"/>
                    <a:pt x="271750" y="117918"/>
                  </a:cubicBezTo>
                  <a:cubicBezTo>
                    <a:pt x="274598" y="127033"/>
                    <a:pt x="272510" y="135389"/>
                    <a:pt x="264913" y="142036"/>
                  </a:cubicBezTo>
                  <a:cubicBezTo>
                    <a:pt x="263584" y="143175"/>
                    <a:pt x="262065" y="144314"/>
                    <a:pt x="260736" y="145454"/>
                  </a:cubicBezTo>
                  <a:cubicBezTo>
                    <a:pt x="268901" y="162355"/>
                    <a:pt x="267002" y="171091"/>
                    <a:pt x="253899" y="180776"/>
                  </a:cubicBezTo>
                  <a:cubicBezTo>
                    <a:pt x="254849" y="188751"/>
                    <a:pt x="257507" y="196537"/>
                    <a:pt x="255988" y="202994"/>
                  </a:cubicBezTo>
                  <a:cubicBezTo>
                    <a:pt x="254469" y="209261"/>
                    <a:pt x="248202" y="214388"/>
                    <a:pt x="242885" y="221604"/>
                  </a:cubicBezTo>
                  <a:cubicBezTo>
                    <a:pt x="242695" y="221225"/>
                    <a:pt x="243644" y="223504"/>
                    <a:pt x="244594" y="225782"/>
                  </a:cubicBezTo>
                  <a:cubicBezTo>
                    <a:pt x="249911" y="240405"/>
                    <a:pt x="240416" y="255027"/>
                    <a:pt x="225034" y="255217"/>
                  </a:cubicBezTo>
                  <a:cubicBezTo>
                    <a:pt x="183256" y="255597"/>
                    <a:pt x="141477" y="255787"/>
                    <a:pt x="99699" y="254837"/>
                  </a:cubicBezTo>
                  <a:cubicBezTo>
                    <a:pt x="91533" y="254837"/>
                    <a:pt x="84127" y="249330"/>
                    <a:pt x="75581" y="245912"/>
                  </a:cubicBezTo>
                  <a:close/>
                  <a:moveTo>
                    <a:pt x="76341" y="236987"/>
                  </a:moveTo>
                  <a:cubicBezTo>
                    <a:pt x="87925" y="240215"/>
                    <a:pt x="96470" y="248571"/>
                    <a:pt x="109953" y="248001"/>
                  </a:cubicBezTo>
                  <a:cubicBezTo>
                    <a:pt x="146225" y="246672"/>
                    <a:pt x="182686" y="247431"/>
                    <a:pt x="219147" y="247621"/>
                  </a:cubicBezTo>
                  <a:cubicBezTo>
                    <a:pt x="228072" y="247621"/>
                    <a:pt x="235479" y="245532"/>
                    <a:pt x="237188" y="236227"/>
                  </a:cubicBezTo>
                  <a:cubicBezTo>
                    <a:pt x="239087" y="226922"/>
                    <a:pt x="233390" y="221604"/>
                    <a:pt x="224654" y="219136"/>
                  </a:cubicBezTo>
                  <a:cubicBezTo>
                    <a:pt x="223135" y="218756"/>
                    <a:pt x="221996" y="216477"/>
                    <a:pt x="220666" y="215148"/>
                  </a:cubicBezTo>
                  <a:cubicBezTo>
                    <a:pt x="222185" y="213818"/>
                    <a:pt x="223705" y="211919"/>
                    <a:pt x="225414" y="211540"/>
                  </a:cubicBezTo>
                  <a:cubicBezTo>
                    <a:pt x="228452" y="210970"/>
                    <a:pt x="232060" y="212299"/>
                    <a:pt x="234719" y="211160"/>
                  </a:cubicBezTo>
                  <a:cubicBezTo>
                    <a:pt x="239277" y="209071"/>
                    <a:pt x="244594" y="206602"/>
                    <a:pt x="247063" y="202804"/>
                  </a:cubicBezTo>
                  <a:cubicBezTo>
                    <a:pt x="252190" y="194828"/>
                    <a:pt x="247632" y="187802"/>
                    <a:pt x="236238" y="183054"/>
                  </a:cubicBezTo>
                  <a:cubicBezTo>
                    <a:pt x="234529" y="182295"/>
                    <a:pt x="233390" y="180016"/>
                    <a:pt x="231870" y="178307"/>
                  </a:cubicBezTo>
                  <a:cubicBezTo>
                    <a:pt x="233580" y="177357"/>
                    <a:pt x="235099" y="176028"/>
                    <a:pt x="236998" y="175268"/>
                  </a:cubicBezTo>
                  <a:cubicBezTo>
                    <a:pt x="238327" y="174699"/>
                    <a:pt x="240036" y="175078"/>
                    <a:pt x="241745" y="175078"/>
                  </a:cubicBezTo>
                  <a:cubicBezTo>
                    <a:pt x="249341" y="175078"/>
                    <a:pt x="254659" y="171660"/>
                    <a:pt x="256558" y="164254"/>
                  </a:cubicBezTo>
                  <a:cubicBezTo>
                    <a:pt x="258647" y="156278"/>
                    <a:pt x="254849" y="150961"/>
                    <a:pt x="247632" y="147353"/>
                  </a:cubicBezTo>
                  <a:cubicBezTo>
                    <a:pt x="245353" y="146213"/>
                    <a:pt x="243644" y="144124"/>
                    <a:pt x="241555" y="142415"/>
                  </a:cubicBezTo>
                  <a:cubicBezTo>
                    <a:pt x="244214" y="141276"/>
                    <a:pt x="246683" y="139187"/>
                    <a:pt x="249341" y="138997"/>
                  </a:cubicBezTo>
                  <a:cubicBezTo>
                    <a:pt x="258837" y="137668"/>
                    <a:pt x="264913" y="132161"/>
                    <a:pt x="264154" y="123995"/>
                  </a:cubicBezTo>
                  <a:cubicBezTo>
                    <a:pt x="263204" y="114120"/>
                    <a:pt x="255608" y="114500"/>
                    <a:pt x="248582" y="114500"/>
                  </a:cubicBezTo>
                  <a:cubicBezTo>
                    <a:pt x="222375" y="114500"/>
                    <a:pt x="195979" y="114500"/>
                    <a:pt x="169772" y="114500"/>
                  </a:cubicBezTo>
                  <a:cubicBezTo>
                    <a:pt x="152871" y="114500"/>
                    <a:pt x="153061" y="114500"/>
                    <a:pt x="157049" y="97978"/>
                  </a:cubicBezTo>
                  <a:cubicBezTo>
                    <a:pt x="162746" y="74810"/>
                    <a:pt x="169393" y="51642"/>
                    <a:pt x="160087" y="27525"/>
                  </a:cubicBezTo>
                  <a:cubicBezTo>
                    <a:pt x="154580" y="13282"/>
                    <a:pt x="146604" y="6066"/>
                    <a:pt x="136919" y="8344"/>
                  </a:cubicBezTo>
                  <a:cubicBezTo>
                    <a:pt x="127424" y="10433"/>
                    <a:pt x="123816" y="19549"/>
                    <a:pt x="124576" y="34931"/>
                  </a:cubicBezTo>
                  <a:cubicBezTo>
                    <a:pt x="124956" y="43856"/>
                    <a:pt x="125525" y="54111"/>
                    <a:pt x="121727" y="61707"/>
                  </a:cubicBezTo>
                  <a:cubicBezTo>
                    <a:pt x="109763" y="86964"/>
                    <a:pt x="97800" y="112411"/>
                    <a:pt x="78050" y="132920"/>
                  </a:cubicBezTo>
                  <a:cubicBezTo>
                    <a:pt x="76720" y="134250"/>
                    <a:pt x="76151" y="136908"/>
                    <a:pt x="76151" y="138807"/>
                  </a:cubicBezTo>
                  <a:cubicBezTo>
                    <a:pt x="76341" y="171470"/>
                    <a:pt x="76341" y="204133"/>
                    <a:pt x="76341" y="236987"/>
                  </a:cubicBezTo>
                  <a:close/>
                  <a:moveTo>
                    <a:pt x="7976" y="182864"/>
                  </a:moveTo>
                  <a:cubicBezTo>
                    <a:pt x="7976" y="200905"/>
                    <a:pt x="8166" y="218946"/>
                    <a:pt x="7786" y="236797"/>
                  </a:cubicBezTo>
                  <a:cubicBezTo>
                    <a:pt x="7596" y="244393"/>
                    <a:pt x="10255" y="247811"/>
                    <a:pt x="18231" y="247431"/>
                  </a:cubicBezTo>
                  <a:cubicBezTo>
                    <a:pt x="31144" y="247051"/>
                    <a:pt x="44057" y="247051"/>
                    <a:pt x="57161" y="247431"/>
                  </a:cubicBezTo>
                  <a:cubicBezTo>
                    <a:pt x="65516" y="247621"/>
                    <a:pt x="68555" y="244013"/>
                    <a:pt x="68365" y="236227"/>
                  </a:cubicBezTo>
                  <a:cubicBezTo>
                    <a:pt x="68365" y="201095"/>
                    <a:pt x="68365" y="165773"/>
                    <a:pt x="68365" y="130262"/>
                  </a:cubicBezTo>
                  <a:cubicBezTo>
                    <a:pt x="68365" y="122476"/>
                    <a:pt x="65136" y="118488"/>
                    <a:pt x="56971" y="118678"/>
                  </a:cubicBezTo>
                  <a:cubicBezTo>
                    <a:pt x="44247" y="118867"/>
                    <a:pt x="31714" y="118867"/>
                    <a:pt x="18990" y="118678"/>
                  </a:cubicBezTo>
                  <a:cubicBezTo>
                    <a:pt x="11394" y="118488"/>
                    <a:pt x="7786" y="121526"/>
                    <a:pt x="7786" y="129882"/>
                  </a:cubicBezTo>
                  <a:cubicBezTo>
                    <a:pt x="8166" y="147543"/>
                    <a:pt x="7976" y="165204"/>
                    <a:pt x="7976" y="182864"/>
                  </a:cubicBezTo>
                  <a:close/>
                </a:path>
              </a:pathLst>
            </a:custGeom>
            <a:solidFill>
              <a:schemeClr val="bg1"/>
            </a:solidFill>
            <a:ln w="190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24">
              <a:extLst>
                <a:ext uri="{FF2B5EF4-FFF2-40B4-BE49-F238E27FC236}">
                  <a16:creationId xmlns:a16="http://schemas.microsoft.com/office/drawing/2014/main" id="{8CDDF964-4920-AF72-9E43-B472A11E68C0}"/>
                </a:ext>
              </a:extLst>
            </p:cNvPr>
            <p:cNvSpPr/>
            <p:nvPr/>
          </p:nvSpPr>
          <p:spPr>
            <a:xfrm>
              <a:off x="8605432" y="1046855"/>
              <a:ext cx="70264" cy="72163"/>
            </a:xfrm>
            <a:custGeom>
              <a:avLst/>
              <a:gdLst>
                <a:gd name="connsiteX0" fmla="*/ 11394 w 70263"/>
                <a:gd name="connsiteY0" fmla="*/ 62478 h 72162"/>
                <a:gd name="connsiteX1" fmla="*/ 11774 w 70263"/>
                <a:gd name="connsiteY1" fmla="*/ 59629 h 72162"/>
                <a:gd name="connsiteX2" fmla="*/ 5697 w 70263"/>
                <a:gd name="connsiteY2" fmla="*/ 37980 h 72162"/>
                <a:gd name="connsiteX3" fmla="*/ 0 w 70263"/>
                <a:gd name="connsiteY3" fmla="*/ 26966 h 72162"/>
                <a:gd name="connsiteX4" fmla="*/ 10824 w 70263"/>
                <a:gd name="connsiteY4" fmla="*/ 22598 h 72162"/>
                <a:gd name="connsiteX5" fmla="*/ 28106 w 70263"/>
                <a:gd name="connsiteY5" fmla="*/ 8356 h 72162"/>
                <a:gd name="connsiteX6" fmla="*/ 35891 w 70263"/>
                <a:gd name="connsiteY6" fmla="*/ 0 h 72162"/>
                <a:gd name="connsiteX7" fmla="*/ 42728 w 70263"/>
                <a:gd name="connsiteY7" fmla="*/ 8166 h 72162"/>
                <a:gd name="connsiteX8" fmla="*/ 62858 w 70263"/>
                <a:gd name="connsiteY8" fmla="*/ 22788 h 72162"/>
                <a:gd name="connsiteX9" fmla="*/ 70264 w 70263"/>
                <a:gd name="connsiteY9" fmla="*/ 26776 h 72162"/>
                <a:gd name="connsiteX10" fmla="*/ 67415 w 70263"/>
                <a:gd name="connsiteY10" fmla="*/ 35702 h 72162"/>
                <a:gd name="connsiteX11" fmla="*/ 58870 w 70263"/>
                <a:gd name="connsiteY11" fmla="*/ 60959 h 72162"/>
                <a:gd name="connsiteX12" fmla="*/ 56591 w 70263"/>
                <a:gd name="connsiteY12" fmla="*/ 71023 h 72162"/>
                <a:gd name="connsiteX13" fmla="*/ 47476 w 70263"/>
                <a:gd name="connsiteY13" fmla="*/ 69124 h 72162"/>
                <a:gd name="connsiteX14" fmla="*/ 22219 w 70263"/>
                <a:gd name="connsiteY14" fmla="*/ 69884 h 72162"/>
                <a:gd name="connsiteX15" fmla="*/ 11394 w 70263"/>
                <a:gd name="connsiteY15" fmla="*/ 62478 h 72162"/>
                <a:gd name="connsiteX16" fmla="*/ 51274 w 70263"/>
                <a:gd name="connsiteY16" fmla="*/ 61338 h 72162"/>
                <a:gd name="connsiteX17" fmla="*/ 60389 w 70263"/>
                <a:gd name="connsiteY17" fmla="*/ 31144 h 72162"/>
                <a:gd name="connsiteX18" fmla="*/ 33992 w 70263"/>
                <a:gd name="connsiteY18" fmla="*/ 11774 h 72162"/>
                <a:gd name="connsiteX19" fmla="*/ 10635 w 70263"/>
                <a:gd name="connsiteY19" fmla="*/ 31524 h 72162"/>
                <a:gd name="connsiteX20" fmla="*/ 20699 w 70263"/>
                <a:gd name="connsiteY20" fmla="*/ 61908 h 72162"/>
                <a:gd name="connsiteX21" fmla="*/ 51274 w 70263"/>
                <a:gd name="connsiteY21" fmla="*/ 61338 h 72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70263" h="72162">
                  <a:moveTo>
                    <a:pt x="11394" y="62478"/>
                  </a:moveTo>
                  <a:cubicBezTo>
                    <a:pt x="11394" y="62098"/>
                    <a:pt x="11394" y="60769"/>
                    <a:pt x="11774" y="59629"/>
                  </a:cubicBezTo>
                  <a:cubicBezTo>
                    <a:pt x="15002" y="50894"/>
                    <a:pt x="13103" y="44057"/>
                    <a:pt x="5697" y="37980"/>
                  </a:cubicBezTo>
                  <a:cubicBezTo>
                    <a:pt x="2849" y="35512"/>
                    <a:pt x="1899" y="30764"/>
                    <a:pt x="0" y="26966"/>
                  </a:cubicBezTo>
                  <a:cubicBezTo>
                    <a:pt x="3608" y="25447"/>
                    <a:pt x="7216" y="22788"/>
                    <a:pt x="10824" y="22598"/>
                  </a:cubicBezTo>
                  <a:cubicBezTo>
                    <a:pt x="20889" y="22408"/>
                    <a:pt x="24687" y="16142"/>
                    <a:pt x="28106" y="8356"/>
                  </a:cubicBezTo>
                  <a:cubicBezTo>
                    <a:pt x="29625" y="5127"/>
                    <a:pt x="33233" y="2849"/>
                    <a:pt x="35891" y="0"/>
                  </a:cubicBezTo>
                  <a:cubicBezTo>
                    <a:pt x="38170" y="2659"/>
                    <a:pt x="41778" y="5127"/>
                    <a:pt x="42728" y="8166"/>
                  </a:cubicBezTo>
                  <a:cubicBezTo>
                    <a:pt x="45766" y="18421"/>
                    <a:pt x="52603" y="22408"/>
                    <a:pt x="62858" y="22788"/>
                  </a:cubicBezTo>
                  <a:cubicBezTo>
                    <a:pt x="65516" y="22978"/>
                    <a:pt x="69884" y="24877"/>
                    <a:pt x="70264" y="26776"/>
                  </a:cubicBezTo>
                  <a:cubicBezTo>
                    <a:pt x="70833" y="29435"/>
                    <a:pt x="69504" y="33803"/>
                    <a:pt x="67415" y="35702"/>
                  </a:cubicBezTo>
                  <a:cubicBezTo>
                    <a:pt x="59249" y="42538"/>
                    <a:pt x="55072" y="49944"/>
                    <a:pt x="58870" y="60959"/>
                  </a:cubicBezTo>
                  <a:cubicBezTo>
                    <a:pt x="59819" y="63807"/>
                    <a:pt x="58680" y="68555"/>
                    <a:pt x="56591" y="71023"/>
                  </a:cubicBezTo>
                  <a:cubicBezTo>
                    <a:pt x="55451" y="72163"/>
                    <a:pt x="49754" y="71023"/>
                    <a:pt x="47476" y="69124"/>
                  </a:cubicBezTo>
                  <a:cubicBezTo>
                    <a:pt x="38550" y="61718"/>
                    <a:pt x="30764" y="64377"/>
                    <a:pt x="22219" y="69884"/>
                  </a:cubicBezTo>
                  <a:cubicBezTo>
                    <a:pt x="14433" y="74821"/>
                    <a:pt x="10824" y="72163"/>
                    <a:pt x="11394" y="62478"/>
                  </a:cubicBezTo>
                  <a:close/>
                  <a:moveTo>
                    <a:pt x="51274" y="61338"/>
                  </a:moveTo>
                  <a:cubicBezTo>
                    <a:pt x="44437" y="48045"/>
                    <a:pt x="50704" y="39120"/>
                    <a:pt x="60389" y="31144"/>
                  </a:cubicBezTo>
                  <a:cubicBezTo>
                    <a:pt x="45197" y="27536"/>
                    <a:pt x="45197" y="27536"/>
                    <a:pt x="33992" y="11774"/>
                  </a:cubicBezTo>
                  <a:cubicBezTo>
                    <a:pt x="32663" y="26396"/>
                    <a:pt x="22978" y="30194"/>
                    <a:pt x="10635" y="31524"/>
                  </a:cubicBezTo>
                  <a:cubicBezTo>
                    <a:pt x="22219" y="38930"/>
                    <a:pt x="23928" y="48995"/>
                    <a:pt x="20699" y="61908"/>
                  </a:cubicBezTo>
                  <a:cubicBezTo>
                    <a:pt x="30954" y="50704"/>
                    <a:pt x="40639" y="55262"/>
                    <a:pt x="51274" y="61338"/>
                  </a:cubicBezTo>
                  <a:close/>
                </a:path>
              </a:pathLst>
            </a:custGeom>
            <a:solidFill>
              <a:schemeClr val="bg2"/>
            </a:solidFill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25">
              <a:extLst>
                <a:ext uri="{FF2B5EF4-FFF2-40B4-BE49-F238E27FC236}">
                  <a16:creationId xmlns:a16="http://schemas.microsoft.com/office/drawing/2014/main" id="{E53FE6A6-F63B-CDC5-0620-83A493390701}"/>
                </a:ext>
              </a:extLst>
            </p:cNvPr>
            <p:cNvSpPr/>
            <p:nvPr/>
          </p:nvSpPr>
          <p:spPr>
            <a:xfrm>
              <a:off x="8658455" y="1005068"/>
              <a:ext cx="45577" cy="43677"/>
            </a:xfrm>
            <a:custGeom>
              <a:avLst/>
              <a:gdLst>
                <a:gd name="connsiteX0" fmla="*/ 7745 w 45576"/>
                <a:gd name="connsiteY0" fmla="*/ 32292 h 43677"/>
                <a:gd name="connsiteX1" fmla="*/ 2997 w 45576"/>
                <a:gd name="connsiteY1" fmla="*/ 23936 h 43677"/>
                <a:gd name="connsiteX2" fmla="*/ 6226 w 45576"/>
                <a:gd name="connsiteY2" fmla="*/ 12732 h 43677"/>
                <a:gd name="connsiteX3" fmla="*/ 17240 w 45576"/>
                <a:gd name="connsiteY3" fmla="*/ 4376 h 43677"/>
                <a:gd name="connsiteX4" fmla="*/ 22367 w 45576"/>
                <a:gd name="connsiteY4" fmla="*/ 9 h 43677"/>
                <a:gd name="connsiteX5" fmla="*/ 28634 w 45576"/>
                <a:gd name="connsiteY5" fmla="*/ 4376 h 43677"/>
                <a:gd name="connsiteX6" fmla="*/ 39649 w 45576"/>
                <a:gd name="connsiteY6" fmla="*/ 12732 h 43677"/>
                <a:gd name="connsiteX7" fmla="*/ 43447 w 45576"/>
                <a:gd name="connsiteY7" fmla="*/ 23366 h 43677"/>
                <a:gd name="connsiteX8" fmla="*/ 38699 w 45576"/>
                <a:gd name="connsiteY8" fmla="*/ 37419 h 43677"/>
                <a:gd name="connsiteX9" fmla="*/ 29204 w 45576"/>
                <a:gd name="connsiteY9" fmla="*/ 43876 h 43677"/>
                <a:gd name="connsiteX10" fmla="*/ 18190 w 45576"/>
                <a:gd name="connsiteY10" fmla="*/ 43116 h 43677"/>
                <a:gd name="connsiteX11" fmla="*/ 7745 w 45576"/>
                <a:gd name="connsiteY11" fmla="*/ 32292 h 43677"/>
                <a:gd name="connsiteX12" fmla="*/ 17240 w 45576"/>
                <a:gd name="connsiteY12" fmla="*/ 32672 h 43677"/>
                <a:gd name="connsiteX13" fmla="*/ 28444 w 45576"/>
                <a:gd name="connsiteY13" fmla="*/ 32672 h 43677"/>
                <a:gd name="connsiteX14" fmla="*/ 32432 w 45576"/>
                <a:gd name="connsiteY14" fmla="*/ 20898 h 43677"/>
                <a:gd name="connsiteX15" fmla="*/ 22937 w 45576"/>
                <a:gd name="connsiteY15" fmla="*/ 14441 h 43677"/>
                <a:gd name="connsiteX16" fmla="*/ 13442 w 45576"/>
                <a:gd name="connsiteY16" fmla="*/ 20898 h 43677"/>
                <a:gd name="connsiteX17" fmla="*/ 17240 w 45576"/>
                <a:gd name="connsiteY17" fmla="*/ 32672 h 43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5576" h="43677">
                  <a:moveTo>
                    <a:pt x="7745" y="32292"/>
                  </a:moveTo>
                  <a:cubicBezTo>
                    <a:pt x="7175" y="31152"/>
                    <a:pt x="5466" y="27165"/>
                    <a:pt x="2997" y="23936"/>
                  </a:cubicBezTo>
                  <a:cubicBezTo>
                    <a:pt x="-1750" y="17479"/>
                    <a:pt x="-990" y="15391"/>
                    <a:pt x="6226" y="12732"/>
                  </a:cubicBezTo>
                  <a:cubicBezTo>
                    <a:pt x="10404" y="11213"/>
                    <a:pt x="13632" y="7225"/>
                    <a:pt x="17240" y="4376"/>
                  </a:cubicBezTo>
                  <a:cubicBezTo>
                    <a:pt x="19139" y="2857"/>
                    <a:pt x="20848" y="-181"/>
                    <a:pt x="22367" y="9"/>
                  </a:cubicBezTo>
                  <a:cubicBezTo>
                    <a:pt x="24646" y="198"/>
                    <a:pt x="26545" y="2857"/>
                    <a:pt x="28634" y="4376"/>
                  </a:cubicBezTo>
                  <a:cubicBezTo>
                    <a:pt x="32242" y="7225"/>
                    <a:pt x="35471" y="11403"/>
                    <a:pt x="39649" y="12732"/>
                  </a:cubicBezTo>
                  <a:cubicBezTo>
                    <a:pt x="46865" y="14821"/>
                    <a:pt x="47055" y="17479"/>
                    <a:pt x="43447" y="23366"/>
                  </a:cubicBezTo>
                  <a:cubicBezTo>
                    <a:pt x="40978" y="27544"/>
                    <a:pt x="39079" y="32672"/>
                    <a:pt x="38699" y="37419"/>
                  </a:cubicBezTo>
                  <a:cubicBezTo>
                    <a:pt x="38129" y="45395"/>
                    <a:pt x="36610" y="46724"/>
                    <a:pt x="29204" y="43876"/>
                  </a:cubicBezTo>
                  <a:cubicBezTo>
                    <a:pt x="25786" y="42547"/>
                    <a:pt x="21418" y="41977"/>
                    <a:pt x="18190" y="43116"/>
                  </a:cubicBezTo>
                  <a:cubicBezTo>
                    <a:pt x="8505" y="47104"/>
                    <a:pt x="6985" y="46345"/>
                    <a:pt x="7745" y="32292"/>
                  </a:cubicBezTo>
                  <a:close/>
                  <a:moveTo>
                    <a:pt x="17240" y="32672"/>
                  </a:moveTo>
                  <a:cubicBezTo>
                    <a:pt x="21038" y="32672"/>
                    <a:pt x="25216" y="32672"/>
                    <a:pt x="28444" y="32672"/>
                  </a:cubicBezTo>
                  <a:cubicBezTo>
                    <a:pt x="29774" y="28684"/>
                    <a:pt x="31103" y="24696"/>
                    <a:pt x="32432" y="20898"/>
                  </a:cubicBezTo>
                  <a:cubicBezTo>
                    <a:pt x="29394" y="18809"/>
                    <a:pt x="26166" y="16530"/>
                    <a:pt x="22937" y="14441"/>
                  </a:cubicBezTo>
                  <a:cubicBezTo>
                    <a:pt x="19709" y="16530"/>
                    <a:pt x="16101" y="18999"/>
                    <a:pt x="13442" y="20898"/>
                  </a:cubicBezTo>
                  <a:cubicBezTo>
                    <a:pt x="14771" y="24886"/>
                    <a:pt x="15911" y="28684"/>
                    <a:pt x="17240" y="32672"/>
                  </a:cubicBezTo>
                  <a:close/>
                </a:path>
              </a:pathLst>
            </a:custGeom>
            <a:solidFill>
              <a:schemeClr val="bg2"/>
            </a:solidFill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9" name="Textfeld 18">
            <a:extLst>
              <a:ext uri="{FF2B5EF4-FFF2-40B4-BE49-F238E27FC236}">
                <a16:creationId xmlns:a16="http://schemas.microsoft.com/office/drawing/2014/main" id="{18E579AB-F434-8D5D-C319-F316C0016A94}"/>
              </a:ext>
            </a:extLst>
          </p:cNvPr>
          <p:cNvSpPr txBox="1"/>
          <p:nvPr/>
        </p:nvSpPr>
        <p:spPr>
          <a:xfrm>
            <a:off x="3149600" y="4427516"/>
            <a:ext cx="1816240" cy="190500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rmAutofit/>
          </a:bodyPr>
          <a:lstStyle/>
          <a:p>
            <a:pPr algn="r"/>
            <a:r>
              <a:rPr lang="en-GB" sz="600" dirty="0"/>
              <a:t>Source: JRC MARS Bulletin Vol. 31 No 5, 22.05.2023</a:t>
            </a:r>
          </a:p>
        </p:txBody>
      </p:sp>
      <p:grpSp>
        <p:nvGrpSpPr>
          <p:cNvPr id="20" name="Group 9">
            <a:extLst>
              <a:ext uri="{FF2B5EF4-FFF2-40B4-BE49-F238E27FC236}">
                <a16:creationId xmlns:a16="http://schemas.microsoft.com/office/drawing/2014/main" id="{F423BA58-1A22-AC13-595B-3E7FAA0F032A}"/>
              </a:ext>
            </a:extLst>
          </p:cNvPr>
          <p:cNvGrpSpPr/>
          <p:nvPr/>
        </p:nvGrpSpPr>
        <p:grpSpPr>
          <a:xfrm rot="16200000">
            <a:off x="8457754" y="4009197"/>
            <a:ext cx="927501" cy="230656"/>
            <a:chOff x="8766811" y="250670"/>
            <a:chExt cx="1200150" cy="298460"/>
          </a:xfrm>
          <a:solidFill>
            <a:schemeClr val="bg1">
              <a:alpha val="42000"/>
            </a:schemeClr>
          </a:solidFill>
        </p:grpSpPr>
        <p:sp>
          <p:nvSpPr>
            <p:cNvPr id="21" name="Freeform: Shape 5">
              <a:extLst>
                <a:ext uri="{FF2B5EF4-FFF2-40B4-BE49-F238E27FC236}">
                  <a16:creationId xmlns:a16="http://schemas.microsoft.com/office/drawing/2014/main" id="{4FD86716-D53B-F34D-3766-64190BDCA2A6}"/>
                </a:ext>
              </a:extLst>
            </p:cNvPr>
            <p:cNvSpPr/>
            <p:nvPr/>
          </p:nvSpPr>
          <p:spPr>
            <a:xfrm>
              <a:off x="9340947" y="259788"/>
              <a:ext cx="396639" cy="280066"/>
            </a:xfrm>
            <a:custGeom>
              <a:avLst/>
              <a:gdLst>
                <a:gd name="connsiteX0" fmla="*/ 188626 w 578185"/>
                <a:gd name="connsiteY0" fmla="*/ 247351 h 408253"/>
                <a:gd name="connsiteX1" fmla="*/ 209084 w 578185"/>
                <a:gd name="connsiteY1" fmla="*/ 156671 h 408253"/>
                <a:gd name="connsiteX2" fmla="*/ 241634 w 578185"/>
                <a:gd name="connsiteY2" fmla="*/ 10757 h 408253"/>
                <a:gd name="connsiteX3" fmla="*/ 255014 w 578185"/>
                <a:gd name="connsiteY3" fmla="*/ 5 h 408253"/>
                <a:gd name="connsiteX4" fmla="*/ 343468 w 578185"/>
                <a:gd name="connsiteY4" fmla="*/ 86 h 408253"/>
                <a:gd name="connsiteX5" fmla="*/ 356258 w 578185"/>
                <a:gd name="connsiteY5" fmla="*/ 9926 h 408253"/>
                <a:gd name="connsiteX6" fmla="*/ 402000 w 578185"/>
                <a:gd name="connsiteY6" fmla="*/ 237699 h 408253"/>
                <a:gd name="connsiteX7" fmla="*/ 406853 w 578185"/>
                <a:gd name="connsiteY7" fmla="*/ 247646 h 408253"/>
                <a:gd name="connsiteX8" fmla="*/ 443881 w 578185"/>
                <a:gd name="connsiteY8" fmla="*/ 88487 h 408253"/>
                <a:gd name="connsiteX9" fmla="*/ 418275 w 578185"/>
                <a:gd name="connsiteY9" fmla="*/ 64463 h 408253"/>
                <a:gd name="connsiteX10" fmla="*/ 418275 w 578185"/>
                <a:gd name="connsiteY10" fmla="*/ 1132 h 408253"/>
                <a:gd name="connsiteX11" fmla="*/ 578185 w 578185"/>
                <a:gd name="connsiteY11" fmla="*/ 1132 h 408253"/>
                <a:gd name="connsiteX12" fmla="*/ 578185 w 578185"/>
                <a:gd name="connsiteY12" fmla="*/ 65482 h 408253"/>
                <a:gd name="connsiteX13" fmla="*/ 535580 w 578185"/>
                <a:gd name="connsiteY13" fmla="*/ 107309 h 408253"/>
                <a:gd name="connsiteX14" fmla="*/ 450423 w 578185"/>
                <a:gd name="connsiteY14" fmla="*/ 398306 h 408253"/>
                <a:gd name="connsiteX15" fmla="*/ 447072 w 578185"/>
                <a:gd name="connsiteY15" fmla="*/ 408146 h 408253"/>
                <a:gd name="connsiteX16" fmla="*/ 338964 w 578185"/>
                <a:gd name="connsiteY16" fmla="*/ 408146 h 408253"/>
                <a:gd name="connsiteX17" fmla="*/ 289414 w 578185"/>
                <a:gd name="connsiteY17" fmla="*/ 183832 h 408253"/>
                <a:gd name="connsiteX18" fmla="*/ 287189 w 578185"/>
                <a:gd name="connsiteY18" fmla="*/ 183644 h 408253"/>
                <a:gd name="connsiteX19" fmla="*/ 234663 w 578185"/>
                <a:gd name="connsiteY19" fmla="*/ 408253 h 408253"/>
                <a:gd name="connsiteX20" fmla="*/ 124035 w 578185"/>
                <a:gd name="connsiteY20" fmla="*/ 408253 h 408253"/>
                <a:gd name="connsiteX21" fmla="*/ 101941 w 578185"/>
                <a:gd name="connsiteY21" fmla="*/ 325536 h 408253"/>
                <a:gd name="connsiteX22" fmla="*/ 42176 w 578185"/>
                <a:gd name="connsiteY22" fmla="*/ 100874 h 408253"/>
                <a:gd name="connsiteX23" fmla="*/ 0 w 578185"/>
                <a:gd name="connsiteY23" fmla="*/ 66072 h 408253"/>
                <a:gd name="connsiteX24" fmla="*/ 0 w 578185"/>
                <a:gd name="connsiteY24" fmla="*/ 1266 h 408253"/>
                <a:gd name="connsiteX25" fmla="*/ 183880 w 578185"/>
                <a:gd name="connsiteY25" fmla="*/ 1266 h 408253"/>
                <a:gd name="connsiteX26" fmla="*/ 183880 w 578185"/>
                <a:gd name="connsiteY26" fmla="*/ 64650 h 408253"/>
                <a:gd name="connsiteX27" fmla="*/ 157658 w 578185"/>
                <a:gd name="connsiteY27" fmla="*/ 101920 h 408253"/>
                <a:gd name="connsiteX28" fmla="*/ 185677 w 578185"/>
                <a:gd name="connsiteY28" fmla="*/ 247485 h 408253"/>
                <a:gd name="connsiteX29" fmla="*/ 188599 w 578185"/>
                <a:gd name="connsiteY29" fmla="*/ 247351 h 408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78185" h="408253">
                  <a:moveTo>
                    <a:pt x="188626" y="247351"/>
                  </a:moveTo>
                  <a:cubicBezTo>
                    <a:pt x="195436" y="217133"/>
                    <a:pt x="202300" y="186889"/>
                    <a:pt x="209084" y="156671"/>
                  </a:cubicBezTo>
                  <a:cubicBezTo>
                    <a:pt x="219997" y="108033"/>
                    <a:pt x="230883" y="59422"/>
                    <a:pt x="241634" y="10757"/>
                  </a:cubicBezTo>
                  <a:cubicBezTo>
                    <a:pt x="243297" y="3250"/>
                    <a:pt x="246461" y="-155"/>
                    <a:pt x="255014" y="5"/>
                  </a:cubicBezTo>
                  <a:cubicBezTo>
                    <a:pt x="284481" y="595"/>
                    <a:pt x="314001" y="461"/>
                    <a:pt x="343468" y="86"/>
                  </a:cubicBezTo>
                  <a:cubicBezTo>
                    <a:pt x="351056" y="-21"/>
                    <a:pt x="354756" y="2285"/>
                    <a:pt x="356258" y="9926"/>
                  </a:cubicBezTo>
                  <a:cubicBezTo>
                    <a:pt x="371353" y="85886"/>
                    <a:pt x="386690" y="161792"/>
                    <a:pt x="402000" y="237699"/>
                  </a:cubicBezTo>
                  <a:cubicBezTo>
                    <a:pt x="402670" y="241050"/>
                    <a:pt x="403770" y="244321"/>
                    <a:pt x="406853" y="247646"/>
                  </a:cubicBezTo>
                  <a:cubicBezTo>
                    <a:pt x="419240" y="194611"/>
                    <a:pt x="431896" y="141602"/>
                    <a:pt x="443881" y="88487"/>
                  </a:cubicBezTo>
                  <a:cubicBezTo>
                    <a:pt x="447367" y="73043"/>
                    <a:pt x="441843" y="68377"/>
                    <a:pt x="418275" y="64463"/>
                  </a:cubicBezTo>
                  <a:lnTo>
                    <a:pt x="418275" y="1132"/>
                  </a:lnTo>
                  <a:lnTo>
                    <a:pt x="578185" y="1132"/>
                  </a:lnTo>
                  <a:lnTo>
                    <a:pt x="578185" y="65482"/>
                  </a:lnTo>
                  <a:cubicBezTo>
                    <a:pt x="549657" y="64302"/>
                    <a:pt x="542122" y="84626"/>
                    <a:pt x="535580" y="107309"/>
                  </a:cubicBezTo>
                  <a:cubicBezTo>
                    <a:pt x="507534" y="204397"/>
                    <a:pt x="478871" y="301325"/>
                    <a:pt x="450423" y="398306"/>
                  </a:cubicBezTo>
                  <a:cubicBezTo>
                    <a:pt x="449431" y="401657"/>
                    <a:pt x="448171" y="404955"/>
                    <a:pt x="447072" y="408146"/>
                  </a:cubicBezTo>
                  <a:lnTo>
                    <a:pt x="338964" y="408146"/>
                  </a:lnTo>
                  <a:cubicBezTo>
                    <a:pt x="322367" y="333044"/>
                    <a:pt x="305904" y="258425"/>
                    <a:pt x="289414" y="183832"/>
                  </a:cubicBezTo>
                  <a:lnTo>
                    <a:pt x="287189" y="183644"/>
                  </a:lnTo>
                  <a:cubicBezTo>
                    <a:pt x="269707" y="258398"/>
                    <a:pt x="252225" y="333151"/>
                    <a:pt x="234663" y="408253"/>
                  </a:cubicBezTo>
                  <a:lnTo>
                    <a:pt x="124035" y="408253"/>
                  </a:lnTo>
                  <a:cubicBezTo>
                    <a:pt x="116742" y="381012"/>
                    <a:pt x="109315" y="353287"/>
                    <a:pt x="101941" y="325536"/>
                  </a:cubicBezTo>
                  <a:cubicBezTo>
                    <a:pt x="82019" y="250649"/>
                    <a:pt x="62151" y="175735"/>
                    <a:pt x="42176" y="100874"/>
                  </a:cubicBezTo>
                  <a:cubicBezTo>
                    <a:pt x="36519" y="79665"/>
                    <a:pt x="28207" y="61192"/>
                    <a:pt x="0" y="66072"/>
                  </a:cubicBezTo>
                  <a:lnTo>
                    <a:pt x="0" y="1266"/>
                  </a:lnTo>
                  <a:lnTo>
                    <a:pt x="183880" y="1266"/>
                  </a:lnTo>
                  <a:lnTo>
                    <a:pt x="183880" y="64650"/>
                  </a:lnTo>
                  <a:cubicBezTo>
                    <a:pt x="152107" y="68726"/>
                    <a:pt x="151437" y="69691"/>
                    <a:pt x="157658" y="101920"/>
                  </a:cubicBezTo>
                  <a:cubicBezTo>
                    <a:pt x="167015" y="150451"/>
                    <a:pt x="176346" y="198954"/>
                    <a:pt x="185677" y="247485"/>
                  </a:cubicBezTo>
                  <a:lnTo>
                    <a:pt x="188599" y="247351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: Shape 6">
              <a:extLst>
                <a:ext uri="{FF2B5EF4-FFF2-40B4-BE49-F238E27FC236}">
                  <a16:creationId xmlns:a16="http://schemas.microsoft.com/office/drawing/2014/main" id="{6E0089E4-440A-EF6D-6A7A-A0ECE11976CE}"/>
                </a:ext>
              </a:extLst>
            </p:cNvPr>
            <p:cNvSpPr/>
            <p:nvPr/>
          </p:nvSpPr>
          <p:spPr>
            <a:xfrm>
              <a:off x="8766811" y="259809"/>
              <a:ext cx="277264" cy="283641"/>
            </a:xfrm>
            <a:custGeom>
              <a:avLst/>
              <a:gdLst>
                <a:gd name="connsiteX0" fmla="*/ 0 w 404171"/>
                <a:gd name="connsiteY0" fmla="*/ 407794 h 413465"/>
                <a:gd name="connsiteX1" fmla="*/ 0 w 404171"/>
                <a:gd name="connsiteY1" fmla="*/ 342854 h 413465"/>
                <a:gd name="connsiteX2" fmla="*/ 21879 w 404171"/>
                <a:gd name="connsiteY2" fmla="*/ 341835 h 413465"/>
                <a:gd name="connsiteX3" fmla="*/ 38422 w 404171"/>
                <a:gd name="connsiteY3" fmla="*/ 324970 h 413465"/>
                <a:gd name="connsiteX4" fmla="*/ 38664 w 404171"/>
                <a:gd name="connsiteY4" fmla="*/ 280729 h 413465"/>
                <a:gd name="connsiteX5" fmla="*/ 38664 w 404171"/>
                <a:gd name="connsiteY5" fmla="*/ 99691 h 413465"/>
                <a:gd name="connsiteX6" fmla="*/ 6274 w 404171"/>
                <a:gd name="connsiteY6" fmla="*/ 65773 h 413465"/>
                <a:gd name="connsiteX7" fmla="*/ 134 w 404171"/>
                <a:gd name="connsiteY7" fmla="*/ 65076 h 413465"/>
                <a:gd name="connsiteX8" fmla="*/ 134 w 404171"/>
                <a:gd name="connsiteY8" fmla="*/ 860 h 413465"/>
                <a:gd name="connsiteX9" fmla="*/ 12843 w 404171"/>
                <a:gd name="connsiteY9" fmla="*/ 190 h 413465"/>
                <a:gd name="connsiteX10" fmla="*/ 156263 w 404171"/>
                <a:gd name="connsiteY10" fmla="*/ 2 h 413465"/>
                <a:gd name="connsiteX11" fmla="*/ 173852 w 404171"/>
                <a:gd name="connsiteY11" fmla="*/ 11961 h 413465"/>
                <a:gd name="connsiteX12" fmla="*/ 265605 w 404171"/>
                <a:gd name="connsiteY12" fmla="*/ 219811 h 413465"/>
                <a:gd name="connsiteX13" fmla="*/ 273675 w 404171"/>
                <a:gd name="connsiteY13" fmla="*/ 231260 h 413465"/>
                <a:gd name="connsiteX14" fmla="*/ 273675 w 404171"/>
                <a:gd name="connsiteY14" fmla="*/ 204153 h 413465"/>
                <a:gd name="connsiteX15" fmla="*/ 273675 w 404171"/>
                <a:gd name="connsiteY15" fmla="*/ 103579 h 413465"/>
                <a:gd name="connsiteX16" fmla="*/ 237103 w 404171"/>
                <a:gd name="connsiteY16" fmla="*/ 65130 h 413465"/>
                <a:gd name="connsiteX17" fmla="*/ 237103 w 404171"/>
                <a:gd name="connsiteY17" fmla="*/ 941 h 413465"/>
                <a:gd name="connsiteX18" fmla="*/ 404172 w 404171"/>
                <a:gd name="connsiteY18" fmla="*/ 941 h 413465"/>
                <a:gd name="connsiteX19" fmla="*/ 404172 w 404171"/>
                <a:gd name="connsiteY19" fmla="*/ 64245 h 413465"/>
                <a:gd name="connsiteX20" fmla="*/ 401759 w 404171"/>
                <a:gd name="connsiteY20" fmla="*/ 65398 h 413465"/>
                <a:gd name="connsiteX21" fmla="*/ 365374 w 404171"/>
                <a:gd name="connsiteY21" fmla="*/ 103445 h 413465"/>
                <a:gd name="connsiteX22" fmla="*/ 365508 w 404171"/>
                <a:gd name="connsiteY22" fmla="*/ 394441 h 413465"/>
                <a:gd name="connsiteX23" fmla="*/ 365508 w 404171"/>
                <a:gd name="connsiteY23" fmla="*/ 412004 h 413465"/>
                <a:gd name="connsiteX24" fmla="*/ 299201 w 404171"/>
                <a:gd name="connsiteY24" fmla="*/ 411977 h 413465"/>
                <a:gd name="connsiteX25" fmla="*/ 254665 w 404171"/>
                <a:gd name="connsiteY25" fmla="*/ 409698 h 413465"/>
                <a:gd name="connsiteX26" fmla="*/ 233752 w 404171"/>
                <a:gd name="connsiteY26" fmla="*/ 370498 h 413465"/>
                <a:gd name="connsiteX27" fmla="*/ 139613 w 404171"/>
                <a:gd name="connsiteY27" fmla="*/ 170986 h 413465"/>
                <a:gd name="connsiteX28" fmla="*/ 131569 w 404171"/>
                <a:gd name="connsiteY28" fmla="*/ 160019 h 413465"/>
                <a:gd name="connsiteX29" fmla="*/ 131569 w 404171"/>
                <a:gd name="connsiteY29" fmla="*/ 206191 h 413465"/>
                <a:gd name="connsiteX30" fmla="*/ 131489 w 404171"/>
                <a:gd name="connsiteY30" fmla="*/ 314808 h 413465"/>
                <a:gd name="connsiteX31" fmla="*/ 158355 w 404171"/>
                <a:gd name="connsiteY31" fmla="*/ 342211 h 413465"/>
                <a:gd name="connsiteX32" fmla="*/ 169830 w 404171"/>
                <a:gd name="connsiteY32" fmla="*/ 342211 h 413465"/>
                <a:gd name="connsiteX33" fmla="*/ 169830 w 404171"/>
                <a:gd name="connsiteY33" fmla="*/ 407740 h 413465"/>
                <a:gd name="connsiteX34" fmla="*/ 0 w 404171"/>
                <a:gd name="connsiteY34" fmla="*/ 407740 h 41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404171" h="413465">
                  <a:moveTo>
                    <a:pt x="0" y="407794"/>
                  </a:moveTo>
                  <a:lnTo>
                    <a:pt x="0" y="342854"/>
                  </a:lnTo>
                  <a:cubicBezTo>
                    <a:pt x="7776" y="342506"/>
                    <a:pt x="14827" y="342184"/>
                    <a:pt x="21879" y="341835"/>
                  </a:cubicBezTo>
                  <a:cubicBezTo>
                    <a:pt x="32550" y="341299"/>
                    <a:pt x="38342" y="335910"/>
                    <a:pt x="38422" y="324970"/>
                  </a:cubicBezTo>
                  <a:cubicBezTo>
                    <a:pt x="38530" y="310223"/>
                    <a:pt x="38664" y="295476"/>
                    <a:pt x="38664" y="280729"/>
                  </a:cubicBezTo>
                  <a:cubicBezTo>
                    <a:pt x="38664" y="220374"/>
                    <a:pt x="38664" y="160046"/>
                    <a:pt x="38664" y="99691"/>
                  </a:cubicBezTo>
                  <a:cubicBezTo>
                    <a:pt x="38664" y="69581"/>
                    <a:pt x="36197" y="67034"/>
                    <a:pt x="6274" y="65773"/>
                  </a:cubicBezTo>
                  <a:cubicBezTo>
                    <a:pt x="4531" y="65693"/>
                    <a:pt x="2789" y="65371"/>
                    <a:pt x="134" y="65076"/>
                  </a:cubicBezTo>
                  <a:lnTo>
                    <a:pt x="134" y="860"/>
                  </a:lnTo>
                  <a:cubicBezTo>
                    <a:pt x="4317" y="619"/>
                    <a:pt x="8580" y="190"/>
                    <a:pt x="12843" y="190"/>
                  </a:cubicBezTo>
                  <a:cubicBezTo>
                    <a:pt x="60650" y="190"/>
                    <a:pt x="108457" y="565"/>
                    <a:pt x="156263" y="2"/>
                  </a:cubicBezTo>
                  <a:cubicBezTo>
                    <a:pt x="166077" y="-105"/>
                    <a:pt x="170233" y="3649"/>
                    <a:pt x="173852" y="11961"/>
                  </a:cubicBezTo>
                  <a:cubicBezTo>
                    <a:pt x="204231" y="81351"/>
                    <a:pt x="234958" y="150555"/>
                    <a:pt x="265605" y="219811"/>
                  </a:cubicBezTo>
                  <a:cubicBezTo>
                    <a:pt x="267348" y="223753"/>
                    <a:pt x="269251" y="227641"/>
                    <a:pt x="273675" y="231260"/>
                  </a:cubicBezTo>
                  <a:cubicBezTo>
                    <a:pt x="273675" y="222224"/>
                    <a:pt x="273675" y="213189"/>
                    <a:pt x="273675" y="204153"/>
                  </a:cubicBezTo>
                  <a:cubicBezTo>
                    <a:pt x="273675" y="170637"/>
                    <a:pt x="273675" y="137095"/>
                    <a:pt x="273675" y="103579"/>
                  </a:cubicBezTo>
                  <a:cubicBezTo>
                    <a:pt x="273675" y="69152"/>
                    <a:pt x="272388" y="67784"/>
                    <a:pt x="237103" y="65130"/>
                  </a:cubicBezTo>
                  <a:lnTo>
                    <a:pt x="237103" y="941"/>
                  </a:lnTo>
                  <a:lnTo>
                    <a:pt x="404172" y="941"/>
                  </a:lnTo>
                  <a:lnTo>
                    <a:pt x="404172" y="64245"/>
                  </a:lnTo>
                  <a:cubicBezTo>
                    <a:pt x="403260" y="64701"/>
                    <a:pt x="402536" y="65344"/>
                    <a:pt x="401759" y="65398"/>
                  </a:cubicBezTo>
                  <a:cubicBezTo>
                    <a:pt x="365991" y="67168"/>
                    <a:pt x="365347" y="67838"/>
                    <a:pt x="365374" y="103445"/>
                  </a:cubicBezTo>
                  <a:cubicBezTo>
                    <a:pt x="365428" y="200453"/>
                    <a:pt x="365481" y="297434"/>
                    <a:pt x="365508" y="394441"/>
                  </a:cubicBezTo>
                  <a:cubicBezTo>
                    <a:pt x="365508" y="399723"/>
                    <a:pt x="365508" y="404979"/>
                    <a:pt x="365508" y="412004"/>
                  </a:cubicBezTo>
                  <a:cubicBezTo>
                    <a:pt x="342637" y="412004"/>
                    <a:pt x="320919" y="412111"/>
                    <a:pt x="299201" y="411977"/>
                  </a:cubicBezTo>
                  <a:cubicBezTo>
                    <a:pt x="284052" y="411870"/>
                    <a:pt x="265632" y="416615"/>
                    <a:pt x="254665" y="409698"/>
                  </a:cubicBezTo>
                  <a:cubicBezTo>
                    <a:pt x="243779" y="402834"/>
                    <a:pt x="240187" y="384145"/>
                    <a:pt x="233752" y="370498"/>
                  </a:cubicBezTo>
                  <a:cubicBezTo>
                    <a:pt x="202327" y="304030"/>
                    <a:pt x="171010" y="237481"/>
                    <a:pt x="139613" y="170986"/>
                  </a:cubicBezTo>
                  <a:cubicBezTo>
                    <a:pt x="137790" y="167125"/>
                    <a:pt x="135725" y="163398"/>
                    <a:pt x="131569" y="160019"/>
                  </a:cubicBezTo>
                  <a:cubicBezTo>
                    <a:pt x="131569" y="175410"/>
                    <a:pt x="131569" y="190800"/>
                    <a:pt x="131569" y="206191"/>
                  </a:cubicBezTo>
                  <a:cubicBezTo>
                    <a:pt x="131542" y="242388"/>
                    <a:pt x="131462" y="278611"/>
                    <a:pt x="131489" y="314808"/>
                  </a:cubicBezTo>
                  <a:cubicBezTo>
                    <a:pt x="131489" y="338618"/>
                    <a:pt x="134706" y="341835"/>
                    <a:pt x="158355" y="342211"/>
                  </a:cubicBezTo>
                  <a:cubicBezTo>
                    <a:pt x="161894" y="342264"/>
                    <a:pt x="165406" y="342211"/>
                    <a:pt x="169830" y="342211"/>
                  </a:cubicBezTo>
                  <a:lnTo>
                    <a:pt x="169830" y="407740"/>
                  </a:lnTo>
                  <a:lnTo>
                    <a:pt x="0" y="40774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: Shape 7">
              <a:extLst>
                <a:ext uri="{FF2B5EF4-FFF2-40B4-BE49-F238E27FC236}">
                  <a16:creationId xmlns:a16="http://schemas.microsoft.com/office/drawing/2014/main" id="{E7FF9669-DCC1-767F-0849-C7EA831FB475}"/>
                </a:ext>
              </a:extLst>
            </p:cNvPr>
            <p:cNvSpPr/>
            <p:nvPr/>
          </p:nvSpPr>
          <p:spPr>
            <a:xfrm>
              <a:off x="9085608" y="260399"/>
              <a:ext cx="223758" cy="279344"/>
            </a:xfrm>
            <a:custGeom>
              <a:avLst/>
              <a:gdLst>
                <a:gd name="connsiteX0" fmla="*/ 27 w 326174"/>
                <a:gd name="connsiteY0" fmla="*/ 0 h 407201"/>
                <a:gd name="connsiteX1" fmla="*/ 319981 w 326174"/>
                <a:gd name="connsiteY1" fmla="*/ 0 h 407201"/>
                <a:gd name="connsiteX2" fmla="*/ 319981 w 326174"/>
                <a:gd name="connsiteY2" fmla="*/ 119879 h 407201"/>
                <a:gd name="connsiteX3" fmla="*/ 235628 w 326174"/>
                <a:gd name="connsiteY3" fmla="*/ 119879 h 407201"/>
                <a:gd name="connsiteX4" fmla="*/ 235682 w 326174"/>
                <a:gd name="connsiteY4" fmla="*/ 98429 h 407201"/>
                <a:gd name="connsiteX5" fmla="*/ 218656 w 326174"/>
                <a:gd name="connsiteY5" fmla="*/ 78936 h 407201"/>
                <a:gd name="connsiteX6" fmla="*/ 152670 w 326174"/>
                <a:gd name="connsiteY6" fmla="*/ 78722 h 407201"/>
                <a:gd name="connsiteX7" fmla="*/ 152670 w 326174"/>
                <a:gd name="connsiteY7" fmla="*/ 156210 h 407201"/>
                <a:gd name="connsiteX8" fmla="*/ 271638 w 326174"/>
                <a:gd name="connsiteY8" fmla="*/ 156210 h 407201"/>
                <a:gd name="connsiteX9" fmla="*/ 271638 w 326174"/>
                <a:gd name="connsiteY9" fmla="*/ 238980 h 407201"/>
                <a:gd name="connsiteX10" fmla="*/ 152858 w 326174"/>
                <a:gd name="connsiteY10" fmla="*/ 238980 h 407201"/>
                <a:gd name="connsiteX11" fmla="*/ 152858 w 326174"/>
                <a:gd name="connsiteY11" fmla="*/ 327542 h 407201"/>
                <a:gd name="connsiteX12" fmla="*/ 227933 w 326174"/>
                <a:gd name="connsiteY12" fmla="*/ 327354 h 407201"/>
                <a:gd name="connsiteX13" fmla="*/ 243163 w 326174"/>
                <a:gd name="connsiteY13" fmla="*/ 308800 h 407201"/>
                <a:gd name="connsiteX14" fmla="*/ 243243 w 326174"/>
                <a:gd name="connsiteY14" fmla="*/ 282685 h 407201"/>
                <a:gd name="connsiteX15" fmla="*/ 326174 w 326174"/>
                <a:gd name="connsiteY15" fmla="*/ 282685 h 407201"/>
                <a:gd name="connsiteX16" fmla="*/ 326174 w 326174"/>
                <a:gd name="connsiteY16" fmla="*/ 407202 h 407201"/>
                <a:gd name="connsiteX17" fmla="*/ 0 w 326174"/>
                <a:gd name="connsiteY17" fmla="*/ 407202 h 407201"/>
                <a:gd name="connsiteX18" fmla="*/ 0 w 326174"/>
                <a:gd name="connsiteY18" fmla="*/ 341216 h 407201"/>
                <a:gd name="connsiteX19" fmla="*/ 17991 w 326174"/>
                <a:gd name="connsiteY19" fmla="*/ 341163 h 407201"/>
                <a:gd name="connsiteX20" fmla="*/ 37001 w 326174"/>
                <a:gd name="connsiteY20" fmla="*/ 321831 h 407201"/>
                <a:gd name="connsiteX21" fmla="*/ 37109 w 326174"/>
                <a:gd name="connsiteY21" fmla="*/ 198493 h 407201"/>
                <a:gd name="connsiteX22" fmla="*/ 37109 w 326174"/>
                <a:gd name="connsiteY22" fmla="*/ 92584 h 407201"/>
                <a:gd name="connsiteX23" fmla="*/ 10216 w 326174"/>
                <a:gd name="connsiteY23" fmla="*/ 64860 h 407201"/>
                <a:gd name="connsiteX24" fmla="*/ 27 w 326174"/>
                <a:gd name="connsiteY24" fmla="*/ 64404 h 407201"/>
                <a:gd name="connsiteX25" fmla="*/ 27 w 326174"/>
                <a:gd name="connsiteY25" fmla="*/ 0 h 407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26174" h="407201">
                  <a:moveTo>
                    <a:pt x="27" y="0"/>
                  </a:moveTo>
                  <a:lnTo>
                    <a:pt x="319981" y="0"/>
                  </a:lnTo>
                  <a:lnTo>
                    <a:pt x="319981" y="119879"/>
                  </a:lnTo>
                  <a:lnTo>
                    <a:pt x="235628" y="119879"/>
                  </a:lnTo>
                  <a:cubicBezTo>
                    <a:pt x="235628" y="112479"/>
                    <a:pt x="235333" y="105427"/>
                    <a:pt x="235682" y="98429"/>
                  </a:cubicBezTo>
                  <a:cubicBezTo>
                    <a:pt x="236272" y="86283"/>
                    <a:pt x="230185" y="79311"/>
                    <a:pt x="218656" y="78936"/>
                  </a:cubicBezTo>
                  <a:cubicBezTo>
                    <a:pt x="196911" y="78239"/>
                    <a:pt x="175139" y="78722"/>
                    <a:pt x="152670" y="78722"/>
                  </a:cubicBezTo>
                  <a:lnTo>
                    <a:pt x="152670" y="156210"/>
                  </a:lnTo>
                  <a:lnTo>
                    <a:pt x="271638" y="156210"/>
                  </a:lnTo>
                  <a:lnTo>
                    <a:pt x="271638" y="238980"/>
                  </a:lnTo>
                  <a:lnTo>
                    <a:pt x="152858" y="238980"/>
                  </a:lnTo>
                  <a:lnTo>
                    <a:pt x="152858" y="327542"/>
                  </a:lnTo>
                  <a:cubicBezTo>
                    <a:pt x="178196" y="327542"/>
                    <a:pt x="203078" y="327944"/>
                    <a:pt x="227933" y="327354"/>
                  </a:cubicBezTo>
                  <a:cubicBezTo>
                    <a:pt x="239007" y="327086"/>
                    <a:pt x="242680" y="318560"/>
                    <a:pt x="243163" y="308800"/>
                  </a:cubicBezTo>
                  <a:cubicBezTo>
                    <a:pt x="243565" y="300408"/>
                    <a:pt x="243243" y="291962"/>
                    <a:pt x="243243" y="282685"/>
                  </a:cubicBezTo>
                  <a:lnTo>
                    <a:pt x="326174" y="282685"/>
                  </a:lnTo>
                  <a:lnTo>
                    <a:pt x="326174" y="407202"/>
                  </a:lnTo>
                  <a:lnTo>
                    <a:pt x="0" y="407202"/>
                  </a:lnTo>
                  <a:lnTo>
                    <a:pt x="0" y="341216"/>
                  </a:lnTo>
                  <a:cubicBezTo>
                    <a:pt x="5872" y="341216"/>
                    <a:pt x="11932" y="341431"/>
                    <a:pt x="17991" y="341163"/>
                  </a:cubicBezTo>
                  <a:cubicBezTo>
                    <a:pt x="33301" y="340519"/>
                    <a:pt x="36948" y="337007"/>
                    <a:pt x="37001" y="321831"/>
                  </a:cubicBezTo>
                  <a:cubicBezTo>
                    <a:pt x="37162" y="280727"/>
                    <a:pt x="37082" y="239624"/>
                    <a:pt x="37109" y="198493"/>
                  </a:cubicBezTo>
                  <a:cubicBezTo>
                    <a:pt x="37109" y="163181"/>
                    <a:pt x="37109" y="127896"/>
                    <a:pt x="37109" y="92584"/>
                  </a:cubicBezTo>
                  <a:cubicBezTo>
                    <a:pt x="37109" y="69015"/>
                    <a:pt x="33650" y="65503"/>
                    <a:pt x="10216" y="64860"/>
                  </a:cubicBezTo>
                  <a:cubicBezTo>
                    <a:pt x="7132" y="64779"/>
                    <a:pt x="4049" y="64591"/>
                    <a:pt x="27" y="64404"/>
                  </a:cubicBezTo>
                  <a:lnTo>
                    <a:pt x="27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Freeform: Shape 8">
              <a:extLst>
                <a:ext uri="{FF2B5EF4-FFF2-40B4-BE49-F238E27FC236}">
                  <a16:creationId xmlns:a16="http://schemas.microsoft.com/office/drawing/2014/main" id="{4CAF80F9-3251-2C07-DE43-E4397C915277}"/>
                </a:ext>
              </a:extLst>
            </p:cNvPr>
            <p:cNvSpPr/>
            <p:nvPr/>
          </p:nvSpPr>
          <p:spPr>
            <a:xfrm>
              <a:off x="9761971" y="250670"/>
              <a:ext cx="204990" cy="298460"/>
            </a:xfrm>
            <a:custGeom>
              <a:avLst/>
              <a:gdLst>
                <a:gd name="connsiteX0" fmla="*/ 248 w 298816"/>
                <a:gd name="connsiteY0" fmla="*/ 286088 h 435066"/>
                <a:gd name="connsiteX1" fmla="*/ 91304 w 298816"/>
                <a:gd name="connsiteY1" fmla="*/ 286088 h 435066"/>
                <a:gd name="connsiteX2" fmla="*/ 91357 w 298816"/>
                <a:gd name="connsiteY2" fmla="*/ 318049 h 435066"/>
                <a:gd name="connsiteX3" fmla="*/ 163242 w 298816"/>
                <a:gd name="connsiteY3" fmla="*/ 359742 h 435066"/>
                <a:gd name="connsiteX4" fmla="*/ 170159 w 298816"/>
                <a:gd name="connsiteY4" fmla="*/ 288662 h 435066"/>
                <a:gd name="connsiteX5" fmla="*/ 124551 w 298816"/>
                <a:gd name="connsiteY5" fmla="*/ 258418 h 435066"/>
                <a:gd name="connsiteX6" fmla="*/ 55455 w 298816"/>
                <a:gd name="connsiteY6" fmla="*/ 215089 h 435066"/>
                <a:gd name="connsiteX7" fmla="*/ 543 w 298816"/>
                <a:gd name="connsiteY7" fmla="*/ 124221 h 435066"/>
                <a:gd name="connsiteX8" fmla="*/ 99240 w 298816"/>
                <a:gd name="connsiteY8" fmla="*/ 4074 h 435066"/>
                <a:gd name="connsiteX9" fmla="*/ 267891 w 298816"/>
                <a:gd name="connsiteY9" fmla="*/ 20430 h 435066"/>
                <a:gd name="connsiteX10" fmla="*/ 278509 w 298816"/>
                <a:gd name="connsiteY10" fmla="*/ 31021 h 435066"/>
                <a:gd name="connsiteX11" fmla="*/ 278991 w 298816"/>
                <a:gd name="connsiteY11" fmla="*/ 136501 h 435066"/>
                <a:gd name="connsiteX12" fmla="*/ 191153 w 298816"/>
                <a:gd name="connsiteY12" fmla="*/ 136501 h 435066"/>
                <a:gd name="connsiteX13" fmla="*/ 191019 w 298816"/>
                <a:gd name="connsiteY13" fmla="*/ 100706 h 435066"/>
                <a:gd name="connsiteX14" fmla="*/ 161928 w 298816"/>
                <a:gd name="connsiteY14" fmla="*/ 65796 h 435066"/>
                <a:gd name="connsiteX15" fmla="*/ 113933 w 298816"/>
                <a:gd name="connsiteY15" fmla="*/ 83493 h 435066"/>
                <a:gd name="connsiteX16" fmla="*/ 122165 w 298816"/>
                <a:gd name="connsiteY16" fmla="*/ 131648 h 435066"/>
                <a:gd name="connsiteX17" fmla="*/ 172438 w 298816"/>
                <a:gd name="connsiteY17" fmla="*/ 164386 h 435066"/>
                <a:gd name="connsiteX18" fmla="*/ 246360 w 298816"/>
                <a:gd name="connsiteY18" fmla="*/ 207447 h 435066"/>
                <a:gd name="connsiteX19" fmla="*/ 294945 w 298816"/>
                <a:gd name="connsiteY19" fmla="*/ 337836 h 435066"/>
                <a:gd name="connsiteX20" fmla="*/ 194746 w 298816"/>
                <a:gd name="connsiteY20" fmla="*/ 430259 h 435066"/>
                <a:gd name="connsiteX21" fmla="*/ 12448 w 298816"/>
                <a:gd name="connsiteY21" fmla="*/ 415432 h 435066"/>
                <a:gd name="connsiteX22" fmla="*/ 7 w 298816"/>
                <a:gd name="connsiteY22" fmla="*/ 398915 h 435066"/>
                <a:gd name="connsiteX23" fmla="*/ 275 w 298816"/>
                <a:gd name="connsiteY23" fmla="*/ 286088 h 4350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98816" h="435066">
                  <a:moveTo>
                    <a:pt x="248" y="286088"/>
                  </a:moveTo>
                  <a:lnTo>
                    <a:pt x="91304" y="286088"/>
                  </a:lnTo>
                  <a:cubicBezTo>
                    <a:pt x="91304" y="296921"/>
                    <a:pt x="90982" y="307485"/>
                    <a:pt x="91357" y="318049"/>
                  </a:cubicBezTo>
                  <a:cubicBezTo>
                    <a:pt x="92725" y="356283"/>
                    <a:pt x="129351" y="377439"/>
                    <a:pt x="163242" y="359742"/>
                  </a:cubicBezTo>
                  <a:cubicBezTo>
                    <a:pt x="188070" y="346765"/>
                    <a:pt x="192682" y="307994"/>
                    <a:pt x="170159" y="288662"/>
                  </a:cubicBezTo>
                  <a:cubicBezTo>
                    <a:pt x="156431" y="276865"/>
                    <a:pt x="139995" y="268151"/>
                    <a:pt x="124551" y="258418"/>
                  </a:cubicBezTo>
                  <a:cubicBezTo>
                    <a:pt x="101546" y="243912"/>
                    <a:pt x="77388" y="231015"/>
                    <a:pt x="55455" y="215089"/>
                  </a:cubicBezTo>
                  <a:cubicBezTo>
                    <a:pt x="24808" y="192834"/>
                    <a:pt x="2903" y="163823"/>
                    <a:pt x="543" y="124221"/>
                  </a:cubicBezTo>
                  <a:cubicBezTo>
                    <a:pt x="-3103" y="63142"/>
                    <a:pt x="37437" y="13405"/>
                    <a:pt x="99240" y="4074"/>
                  </a:cubicBezTo>
                  <a:cubicBezTo>
                    <a:pt x="156646" y="-4613"/>
                    <a:pt x="213140" y="481"/>
                    <a:pt x="267891" y="20430"/>
                  </a:cubicBezTo>
                  <a:cubicBezTo>
                    <a:pt x="272288" y="22038"/>
                    <a:pt x="278428" y="27321"/>
                    <a:pt x="278509" y="31021"/>
                  </a:cubicBezTo>
                  <a:cubicBezTo>
                    <a:pt x="279313" y="65823"/>
                    <a:pt x="278991" y="100653"/>
                    <a:pt x="278991" y="136501"/>
                  </a:cubicBezTo>
                  <a:lnTo>
                    <a:pt x="191153" y="136501"/>
                  </a:lnTo>
                  <a:cubicBezTo>
                    <a:pt x="191153" y="124543"/>
                    <a:pt x="191797" y="112584"/>
                    <a:pt x="191019" y="100706"/>
                  </a:cubicBezTo>
                  <a:cubicBezTo>
                    <a:pt x="189679" y="80677"/>
                    <a:pt x="179678" y="69202"/>
                    <a:pt x="161928" y="65796"/>
                  </a:cubicBezTo>
                  <a:cubicBezTo>
                    <a:pt x="140317" y="61641"/>
                    <a:pt x="122138" y="68370"/>
                    <a:pt x="113933" y="83493"/>
                  </a:cubicBezTo>
                  <a:cubicBezTo>
                    <a:pt x="104281" y="101323"/>
                    <a:pt x="105809" y="118349"/>
                    <a:pt x="122165" y="131648"/>
                  </a:cubicBezTo>
                  <a:cubicBezTo>
                    <a:pt x="137582" y="144196"/>
                    <a:pt x="155251" y="154117"/>
                    <a:pt x="172438" y="164386"/>
                  </a:cubicBezTo>
                  <a:cubicBezTo>
                    <a:pt x="196918" y="179026"/>
                    <a:pt x="222765" y="191547"/>
                    <a:pt x="246360" y="207447"/>
                  </a:cubicBezTo>
                  <a:cubicBezTo>
                    <a:pt x="290601" y="237236"/>
                    <a:pt x="307091" y="283863"/>
                    <a:pt x="294945" y="337836"/>
                  </a:cubicBezTo>
                  <a:cubicBezTo>
                    <a:pt x="284300" y="385161"/>
                    <a:pt x="244081" y="422081"/>
                    <a:pt x="194746" y="430259"/>
                  </a:cubicBezTo>
                  <a:cubicBezTo>
                    <a:pt x="132702" y="440555"/>
                    <a:pt x="72186" y="433718"/>
                    <a:pt x="12448" y="415432"/>
                  </a:cubicBezTo>
                  <a:cubicBezTo>
                    <a:pt x="3439" y="412670"/>
                    <a:pt x="-181" y="408970"/>
                    <a:pt x="7" y="398915"/>
                  </a:cubicBezTo>
                  <a:cubicBezTo>
                    <a:pt x="704" y="361834"/>
                    <a:pt x="275" y="324752"/>
                    <a:pt x="275" y="286088"/>
                  </a:cubicBezTo>
                  <a:close/>
                </a:path>
              </a:pathLst>
            </a:custGeom>
            <a:grpFill/>
            <a:ln w="254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5" name="Conector recto de flecha 4">
            <a:extLst>
              <a:ext uri="{FF2B5EF4-FFF2-40B4-BE49-F238E27FC236}">
                <a16:creationId xmlns:a16="http://schemas.microsoft.com/office/drawing/2014/main" id="{5C440840-661D-B80D-78E0-4C21DA4D62BB}"/>
              </a:ext>
            </a:extLst>
          </p:cNvPr>
          <p:cNvCxnSpPr>
            <a:cxnSpLocks/>
          </p:cNvCxnSpPr>
          <p:nvPr/>
        </p:nvCxnSpPr>
        <p:spPr>
          <a:xfrm>
            <a:off x="2697480" y="2621736"/>
            <a:ext cx="335883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Imagen 9">
            <a:extLst>
              <a:ext uri="{FF2B5EF4-FFF2-40B4-BE49-F238E27FC236}">
                <a16:creationId xmlns:a16="http://schemas.microsoft.com/office/drawing/2014/main" id="{F41DC637-14E6-0AC2-18B7-53BD101F319F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 rot="10800000">
            <a:off x="8135543" y="3660774"/>
            <a:ext cx="615749" cy="5974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963215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9669DA-C5C7-4E53-BAB3-4018D7C8653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9771435-4CD8-4F0B-973A-1D0AAF7D3E4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79505" y="3447246"/>
            <a:ext cx="7958455" cy="723422"/>
          </a:xfrm>
        </p:spPr>
        <p:txBody>
          <a:bodyPr/>
          <a:lstStyle/>
          <a:p>
            <a:r>
              <a:rPr lang="en-US" dirty="0"/>
              <a:t>LG </a:t>
            </a:r>
            <a:r>
              <a:rPr lang="en-US" dirty="0" err="1"/>
              <a:t>una</a:t>
            </a:r>
            <a:r>
              <a:rPr lang="en-US" dirty="0"/>
              <a:t> gran </a:t>
            </a:r>
            <a:r>
              <a:rPr lang="en-US" dirty="0" err="1"/>
              <a:t>experiencia</a:t>
            </a:r>
            <a:r>
              <a:rPr lang="en-US" dirty="0"/>
              <a:t> </a:t>
            </a:r>
            <a:r>
              <a:rPr lang="en-US" dirty="0" err="1"/>
              <a:t>en</a:t>
            </a:r>
            <a:r>
              <a:rPr lang="en-US" dirty="0"/>
              <a:t> </a:t>
            </a:r>
            <a:r>
              <a:rPr lang="en-US" dirty="0" err="1"/>
              <a:t>el</a:t>
            </a:r>
            <a:r>
              <a:rPr lang="en-US" dirty="0"/>
              <a:t> </a:t>
            </a:r>
            <a:r>
              <a:rPr lang="en-US" dirty="0" err="1"/>
              <a:t>seguimiento</a:t>
            </a:r>
            <a:r>
              <a:rPr lang="en-US" dirty="0"/>
              <a:t> de la </a:t>
            </a:r>
            <a:r>
              <a:rPr lang="en-US" dirty="0" err="1"/>
              <a:t>virosis</a:t>
            </a:r>
            <a:r>
              <a:rPr lang="en-US" dirty="0"/>
              <a:t> (</a:t>
            </a:r>
            <a:r>
              <a:rPr lang="en-US" dirty="0" err="1"/>
              <a:t>TuYV</a:t>
            </a:r>
            <a:r>
              <a:rPr lang="en-US" dirty="0"/>
              <a:t>)</a:t>
            </a:r>
            <a:br>
              <a:rPr lang="en-US" sz="2400" dirty="0"/>
            </a:b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3178778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7687FF-F73E-4438-9253-F2912D8C5D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79500" y="35159"/>
            <a:ext cx="7998896" cy="602038"/>
          </a:xfrm>
        </p:spPr>
        <p:txBody>
          <a:bodyPr/>
          <a:lstStyle/>
          <a:p>
            <a:r>
              <a:rPr lang="es-ES" sz="2400" dirty="0"/>
              <a:t>Larga experiencia de Limagrain en el monitoreo de </a:t>
            </a:r>
            <a:r>
              <a:rPr lang="es-ES" sz="2400" dirty="0" err="1"/>
              <a:t>TuYV</a:t>
            </a:r>
            <a:r>
              <a:rPr lang="es-ES" sz="2400" dirty="0"/>
              <a:t> </a:t>
            </a:r>
            <a:br>
              <a:rPr lang="en-US" sz="2400" dirty="0"/>
            </a:br>
            <a:endParaRPr lang="en-US" sz="24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50C06DB-5907-4A2C-8314-1866613E617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79500" y="385180"/>
            <a:ext cx="7543101" cy="538163"/>
          </a:xfrm>
        </p:spPr>
        <p:txBody>
          <a:bodyPr/>
          <a:lstStyle/>
          <a:p>
            <a:r>
              <a:rPr lang="es-ES" dirty="0" err="1"/>
              <a:t>TuYV</a:t>
            </a:r>
            <a:r>
              <a:rPr lang="es-ES" dirty="0"/>
              <a:t> es una amenaza endémica y limitante del rendimiento para los cultivos europeos de WOSR
</a:t>
            </a:r>
            <a:endParaRPr lang="en-US" dirty="0"/>
          </a:p>
        </p:txBody>
      </p:sp>
      <p:sp>
        <p:nvSpPr>
          <p:cNvPr id="126" name="Textfeld 125">
            <a:extLst>
              <a:ext uri="{FF2B5EF4-FFF2-40B4-BE49-F238E27FC236}">
                <a16:creationId xmlns:a16="http://schemas.microsoft.com/office/drawing/2014/main" id="{CFFFE015-AAD3-F5F0-C81C-DE0FFBB3CE12}"/>
              </a:ext>
            </a:extLst>
          </p:cNvPr>
          <p:cNvSpPr txBox="1"/>
          <p:nvPr/>
        </p:nvSpPr>
        <p:spPr>
          <a:xfrm>
            <a:off x="562026" y="961716"/>
            <a:ext cx="4601546" cy="657366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rmAutofit/>
          </a:bodyPr>
          <a:lstStyle/>
          <a:p>
            <a:pPr algn="ctr"/>
            <a:r>
              <a:rPr lang="es-ES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nálisis plurianual (2016-2022) a escala europea de la infección por </a:t>
            </a:r>
            <a:r>
              <a:rPr lang="es-ES" sz="14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uYV</a:t>
            </a:r>
            <a:r>
              <a:rPr lang="es-ES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
</a:t>
            </a:r>
            <a:r>
              <a:rPr lang="es-ES" sz="1400" dirty="0"/>
              <a:t>Media de incidencia de </a:t>
            </a:r>
            <a:r>
              <a:rPr lang="es-ES" sz="1400" dirty="0" err="1"/>
              <a:t>TuYV</a:t>
            </a:r>
            <a:r>
              <a:rPr lang="es-ES" sz="1400" dirty="0"/>
              <a:t> (%) en variedades susceptibles</a:t>
            </a:r>
            <a:endParaRPr lang="en-US" sz="1400" dirty="0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7BA077A9-6780-7CC4-3170-2F1B92F845E3}"/>
              </a:ext>
            </a:extLst>
          </p:cNvPr>
          <p:cNvGrpSpPr/>
          <p:nvPr/>
        </p:nvGrpSpPr>
        <p:grpSpPr>
          <a:xfrm>
            <a:off x="172158" y="2771086"/>
            <a:ext cx="1645230" cy="1786051"/>
            <a:chOff x="121826" y="2022749"/>
            <a:chExt cx="2032340" cy="2027832"/>
          </a:xfrm>
        </p:grpSpPr>
        <p:sp>
          <p:nvSpPr>
            <p:cNvPr id="13" name="Oval 223">
              <a:extLst>
                <a:ext uri="{FF2B5EF4-FFF2-40B4-BE49-F238E27FC236}">
                  <a16:creationId xmlns:a16="http://schemas.microsoft.com/office/drawing/2014/main" id="{4C150068-4BC6-7B76-99C6-EC4017DA75FA}"/>
                </a:ext>
              </a:extLst>
            </p:cNvPr>
            <p:cNvSpPr/>
            <p:nvPr/>
          </p:nvSpPr>
          <p:spPr bwMode="gray">
            <a:xfrm>
              <a:off x="121826" y="2085980"/>
              <a:ext cx="196703" cy="196703"/>
            </a:xfrm>
            <a:prstGeom prst="ellipse">
              <a:avLst/>
            </a:prstGeom>
            <a:solidFill>
              <a:srgbClr val="00B050">
                <a:alpha val="4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defTabSz="914400"/>
              <a:endParaRPr lang="en-US" b="1" kern="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4" name="TextBox 222">
              <a:extLst>
                <a:ext uri="{FF2B5EF4-FFF2-40B4-BE49-F238E27FC236}">
                  <a16:creationId xmlns:a16="http://schemas.microsoft.com/office/drawing/2014/main" id="{82F81319-BCE9-43F7-A55B-765EECB065B1}"/>
                </a:ext>
              </a:extLst>
            </p:cNvPr>
            <p:cNvSpPr txBox="1"/>
            <p:nvPr/>
          </p:nvSpPr>
          <p:spPr>
            <a:xfrm>
              <a:off x="461522" y="2022749"/>
              <a:ext cx="1431288" cy="32316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r>
                <a:rPr lang="en-US" sz="1050" dirty="0">
                  <a:solidFill>
                    <a:srgbClr val="000000"/>
                  </a:solidFill>
                </a:rPr>
                <a:t>Very low incidence </a:t>
              </a:r>
              <a:br>
                <a:rPr lang="en-US" sz="1050" dirty="0">
                  <a:solidFill>
                    <a:srgbClr val="000000"/>
                  </a:solidFill>
                </a:rPr>
              </a:br>
              <a:r>
                <a:rPr lang="en-US" sz="1050" dirty="0">
                  <a:solidFill>
                    <a:srgbClr val="000000"/>
                  </a:solidFill>
                </a:rPr>
                <a:t>(&lt;10%)</a:t>
              </a:r>
            </a:p>
          </p:txBody>
        </p:sp>
        <p:sp>
          <p:nvSpPr>
            <p:cNvPr id="15" name="Oval 228">
              <a:extLst>
                <a:ext uri="{FF2B5EF4-FFF2-40B4-BE49-F238E27FC236}">
                  <a16:creationId xmlns:a16="http://schemas.microsoft.com/office/drawing/2014/main" id="{23C0E160-ED9A-BDBC-B889-6EC550C29583}"/>
                </a:ext>
              </a:extLst>
            </p:cNvPr>
            <p:cNvSpPr/>
            <p:nvPr/>
          </p:nvSpPr>
          <p:spPr bwMode="gray">
            <a:xfrm>
              <a:off x="121826" y="2512147"/>
              <a:ext cx="196703" cy="196703"/>
            </a:xfrm>
            <a:prstGeom prst="ellipse">
              <a:avLst/>
            </a:prstGeom>
            <a:solidFill>
              <a:srgbClr val="E4F600">
                <a:alpha val="4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400"/>
              <a:endParaRPr lang="en-US" kern="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6" name="TextBox 227">
              <a:extLst>
                <a:ext uri="{FF2B5EF4-FFF2-40B4-BE49-F238E27FC236}">
                  <a16:creationId xmlns:a16="http://schemas.microsoft.com/office/drawing/2014/main" id="{716714A0-9F69-CE98-3288-E216B8E40B97}"/>
                </a:ext>
              </a:extLst>
            </p:cNvPr>
            <p:cNvSpPr txBox="1"/>
            <p:nvPr/>
          </p:nvSpPr>
          <p:spPr>
            <a:xfrm>
              <a:off x="461522" y="2448916"/>
              <a:ext cx="1431288" cy="32316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r>
                <a:rPr lang="en-US" sz="1050" dirty="0">
                  <a:solidFill>
                    <a:srgbClr val="000000"/>
                  </a:solidFill>
                </a:rPr>
                <a:t>Low incidence </a:t>
              </a:r>
              <a:br>
                <a:rPr lang="en-US" sz="1050" dirty="0">
                  <a:solidFill>
                    <a:srgbClr val="000000"/>
                  </a:solidFill>
                </a:rPr>
              </a:br>
              <a:r>
                <a:rPr lang="en-US" sz="1050" dirty="0">
                  <a:solidFill>
                    <a:srgbClr val="000000"/>
                  </a:solidFill>
                </a:rPr>
                <a:t>(&gt;11&lt;35%)</a:t>
              </a:r>
            </a:p>
          </p:txBody>
        </p:sp>
        <p:sp>
          <p:nvSpPr>
            <p:cNvPr id="17" name="Oval 233">
              <a:extLst>
                <a:ext uri="{FF2B5EF4-FFF2-40B4-BE49-F238E27FC236}">
                  <a16:creationId xmlns:a16="http://schemas.microsoft.com/office/drawing/2014/main" id="{346586F0-60C7-5BD8-064E-70C8422EA878}"/>
                </a:ext>
              </a:extLst>
            </p:cNvPr>
            <p:cNvSpPr/>
            <p:nvPr/>
          </p:nvSpPr>
          <p:spPr bwMode="gray">
            <a:xfrm>
              <a:off x="121826" y="2938314"/>
              <a:ext cx="196703" cy="196703"/>
            </a:xfrm>
            <a:prstGeom prst="ellipse">
              <a:avLst/>
            </a:prstGeom>
            <a:solidFill>
              <a:srgbClr val="FF6600">
                <a:alpha val="4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defTabSz="914400"/>
              <a:endParaRPr lang="en-US" b="1" kern="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8" name="TextBox 232">
              <a:extLst>
                <a:ext uri="{FF2B5EF4-FFF2-40B4-BE49-F238E27FC236}">
                  <a16:creationId xmlns:a16="http://schemas.microsoft.com/office/drawing/2014/main" id="{9D2907CC-5657-8C55-8BED-57D16EE54AAD}"/>
                </a:ext>
              </a:extLst>
            </p:cNvPr>
            <p:cNvSpPr txBox="1"/>
            <p:nvPr/>
          </p:nvSpPr>
          <p:spPr>
            <a:xfrm>
              <a:off x="461521" y="2875083"/>
              <a:ext cx="1692645" cy="32316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r>
                <a:rPr lang="en-US" sz="1050">
                  <a:solidFill>
                    <a:srgbClr val="000000"/>
                  </a:solidFill>
                </a:rPr>
                <a:t>Medium incidence </a:t>
              </a:r>
              <a:br>
                <a:rPr lang="en-US" sz="1050" dirty="0">
                  <a:solidFill>
                    <a:srgbClr val="000000"/>
                  </a:solidFill>
                </a:rPr>
              </a:br>
              <a:r>
                <a:rPr lang="en-US" sz="1050" dirty="0">
                  <a:solidFill>
                    <a:srgbClr val="000000"/>
                  </a:solidFill>
                </a:rPr>
                <a:t>(&gt;36-65%)</a:t>
              </a:r>
            </a:p>
          </p:txBody>
        </p:sp>
        <p:sp>
          <p:nvSpPr>
            <p:cNvPr id="19" name="Oval 240">
              <a:extLst>
                <a:ext uri="{FF2B5EF4-FFF2-40B4-BE49-F238E27FC236}">
                  <a16:creationId xmlns:a16="http://schemas.microsoft.com/office/drawing/2014/main" id="{6C081B79-3C04-A106-EBE4-9860120AB653}"/>
                </a:ext>
              </a:extLst>
            </p:cNvPr>
            <p:cNvSpPr/>
            <p:nvPr/>
          </p:nvSpPr>
          <p:spPr bwMode="gray">
            <a:xfrm>
              <a:off x="121826" y="3364481"/>
              <a:ext cx="196703" cy="196703"/>
            </a:xfrm>
            <a:prstGeom prst="ellipse">
              <a:avLst/>
            </a:prstGeom>
            <a:solidFill>
              <a:srgbClr val="990099">
                <a:alpha val="31765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algn="ctr" defTabSz="914400"/>
              <a:endParaRPr lang="en-US" sz="1400" kern="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20" name="TextBox 237">
              <a:extLst>
                <a:ext uri="{FF2B5EF4-FFF2-40B4-BE49-F238E27FC236}">
                  <a16:creationId xmlns:a16="http://schemas.microsoft.com/office/drawing/2014/main" id="{6B060E1B-4E9E-39DD-B52E-CC885DE2A0FF}"/>
                </a:ext>
              </a:extLst>
            </p:cNvPr>
            <p:cNvSpPr txBox="1"/>
            <p:nvPr/>
          </p:nvSpPr>
          <p:spPr>
            <a:xfrm>
              <a:off x="461522" y="3301250"/>
              <a:ext cx="1431288" cy="32316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r>
                <a:rPr lang="en-US" sz="1050" dirty="0">
                  <a:solidFill>
                    <a:srgbClr val="000000"/>
                  </a:solidFill>
                </a:rPr>
                <a:t>Heavy incidence</a:t>
              </a:r>
              <a:br>
                <a:rPr lang="en-US" sz="1050" dirty="0">
                  <a:solidFill>
                    <a:srgbClr val="000000"/>
                  </a:solidFill>
                </a:rPr>
              </a:br>
              <a:r>
                <a:rPr lang="en-US" sz="1050" dirty="0">
                  <a:solidFill>
                    <a:srgbClr val="000000"/>
                  </a:solidFill>
                </a:rPr>
                <a:t>(&gt;66-80%)</a:t>
              </a:r>
            </a:p>
          </p:txBody>
        </p:sp>
        <p:sp>
          <p:nvSpPr>
            <p:cNvPr id="21" name="Oval 245">
              <a:extLst>
                <a:ext uri="{FF2B5EF4-FFF2-40B4-BE49-F238E27FC236}">
                  <a16:creationId xmlns:a16="http://schemas.microsoft.com/office/drawing/2014/main" id="{019F6D33-923D-C21F-16F5-4778C208FAA8}"/>
                </a:ext>
              </a:extLst>
            </p:cNvPr>
            <p:cNvSpPr/>
            <p:nvPr/>
          </p:nvSpPr>
          <p:spPr bwMode="gray">
            <a:xfrm>
              <a:off x="121826" y="3790647"/>
              <a:ext cx="196703" cy="196703"/>
            </a:xfrm>
            <a:prstGeom prst="ellipse">
              <a:avLst/>
            </a:prstGeom>
            <a:solidFill>
              <a:srgbClr val="FF0000">
                <a:alpha val="52549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400"/>
              <a:endParaRPr lang="en-US" kern="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22" name="TextBox 244">
              <a:extLst>
                <a:ext uri="{FF2B5EF4-FFF2-40B4-BE49-F238E27FC236}">
                  <a16:creationId xmlns:a16="http://schemas.microsoft.com/office/drawing/2014/main" id="{2F2190A7-2BB5-AA29-F2F1-9D97DBD4DBAB}"/>
                </a:ext>
              </a:extLst>
            </p:cNvPr>
            <p:cNvSpPr txBox="1"/>
            <p:nvPr/>
          </p:nvSpPr>
          <p:spPr>
            <a:xfrm>
              <a:off x="461522" y="3727416"/>
              <a:ext cx="1431288" cy="32316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r>
                <a:rPr lang="en-US" sz="1050" dirty="0">
                  <a:solidFill>
                    <a:srgbClr val="000000"/>
                  </a:solidFill>
                </a:rPr>
                <a:t>Very </a:t>
              </a:r>
              <a:r>
                <a:rPr lang="en-US" sz="1050">
                  <a:solidFill>
                    <a:srgbClr val="000000"/>
                  </a:solidFill>
                </a:rPr>
                <a:t>heavy incidence</a:t>
              </a:r>
              <a:br>
                <a:rPr lang="en-US" sz="1050" dirty="0">
                  <a:solidFill>
                    <a:srgbClr val="000000"/>
                  </a:solidFill>
                </a:rPr>
              </a:br>
              <a:r>
                <a:rPr lang="en-US" sz="1050" dirty="0">
                  <a:solidFill>
                    <a:srgbClr val="000000"/>
                  </a:solidFill>
                </a:rPr>
                <a:t>(&gt;81-100%)</a:t>
              </a:r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D64CB372-2450-3851-469D-893E478DD25D}"/>
              </a:ext>
            </a:extLst>
          </p:cNvPr>
          <p:cNvSpPr/>
          <p:nvPr/>
        </p:nvSpPr>
        <p:spPr>
          <a:xfrm>
            <a:off x="5844343" y="948533"/>
            <a:ext cx="2778258" cy="1878245"/>
          </a:xfrm>
          <a:prstGeom prst="rect">
            <a:avLst/>
          </a:prstGeom>
          <a:solidFill>
            <a:schemeClr val="bg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Espace réservé du contenu 3">
            <a:extLst>
              <a:ext uri="{FF2B5EF4-FFF2-40B4-BE49-F238E27FC236}">
                <a16:creationId xmlns:a16="http://schemas.microsoft.com/office/drawing/2014/main" id="{363463D2-5614-77DE-DCB6-A4F39FF5278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44344" y="1212429"/>
            <a:ext cx="2778257" cy="638674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en-US" sz="1200" dirty="0"/>
              <a:t>Limagrain </a:t>
            </a:r>
            <a:r>
              <a:rPr lang="en-US" sz="1600" b="1" dirty="0">
                <a:solidFill>
                  <a:schemeClr val="accent1"/>
                </a:solidFill>
              </a:rPr>
              <a:t>1</a:t>
            </a:r>
            <a:r>
              <a:rPr lang="en-US" sz="1200" b="1" baseline="30000" dirty="0">
                <a:solidFill>
                  <a:schemeClr val="accent1"/>
                </a:solidFill>
              </a:rPr>
              <a:t>º</a:t>
            </a:r>
            <a:r>
              <a:rPr lang="en-US" sz="1200" b="1" dirty="0">
                <a:solidFill>
                  <a:schemeClr val="accent1"/>
                </a:solidFill>
              </a:rPr>
              <a:t> </a:t>
            </a:r>
            <a:r>
              <a:rPr lang="es-ES" sz="1200" dirty="0"/>
              <a:t>en Europa en desarrollar un fuerte monitoreo de </a:t>
            </a:r>
            <a:r>
              <a:rPr lang="es-ES" sz="1200" dirty="0" err="1"/>
              <a:t>TuYV</a:t>
            </a:r>
            <a:r>
              <a:rPr lang="es-ES" sz="1200" dirty="0"/>
              <a:t> </a:t>
            </a:r>
          </a:p>
          <a:p>
            <a:pPr>
              <a:spcBef>
                <a:spcPts val="0"/>
              </a:spcBef>
            </a:pPr>
            <a:r>
              <a:rPr lang="es-ES" sz="1200" dirty="0"/>
              <a:t>Monitorización </a:t>
            </a:r>
            <a:r>
              <a:rPr lang="es-ES" sz="1200" dirty="0" err="1"/>
              <a:t>TuYV</a:t>
            </a:r>
            <a:r>
              <a:rPr lang="es-ES" sz="1200" dirty="0"/>
              <a:t> con prueba ELISA desde 2016
Encuesta de otoño y primavera</a:t>
            </a:r>
            <a:endParaRPr lang="en-US" sz="1200" dirty="0"/>
          </a:p>
          <a:p>
            <a:pPr>
              <a:spcBef>
                <a:spcPts val="0"/>
              </a:spcBef>
            </a:pPr>
            <a:r>
              <a:rPr lang="es-ES" sz="1200" dirty="0"/>
              <a:t>500 campos/año analizados en promedio</a:t>
            </a:r>
            <a:endParaRPr lang="en-US" sz="1200" dirty="0"/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17BB2455-A270-0AFA-08FD-A4FE37121D31}"/>
              </a:ext>
            </a:extLst>
          </p:cNvPr>
          <p:cNvSpPr txBox="1"/>
          <p:nvPr/>
        </p:nvSpPr>
        <p:spPr>
          <a:xfrm>
            <a:off x="5809418" y="923343"/>
            <a:ext cx="2877382" cy="294850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noAutofit/>
          </a:bodyPr>
          <a:lstStyle/>
          <a:p>
            <a:pPr lvl="0" algn="ctr">
              <a:defRPr/>
            </a:pPr>
            <a:r>
              <a:rPr kumimoji="0" lang="fr-FR" sz="1400" b="1" i="0" u="sng" strike="noStrike" kern="1200" cap="none" spc="0" normalizeH="0" baseline="0" noProof="0" dirty="0">
                <a:ln>
                  <a:noFill/>
                </a:ln>
                <a:solidFill>
                  <a:srgbClr val="CD042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imagrain Expert on </a:t>
            </a:r>
            <a:r>
              <a:rPr kumimoji="0" lang="fr-FR" sz="1400" b="1" i="0" u="sng" strike="noStrike" kern="1200" cap="none" spc="0" normalizeH="0" baseline="0" noProof="0" dirty="0" err="1">
                <a:ln>
                  <a:noFill/>
                </a:ln>
                <a:solidFill>
                  <a:srgbClr val="CD042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uYV</a:t>
            </a:r>
            <a:r>
              <a:rPr kumimoji="0" lang="fr-FR" sz="1400" b="1" i="0" u="sng" strike="noStrike" kern="1200" cap="none" spc="0" normalizeH="0" baseline="0" noProof="0" dirty="0">
                <a:ln>
                  <a:noFill/>
                </a:ln>
                <a:solidFill>
                  <a:srgbClr val="CD042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lang="es-ES" sz="1400" b="1" u="sng" dirty="0">
                <a:solidFill>
                  <a:srgbClr val="CD042D"/>
                </a:solidFill>
              </a:rPr>
              <a:t>Limagrain</a:t>
            </a:r>
            <a:r>
              <a:rPr kumimoji="0" lang="fr-FR" sz="1400" b="1" i="0" u="sng" strike="noStrike" kern="1200" cap="none" spc="0" normalizeH="0" baseline="0" noProof="0" dirty="0">
                <a:ln>
                  <a:noFill/>
                </a:ln>
                <a:solidFill>
                  <a:srgbClr val="CD042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</a:p>
        </p:txBody>
      </p:sp>
      <p:pic>
        <p:nvPicPr>
          <p:cNvPr id="7" name="Image 6" descr="Une image contenant personne, intérieur, homme, tenant&#10;&#10;Description générée automatiquement">
            <a:extLst>
              <a:ext uri="{FF2B5EF4-FFF2-40B4-BE49-F238E27FC236}">
                <a16:creationId xmlns:a16="http://schemas.microsoft.com/office/drawing/2014/main" id="{5CD7BCA8-9D65-6425-1193-67AF09757BC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68788" y="3036144"/>
            <a:ext cx="1193236" cy="894928"/>
          </a:xfrm>
          <a:prstGeom prst="rect">
            <a:avLst/>
          </a:prstGeom>
        </p:spPr>
      </p:pic>
      <p:pic>
        <p:nvPicPr>
          <p:cNvPr id="8" name="Image 7" descr="Une image contenant intérieur, table, assis, compteur&#10;&#10;Description générée automatiquement">
            <a:extLst>
              <a:ext uri="{FF2B5EF4-FFF2-40B4-BE49-F238E27FC236}">
                <a16:creationId xmlns:a16="http://schemas.microsoft.com/office/drawing/2014/main" id="{3013E9DE-94D6-945E-064E-917087EDCB3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7374213" y="3019508"/>
            <a:ext cx="1248388" cy="904550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E4C23CDA-3F0B-078A-D6F0-4F69F9DA367C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17388" y="1508691"/>
            <a:ext cx="3718882" cy="32340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759804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7687FF-F73E-4438-9253-F2912D8C5D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79500" y="35159"/>
            <a:ext cx="7998896" cy="602038"/>
          </a:xfrm>
        </p:spPr>
        <p:txBody>
          <a:bodyPr/>
          <a:lstStyle/>
          <a:p>
            <a:r>
              <a:rPr lang="es-ES" sz="2400" dirty="0"/>
              <a:t>Larga experiencia de Limagrain en el monitoreo de </a:t>
            </a:r>
            <a:r>
              <a:rPr lang="es-ES" sz="2400" dirty="0" err="1"/>
              <a:t>TuYV</a:t>
            </a:r>
            <a:r>
              <a:rPr lang="es-ES" sz="2400" dirty="0"/>
              <a:t> </a:t>
            </a:r>
            <a:br>
              <a:rPr lang="en-US" sz="2400" dirty="0"/>
            </a:br>
            <a:endParaRPr lang="en-US" sz="24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50C06DB-5907-4A2C-8314-1866613E617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79500" y="385180"/>
            <a:ext cx="7543101" cy="538163"/>
          </a:xfrm>
        </p:spPr>
        <p:txBody>
          <a:bodyPr/>
          <a:lstStyle/>
          <a:p>
            <a:r>
              <a:rPr lang="es-ES" sz="1800" dirty="0" err="1"/>
              <a:t>TuYV</a:t>
            </a:r>
            <a:r>
              <a:rPr lang="es-ES" sz="1800" dirty="0"/>
              <a:t> es una amenaza endémica y limitante del rendimiento para los cultivos europeos de Colza</a:t>
            </a:r>
            <a:r>
              <a:rPr lang="es-ES" dirty="0"/>
              <a:t>
</a:t>
            </a:r>
            <a:endParaRPr lang="en-US" dirty="0"/>
          </a:p>
        </p:txBody>
      </p:sp>
      <p:pic>
        <p:nvPicPr>
          <p:cNvPr id="7" name="Image 6" descr="Une image contenant personne, intérieur, homme, tenant&#10;&#10;Description générée automatiquement">
            <a:extLst>
              <a:ext uri="{FF2B5EF4-FFF2-40B4-BE49-F238E27FC236}">
                <a16:creationId xmlns:a16="http://schemas.microsoft.com/office/drawing/2014/main" id="{5CD7BCA8-9D65-6425-1193-67AF09757BC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68788" y="2463120"/>
            <a:ext cx="1193236" cy="894928"/>
          </a:xfrm>
          <a:prstGeom prst="rect">
            <a:avLst/>
          </a:prstGeom>
        </p:spPr>
      </p:pic>
      <p:pic>
        <p:nvPicPr>
          <p:cNvPr id="8" name="Image 7" descr="Une image contenant intérieur, table, assis, compteur&#10;&#10;Description générée automatiquement">
            <a:extLst>
              <a:ext uri="{FF2B5EF4-FFF2-40B4-BE49-F238E27FC236}">
                <a16:creationId xmlns:a16="http://schemas.microsoft.com/office/drawing/2014/main" id="{3013E9DE-94D6-945E-064E-917087EDCB3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7374213" y="2446484"/>
            <a:ext cx="1248388" cy="904550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9C9C552C-F052-B9AC-60C4-E4FC5EA9746E}"/>
              </a:ext>
            </a:extLst>
          </p:cNvPr>
          <p:cNvSpPr txBox="1"/>
          <p:nvPr/>
        </p:nvSpPr>
        <p:spPr>
          <a:xfrm>
            <a:off x="6073254" y="4346812"/>
            <a:ext cx="914400" cy="914400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rmAutofit/>
          </a:bodyPr>
          <a:lstStyle/>
          <a:p>
            <a:endParaRPr lang="en-GB" dirty="0">
              <a:solidFill>
                <a:srgbClr val="77777A"/>
              </a:solidFill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DA2FD198-1D08-B55A-2E27-ABC4615C69B4}"/>
              </a:ext>
            </a:extLst>
          </p:cNvPr>
          <p:cNvSpPr txBox="1"/>
          <p:nvPr/>
        </p:nvSpPr>
        <p:spPr>
          <a:xfrm>
            <a:off x="1673708" y="1273364"/>
            <a:ext cx="2778258" cy="675375"/>
          </a:xfrm>
          <a:prstGeom prst="rect">
            <a:avLst/>
          </a:prstGeom>
          <a:solidFill>
            <a:srgbClr val="E4032D"/>
          </a:solidFill>
        </p:spPr>
        <p:txBody>
          <a:bodyPr vert="horz" wrap="none" lIns="91440" tIns="45720" rIns="91440" bIns="45720" rtlCol="0" anchor="ctr">
            <a:normAutofit/>
          </a:bodyPr>
          <a:lstStyle/>
          <a:p>
            <a:pPr algn="ctr"/>
            <a:r>
              <a:rPr lang="es-ES" sz="1600" b="1" dirty="0">
                <a:solidFill>
                  <a:schemeClr val="bg1"/>
                </a:solidFill>
              </a:rPr>
              <a:t>Resultados Evaluación España </a:t>
            </a:r>
          </a:p>
          <a:p>
            <a:pPr algn="ctr"/>
            <a:r>
              <a:rPr lang="es-ES" sz="1600" b="1" dirty="0" err="1">
                <a:solidFill>
                  <a:schemeClr val="bg1"/>
                </a:solidFill>
              </a:rPr>
              <a:t>TuYV</a:t>
            </a:r>
            <a:r>
              <a:rPr lang="es-ES" sz="1600" b="1" dirty="0">
                <a:solidFill>
                  <a:schemeClr val="bg1"/>
                </a:solidFill>
              </a:rPr>
              <a:t> de primavera 2023</a:t>
            </a:r>
            <a:endParaRPr lang="en-GB" sz="1600" b="1" dirty="0">
              <a:solidFill>
                <a:schemeClr val="bg1"/>
              </a:solidFill>
            </a:endParaRPr>
          </a:p>
        </p:txBody>
      </p:sp>
      <p:graphicFrame>
        <p:nvGraphicFramePr>
          <p:cNvPr id="11" name="Tabla 10">
            <a:extLst>
              <a:ext uri="{FF2B5EF4-FFF2-40B4-BE49-F238E27FC236}">
                <a16:creationId xmlns:a16="http://schemas.microsoft.com/office/drawing/2014/main" id="{7E271CB7-91BD-0709-E584-05A2340E365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2403071"/>
              </p:ext>
            </p:extLst>
          </p:nvPr>
        </p:nvGraphicFramePr>
        <p:xfrm>
          <a:off x="907266" y="2283526"/>
          <a:ext cx="4311142" cy="131699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685265">
                  <a:extLst>
                    <a:ext uri="{9D8B030D-6E8A-4147-A177-3AD203B41FA5}">
                      <a16:colId xmlns:a16="http://schemas.microsoft.com/office/drawing/2014/main" val="4247789870"/>
                    </a:ext>
                  </a:extLst>
                </a:gridCol>
                <a:gridCol w="1408293">
                  <a:extLst>
                    <a:ext uri="{9D8B030D-6E8A-4147-A177-3AD203B41FA5}">
                      <a16:colId xmlns:a16="http://schemas.microsoft.com/office/drawing/2014/main" val="3755447433"/>
                    </a:ext>
                  </a:extLst>
                </a:gridCol>
                <a:gridCol w="1217584">
                  <a:extLst>
                    <a:ext uri="{9D8B030D-6E8A-4147-A177-3AD203B41FA5}">
                      <a16:colId xmlns:a16="http://schemas.microsoft.com/office/drawing/2014/main" val="1900562540"/>
                    </a:ext>
                  </a:extLst>
                </a:gridCol>
              </a:tblGrid>
              <a:tr h="269620">
                <a:tc>
                  <a:txBody>
                    <a:bodyPr/>
                    <a:lstStyle/>
                    <a:p>
                      <a:r>
                        <a:rPr lang="es-ES" sz="1000">
                          <a:effectLst/>
                        </a:rPr>
                        <a:t> </a:t>
                      </a:r>
                      <a:endParaRPr lang="es-E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100" b="1" dirty="0">
                          <a:effectLst/>
                        </a:rPr>
                        <a:t>Variedad Sensible</a:t>
                      </a:r>
                      <a:endParaRPr lang="es-ES" sz="14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100" b="1" dirty="0">
                          <a:effectLst/>
                        </a:rPr>
                        <a:t>Variedad tolerante </a:t>
                      </a:r>
                      <a:endParaRPr lang="es-ES" sz="14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extLst>
                  <a:ext uri="{0D108BD9-81ED-4DB2-BD59-A6C34878D82A}">
                    <a16:rowId xmlns:a16="http://schemas.microsoft.com/office/drawing/2014/main" val="3341739232"/>
                  </a:ext>
                </a:extLst>
              </a:tr>
              <a:tr h="259250">
                <a:tc>
                  <a:txBody>
                    <a:bodyPr/>
                    <a:lstStyle/>
                    <a:p>
                      <a:r>
                        <a:rPr lang="es-ES" sz="1000" dirty="0">
                          <a:effectLst/>
                        </a:rPr>
                        <a:t>Localidad</a:t>
                      </a:r>
                      <a:endParaRPr lang="es-E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ctr"/>
                      <a:endParaRPr lang="es-ES" sz="14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ctr"/>
                      <a:endParaRPr lang="es-ES" sz="14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extLst>
                  <a:ext uri="{0D108BD9-81ED-4DB2-BD59-A6C34878D82A}">
                    <a16:rowId xmlns:a16="http://schemas.microsoft.com/office/drawing/2014/main" val="1704008778"/>
                  </a:ext>
                </a:extLst>
              </a:tr>
              <a:tr h="259250">
                <a:tc>
                  <a:txBody>
                    <a:bodyPr/>
                    <a:lstStyle/>
                    <a:p>
                      <a:r>
                        <a:rPr lang="es-ES" sz="1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SOS DEL REY CATÓLICO</a:t>
                      </a:r>
                      <a:endParaRPr lang="es-E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100" b="1" dirty="0">
                          <a:effectLst/>
                        </a:rPr>
                        <a:t>0%</a:t>
                      </a:r>
                      <a:endParaRPr lang="es-ES" sz="14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100" b="1" dirty="0">
                          <a:effectLst/>
                        </a:rPr>
                        <a:t> 0%</a:t>
                      </a:r>
                      <a:endParaRPr lang="es-ES" sz="14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extLst>
                  <a:ext uri="{0D108BD9-81ED-4DB2-BD59-A6C34878D82A}">
                    <a16:rowId xmlns:a16="http://schemas.microsoft.com/office/drawing/2014/main" val="2771126197"/>
                  </a:ext>
                </a:extLst>
              </a:tr>
              <a:tr h="259250">
                <a:tc>
                  <a:txBody>
                    <a:bodyPr/>
                    <a:lstStyle/>
                    <a:p>
                      <a:r>
                        <a:rPr lang="es-ES" sz="1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PEDRO ABAD</a:t>
                      </a:r>
                      <a:endParaRPr lang="es-E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100" b="1" dirty="0">
                          <a:effectLst/>
                        </a:rPr>
                        <a:t>70%</a:t>
                      </a:r>
                      <a:endParaRPr lang="es-ES" sz="14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100" b="1" dirty="0">
                          <a:effectLst/>
                        </a:rPr>
                        <a:t>30%</a:t>
                      </a:r>
                      <a:endParaRPr lang="es-ES" sz="14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extLst>
                  <a:ext uri="{0D108BD9-81ED-4DB2-BD59-A6C34878D82A}">
                    <a16:rowId xmlns:a16="http://schemas.microsoft.com/office/drawing/2014/main" val="111607478"/>
                  </a:ext>
                </a:extLst>
              </a:tr>
              <a:tr h="269620">
                <a:tc>
                  <a:txBody>
                    <a:bodyPr/>
                    <a:lstStyle/>
                    <a:p>
                      <a:r>
                        <a:rPr lang="es-ES" sz="1000" dirty="0">
                          <a:effectLst/>
                        </a:rPr>
                        <a:t>HUESCA</a:t>
                      </a:r>
                      <a:endParaRPr lang="es-E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100" b="1" dirty="0">
                          <a:effectLst/>
                        </a:rPr>
                        <a:t>20%</a:t>
                      </a:r>
                      <a:endParaRPr lang="es-ES" sz="14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100" b="1" dirty="0">
                          <a:effectLst/>
                        </a:rPr>
                        <a:t> </a:t>
                      </a:r>
                      <a:endParaRPr lang="es-ES" sz="14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extLst>
                  <a:ext uri="{0D108BD9-81ED-4DB2-BD59-A6C34878D82A}">
                    <a16:rowId xmlns:a16="http://schemas.microsoft.com/office/drawing/2014/main" val="259098823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37300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9669DA-C5C7-4E53-BAB3-4018D7C8653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s-ES" sz="2000" dirty="0"/>
              <a:t>Basado en el panel del mercado europeo </a:t>
            </a:r>
            <a:r>
              <a:rPr lang="es-ES" sz="2000" dirty="0" err="1"/>
              <a:t>Kynetec</a:t>
            </a:r>
            <a:r>
              <a:rPr lang="es-ES" sz="2000" dirty="0"/>
              <a:t> WOSR 2022/2023
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9771435-4CD8-4F0B-973A-1D0AAF7D3E4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79505" y="3447246"/>
            <a:ext cx="7958455" cy="723422"/>
          </a:xfrm>
        </p:spPr>
        <p:txBody>
          <a:bodyPr/>
          <a:lstStyle/>
          <a:p>
            <a:pPr>
              <a:spcBef>
                <a:spcPts val="600"/>
              </a:spcBef>
            </a:pPr>
            <a:r>
              <a:rPr lang="en-GB" dirty="0"/>
              <a:t>COLZA LG: </a:t>
            </a:r>
            <a:r>
              <a:rPr lang="en-GB" dirty="0" err="1"/>
              <a:t>posición</a:t>
            </a:r>
            <a:r>
              <a:rPr lang="en-GB" dirty="0"/>
              <a:t>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el</a:t>
            </a:r>
            <a:r>
              <a:rPr lang="en-GB" dirty="0"/>
              <a:t> mercado y </a:t>
            </a:r>
            <a:r>
              <a:rPr lang="en-GB" dirty="0" err="1"/>
              <a:t>variedades</a:t>
            </a:r>
            <a:r>
              <a:rPr lang="en-GB" dirty="0"/>
              <a:t> </a:t>
            </a:r>
            <a:r>
              <a:rPr lang="en-GB" dirty="0" err="1"/>
              <a:t>líder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2913973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DBE9DBF-7908-4D35-8B83-7728330A10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3000" dirty="0"/>
              <a:t>Limagrain breeder Nº 1 en Europa 2022-23 23% MS</a:t>
            </a:r>
            <a:endParaRPr lang="en-GB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024FD5D-E003-4572-A5E4-C76907DC8BD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38484" y="4618702"/>
            <a:ext cx="7062335" cy="265829"/>
          </a:xfrm>
        </p:spPr>
        <p:txBody>
          <a:bodyPr/>
          <a:lstStyle/>
          <a:p>
            <a:r>
              <a:rPr lang="en-US" sz="800" dirty="0"/>
              <a:t>Source: </a:t>
            </a:r>
            <a:r>
              <a:rPr lang="en-US" sz="800" dirty="0" err="1"/>
              <a:t>Kynetec</a:t>
            </a:r>
            <a:r>
              <a:rPr lang="en-US" sz="800" dirty="0"/>
              <a:t> WOSR market panel 2022/2023, total certified market, volume by breeder</a:t>
            </a:r>
          </a:p>
          <a:p>
            <a:endParaRPr lang="en-GB" sz="1350" dirty="0"/>
          </a:p>
        </p:txBody>
      </p:sp>
      <p:grpSp>
        <p:nvGrpSpPr>
          <p:cNvPr id="5" name="Shape 2012">
            <a:extLst>
              <a:ext uri="{FF2B5EF4-FFF2-40B4-BE49-F238E27FC236}">
                <a16:creationId xmlns:a16="http://schemas.microsoft.com/office/drawing/2014/main" id="{35F0B44F-D035-4AAF-9DA0-50D946C69135}"/>
              </a:ext>
            </a:extLst>
          </p:cNvPr>
          <p:cNvGrpSpPr>
            <a:grpSpLocks noChangeAspect="1"/>
          </p:cNvGrpSpPr>
          <p:nvPr/>
        </p:nvGrpSpPr>
        <p:grpSpPr>
          <a:xfrm>
            <a:off x="3379456" y="889403"/>
            <a:ext cx="5197465" cy="3801414"/>
            <a:chOff x="2979925" y="-33602"/>
            <a:chExt cx="6221677" cy="4549334"/>
          </a:xfrm>
          <a:solidFill>
            <a:schemeClr val="bg1">
              <a:lumMod val="85000"/>
            </a:schemeClr>
          </a:solidFill>
        </p:grpSpPr>
        <p:sp>
          <p:nvSpPr>
            <p:cNvPr id="6" name="Shape 2013">
              <a:extLst>
                <a:ext uri="{FF2B5EF4-FFF2-40B4-BE49-F238E27FC236}">
                  <a16:creationId xmlns:a16="http://schemas.microsoft.com/office/drawing/2014/main" id="{FC798A68-89D3-490C-A9F0-BD0DCABF344F}"/>
                </a:ext>
              </a:extLst>
            </p:cNvPr>
            <p:cNvSpPr/>
            <p:nvPr/>
          </p:nvSpPr>
          <p:spPr>
            <a:xfrm>
              <a:off x="5709810" y="2172877"/>
              <a:ext cx="237476" cy="119326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50769" y="2222"/>
                  </a:moveTo>
                  <a:cubicBezTo>
                    <a:pt x="55384" y="8888"/>
                    <a:pt x="55384" y="8888"/>
                    <a:pt x="55384" y="8888"/>
                  </a:cubicBezTo>
                  <a:cubicBezTo>
                    <a:pt x="58846" y="11111"/>
                    <a:pt x="58846" y="11111"/>
                    <a:pt x="58846" y="11111"/>
                  </a:cubicBezTo>
                  <a:cubicBezTo>
                    <a:pt x="65769" y="17777"/>
                    <a:pt x="65769" y="17777"/>
                    <a:pt x="65769" y="17777"/>
                  </a:cubicBezTo>
                  <a:cubicBezTo>
                    <a:pt x="79615" y="20000"/>
                    <a:pt x="79615" y="20000"/>
                    <a:pt x="79615" y="20000"/>
                  </a:cubicBezTo>
                  <a:cubicBezTo>
                    <a:pt x="81923" y="15555"/>
                    <a:pt x="81923" y="15555"/>
                    <a:pt x="81923" y="15555"/>
                  </a:cubicBezTo>
                  <a:cubicBezTo>
                    <a:pt x="86538" y="13333"/>
                    <a:pt x="86538" y="13333"/>
                    <a:pt x="86538" y="13333"/>
                  </a:cubicBezTo>
                  <a:cubicBezTo>
                    <a:pt x="94615" y="8888"/>
                    <a:pt x="94615" y="8888"/>
                    <a:pt x="94615" y="8888"/>
                  </a:cubicBezTo>
                  <a:cubicBezTo>
                    <a:pt x="98076" y="17777"/>
                    <a:pt x="98076" y="17777"/>
                    <a:pt x="98076" y="17777"/>
                  </a:cubicBezTo>
                  <a:cubicBezTo>
                    <a:pt x="100384" y="17777"/>
                    <a:pt x="100384" y="17777"/>
                    <a:pt x="100384" y="17777"/>
                  </a:cubicBezTo>
                  <a:cubicBezTo>
                    <a:pt x="100384" y="17777"/>
                    <a:pt x="102692" y="22222"/>
                    <a:pt x="105000" y="26666"/>
                  </a:cubicBezTo>
                  <a:cubicBezTo>
                    <a:pt x="106153" y="31111"/>
                    <a:pt x="108461" y="33333"/>
                    <a:pt x="108461" y="33333"/>
                  </a:cubicBezTo>
                  <a:cubicBezTo>
                    <a:pt x="106153" y="48888"/>
                    <a:pt x="106153" y="48888"/>
                    <a:pt x="106153" y="48888"/>
                  </a:cubicBezTo>
                  <a:cubicBezTo>
                    <a:pt x="106153" y="55555"/>
                    <a:pt x="106153" y="55555"/>
                    <a:pt x="106153" y="55555"/>
                  </a:cubicBezTo>
                  <a:cubicBezTo>
                    <a:pt x="106153" y="77777"/>
                    <a:pt x="106153" y="77777"/>
                    <a:pt x="106153" y="77777"/>
                  </a:cubicBezTo>
                  <a:cubicBezTo>
                    <a:pt x="109615" y="86666"/>
                    <a:pt x="109615" y="86666"/>
                    <a:pt x="109615" y="86666"/>
                  </a:cubicBezTo>
                  <a:cubicBezTo>
                    <a:pt x="109615" y="88888"/>
                    <a:pt x="109615" y="88888"/>
                    <a:pt x="109615" y="88888"/>
                  </a:cubicBezTo>
                  <a:cubicBezTo>
                    <a:pt x="114230" y="86666"/>
                    <a:pt x="114230" y="86666"/>
                    <a:pt x="114230" y="86666"/>
                  </a:cubicBezTo>
                  <a:cubicBezTo>
                    <a:pt x="114230" y="86666"/>
                    <a:pt x="115384" y="86666"/>
                    <a:pt x="115384" y="84444"/>
                  </a:cubicBezTo>
                  <a:cubicBezTo>
                    <a:pt x="115384" y="86666"/>
                    <a:pt x="114230" y="86666"/>
                    <a:pt x="114230" y="86666"/>
                  </a:cubicBezTo>
                  <a:cubicBezTo>
                    <a:pt x="103846" y="91111"/>
                    <a:pt x="103846" y="91111"/>
                    <a:pt x="103846" y="91111"/>
                  </a:cubicBezTo>
                  <a:cubicBezTo>
                    <a:pt x="94615" y="102222"/>
                    <a:pt x="94615" y="102222"/>
                    <a:pt x="94615" y="102222"/>
                  </a:cubicBezTo>
                  <a:cubicBezTo>
                    <a:pt x="94615" y="102222"/>
                    <a:pt x="72692" y="106666"/>
                    <a:pt x="70384" y="106666"/>
                  </a:cubicBezTo>
                  <a:cubicBezTo>
                    <a:pt x="69230" y="106666"/>
                    <a:pt x="55384" y="108888"/>
                    <a:pt x="53076" y="108888"/>
                  </a:cubicBezTo>
                  <a:cubicBezTo>
                    <a:pt x="51923" y="111111"/>
                    <a:pt x="45000" y="113333"/>
                    <a:pt x="42692" y="113333"/>
                  </a:cubicBezTo>
                  <a:cubicBezTo>
                    <a:pt x="40384" y="113333"/>
                    <a:pt x="30000" y="115555"/>
                    <a:pt x="27692" y="115555"/>
                  </a:cubicBezTo>
                  <a:cubicBezTo>
                    <a:pt x="25384" y="115555"/>
                    <a:pt x="19615" y="115555"/>
                    <a:pt x="19615" y="115555"/>
                  </a:cubicBezTo>
                  <a:cubicBezTo>
                    <a:pt x="19615" y="115555"/>
                    <a:pt x="8076" y="117777"/>
                    <a:pt x="4615" y="117777"/>
                  </a:cubicBezTo>
                  <a:cubicBezTo>
                    <a:pt x="1153" y="120000"/>
                    <a:pt x="5769" y="108888"/>
                    <a:pt x="5769" y="108888"/>
                  </a:cubicBezTo>
                  <a:cubicBezTo>
                    <a:pt x="5769" y="108888"/>
                    <a:pt x="19615" y="86666"/>
                    <a:pt x="15000" y="88888"/>
                  </a:cubicBezTo>
                  <a:cubicBezTo>
                    <a:pt x="9230" y="84444"/>
                    <a:pt x="9230" y="84444"/>
                    <a:pt x="9230" y="84444"/>
                  </a:cubicBezTo>
                  <a:cubicBezTo>
                    <a:pt x="4615" y="77777"/>
                    <a:pt x="4615" y="77777"/>
                    <a:pt x="4615" y="77777"/>
                  </a:cubicBezTo>
                  <a:cubicBezTo>
                    <a:pt x="0" y="57777"/>
                    <a:pt x="5769" y="48888"/>
                    <a:pt x="10384" y="48888"/>
                  </a:cubicBezTo>
                  <a:cubicBezTo>
                    <a:pt x="13846" y="48888"/>
                    <a:pt x="23076" y="55555"/>
                    <a:pt x="28846" y="55555"/>
                  </a:cubicBezTo>
                  <a:cubicBezTo>
                    <a:pt x="49615" y="55555"/>
                    <a:pt x="45000" y="42222"/>
                    <a:pt x="43846" y="17777"/>
                  </a:cubicBezTo>
                  <a:cubicBezTo>
                    <a:pt x="43846" y="11111"/>
                    <a:pt x="45000" y="4444"/>
                    <a:pt x="46153" y="2222"/>
                  </a:cubicBezTo>
                  <a:cubicBezTo>
                    <a:pt x="47307" y="0"/>
                    <a:pt x="49615" y="4444"/>
                    <a:pt x="50769" y="2222"/>
                  </a:cubicBezTo>
                  <a:close/>
                  <a:moveTo>
                    <a:pt x="117692" y="82222"/>
                  </a:moveTo>
                  <a:cubicBezTo>
                    <a:pt x="117692" y="82222"/>
                    <a:pt x="117692" y="82222"/>
                    <a:pt x="117692" y="82222"/>
                  </a:cubicBezTo>
                  <a:cubicBezTo>
                    <a:pt x="117692" y="82222"/>
                    <a:pt x="117692" y="82222"/>
                    <a:pt x="117692" y="82222"/>
                  </a:cubicBezTo>
                  <a:cubicBezTo>
                    <a:pt x="117692" y="84444"/>
                    <a:pt x="117692" y="84444"/>
                    <a:pt x="117692" y="84444"/>
                  </a:cubicBezTo>
                  <a:cubicBezTo>
                    <a:pt x="117692" y="82222"/>
                    <a:pt x="117692" y="82222"/>
                    <a:pt x="117692" y="82222"/>
                  </a:cubicBezTo>
                  <a:cubicBezTo>
                    <a:pt x="117692" y="82222"/>
                    <a:pt x="117692" y="82222"/>
                    <a:pt x="117692" y="82222"/>
                  </a:cubicBezTo>
                  <a:close/>
                  <a:moveTo>
                    <a:pt x="117692" y="84444"/>
                  </a:moveTo>
                  <a:cubicBezTo>
                    <a:pt x="117692" y="84444"/>
                    <a:pt x="117692" y="84444"/>
                    <a:pt x="117692" y="84444"/>
                  </a:cubicBezTo>
                  <a:cubicBezTo>
                    <a:pt x="118846" y="86666"/>
                    <a:pt x="120000" y="91111"/>
                    <a:pt x="120000" y="93333"/>
                  </a:cubicBezTo>
                  <a:cubicBezTo>
                    <a:pt x="120000" y="93333"/>
                    <a:pt x="120000" y="93333"/>
                    <a:pt x="120000" y="93333"/>
                  </a:cubicBezTo>
                  <a:cubicBezTo>
                    <a:pt x="120000" y="91111"/>
                    <a:pt x="118846" y="86666"/>
                    <a:pt x="117692" y="84444"/>
                  </a:cubicBezTo>
                  <a:close/>
                </a:path>
              </a:pathLst>
            </a:custGeom>
            <a:solidFill>
              <a:srgbClr val="D9D9D9"/>
            </a:solidFill>
            <a:ln w="3175" cap="flat" cmpd="sng">
              <a:solidFill>
                <a:schemeClr val="tx1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defTabSz="457178"/>
              <a:endParaRPr kern="0">
                <a:solidFill>
                  <a:srgbClr val="7F7F7F"/>
                </a:solidFill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7" name="Shape 2014">
              <a:extLst>
                <a:ext uri="{FF2B5EF4-FFF2-40B4-BE49-F238E27FC236}">
                  <a16:creationId xmlns:a16="http://schemas.microsoft.com/office/drawing/2014/main" id="{B7D8E289-EBF8-42AF-A841-3BD30E5F532D}"/>
                </a:ext>
              </a:extLst>
            </p:cNvPr>
            <p:cNvSpPr/>
            <p:nvPr/>
          </p:nvSpPr>
          <p:spPr>
            <a:xfrm>
              <a:off x="5951685" y="3592014"/>
              <a:ext cx="171510" cy="17259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3600" y="73846"/>
                  </a:moveTo>
                  <a:cubicBezTo>
                    <a:pt x="112000" y="75384"/>
                    <a:pt x="112000" y="75384"/>
                    <a:pt x="112000" y="75384"/>
                  </a:cubicBezTo>
                  <a:cubicBezTo>
                    <a:pt x="105600" y="78461"/>
                    <a:pt x="97600" y="75384"/>
                    <a:pt x="96000" y="86153"/>
                  </a:cubicBezTo>
                  <a:cubicBezTo>
                    <a:pt x="96000" y="104615"/>
                    <a:pt x="89600" y="86153"/>
                    <a:pt x="83200" y="86153"/>
                  </a:cubicBezTo>
                  <a:cubicBezTo>
                    <a:pt x="78400" y="86153"/>
                    <a:pt x="78400" y="89230"/>
                    <a:pt x="75200" y="92307"/>
                  </a:cubicBezTo>
                  <a:cubicBezTo>
                    <a:pt x="70400" y="95384"/>
                    <a:pt x="65600" y="96923"/>
                    <a:pt x="64000" y="100000"/>
                  </a:cubicBezTo>
                  <a:cubicBezTo>
                    <a:pt x="64000" y="103076"/>
                    <a:pt x="62400" y="106153"/>
                    <a:pt x="62400" y="109230"/>
                  </a:cubicBezTo>
                  <a:cubicBezTo>
                    <a:pt x="64000" y="113846"/>
                    <a:pt x="64000" y="118461"/>
                    <a:pt x="60800" y="118461"/>
                  </a:cubicBezTo>
                  <a:cubicBezTo>
                    <a:pt x="59200" y="118461"/>
                    <a:pt x="54400" y="120000"/>
                    <a:pt x="51200" y="118461"/>
                  </a:cubicBezTo>
                  <a:cubicBezTo>
                    <a:pt x="51200" y="116923"/>
                    <a:pt x="51200" y="116923"/>
                    <a:pt x="51200" y="116923"/>
                  </a:cubicBezTo>
                  <a:cubicBezTo>
                    <a:pt x="52800" y="112307"/>
                    <a:pt x="52800" y="112307"/>
                    <a:pt x="52800" y="112307"/>
                  </a:cubicBezTo>
                  <a:cubicBezTo>
                    <a:pt x="49600" y="107692"/>
                    <a:pt x="49600" y="107692"/>
                    <a:pt x="49600" y="107692"/>
                  </a:cubicBezTo>
                  <a:cubicBezTo>
                    <a:pt x="49600" y="107692"/>
                    <a:pt x="49600" y="107692"/>
                    <a:pt x="49600" y="106153"/>
                  </a:cubicBezTo>
                  <a:cubicBezTo>
                    <a:pt x="48000" y="104615"/>
                    <a:pt x="48000" y="101538"/>
                    <a:pt x="48000" y="101538"/>
                  </a:cubicBezTo>
                  <a:cubicBezTo>
                    <a:pt x="46400" y="96923"/>
                    <a:pt x="46400" y="96923"/>
                    <a:pt x="46400" y="96923"/>
                  </a:cubicBezTo>
                  <a:cubicBezTo>
                    <a:pt x="46400" y="96923"/>
                    <a:pt x="43200" y="93846"/>
                    <a:pt x="41600" y="92307"/>
                  </a:cubicBezTo>
                  <a:cubicBezTo>
                    <a:pt x="41600" y="92307"/>
                    <a:pt x="41600" y="90769"/>
                    <a:pt x="38400" y="89230"/>
                  </a:cubicBezTo>
                  <a:cubicBezTo>
                    <a:pt x="36800" y="89230"/>
                    <a:pt x="33600" y="87692"/>
                    <a:pt x="33600" y="87692"/>
                  </a:cubicBezTo>
                  <a:cubicBezTo>
                    <a:pt x="32000" y="87692"/>
                    <a:pt x="32000" y="87692"/>
                    <a:pt x="32000" y="87692"/>
                  </a:cubicBezTo>
                  <a:cubicBezTo>
                    <a:pt x="32000" y="87692"/>
                    <a:pt x="30400" y="87692"/>
                    <a:pt x="30400" y="87692"/>
                  </a:cubicBezTo>
                  <a:cubicBezTo>
                    <a:pt x="27200" y="84615"/>
                    <a:pt x="27200" y="84615"/>
                    <a:pt x="27200" y="84615"/>
                  </a:cubicBezTo>
                  <a:cubicBezTo>
                    <a:pt x="24000" y="84615"/>
                    <a:pt x="24000" y="84615"/>
                    <a:pt x="24000" y="84615"/>
                  </a:cubicBezTo>
                  <a:cubicBezTo>
                    <a:pt x="22400" y="80000"/>
                    <a:pt x="22400" y="80000"/>
                    <a:pt x="22400" y="80000"/>
                  </a:cubicBezTo>
                  <a:cubicBezTo>
                    <a:pt x="20800" y="75384"/>
                    <a:pt x="20800" y="75384"/>
                    <a:pt x="20800" y="75384"/>
                  </a:cubicBezTo>
                  <a:cubicBezTo>
                    <a:pt x="17600" y="72307"/>
                    <a:pt x="17600" y="72307"/>
                    <a:pt x="17600" y="72307"/>
                  </a:cubicBezTo>
                  <a:cubicBezTo>
                    <a:pt x="14400" y="70769"/>
                    <a:pt x="14400" y="70769"/>
                    <a:pt x="14400" y="70769"/>
                  </a:cubicBezTo>
                  <a:cubicBezTo>
                    <a:pt x="12800" y="69230"/>
                    <a:pt x="12800" y="69230"/>
                    <a:pt x="12800" y="69230"/>
                  </a:cubicBezTo>
                  <a:cubicBezTo>
                    <a:pt x="9600" y="67692"/>
                    <a:pt x="9600" y="67692"/>
                    <a:pt x="9600" y="67692"/>
                  </a:cubicBezTo>
                  <a:cubicBezTo>
                    <a:pt x="8000" y="64615"/>
                    <a:pt x="11200" y="61538"/>
                    <a:pt x="9600" y="58461"/>
                  </a:cubicBezTo>
                  <a:cubicBezTo>
                    <a:pt x="6400" y="55384"/>
                    <a:pt x="0" y="52307"/>
                    <a:pt x="1600" y="52307"/>
                  </a:cubicBezTo>
                  <a:cubicBezTo>
                    <a:pt x="3200" y="49230"/>
                    <a:pt x="9600" y="50769"/>
                    <a:pt x="12800" y="49230"/>
                  </a:cubicBezTo>
                  <a:cubicBezTo>
                    <a:pt x="14400" y="49230"/>
                    <a:pt x="14400" y="46153"/>
                    <a:pt x="16000" y="44615"/>
                  </a:cubicBezTo>
                  <a:cubicBezTo>
                    <a:pt x="17600" y="44615"/>
                    <a:pt x="20800" y="46153"/>
                    <a:pt x="20800" y="43076"/>
                  </a:cubicBezTo>
                  <a:cubicBezTo>
                    <a:pt x="20800" y="40000"/>
                    <a:pt x="24000" y="40000"/>
                    <a:pt x="25600" y="41538"/>
                  </a:cubicBezTo>
                  <a:cubicBezTo>
                    <a:pt x="25600" y="41538"/>
                    <a:pt x="27200" y="41538"/>
                    <a:pt x="30400" y="38461"/>
                  </a:cubicBezTo>
                  <a:cubicBezTo>
                    <a:pt x="35200" y="36923"/>
                    <a:pt x="32000" y="36923"/>
                    <a:pt x="32000" y="36923"/>
                  </a:cubicBezTo>
                  <a:cubicBezTo>
                    <a:pt x="30400" y="32307"/>
                    <a:pt x="30400" y="32307"/>
                    <a:pt x="30400" y="32307"/>
                  </a:cubicBezTo>
                  <a:cubicBezTo>
                    <a:pt x="40000" y="23076"/>
                    <a:pt x="40000" y="23076"/>
                    <a:pt x="40000" y="23076"/>
                  </a:cubicBezTo>
                  <a:cubicBezTo>
                    <a:pt x="41600" y="15384"/>
                    <a:pt x="41600" y="15384"/>
                    <a:pt x="41600" y="15384"/>
                  </a:cubicBezTo>
                  <a:cubicBezTo>
                    <a:pt x="41600" y="15384"/>
                    <a:pt x="40000" y="13846"/>
                    <a:pt x="38400" y="12307"/>
                  </a:cubicBezTo>
                  <a:cubicBezTo>
                    <a:pt x="35200" y="9230"/>
                    <a:pt x="36800" y="9230"/>
                    <a:pt x="36800" y="7692"/>
                  </a:cubicBezTo>
                  <a:cubicBezTo>
                    <a:pt x="38400" y="6153"/>
                    <a:pt x="40000" y="6153"/>
                    <a:pt x="40000" y="6153"/>
                  </a:cubicBezTo>
                  <a:cubicBezTo>
                    <a:pt x="41600" y="4615"/>
                    <a:pt x="44800" y="4615"/>
                    <a:pt x="48000" y="1538"/>
                  </a:cubicBezTo>
                  <a:cubicBezTo>
                    <a:pt x="51200" y="0"/>
                    <a:pt x="51200" y="3076"/>
                    <a:pt x="51200" y="3076"/>
                  </a:cubicBezTo>
                  <a:cubicBezTo>
                    <a:pt x="51200" y="3076"/>
                    <a:pt x="52800" y="7692"/>
                    <a:pt x="57600" y="9230"/>
                  </a:cubicBezTo>
                  <a:cubicBezTo>
                    <a:pt x="60800" y="10769"/>
                    <a:pt x="62400" y="10769"/>
                    <a:pt x="62400" y="10769"/>
                  </a:cubicBezTo>
                  <a:cubicBezTo>
                    <a:pt x="67200" y="10769"/>
                    <a:pt x="67200" y="10769"/>
                    <a:pt x="67200" y="10769"/>
                  </a:cubicBezTo>
                  <a:cubicBezTo>
                    <a:pt x="75200" y="16923"/>
                    <a:pt x="75200" y="16923"/>
                    <a:pt x="75200" y="16923"/>
                  </a:cubicBezTo>
                  <a:cubicBezTo>
                    <a:pt x="75200" y="16923"/>
                    <a:pt x="75200" y="16923"/>
                    <a:pt x="76800" y="18461"/>
                  </a:cubicBezTo>
                  <a:cubicBezTo>
                    <a:pt x="78400" y="20000"/>
                    <a:pt x="80000" y="26153"/>
                    <a:pt x="80000" y="26153"/>
                  </a:cubicBezTo>
                  <a:cubicBezTo>
                    <a:pt x="92800" y="29230"/>
                    <a:pt x="92800" y="29230"/>
                    <a:pt x="92800" y="29230"/>
                  </a:cubicBezTo>
                  <a:cubicBezTo>
                    <a:pt x="94400" y="35384"/>
                    <a:pt x="94400" y="35384"/>
                    <a:pt x="94400" y="35384"/>
                  </a:cubicBezTo>
                  <a:cubicBezTo>
                    <a:pt x="94400" y="35384"/>
                    <a:pt x="100800" y="35384"/>
                    <a:pt x="104000" y="36923"/>
                  </a:cubicBezTo>
                  <a:cubicBezTo>
                    <a:pt x="107200" y="36923"/>
                    <a:pt x="107200" y="40000"/>
                    <a:pt x="107200" y="40000"/>
                  </a:cubicBezTo>
                  <a:cubicBezTo>
                    <a:pt x="112000" y="38461"/>
                    <a:pt x="112000" y="38461"/>
                    <a:pt x="112000" y="38461"/>
                  </a:cubicBezTo>
                  <a:cubicBezTo>
                    <a:pt x="120000" y="40000"/>
                    <a:pt x="120000" y="40000"/>
                    <a:pt x="120000" y="40000"/>
                  </a:cubicBezTo>
                  <a:cubicBezTo>
                    <a:pt x="120000" y="40000"/>
                    <a:pt x="120000" y="41538"/>
                    <a:pt x="118400" y="43076"/>
                  </a:cubicBezTo>
                  <a:cubicBezTo>
                    <a:pt x="116800" y="43076"/>
                    <a:pt x="116800" y="46153"/>
                    <a:pt x="116800" y="47692"/>
                  </a:cubicBezTo>
                  <a:cubicBezTo>
                    <a:pt x="116800" y="50769"/>
                    <a:pt x="116800" y="52307"/>
                    <a:pt x="116800" y="53846"/>
                  </a:cubicBezTo>
                  <a:cubicBezTo>
                    <a:pt x="115200" y="56923"/>
                    <a:pt x="113600" y="55384"/>
                    <a:pt x="112000" y="56923"/>
                  </a:cubicBezTo>
                  <a:cubicBezTo>
                    <a:pt x="110400" y="56923"/>
                    <a:pt x="112000" y="60000"/>
                    <a:pt x="113600" y="63076"/>
                  </a:cubicBezTo>
                  <a:cubicBezTo>
                    <a:pt x="113600" y="64615"/>
                    <a:pt x="113600" y="64615"/>
                    <a:pt x="112000" y="66153"/>
                  </a:cubicBezTo>
                  <a:cubicBezTo>
                    <a:pt x="108800" y="69230"/>
                    <a:pt x="107200" y="69230"/>
                    <a:pt x="107200" y="69230"/>
                  </a:cubicBezTo>
                  <a:cubicBezTo>
                    <a:pt x="112000" y="73846"/>
                    <a:pt x="112000" y="73846"/>
                    <a:pt x="112000" y="73846"/>
                  </a:cubicBezTo>
                  <a:cubicBezTo>
                    <a:pt x="112000" y="73846"/>
                    <a:pt x="112000" y="73846"/>
                    <a:pt x="113600" y="73846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tx1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defTabSz="457178"/>
              <a:endParaRPr kern="0">
                <a:solidFill>
                  <a:srgbClr val="7F7F7F"/>
                </a:solidFill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8" name="Shape 2015">
              <a:extLst>
                <a:ext uri="{FF2B5EF4-FFF2-40B4-BE49-F238E27FC236}">
                  <a16:creationId xmlns:a16="http://schemas.microsoft.com/office/drawing/2014/main" id="{9DDB1838-0609-415B-8820-6E27C7653A9D}"/>
                </a:ext>
              </a:extLst>
            </p:cNvPr>
            <p:cNvSpPr/>
            <p:nvPr/>
          </p:nvSpPr>
          <p:spPr>
            <a:xfrm>
              <a:off x="5900012" y="3680444"/>
              <a:ext cx="193499" cy="35371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69176" y="118500"/>
                  </a:moveTo>
                  <a:cubicBezTo>
                    <a:pt x="73411" y="120000"/>
                    <a:pt x="73411" y="120000"/>
                    <a:pt x="73411" y="120000"/>
                  </a:cubicBezTo>
                  <a:cubicBezTo>
                    <a:pt x="77647" y="119250"/>
                    <a:pt x="77647" y="119250"/>
                    <a:pt x="77647" y="119250"/>
                  </a:cubicBezTo>
                  <a:cubicBezTo>
                    <a:pt x="80470" y="118500"/>
                    <a:pt x="80470" y="118500"/>
                    <a:pt x="80470" y="118500"/>
                  </a:cubicBezTo>
                  <a:cubicBezTo>
                    <a:pt x="80470" y="118500"/>
                    <a:pt x="83294" y="117000"/>
                    <a:pt x="83294" y="117000"/>
                  </a:cubicBezTo>
                  <a:cubicBezTo>
                    <a:pt x="83294" y="117000"/>
                    <a:pt x="83294" y="115500"/>
                    <a:pt x="83294" y="115500"/>
                  </a:cubicBezTo>
                  <a:cubicBezTo>
                    <a:pt x="81882" y="114750"/>
                    <a:pt x="81882" y="114750"/>
                    <a:pt x="81882" y="114750"/>
                  </a:cubicBezTo>
                  <a:cubicBezTo>
                    <a:pt x="81882" y="114750"/>
                    <a:pt x="80470" y="113250"/>
                    <a:pt x="81882" y="113250"/>
                  </a:cubicBezTo>
                  <a:cubicBezTo>
                    <a:pt x="83294" y="113250"/>
                    <a:pt x="84705" y="112500"/>
                    <a:pt x="84705" y="113250"/>
                  </a:cubicBezTo>
                  <a:cubicBezTo>
                    <a:pt x="86117" y="113250"/>
                    <a:pt x="84705" y="113250"/>
                    <a:pt x="86117" y="113250"/>
                  </a:cubicBezTo>
                  <a:cubicBezTo>
                    <a:pt x="87529" y="113250"/>
                    <a:pt x="88941" y="112500"/>
                    <a:pt x="88941" y="112500"/>
                  </a:cubicBezTo>
                  <a:cubicBezTo>
                    <a:pt x="88941" y="111750"/>
                    <a:pt x="88941" y="111750"/>
                    <a:pt x="88941" y="111750"/>
                  </a:cubicBezTo>
                  <a:cubicBezTo>
                    <a:pt x="88941" y="111750"/>
                    <a:pt x="88941" y="111750"/>
                    <a:pt x="88941" y="111750"/>
                  </a:cubicBezTo>
                  <a:cubicBezTo>
                    <a:pt x="87529" y="111000"/>
                    <a:pt x="83294" y="109500"/>
                    <a:pt x="81882" y="109500"/>
                  </a:cubicBezTo>
                  <a:cubicBezTo>
                    <a:pt x="81882" y="108750"/>
                    <a:pt x="80470" y="108000"/>
                    <a:pt x="80470" y="108000"/>
                  </a:cubicBezTo>
                  <a:cubicBezTo>
                    <a:pt x="80470" y="107250"/>
                    <a:pt x="81882" y="106500"/>
                    <a:pt x="81882" y="106500"/>
                  </a:cubicBezTo>
                  <a:cubicBezTo>
                    <a:pt x="80470" y="105750"/>
                    <a:pt x="80470" y="105750"/>
                    <a:pt x="80470" y="105750"/>
                  </a:cubicBezTo>
                  <a:cubicBezTo>
                    <a:pt x="80470" y="105750"/>
                    <a:pt x="81882" y="105000"/>
                    <a:pt x="83294" y="105000"/>
                  </a:cubicBezTo>
                  <a:cubicBezTo>
                    <a:pt x="83294" y="105000"/>
                    <a:pt x="84705" y="105000"/>
                    <a:pt x="84705" y="105000"/>
                  </a:cubicBezTo>
                  <a:cubicBezTo>
                    <a:pt x="86117" y="102750"/>
                    <a:pt x="86117" y="102750"/>
                    <a:pt x="86117" y="102750"/>
                  </a:cubicBezTo>
                  <a:cubicBezTo>
                    <a:pt x="86117" y="102750"/>
                    <a:pt x="86117" y="102000"/>
                    <a:pt x="87529" y="102000"/>
                  </a:cubicBezTo>
                  <a:cubicBezTo>
                    <a:pt x="87529" y="102000"/>
                    <a:pt x="88941" y="102000"/>
                    <a:pt x="88941" y="102000"/>
                  </a:cubicBezTo>
                  <a:cubicBezTo>
                    <a:pt x="98823" y="99000"/>
                    <a:pt x="98823" y="99000"/>
                    <a:pt x="98823" y="99000"/>
                  </a:cubicBezTo>
                  <a:cubicBezTo>
                    <a:pt x="105882" y="93000"/>
                    <a:pt x="105882" y="93000"/>
                    <a:pt x="105882" y="93000"/>
                  </a:cubicBezTo>
                  <a:cubicBezTo>
                    <a:pt x="108705" y="86250"/>
                    <a:pt x="108705" y="86250"/>
                    <a:pt x="108705" y="86250"/>
                  </a:cubicBezTo>
                  <a:cubicBezTo>
                    <a:pt x="112941" y="80250"/>
                    <a:pt x="112941" y="80250"/>
                    <a:pt x="112941" y="80250"/>
                  </a:cubicBezTo>
                  <a:cubicBezTo>
                    <a:pt x="112941" y="80250"/>
                    <a:pt x="118588" y="77250"/>
                    <a:pt x="118588" y="78000"/>
                  </a:cubicBezTo>
                  <a:cubicBezTo>
                    <a:pt x="120000" y="78750"/>
                    <a:pt x="118588" y="72000"/>
                    <a:pt x="118588" y="72000"/>
                  </a:cubicBezTo>
                  <a:cubicBezTo>
                    <a:pt x="114352" y="69750"/>
                    <a:pt x="114352" y="69750"/>
                    <a:pt x="114352" y="69750"/>
                  </a:cubicBezTo>
                  <a:cubicBezTo>
                    <a:pt x="114352" y="68250"/>
                    <a:pt x="114352" y="68250"/>
                    <a:pt x="114352" y="68250"/>
                  </a:cubicBezTo>
                  <a:cubicBezTo>
                    <a:pt x="114352" y="68250"/>
                    <a:pt x="112941" y="68250"/>
                    <a:pt x="112941" y="68250"/>
                  </a:cubicBezTo>
                  <a:cubicBezTo>
                    <a:pt x="112941" y="68250"/>
                    <a:pt x="112941" y="68250"/>
                    <a:pt x="111529" y="68250"/>
                  </a:cubicBezTo>
                  <a:cubicBezTo>
                    <a:pt x="111529" y="67500"/>
                    <a:pt x="111529" y="67500"/>
                    <a:pt x="111529" y="67500"/>
                  </a:cubicBezTo>
                  <a:cubicBezTo>
                    <a:pt x="108705" y="66000"/>
                    <a:pt x="108705" y="66000"/>
                    <a:pt x="108705" y="66000"/>
                  </a:cubicBezTo>
                  <a:cubicBezTo>
                    <a:pt x="108705" y="66000"/>
                    <a:pt x="107294" y="66750"/>
                    <a:pt x="105882" y="66750"/>
                  </a:cubicBezTo>
                  <a:cubicBezTo>
                    <a:pt x="104470" y="66750"/>
                    <a:pt x="104470" y="66000"/>
                    <a:pt x="103058" y="66000"/>
                  </a:cubicBezTo>
                  <a:cubicBezTo>
                    <a:pt x="103058" y="66000"/>
                    <a:pt x="103058" y="66000"/>
                    <a:pt x="103058" y="66000"/>
                  </a:cubicBezTo>
                  <a:cubicBezTo>
                    <a:pt x="103058" y="66000"/>
                    <a:pt x="101647" y="66000"/>
                    <a:pt x="100235" y="66000"/>
                  </a:cubicBezTo>
                  <a:cubicBezTo>
                    <a:pt x="98823" y="66000"/>
                    <a:pt x="97411" y="67500"/>
                    <a:pt x="96000" y="67500"/>
                  </a:cubicBezTo>
                  <a:cubicBezTo>
                    <a:pt x="96000" y="67500"/>
                    <a:pt x="96000" y="67500"/>
                    <a:pt x="96000" y="67500"/>
                  </a:cubicBezTo>
                  <a:cubicBezTo>
                    <a:pt x="96000" y="67500"/>
                    <a:pt x="96000" y="67500"/>
                    <a:pt x="96000" y="67500"/>
                  </a:cubicBezTo>
                  <a:cubicBezTo>
                    <a:pt x="96000" y="67500"/>
                    <a:pt x="96000" y="67500"/>
                    <a:pt x="96000" y="67500"/>
                  </a:cubicBezTo>
                  <a:cubicBezTo>
                    <a:pt x="96000" y="67500"/>
                    <a:pt x="96000" y="67500"/>
                    <a:pt x="96000" y="67500"/>
                  </a:cubicBezTo>
                  <a:cubicBezTo>
                    <a:pt x="96000" y="67500"/>
                    <a:pt x="96000" y="67500"/>
                    <a:pt x="96000" y="67500"/>
                  </a:cubicBezTo>
                  <a:cubicBezTo>
                    <a:pt x="96000" y="67500"/>
                    <a:pt x="96000" y="67500"/>
                    <a:pt x="96000" y="67500"/>
                  </a:cubicBezTo>
                  <a:cubicBezTo>
                    <a:pt x="96000" y="67500"/>
                    <a:pt x="96000" y="67500"/>
                    <a:pt x="96000" y="67500"/>
                  </a:cubicBezTo>
                  <a:cubicBezTo>
                    <a:pt x="96000" y="67500"/>
                    <a:pt x="96000" y="67500"/>
                    <a:pt x="96000" y="67500"/>
                  </a:cubicBezTo>
                  <a:cubicBezTo>
                    <a:pt x="96000" y="67500"/>
                    <a:pt x="96000" y="67500"/>
                    <a:pt x="96000" y="67500"/>
                  </a:cubicBezTo>
                  <a:cubicBezTo>
                    <a:pt x="96000" y="66750"/>
                    <a:pt x="96000" y="66750"/>
                    <a:pt x="96000" y="66750"/>
                  </a:cubicBezTo>
                  <a:cubicBezTo>
                    <a:pt x="96000" y="66000"/>
                    <a:pt x="96000" y="66000"/>
                    <a:pt x="94588" y="65250"/>
                  </a:cubicBezTo>
                  <a:cubicBezTo>
                    <a:pt x="94588" y="64500"/>
                    <a:pt x="94588" y="63000"/>
                    <a:pt x="93176" y="62250"/>
                  </a:cubicBezTo>
                  <a:cubicBezTo>
                    <a:pt x="91764" y="61500"/>
                    <a:pt x="91764" y="60750"/>
                    <a:pt x="91764" y="60750"/>
                  </a:cubicBezTo>
                  <a:cubicBezTo>
                    <a:pt x="91764" y="60750"/>
                    <a:pt x="88941" y="60750"/>
                    <a:pt x="87529" y="60750"/>
                  </a:cubicBezTo>
                  <a:cubicBezTo>
                    <a:pt x="87529" y="60750"/>
                    <a:pt x="86117" y="60750"/>
                    <a:pt x="86117" y="60750"/>
                  </a:cubicBezTo>
                  <a:cubicBezTo>
                    <a:pt x="86117" y="60750"/>
                    <a:pt x="84705" y="59250"/>
                    <a:pt x="86117" y="59250"/>
                  </a:cubicBezTo>
                  <a:cubicBezTo>
                    <a:pt x="86117" y="58500"/>
                    <a:pt x="84705" y="57750"/>
                    <a:pt x="83294" y="57000"/>
                  </a:cubicBezTo>
                  <a:cubicBezTo>
                    <a:pt x="83294" y="57000"/>
                    <a:pt x="80470" y="54750"/>
                    <a:pt x="80470" y="54750"/>
                  </a:cubicBezTo>
                  <a:cubicBezTo>
                    <a:pt x="80470" y="54750"/>
                    <a:pt x="79058" y="54750"/>
                    <a:pt x="79058" y="54000"/>
                  </a:cubicBezTo>
                  <a:cubicBezTo>
                    <a:pt x="79058" y="53250"/>
                    <a:pt x="79058" y="52500"/>
                    <a:pt x="79058" y="52500"/>
                  </a:cubicBezTo>
                  <a:cubicBezTo>
                    <a:pt x="77647" y="51000"/>
                    <a:pt x="77647" y="51000"/>
                    <a:pt x="77647" y="51000"/>
                  </a:cubicBezTo>
                  <a:cubicBezTo>
                    <a:pt x="77647" y="51000"/>
                    <a:pt x="80470" y="50250"/>
                    <a:pt x="80470" y="49500"/>
                  </a:cubicBezTo>
                  <a:cubicBezTo>
                    <a:pt x="80470" y="49500"/>
                    <a:pt x="81882" y="48750"/>
                    <a:pt x="80470" y="48000"/>
                  </a:cubicBezTo>
                  <a:cubicBezTo>
                    <a:pt x="80470" y="47250"/>
                    <a:pt x="77647" y="46500"/>
                    <a:pt x="77647" y="46500"/>
                  </a:cubicBezTo>
                  <a:cubicBezTo>
                    <a:pt x="76235" y="45750"/>
                    <a:pt x="74823" y="45000"/>
                    <a:pt x="73411" y="44250"/>
                  </a:cubicBezTo>
                  <a:cubicBezTo>
                    <a:pt x="73411" y="43500"/>
                    <a:pt x="73411" y="42750"/>
                    <a:pt x="73411" y="42750"/>
                  </a:cubicBezTo>
                  <a:cubicBezTo>
                    <a:pt x="73411" y="42750"/>
                    <a:pt x="73411" y="42000"/>
                    <a:pt x="74823" y="42000"/>
                  </a:cubicBezTo>
                  <a:cubicBezTo>
                    <a:pt x="76235" y="41250"/>
                    <a:pt x="77647" y="41250"/>
                    <a:pt x="77647" y="40500"/>
                  </a:cubicBezTo>
                  <a:cubicBezTo>
                    <a:pt x="77647" y="40500"/>
                    <a:pt x="79058" y="40500"/>
                    <a:pt x="79058" y="39750"/>
                  </a:cubicBezTo>
                  <a:cubicBezTo>
                    <a:pt x="77647" y="39000"/>
                    <a:pt x="76235" y="38250"/>
                    <a:pt x="76235" y="38250"/>
                  </a:cubicBezTo>
                  <a:cubicBezTo>
                    <a:pt x="77647" y="36000"/>
                    <a:pt x="77647" y="36000"/>
                    <a:pt x="77647" y="36000"/>
                  </a:cubicBezTo>
                  <a:cubicBezTo>
                    <a:pt x="76235" y="35250"/>
                    <a:pt x="76235" y="35250"/>
                    <a:pt x="76235" y="35250"/>
                  </a:cubicBezTo>
                  <a:cubicBezTo>
                    <a:pt x="76235" y="32250"/>
                    <a:pt x="76235" y="32250"/>
                    <a:pt x="76235" y="32250"/>
                  </a:cubicBezTo>
                  <a:cubicBezTo>
                    <a:pt x="76235" y="31500"/>
                    <a:pt x="76235" y="31500"/>
                    <a:pt x="76235" y="31500"/>
                  </a:cubicBezTo>
                  <a:cubicBezTo>
                    <a:pt x="76235" y="31500"/>
                    <a:pt x="77647" y="30000"/>
                    <a:pt x="77647" y="30000"/>
                  </a:cubicBezTo>
                  <a:cubicBezTo>
                    <a:pt x="77647" y="29250"/>
                    <a:pt x="77647" y="27750"/>
                    <a:pt x="77647" y="27750"/>
                  </a:cubicBezTo>
                  <a:cubicBezTo>
                    <a:pt x="77647" y="27000"/>
                    <a:pt x="77647" y="27000"/>
                    <a:pt x="77647" y="27000"/>
                  </a:cubicBezTo>
                  <a:cubicBezTo>
                    <a:pt x="79058" y="24750"/>
                    <a:pt x="79058" y="24750"/>
                    <a:pt x="79058" y="24750"/>
                  </a:cubicBezTo>
                  <a:cubicBezTo>
                    <a:pt x="76235" y="22500"/>
                    <a:pt x="76235" y="22500"/>
                    <a:pt x="76235" y="22500"/>
                  </a:cubicBezTo>
                  <a:cubicBezTo>
                    <a:pt x="76235" y="22500"/>
                    <a:pt x="76235" y="22500"/>
                    <a:pt x="76235" y="21750"/>
                  </a:cubicBezTo>
                  <a:cubicBezTo>
                    <a:pt x="74823" y="21000"/>
                    <a:pt x="74823" y="19500"/>
                    <a:pt x="74823" y="19500"/>
                  </a:cubicBezTo>
                  <a:cubicBezTo>
                    <a:pt x="73411" y="17250"/>
                    <a:pt x="73411" y="17250"/>
                    <a:pt x="73411" y="17250"/>
                  </a:cubicBezTo>
                  <a:cubicBezTo>
                    <a:pt x="73411" y="17250"/>
                    <a:pt x="70588" y="15750"/>
                    <a:pt x="69176" y="15000"/>
                  </a:cubicBezTo>
                  <a:cubicBezTo>
                    <a:pt x="69176" y="15000"/>
                    <a:pt x="69176" y="14250"/>
                    <a:pt x="66352" y="13500"/>
                  </a:cubicBezTo>
                  <a:cubicBezTo>
                    <a:pt x="64941" y="13500"/>
                    <a:pt x="62117" y="12750"/>
                    <a:pt x="62117" y="12750"/>
                  </a:cubicBezTo>
                  <a:cubicBezTo>
                    <a:pt x="59294" y="12750"/>
                    <a:pt x="59294" y="12750"/>
                    <a:pt x="59294" y="12750"/>
                  </a:cubicBezTo>
                  <a:cubicBezTo>
                    <a:pt x="56470" y="11250"/>
                    <a:pt x="56470" y="11250"/>
                    <a:pt x="56470" y="11250"/>
                  </a:cubicBezTo>
                  <a:cubicBezTo>
                    <a:pt x="53647" y="11250"/>
                    <a:pt x="53647" y="11250"/>
                    <a:pt x="53647" y="11250"/>
                  </a:cubicBezTo>
                  <a:cubicBezTo>
                    <a:pt x="52235" y="9000"/>
                    <a:pt x="52235" y="9000"/>
                    <a:pt x="52235" y="9000"/>
                  </a:cubicBezTo>
                  <a:cubicBezTo>
                    <a:pt x="50823" y="6750"/>
                    <a:pt x="50823" y="6750"/>
                    <a:pt x="50823" y="6750"/>
                  </a:cubicBezTo>
                  <a:cubicBezTo>
                    <a:pt x="48000" y="5250"/>
                    <a:pt x="48000" y="5250"/>
                    <a:pt x="48000" y="5250"/>
                  </a:cubicBezTo>
                  <a:cubicBezTo>
                    <a:pt x="45176" y="4500"/>
                    <a:pt x="45176" y="4500"/>
                    <a:pt x="45176" y="4500"/>
                  </a:cubicBezTo>
                  <a:cubicBezTo>
                    <a:pt x="43764" y="3750"/>
                    <a:pt x="43764" y="3750"/>
                    <a:pt x="43764" y="3750"/>
                  </a:cubicBezTo>
                  <a:cubicBezTo>
                    <a:pt x="40941" y="3000"/>
                    <a:pt x="40941" y="3000"/>
                    <a:pt x="40941" y="3000"/>
                  </a:cubicBezTo>
                  <a:cubicBezTo>
                    <a:pt x="39529" y="3000"/>
                    <a:pt x="39529" y="3000"/>
                    <a:pt x="39529" y="3000"/>
                  </a:cubicBezTo>
                  <a:cubicBezTo>
                    <a:pt x="39529" y="3000"/>
                    <a:pt x="38117" y="4500"/>
                    <a:pt x="38117" y="4500"/>
                  </a:cubicBezTo>
                  <a:cubicBezTo>
                    <a:pt x="38117" y="4500"/>
                    <a:pt x="33882" y="5250"/>
                    <a:pt x="33882" y="5250"/>
                  </a:cubicBezTo>
                  <a:cubicBezTo>
                    <a:pt x="31058" y="6750"/>
                    <a:pt x="31058" y="6750"/>
                    <a:pt x="31058" y="6750"/>
                  </a:cubicBezTo>
                  <a:cubicBezTo>
                    <a:pt x="28235" y="7500"/>
                    <a:pt x="28235" y="7500"/>
                    <a:pt x="28235" y="7500"/>
                  </a:cubicBezTo>
                  <a:cubicBezTo>
                    <a:pt x="28235" y="7500"/>
                    <a:pt x="28235" y="7500"/>
                    <a:pt x="28235" y="6750"/>
                  </a:cubicBezTo>
                  <a:cubicBezTo>
                    <a:pt x="26823" y="6750"/>
                    <a:pt x="26823" y="6750"/>
                    <a:pt x="26823" y="6750"/>
                  </a:cubicBezTo>
                  <a:cubicBezTo>
                    <a:pt x="26823" y="6750"/>
                    <a:pt x="25411" y="6000"/>
                    <a:pt x="25411" y="5250"/>
                  </a:cubicBezTo>
                  <a:cubicBezTo>
                    <a:pt x="25411" y="5250"/>
                    <a:pt x="24000" y="4500"/>
                    <a:pt x="24000" y="4500"/>
                  </a:cubicBezTo>
                  <a:cubicBezTo>
                    <a:pt x="24000" y="4500"/>
                    <a:pt x="24000" y="3750"/>
                    <a:pt x="24000" y="3750"/>
                  </a:cubicBezTo>
                  <a:cubicBezTo>
                    <a:pt x="24000" y="3000"/>
                    <a:pt x="24000" y="2250"/>
                    <a:pt x="24000" y="2250"/>
                  </a:cubicBezTo>
                  <a:cubicBezTo>
                    <a:pt x="24000" y="1500"/>
                    <a:pt x="24000" y="1500"/>
                    <a:pt x="24000" y="1500"/>
                  </a:cubicBezTo>
                  <a:cubicBezTo>
                    <a:pt x="22588" y="750"/>
                    <a:pt x="22588" y="750"/>
                    <a:pt x="22588" y="750"/>
                  </a:cubicBezTo>
                  <a:cubicBezTo>
                    <a:pt x="22588" y="0"/>
                    <a:pt x="22588" y="0"/>
                    <a:pt x="22588" y="0"/>
                  </a:cubicBezTo>
                  <a:cubicBezTo>
                    <a:pt x="22588" y="0"/>
                    <a:pt x="19764" y="0"/>
                    <a:pt x="19764" y="0"/>
                  </a:cubicBezTo>
                  <a:cubicBezTo>
                    <a:pt x="19764" y="0"/>
                    <a:pt x="14117" y="3000"/>
                    <a:pt x="14117" y="3000"/>
                  </a:cubicBezTo>
                  <a:cubicBezTo>
                    <a:pt x="15529" y="3750"/>
                    <a:pt x="15529" y="3750"/>
                    <a:pt x="15529" y="3750"/>
                  </a:cubicBezTo>
                  <a:cubicBezTo>
                    <a:pt x="14117" y="5250"/>
                    <a:pt x="14117" y="5250"/>
                    <a:pt x="14117" y="5250"/>
                  </a:cubicBezTo>
                  <a:cubicBezTo>
                    <a:pt x="12705" y="6750"/>
                    <a:pt x="12705" y="6750"/>
                    <a:pt x="12705" y="6750"/>
                  </a:cubicBezTo>
                  <a:cubicBezTo>
                    <a:pt x="11294" y="8250"/>
                    <a:pt x="11294" y="8250"/>
                    <a:pt x="11294" y="8250"/>
                  </a:cubicBezTo>
                  <a:cubicBezTo>
                    <a:pt x="11294" y="8250"/>
                    <a:pt x="9882" y="9000"/>
                    <a:pt x="9882" y="9750"/>
                  </a:cubicBezTo>
                  <a:cubicBezTo>
                    <a:pt x="9882" y="9750"/>
                    <a:pt x="8470" y="10500"/>
                    <a:pt x="8470" y="10500"/>
                  </a:cubicBezTo>
                  <a:cubicBezTo>
                    <a:pt x="7058" y="11250"/>
                    <a:pt x="7058" y="11250"/>
                    <a:pt x="7058" y="11250"/>
                  </a:cubicBezTo>
                  <a:cubicBezTo>
                    <a:pt x="5647" y="12000"/>
                    <a:pt x="5647" y="12000"/>
                    <a:pt x="5647" y="12000"/>
                  </a:cubicBezTo>
                  <a:cubicBezTo>
                    <a:pt x="5647" y="13500"/>
                    <a:pt x="5647" y="13500"/>
                    <a:pt x="5647" y="13500"/>
                  </a:cubicBezTo>
                  <a:cubicBezTo>
                    <a:pt x="5647" y="13500"/>
                    <a:pt x="5647" y="14250"/>
                    <a:pt x="5647" y="15000"/>
                  </a:cubicBezTo>
                  <a:cubicBezTo>
                    <a:pt x="5647" y="15000"/>
                    <a:pt x="4235" y="15750"/>
                    <a:pt x="4235" y="15750"/>
                  </a:cubicBezTo>
                  <a:cubicBezTo>
                    <a:pt x="2823" y="17250"/>
                    <a:pt x="2823" y="17250"/>
                    <a:pt x="2823" y="17250"/>
                  </a:cubicBezTo>
                  <a:cubicBezTo>
                    <a:pt x="0" y="18750"/>
                    <a:pt x="0" y="18750"/>
                    <a:pt x="0" y="18750"/>
                  </a:cubicBezTo>
                  <a:cubicBezTo>
                    <a:pt x="0" y="20250"/>
                    <a:pt x="0" y="20250"/>
                    <a:pt x="0" y="20250"/>
                  </a:cubicBezTo>
                  <a:cubicBezTo>
                    <a:pt x="1411" y="21000"/>
                    <a:pt x="1411" y="21000"/>
                    <a:pt x="1411" y="21000"/>
                  </a:cubicBezTo>
                  <a:cubicBezTo>
                    <a:pt x="4235" y="21750"/>
                    <a:pt x="4235" y="21750"/>
                    <a:pt x="4235" y="21750"/>
                  </a:cubicBezTo>
                  <a:cubicBezTo>
                    <a:pt x="7058" y="22500"/>
                    <a:pt x="7058" y="22500"/>
                    <a:pt x="7058" y="22500"/>
                  </a:cubicBezTo>
                  <a:cubicBezTo>
                    <a:pt x="7058" y="22500"/>
                    <a:pt x="7058" y="23250"/>
                    <a:pt x="7058" y="24000"/>
                  </a:cubicBezTo>
                  <a:cubicBezTo>
                    <a:pt x="7058" y="24000"/>
                    <a:pt x="7058" y="24750"/>
                    <a:pt x="7058" y="24750"/>
                  </a:cubicBezTo>
                  <a:cubicBezTo>
                    <a:pt x="5647" y="26250"/>
                    <a:pt x="5647" y="26250"/>
                    <a:pt x="5647" y="26250"/>
                  </a:cubicBezTo>
                  <a:cubicBezTo>
                    <a:pt x="5647" y="26250"/>
                    <a:pt x="7058" y="27000"/>
                    <a:pt x="7058" y="27000"/>
                  </a:cubicBezTo>
                  <a:cubicBezTo>
                    <a:pt x="7058" y="27000"/>
                    <a:pt x="7058" y="27750"/>
                    <a:pt x="7058" y="27750"/>
                  </a:cubicBezTo>
                  <a:cubicBezTo>
                    <a:pt x="7058" y="27750"/>
                    <a:pt x="7058" y="29250"/>
                    <a:pt x="7058" y="29250"/>
                  </a:cubicBezTo>
                  <a:cubicBezTo>
                    <a:pt x="5647" y="30000"/>
                    <a:pt x="5647" y="30000"/>
                    <a:pt x="5647" y="30000"/>
                  </a:cubicBezTo>
                  <a:cubicBezTo>
                    <a:pt x="5647" y="30000"/>
                    <a:pt x="7058" y="30750"/>
                    <a:pt x="7058" y="31500"/>
                  </a:cubicBezTo>
                  <a:cubicBezTo>
                    <a:pt x="7058" y="31500"/>
                    <a:pt x="7058" y="32250"/>
                    <a:pt x="7058" y="32250"/>
                  </a:cubicBezTo>
                  <a:cubicBezTo>
                    <a:pt x="5647" y="32250"/>
                    <a:pt x="8470" y="33750"/>
                    <a:pt x="8470" y="33750"/>
                  </a:cubicBezTo>
                  <a:cubicBezTo>
                    <a:pt x="8470" y="33750"/>
                    <a:pt x="9882" y="33000"/>
                    <a:pt x="11294" y="33000"/>
                  </a:cubicBezTo>
                  <a:cubicBezTo>
                    <a:pt x="11294" y="33000"/>
                    <a:pt x="14117" y="33000"/>
                    <a:pt x="14117" y="33000"/>
                  </a:cubicBezTo>
                  <a:cubicBezTo>
                    <a:pt x="16941" y="33750"/>
                    <a:pt x="16941" y="33750"/>
                    <a:pt x="16941" y="33750"/>
                  </a:cubicBezTo>
                  <a:cubicBezTo>
                    <a:pt x="19764" y="33750"/>
                    <a:pt x="19764" y="33750"/>
                    <a:pt x="19764" y="33750"/>
                  </a:cubicBezTo>
                  <a:cubicBezTo>
                    <a:pt x="21176" y="35250"/>
                    <a:pt x="21176" y="35250"/>
                    <a:pt x="21176" y="35250"/>
                  </a:cubicBezTo>
                  <a:cubicBezTo>
                    <a:pt x="21176" y="36750"/>
                    <a:pt x="21176" y="36750"/>
                    <a:pt x="21176" y="36750"/>
                  </a:cubicBezTo>
                  <a:cubicBezTo>
                    <a:pt x="21176" y="39000"/>
                    <a:pt x="21176" y="39000"/>
                    <a:pt x="21176" y="39000"/>
                  </a:cubicBezTo>
                  <a:cubicBezTo>
                    <a:pt x="19764" y="40500"/>
                    <a:pt x="19764" y="40500"/>
                    <a:pt x="19764" y="40500"/>
                  </a:cubicBezTo>
                  <a:cubicBezTo>
                    <a:pt x="22588" y="41250"/>
                    <a:pt x="22588" y="41250"/>
                    <a:pt x="22588" y="41250"/>
                  </a:cubicBezTo>
                  <a:cubicBezTo>
                    <a:pt x="22588" y="41250"/>
                    <a:pt x="22588" y="41250"/>
                    <a:pt x="22588" y="41250"/>
                  </a:cubicBezTo>
                  <a:cubicBezTo>
                    <a:pt x="22588" y="41250"/>
                    <a:pt x="22588" y="42750"/>
                    <a:pt x="22588" y="43500"/>
                  </a:cubicBezTo>
                  <a:cubicBezTo>
                    <a:pt x="21176" y="43500"/>
                    <a:pt x="19764" y="43500"/>
                    <a:pt x="18352" y="44250"/>
                  </a:cubicBezTo>
                  <a:cubicBezTo>
                    <a:pt x="16941" y="44250"/>
                    <a:pt x="15529" y="44250"/>
                    <a:pt x="15529" y="44250"/>
                  </a:cubicBezTo>
                  <a:cubicBezTo>
                    <a:pt x="15529" y="45000"/>
                    <a:pt x="15529" y="45000"/>
                    <a:pt x="15529" y="45000"/>
                  </a:cubicBezTo>
                  <a:cubicBezTo>
                    <a:pt x="18352" y="45750"/>
                    <a:pt x="18352" y="45750"/>
                    <a:pt x="18352" y="45750"/>
                  </a:cubicBezTo>
                  <a:cubicBezTo>
                    <a:pt x="18352" y="45750"/>
                    <a:pt x="19764" y="45750"/>
                    <a:pt x="19764" y="45750"/>
                  </a:cubicBezTo>
                  <a:cubicBezTo>
                    <a:pt x="19764" y="46500"/>
                    <a:pt x="19764" y="48000"/>
                    <a:pt x="19764" y="48000"/>
                  </a:cubicBezTo>
                  <a:cubicBezTo>
                    <a:pt x="19764" y="48000"/>
                    <a:pt x="19764" y="48750"/>
                    <a:pt x="18352" y="48750"/>
                  </a:cubicBezTo>
                  <a:cubicBezTo>
                    <a:pt x="18352" y="48750"/>
                    <a:pt x="16941" y="49500"/>
                    <a:pt x="16941" y="49500"/>
                  </a:cubicBezTo>
                  <a:cubicBezTo>
                    <a:pt x="15529" y="50250"/>
                    <a:pt x="15529" y="50250"/>
                    <a:pt x="15529" y="50250"/>
                  </a:cubicBezTo>
                  <a:cubicBezTo>
                    <a:pt x="14117" y="51000"/>
                    <a:pt x="14117" y="51000"/>
                    <a:pt x="14117" y="51000"/>
                  </a:cubicBezTo>
                  <a:cubicBezTo>
                    <a:pt x="11294" y="51750"/>
                    <a:pt x="11294" y="51750"/>
                    <a:pt x="11294" y="51750"/>
                  </a:cubicBezTo>
                  <a:cubicBezTo>
                    <a:pt x="14117" y="53250"/>
                    <a:pt x="14117" y="53250"/>
                    <a:pt x="14117" y="53250"/>
                  </a:cubicBezTo>
                  <a:cubicBezTo>
                    <a:pt x="15529" y="53250"/>
                    <a:pt x="15529" y="53250"/>
                    <a:pt x="15529" y="53250"/>
                  </a:cubicBezTo>
                  <a:cubicBezTo>
                    <a:pt x="15529" y="53250"/>
                    <a:pt x="16941" y="54000"/>
                    <a:pt x="16941" y="54000"/>
                  </a:cubicBezTo>
                  <a:cubicBezTo>
                    <a:pt x="16941" y="54000"/>
                    <a:pt x="21176" y="55500"/>
                    <a:pt x="21176" y="55500"/>
                  </a:cubicBezTo>
                  <a:cubicBezTo>
                    <a:pt x="19764" y="56250"/>
                    <a:pt x="19764" y="56250"/>
                    <a:pt x="19764" y="56250"/>
                  </a:cubicBezTo>
                  <a:cubicBezTo>
                    <a:pt x="19764" y="56250"/>
                    <a:pt x="19764" y="57000"/>
                    <a:pt x="19764" y="57750"/>
                  </a:cubicBezTo>
                  <a:cubicBezTo>
                    <a:pt x="19764" y="58500"/>
                    <a:pt x="19764" y="60750"/>
                    <a:pt x="19764" y="60750"/>
                  </a:cubicBezTo>
                  <a:cubicBezTo>
                    <a:pt x="18352" y="61500"/>
                    <a:pt x="18352" y="61500"/>
                    <a:pt x="18352" y="61500"/>
                  </a:cubicBezTo>
                  <a:cubicBezTo>
                    <a:pt x="18352" y="62250"/>
                    <a:pt x="19764" y="64500"/>
                    <a:pt x="19764" y="64500"/>
                  </a:cubicBezTo>
                  <a:cubicBezTo>
                    <a:pt x="19764" y="65250"/>
                    <a:pt x="19764" y="65250"/>
                    <a:pt x="19764" y="65250"/>
                  </a:cubicBezTo>
                  <a:cubicBezTo>
                    <a:pt x="18352" y="66000"/>
                    <a:pt x="18352" y="66000"/>
                    <a:pt x="18352" y="66000"/>
                  </a:cubicBezTo>
                  <a:cubicBezTo>
                    <a:pt x="24000" y="67500"/>
                    <a:pt x="24000" y="67500"/>
                    <a:pt x="24000" y="67500"/>
                  </a:cubicBezTo>
                  <a:cubicBezTo>
                    <a:pt x="22588" y="69000"/>
                    <a:pt x="22588" y="69000"/>
                    <a:pt x="22588" y="69000"/>
                  </a:cubicBezTo>
                  <a:cubicBezTo>
                    <a:pt x="19764" y="69750"/>
                    <a:pt x="19764" y="69750"/>
                    <a:pt x="19764" y="69750"/>
                  </a:cubicBezTo>
                  <a:cubicBezTo>
                    <a:pt x="19764" y="69750"/>
                    <a:pt x="18352" y="69750"/>
                    <a:pt x="18352" y="69750"/>
                  </a:cubicBezTo>
                  <a:cubicBezTo>
                    <a:pt x="18352" y="70500"/>
                    <a:pt x="18352" y="71250"/>
                    <a:pt x="18352" y="71250"/>
                  </a:cubicBezTo>
                  <a:cubicBezTo>
                    <a:pt x="19764" y="72000"/>
                    <a:pt x="19764" y="72000"/>
                    <a:pt x="19764" y="72000"/>
                  </a:cubicBezTo>
                  <a:cubicBezTo>
                    <a:pt x="18352" y="72750"/>
                    <a:pt x="18352" y="72750"/>
                    <a:pt x="18352" y="72750"/>
                  </a:cubicBezTo>
                  <a:cubicBezTo>
                    <a:pt x="18352" y="72750"/>
                    <a:pt x="18352" y="72750"/>
                    <a:pt x="18352" y="72750"/>
                  </a:cubicBezTo>
                  <a:cubicBezTo>
                    <a:pt x="18352" y="72750"/>
                    <a:pt x="18352" y="74250"/>
                    <a:pt x="18352" y="74250"/>
                  </a:cubicBezTo>
                  <a:cubicBezTo>
                    <a:pt x="18352" y="74250"/>
                    <a:pt x="18352" y="75000"/>
                    <a:pt x="16941" y="75000"/>
                  </a:cubicBezTo>
                  <a:cubicBezTo>
                    <a:pt x="16941" y="75000"/>
                    <a:pt x="15529" y="75750"/>
                    <a:pt x="15529" y="75750"/>
                  </a:cubicBezTo>
                  <a:cubicBezTo>
                    <a:pt x="16941" y="77250"/>
                    <a:pt x="16941" y="77250"/>
                    <a:pt x="16941" y="77250"/>
                  </a:cubicBezTo>
                  <a:cubicBezTo>
                    <a:pt x="15529" y="80250"/>
                    <a:pt x="15529" y="80250"/>
                    <a:pt x="15529" y="80250"/>
                  </a:cubicBezTo>
                  <a:cubicBezTo>
                    <a:pt x="15529" y="81000"/>
                    <a:pt x="15529" y="81000"/>
                    <a:pt x="15529" y="81000"/>
                  </a:cubicBezTo>
                  <a:cubicBezTo>
                    <a:pt x="16941" y="83250"/>
                    <a:pt x="16941" y="83250"/>
                    <a:pt x="16941" y="83250"/>
                  </a:cubicBezTo>
                  <a:cubicBezTo>
                    <a:pt x="19764" y="85500"/>
                    <a:pt x="19764" y="85500"/>
                    <a:pt x="19764" y="85500"/>
                  </a:cubicBezTo>
                  <a:cubicBezTo>
                    <a:pt x="22588" y="87000"/>
                    <a:pt x="22588" y="87000"/>
                    <a:pt x="22588" y="87000"/>
                  </a:cubicBezTo>
                  <a:cubicBezTo>
                    <a:pt x="24000" y="88500"/>
                    <a:pt x="24000" y="88500"/>
                    <a:pt x="24000" y="88500"/>
                  </a:cubicBezTo>
                  <a:cubicBezTo>
                    <a:pt x="26823" y="89250"/>
                    <a:pt x="26823" y="89250"/>
                    <a:pt x="26823" y="89250"/>
                  </a:cubicBezTo>
                  <a:cubicBezTo>
                    <a:pt x="25411" y="91500"/>
                    <a:pt x="25411" y="91500"/>
                    <a:pt x="25411" y="91500"/>
                  </a:cubicBezTo>
                  <a:cubicBezTo>
                    <a:pt x="26823" y="92250"/>
                    <a:pt x="26823" y="92250"/>
                    <a:pt x="26823" y="92250"/>
                  </a:cubicBezTo>
                  <a:cubicBezTo>
                    <a:pt x="26823" y="93750"/>
                    <a:pt x="26823" y="93750"/>
                    <a:pt x="26823" y="93750"/>
                  </a:cubicBezTo>
                  <a:cubicBezTo>
                    <a:pt x="26823" y="93750"/>
                    <a:pt x="26823" y="93750"/>
                    <a:pt x="25411" y="94500"/>
                  </a:cubicBezTo>
                  <a:cubicBezTo>
                    <a:pt x="25411" y="94500"/>
                    <a:pt x="25411" y="94500"/>
                    <a:pt x="24000" y="93750"/>
                  </a:cubicBezTo>
                  <a:cubicBezTo>
                    <a:pt x="22588" y="93750"/>
                    <a:pt x="21176" y="92250"/>
                    <a:pt x="21176" y="92250"/>
                  </a:cubicBezTo>
                  <a:cubicBezTo>
                    <a:pt x="21176" y="92250"/>
                    <a:pt x="19764" y="90750"/>
                    <a:pt x="19764" y="90750"/>
                  </a:cubicBezTo>
                  <a:cubicBezTo>
                    <a:pt x="19764" y="90750"/>
                    <a:pt x="18352" y="90000"/>
                    <a:pt x="18352" y="90000"/>
                  </a:cubicBezTo>
                  <a:cubicBezTo>
                    <a:pt x="15529" y="90000"/>
                    <a:pt x="15529" y="90000"/>
                    <a:pt x="15529" y="90000"/>
                  </a:cubicBezTo>
                  <a:cubicBezTo>
                    <a:pt x="15529" y="90000"/>
                    <a:pt x="15529" y="90750"/>
                    <a:pt x="15529" y="90750"/>
                  </a:cubicBezTo>
                  <a:cubicBezTo>
                    <a:pt x="15529" y="91500"/>
                    <a:pt x="15529" y="91500"/>
                    <a:pt x="16941" y="92250"/>
                  </a:cubicBezTo>
                  <a:cubicBezTo>
                    <a:pt x="18352" y="93000"/>
                    <a:pt x="18352" y="93000"/>
                    <a:pt x="19764" y="93000"/>
                  </a:cubicBezTo>
                  <a:cubicBezTo>
                    <a:pt x="19764" y="93000"/>
                    <a:pt x="19764" y="93750"/>
                    <a:pt x="21176" y="93750"/>
                  </a:cubicBezTo>
                  <a:cubicBezTo>
                    <a:pt x="21176" y="94500"/>
                    <a:pt x="21176" y="96000"/>
                    <a:pt x="21176" y="96000"/>
                  </a:cubicBezTo>
                  <a:cubicBezTo>
                    <a:pt x="24000" y="97500"/>
                    <a:pt x="24000" y="97500"/>
                    <a:pt x="24000" y="97500"/>
                  </a:cubicBezTo>
                  <a:cubicBezTo>
                    <a:pt x="26823" y="98250"/>
                    <a:pt x="26823" y="98250"/>
                    <a:pt x="26823" y="98250"/>
                  </a:cubicBezTo>
                  <a:cubicBezTo>
                    <a:pt x="38117" y="101250"/>
                    <a:pt x="38117" y="101250"/>
                    <a:pt x="38117" y="101250"/>
                  </a:cubicBezTo>
                  <a:cubicBezTo>
                    <a:pt x="42352" y="102000"/>
                    <a:pt x="42352" y="102000"/>
                    <a:pt x="42352" y="102000"/>
                  </a:cubicBezTo>
                  <a:cubicBezTo>
                    <a:pt x="43764" y="102000"/>
                    <a:pt x="43764" y="102000"/>
                    <a:pt x="43764" y="102000"/>
                  </a:cubicBezTo>
                  <a:cubicBezTo>
                    <a:pt x="45176" y="103500"/>
                    <a:pt x="45176" y="103500"/>
                    <a:pt x="45176" y="103500"/>
                  </a:cubicBezTo>
                  <a:cubicBezTo>
                    <a:pt x="46588" y="104250"/>
                    <a:pt x="46588" y="104250"/>
                    <a:pt x="46588" y="104250"/>
                  </a:cubicBezTo>
                  <a:cubicBezTo>
                    <a:pt x="46588" y="104250"/>
                    <a:pt x="48000" y="104250"/>
                    <a:pt x="49411" y="104250"/>
                  </a:cubicBezTo>
                  <a:cubicBezTo>
                    <a:pt x="49411" y="104250"/>
                    <a:pt x="52235" y="104250"/>
                    <a:pt x="52235" y="104250"/>
                  </a:cubicBezTo>
                  <a:cubicBezTo>
                    <a:pt x="52235" y="104250"/>
                    <a:pt x="53647" y="103500"/>
                    <a:pt x="53647" y="104250"/>
                  </a:cubicBezTo>
                  <a:cubicBezTo>
                    <a:pt x="53647" y="105000"/>
                    <a:pt x="57882" y="108750"/>
                    <a:pt x="57882" y="108750"/>
                  </a:cubicBezTo>
                  <a:cubicBezTo>
                    <a:pt x="57882" y="108750"/>
                    <a:pt x="57882" y="109500"/>
                    <a:pt x="59294" y="110250"/>
                  </a:cubicBezTo>
                  <a:cubicBezTo>
                    <a:pt x="60705" y="111000"/>
                    <a:pt x="63529" y="111750"/>
                    <a:pt x="63529" y="111750"/>
                  </a:cubicBezTo>
                  <a:cubicBezTo>
                    <a:pt x="63529" y="111750"/>
                    <a:pt x="62117" y="112500"/>
                    <a:pt x="62117" y="113250"/>
                  </a:cubicBezTo>
                  <a:cubicBezTo>
                    <a:pt x="63529" y="114000"/>
                    <a:pt x="62117" y="114000"/>
                    <a:pt x="63529" y="114000"/>
                  </a:cubicBezTo>
                  <a:cubicBezTo>
                    <a:pt x="63529" y="114750"/>
                    <a:pt x="63529" y="114750"/>
                    <a:pt x="63529" y="114750"/>
                  </a:cubicBezTo>
                  <a:cubicBezTo>
                    <a:pt x="63529" y="114750"/>
                    <a:pt x="63529" y="114750"/>
                    <a:pt x="63529" y="115500"/>
                  </a:cubicBezTo>
                  <a:cubicBezTo>
                    <a:pt x="64941" y="115500"/>
                    <a:pt x="64941" y="116250"/>
                    <a:pt x="64941" y="116250"/>
                  </a:cubicBezTo>
                  <a:cubicBezTo>
                    <a:pt x="64941" y="118500"/>
                    <a:pt x="64941" y="118500"/>
                    <a:pt x="64941" y="118500"/>
                  </a:cubicBezTo>
                  <a:cubicBezTo>
                    <a:pt x="67764" y="118500"/>
                    <a:pt x="67764" y="118500"/>
                    <a:pt x="67764" y="118500"/>
                  </a:cubicBezTo>
                  <a:lnTo>
                    <a:pt x="69176" y="118500"/>
                  </a:lnTo>
                  <a:close/>
                </a:path>
              </a:pathLst>
            </a:custGeom>
            <a:grpFill/>
            <a:ln w="3175" cap="flat" cmpd="sng">
              <a:solidFill>
                <a:schemeClr val="tx1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defTabSz="457178"/>
              <a:endParaRPr kern="0">
                <a:solidFill>
                  <a:srgbClr val="7F7F7F"/>
                </a:solidFill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9" name="Shape 2016">
              <a:extLst>
                <a:ext uri="{FF2B5EF4-FFF2-40B4-BE49-F238E27FC236}">
                  <a16:creationId xmlns:a16="http://schemas.microsoft.com/office/drawing/2014/main" id="{A09D87C9-04C0-42AB-9F01-D0823E5432EC}"/>
                </a:ext>
              </a:extLst>
            </p:cNvPr>
            <p:cNvSpPr/>
            <p:nvPr/>
          </p:nvSpPr>
          <p:spPr>
            <a:xfrm>
              <a:off x="5900012" y="3680444"/>
              <a:ext cx="193499" cy="35371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73411" y="120000"/>
                  </a:moveTo>
                  <a:cubicBezTo>
                    <a:pt x="73411" y="120000"/>
                    <a:pt x="73411" y="120000"/>
                    <a:pt x="73411" y="120000"/>
                  </a:cubicBezTo>
                  <a:cubicBezTo>
                    <a:pt x="69176" y="118500"/>
                    <a:pt x="69176" y="118500"/>
                    <a:pt x="69176" y="118500"/>
                  </a:cubicBezTo>
                  <a:cubicBezTo>
                    <a:pt x="67764" y="119250"/>
                    <a:pt x="67764" y="119250"/>
                    <a:pt x="67764" y="119250"/>
                  </a:cubicBezTo>
                  <a:cubicBezTo>
                    <a:pt x="64941" y="118500"/>
                    <a:pt x="64941" y="118500"/>
                    <a:pt x="64941" y="118500"/>
                  </a:cubicBezTo>
                  <a:cubicBezTo>
                    <a:pt x="64941" y="116250"/>
                    <a:pt x="64941" y="116250"/>
                    <a:pt x="64941" y="116250"/>
                  </a:cubicBezTo>
                  <a:cubicBezTo>
                    <a:pt x="64941" y="116250"/>
                    <a:pt x="63529" y="116250"/>
                    <a:pt x="63529" y="115500"/>
                  </a:cubicBezTo>
                  <a:cubicBezTo>
                    <a:pt x="63529" y="114000"/>
                    <a:pt x="63529" y="114000"/>
                    <a:pt x="63529" y="114000"/>
                  </a:cubicBezTo>
                  <a:cubicBezTo>
                    <a:pt x="62117" y="114750"/>
                    <a:pt x="62117" y="114750"/>
                    <a:pt x="62117" y="114750"/>
                  </a:cubicBezTo>
                  <a:cubicBezTo>
                    <a:pt x="62117" y="114000"/>
                    <a:pt x="62117" y="114000"/>
                    <a:pt x="62117" y="114000"/>
                  </a:cubicBezTo>
                  <a:cubicBezTo>
                    <a:pt x="62117" y="113250"/>
                    <a:pt x="62117" y="113250"/>
                    <a:pt x="62117" y="113250"/>
                  </a:cubicBezTo>
                  <a:cubicBezTo>
                    <a:pt x="62117" y="112500"/>
                    <a:pt x="62117" y="111750"/>
                    <a:pt x="63529" y="111750"/>
                  </a:cubicBezTo>
                  <a:cubicBezTo>
                    <a:pt x="62117" y="111750"/>
                    <a:pt x="59294" y="111000"/>
                    <a:pt x="59294" y="110250"/>
                  </a:cubicBezTo>
                  <a:cubicBezTo>
                    <a:pt x="57882" y="110250"/>
                    <a:pt x="57882" y="108750"/>
                    <a:pt x="57882" y="108750"/>
                  </a:cubicBezTo>
                  <a:cubicBezTo>
                    <a:pt x="56470" y="108750"/>
                    <a:pt x="53647" y="105750"/>
                    <a:pt x="53647" y="104250"/>
                  </a:cubicBezTo>
                  <a:cubicBezTo>
                    <a:pt x="50823" y="104250"/>
                    <a:pt x="49411" y="104250"/>
                    <a:pt x="49411" y="104250"/>
                  </a:cubicBezTo>
                  <a:cubicBezTo>
                    <a:pt x="48000" y="104250"/>
                    <a:pt x="46588" y="104250"/>
                    <a:pt x="46588" y="104250"/>
                  </a:cubicBezTo>
                  <a:cubicBezTo>
                    <a:pt x="45176" y="103500"/>
                    <a:pt x="45176" y="103500"/>
                    <a:pt x="45176" y="103500"/>
                  </a:cubicBezTo>
                  <a:cubicBezTo>
                    <a:pt x="43764" y="102750"/>
                    <a:pt x="43764" y="102750"/>
                    <a:pt x="43764" y="102750"/>
                  </a:cubicBezTo>
                  <a:cubicBezTo>
                    <a:pt x="38117" y="101250"/>
                    <a:pt x="38117" y="101250"/>
                    <a:pt x="38117" y="101250"/>
                  </a:cubicBezTo>
                  <a:cubicBezTo>
                    <a:pt x="21176" y="96000"/>
                    <a:pt x="21176" y="96000"/>
                    <a:pt x="21176" y="96000"/>
                  </a:cubicBezTo>
                  <a:cubicBezTo>
                    <a:pt x="21176" y="96000"/>
                    <a:pt x="19764" y="94500"/>
                    <a:pt x="19764" y="93750"/>
                  </a:cubicBezTo>
                  <a:cubicBezTo>
                    <a:pt x="19764" y="93750"/>
                    <a:pt x="19764" y="93750"/>
                    <a:pt x="19764" y="93000"/>
                  </a:cubicBezTo>
                  <a:cubicBezTo>
                    <a:pt x="18352" y="93000"/>
                    <a:pt x="16941" y="93000"/>
                    <a:pt x="16941" y="92250"/>
                  </a:cubicBezTo>
                  <a:cubicBezTo>
                    <a:pt x="15529" y="92250"/>
                    <a:pt x="15529" y="91500"/>
                    <a:pt x="14117" y="90750"/>
                  </a:cubicBezTo>
                  <a:cubicBezTo>
                    <a:pt x="14117" y="90750"/>
                    <a:pt x="14117" y="90000"/>
                    <a:pt x="14117" y="90000"/>
                  </a:cubicBezTo>
                  <a:cubicBezTo>
                    <a:pt x="18352" y="90000"/>
                    <a:pt x="18352" y="90000"/>
                    <a:pt x="18352" y="90000"/>
                  </a:cubicBezTo>
                  <a:cubicBezTo>
                    <a:pt x="18352" y="90000"/>
                    <a:pt x="19764" y="90750"/>
                    <a:pt x="19764" y="90750"/>
                  </a:cubicBezTo>
                  <a:cubicBezTo>
                    <a:pt x="21176" y="90750"/>
                    <a:pt x="21176" y="92250"/>
                    <a:pt x="21176" y="92250"/>
                  </a:cubicBezTo>
                  <a:cubicBezTo>
                    <a:pt x="21176" y="92250"/>
                    <a:pt x="22588" y="93750"/>
                    <a:pt x="24000" y="93750"/>
                  </a:cubicBezTo>
                  <a:cubicBezTo>
                    <a:pt x="24000" y="93750"/>
                    <a:pt x="25411" y="93750"/>
                    <a:pt x="25411" y="93750"/>
                  </a:cubicBezTo>
                  <a:cubicBezTo>
                    <a:pt x="25411" y="93750"/>
                    <a:pt x="25411" y="93750"/>
                    <a:pt x="25411" y="93750"/>
                  </a:cubicBezTo>
                  <a:cubicBezTo>
                    <a:pt x="26823" y="92250"/>
                    <a:pt x="26823" y="92250"/>
                    <a:pt x="26823" y="92250"/>
                  </a:cubicBezTo>
                  <a:cubicBezTo>
                    <a:pt x="25411" y="91500"/>
                    <a:pt x="25411" y="91500"/>
                    <a:pt x="25411" y="91500"/>
                  </a:cubicBezTo>
                  <a:cubicBezTo>
                    <a:pt x="25411" y="89250"/>
                    <a:pt x="25411" y="89250"/>
                    <a:pt x="25411" y="89250"/>
                  </a:cubicBezTo>
                  <a:cubicBezTo>
                    <a:pt x="24000" y="88500"/>
                    <a:pt x="24000" y="88500"/>
                    <a:pt x="24000" y="88500"/>
                  </a:cubicBezTo>
                  <a:cubicBezTo>
                    <a:pt x="22588" y="87000"/>
                    <a:pt x="22588" y="87000"/>
                    <a:pt x="22588" y="87000"/>
                  </a:cubicBezTo>
                  <a:cubicBezTo>
                    <a:pt x="16941" y="83250"/>
                    <a:pt x="16941" y="83250"/>
                    <a:pt x="16941" y="83250"/>
                  </a:cubicBezTo>
                  <a:cubicBezTo>
                    <a:pt x="14117" y="81000"/>
                    <a:pt x="14117" y="81000"/>
                    <a:pt x="14117" y="81000"/>
                  </a:cubicBezTo>
                  <a:cubicBezTo>
                    <a:pt x="16941" y="77250"/>
                    <a:pt x="16941" y="77250"/>
                    <a:pt x="16941" y="77250"/>
                  </a:cubicBezTo>
                  <a:cubicBezTo>
                    <a:pt x="15529" y="75750"/>
                    <a:pt x="15529" y="75750"/>
                    <a:pt x="15529" y="75750"/>
                  </a:cubicBezTo>
                  <a:cubicBezTo>
                    <a:pt x="15529" y="75750"/>
                    <a:pt x="16941" y="75000"/>
                    <a:pt x="16941" y="75000"/>
                  </a:cubicBezTo>
                  <a:cubicBezTo>
                    <a:pt x="16941" y="75000"/>
                    <a:pt x="18352" y="74250"/>
                    <a:pt x="18352" y="74250"/>
                  </a:cubicBezTo>
                  <a:cubicBezTo>
                    <a:pt x="18352" y="74250"/>
                    <a:pt x="18352" y="73500"/>
                    <a:pt x="18352" y="73500"/>
                  </a:cubicBezTo>
                  <a:cubicBezTo>
                    <a:pt x="18352" y="72750"/>
                    <a:pt x="18352" y="72750"/>
                    <a:pt x="18352" y="72750"/>
                  </a:cubicBezTo>
                  <a:cubicBezTo>
                    <a:pt x="19764" y="71250"/>
                    <a:pt x="19764" y="71250"/>
                    <a:pt x="19764" y="71250"/>
                  </a:cubicBezTo>
                  <a:cubicBezTo>
                    <a:pt x="16941" y="71250"/>
                    <a:pt x="16941" y="71250"/>
                    <a:pt x="16941" y="71250"/>
                  </a:cubicBezTo>
                  <a:cubicBezTo>
                    <a:pt x="16941" y="70500"/>
                    <a:pt x="18352" y="69750"/>
                    <a:pt x="18352" y="69750"/>
                  </a:cubicBezTo>
                  <a:cubicBezTo>
                    <a:pt x="18352" y="69750"/>
                    <a:pt x="18352" y="69750"/>
                    <a:pt x="19764" y="69750"/>
                  </a:cubicBezTo>
                  <a:cubicBezTo>
                    <a:pt x="22588" y="68250"/>
                    <a:pt x="22588" y="68250"/>
                    <a:pt x="22588" y="68250"/>
                  </a:cubicBezTo>
                  <a:cubicBezTo>
                    <a:pt x="22588" y="67500"/>
                    <a:pt x="22588" y="67500"/>
                    <a:pt x="22588" y="67500"/>
                  </a:cubicBezTo>
                  <a:cubicBezTo>
                    <a:pt x="18352" y="66750"/>
                    <a:pt x="18352" y="66750"/>
                    <a:pt x="18352" y="66750"/>
                  </a:cubicBezTo>
                  <a:cubicBezTo>
                    <a:pt x="19764" y="64500"/>
                    <a:pt x="19764" y="64500"/>
                    <a:pt x="19764" y="64500"/>
                  </a:cubicBezTo>
                  <a:cubicBezTo>
                    <a:pt x="18352" y="63750"/>
                    <a:pt x="16941" y="62250"/>
                    <a:pt x="16941" y="62250"/>
                  </a:cubicBezTo>
                  <a:cubicBezTo>
                    <a:pt x="18352" y="60750"/>
                    <a:pt x="18352" y="60750"/>
                    <a:pt x="18352" y="60750"/>
                  </a:cubicBezTo>
                  <a:cubicBezTo>
                    <a:pt x="18352" y="60750"/>
                    <a:pt x="19764" y="58500"/>
                    <a:pt x="19764" y="57750"/>
                  </a:cubicBezTo>
                  <a:cubicBezTo>
                    <a:pt x="19764" y="57000"/>
                    <a:pt x="19764" y="56250"/>
                    <a:pt x="19764" y="56250"/>
                  </a:cubicBezTo>
                  <a:cubicBezTo>
                    <a:pt x="19764" y="55500"/>
                    <a:pt x="19764" y="55500"/>
                    <a:pt x="19764" y="55500"/>
                  </a:cubicBezTo>
                  <a:cubicBezTo>
                    <a:pt x="18352" y="54750"/>
                    <a:pt x="16941" y="54000"/>
                    <a:pt x="16941" y="54000"/>
                  </a:cubicBezTo>
                  <a:cubicBezTo>
                    <a:pt x="16941" y="54000"/>
                    <a:pt x="15529" y="54000"/>
                    <a:pt x="15529" y="53250"/>
                  </a:cubicBezTo>
                  <a:cubicBezTo>
                    <a:pt x="14117" y="53250"/>
                    <a:pt x="14117" y="53250"/>
                    <a:pt x="14117" y="53250"/>
                  </a:cubicBezTo>
                  <a:cubicBezTo>
                    <a:pt x="11294" y="51750"/>
                    <a:pt x="11294" y="51750"/>
                    <a:pt x="11294" y="51750"/>
                  </a:cubicBezTo>
                  <a:cubicBezTo>
                    <a:pt x="15529" y="50250"/>
                    <a:pt x="15529" y="50250"/>
                    <a:pt x="15529" y="50250"/>
                  </a:cubicBezTo>
                  <a:cubicBezTo>
                    <a:pt x="15529" y="49500"/>
                    <a:pt x="15529" y="49500"/>
                    <a:pt x="15529" y="49500"/>
                  </a:cubicBezTo>
                  <a:cubicBezTo>
                    <a:pt x="16941" y="48750"/>
                    <a:pt x="18352" y="48750"/>
                    <a:pt x="18352" y="48750"/>
                  </a:cubicBezTo>
                  <a:cubicBezTo>
                    <a:pt x="18352" y="48750"/>
                    <a:pt x="19764" y="48000"/>
                    <a:pt x="19764" y="48000"/>
                  </a:cubicBezTo>
                  <a:cubicBezTo>
                    <a:pt x="19764" y="47250"/>
                    <a:pt x="19764" y="46500"/>
                    <a:pt x="19764" y="45750"/>
                  </a:cubicBezTo>
                  <a:cubicBezTo>
                    <a:pt x="15529" y="45000"/>
                    <a:pt x="15529" y="45000"/>
                    <a:pt x="15529" y="45000"/>
                  </a:cubicBezTo>
                  <a:cubicBezTo>
                    <a:pt x="15529" y="44250"/>
                    <a:pt x="15529" y="44250"/>
                    <a:pt x="15529" y="44250"/>
                  </a:cubicBezTo>
                  <a:cubicBezTo>
                    <a:pt x="15529" y="44250"/>
                    <a:pt x="16941" y="44250"/>
                    <a:pt x="18352" y="43500"/>
                  </a:cubicBezTo>
                  <a:cubicBezTo>
                    <a:pt x="19764" y="43500"/>
                    <a:pt x="21176" y="42750"/>
                    <a:pt x="21176" y="42750"/>
                  </a:cubicBezTo>
                  <a:cubicBezTo>
                    <a:pt x="22588" y="42750"/>
                    <a:pt x="22588" y="42000"/>
                    <a:pt x="22588" y="41250"/>
                  </a:cubicBezTo>
                  <a:cubicBezTo>
                    <a:pt x="19764" y="40500"/>
                    <a:pt x="19764" y="40500"/>
                    <a:pt x="19764" y="40500"/>
                  </a:cubicBezTo>
                  <a:cubicBezTo>
                    <a:pt x="21176" y="39000"/>
                    <a:pt x="21176" y="39000"/>
                    <a:pt x="21176" y="39000"/>
                  </a:cubicBezTo>
                  <a:cubicBezTo>
                    <a:pt x="19764" y="36750"/>
                    <a:pt x="19764" y="36750"/>
                    <a:pt x="19764" y="36750"/>
                  </a:cubicBezTo>
                  <a:cubicBezTo>
                    <a:pt x="21176" y="35250"/>
                    <a:pt x="21176" y="35250"/>
                    <a:pt x="21176" y="35250"/>
                  </a:cubicBezTo>
                  <a:cubicBezTo>
                    <a:pt x="19764" y="34500"/>
                    <a:pt x="19764" y="34500"/>
                    <a:pt x="19764" y="34500"/>
                  </a:cubicBezTo>
                  <a:cubicBezTo>
                    <a:pt x="14117" y="33000"/>
                    <a:pt x="14117" y="33000"/>
                    <a:pt x="14117" y="33000"/>
                  </a:cubicBezTo>
                  <a:cubicBezTo>
                    <a:pt x="12705" y="33000"/>
                    <a:pt x="12705" y="33000"/>
                    <a:pt x="12705" y="33000"/>
                  </a:cubicBezTo>
                  <a:cubicBezTo>
                    <a:pt x="11294" y="33000"/>
                    <a:pt x="9882" y="33750"/>
                    <a:pt x="9882" y="33750"/>
                  </a:cubicBezTo>
                  <a:cubicBezTo>
                    <a:pt x="5647" y="33000"/>
                    <a:pt x="5647" y="32250"/>
                    <a:pt x="5647" y="32250"/>
                  </a:cubicBezTo>
                  <a:cubicBezTo>
                    <a:pt x="7058" y="32250"/>
                    <a:pt x="7058" y="31500"/>
                    <a:pt x="7058" y="31500"/>
                  </a:cubicBezTo>
                  <a:cubicBezTo>
                    <a:pt x="5647" y="30750"/>
                    <a:pt x="5647" y="30750"/>
                    <a:pt x="5647" y="30750"/>
                  </a:cubicBezTo>
                  <a:cubicBezTo>
                    <a:pt x="5647" y="29250"/>
                    <a:pt x="5647" y="29250"/>
                    <a:pt x="5647" y="29250"/>
                  </a:cubicBezTo>
                  <a:cubicBezTo>
                    <a:pt x="5647" y="29250"/>
                    <a:pt x="7058" y="27750"/>
                    <a:pt x="7058" y="27750"/>
                  </a:cubicBezTo>
                  <a:cubicBezTo>
                    <a:pt x="5647" y="27000"/>
                    <a:pt x="5647" y="26250"/>
                    <a:pt x="5647" y="26250"/>
                  </a:cubicBezTo>
                  <a:cubicBezTo>
                    <a:pt x="7058" y="24750"/>
                    <a:pt x="7058" y="24750"/>
                    <a:pt x="7058" y="24750"/>
                  </a:cubicBezTo>
                  <a:cubicBezTo>
                    <a:pt x="7058" y="24000"/>
                    <a:pt x="7058" y="24000"/>
                    <a:pt x="7058" y="24000"/>
                  </a:cubicBezTo>
                  <a:cubicBezTo>
                    <a:pt x="7058" y="23250"/>
                    <a:pt x="7058" y="22500"/>
                    <a:pt x="7058" y="22500"/>
                  </a:cubicBezTo>
                  <a:cubicBezTo>
                    <a:pt x="1411" y="21000"/>
                    <a:pt x="1411" y="21000"/>
                    <a:pt x="1411" y="21000"/>
                  </a:cubicBezTo>
                  <a:cubicBezTo>
                    <a:pt x="0" y="20250"/>
                    <a:pt x="0" y="20250"/>
                    <a:pt x="0" y="20250"/>
                  </a:cubicBezTo>
                  <a:cubicBezTo>
                    <a:pt x="0" y="18750"/>
                    <a:pt x="0" y="18750"/>
                    <a:pt x="0" y="18750"/>
                  </a:cubicBezTo>
                  <a:cubicBezTo>
                    <a:pt x="2823" y="17250"/>
                    <a:pt x="2823" y="17250"/>
                    <a:pt x="2823" y="17250"/>
                  </a:cubicBezTo>
                  <a:cubicBezTo>
                    <a:pt x="4235" y="15750"/>
                    <a:pt x="4235" y="15750"/>
                    <a:pt x="4235" y="15750"/>
                  </a:cubicBezTo>
                  <a:cubicBezTo>
                    <a:pt x="4235" y="15000"/>
                    <a:pt x="4235" y="15000"/>
                    <a:pt x="4235" y="14250"/>
                  </a:cubicBezTo>
                  <a:cubicBezTo>
                    <a:pt x="4235" y="14250"/>
                    <a:pt x="5647" y="13500"/>
                    <a:pt x="5647" y="13500"/>
                  </a:cubicBezTo>
                  <a:cubicBezTo>
                    <a:pt x="5647" y="12000"/>
                    <a:pt x="5647" y="12000"/>
                    <a:pt x="5647" y="12000"/>
                  </a:cubicBezTo>
                  <a:cubicBezTo>
                    <a:pt x="5647" y="11250"/>
                    <a:pt x="5647" y="11250"/>
                    <a:pt x="5647" y="11250"/>
                  </a:cubicBezTo>
                  <a:cubicBezTo>
                    <a:pt x="7058" y="10500"/>
                    <a:pt x="7058" y="10500"/>
                    <a:pt x="7058" y="10500"/>
                  </a:cubicBezTo>
                  <a:cubicBezTo>
                    <a:pt x="7058" y="10500"/>
                    <a:pt x="8470" y="9750"/>
                    <a:pt x="9882" y="9750"/>
                  </a:cubicBezTo>
                  <a:cubicBezTo>
                    <a:pt x="9882" y="9000"/>
                    <a:pt x="9882" y="8250"/>
                    <a:pt x="9882" y="8250"/>
                  </a:cubicBezTo>
                  <a:cubicBezTo>
                    <a:pt x="15529" y="3750"/>
                    <a:pt x="15529" y="3750"/>
                    <a:pt x="15529" y="3750"/>
                  </a:cubicBezTo>
                  <a:cubicBezTo>
                    <a:pt x="14117" y="3000"/>
                    <a:pt x="14117" y="3000"/>
                    <a:pt x="14117" y="3000"/>
                  </a:cubicBezTo>
                  <a:cubicBezTo>
                    <a:pt x="18352" y="0"/>
                    <a:pt x="19764" y="0"/>
                    <a:pt x="19764" y="0"/>
                  </a:cubicBezTo>
                  <a:cubicBezTo>
                    <a:pt x="21176" y="0"/>
                    <a:pt x="22588" y="0"/>
                    <a:pt x="22588" y="0"/>
                  </a:cubicBezTo>
                  <a:cubicBezTo>
                    <a:pt x="24000" y="750"/>
                    <a:pt x="24000" y="750"/>
                    <a:pt x="24000" y="750"/>
                  </a:cubicBezTo>
                  <a:cubicBezTo>
                    <a:pt x="25411" y="1500"/>
                    <a:pt x="25411" y="1500"/>
                    <a:pt x="25411" y="1500"/>
                  </a:cubicBezTo>
                  <a:cubicBezTo>
                    <a:pt x="25411" y="2250"/>
                    <a:pt x="25411" y="2250"/>
                    <a:pt x="25411" y="2250"/>
                  </a:cubicBezTo>
                  <a:cubicBezTo>
                    <a:pt x="25411" y="3000"/>
                    <a:pt x="24000" y="3000"/>
                    <a:pt x="24000" y="3750"/>
                  </a:cubicBezTo>
                  <a:cubicBezTo>
                    <a:pt x="25411" y="3750"/>
                    <a:pt x="24000" y="4500"/>
                    <a:pt x="24000" y="4500"/>
                  </a:cubicBezTo>
                  <a:cubicBezTo>
                    <a:pt x="25411" y="4500"/>
                    <a:pt x="25411" y="5250"/>
                    <a:pt x="25411" y="5250"/>
                  </a:cubicBezTo>
                  <a:cubicBezTo>
                    <a:pt x="26823" y="6000"/>
                    <a:pt x="26823" y="6000"/>
                    <a:pt x="26823" y="6000"/>
                  </a:cubicBezTo>
                  <a:cubicBezTo>
                    <a:pt x="26823" y="6750"/>
                    <a:pt x="28235" y="6750"/>
                    <a:pt x="28235" y="6750"/>
                  </a:cubicBezTo>
                  <a:cubicBezTo>
                    <a:pt x="31058" y="6000"/>
                    <a:pt x="31058" y="6000"/>
                    <a:pt x="31058" y="6000"/>
                  </a:cubicBezTo>
                  <a:cubicBezTo>
                    <a:pt x="33882" y="5250"/>
                    <a:pt x="33882" y="5250"/>
                    <a:pt x="33882" y="5250"/>
                  </a:cubicBezTo>
                  <a:cubicBezTo>
                    <a:pt x="33882" y="5250"/>
                    <a:pt x="36705" y="4500"/>
                    <a:pt x="38117" y="4500"/>
                  </a:cubicBezTo>
                  <a:cubicBezTo>
                    <a:pt x="38117" y="4500"/>
                    <a:pt x="38117" y="3750"/>
                    <a:pt x="39529" y="3000"/>
                  </a:cubicBezTo>
                  <a:cubicBezTo>
                    <a:pt x="40941" y="3000"/>
                    <a:pt x="40941" y="3000"/>
                    <a:pt x="40941" y="3000"/>
                  </a:cubicBezTo>
                  <a:cubicBezTo>
                    <a:pt x="43764" y="3000"/>
                    <a:pt x="43764" y="3000"/>
                    <a:pt x="43764" y="3000"/>
                  </a:cubicBezTo>
                  <a:cubicBezTo>
                    <a:pt x="45176" y="4500"/>
                    <a:pt x="45176" y="4500"/>
                    <a:pt x="45176" y="4500"/>
                  </a:cubicBezTo>
                  <a:cubicBezTo>
                    <a:pt x="48000" y="5250"/>
                    <a:pt x="48000" y="5250"/>
                    <a:pt x="48000" y="5250"/>
                  </a:cubicBezTo>
                  <a:cubicBezTo>
                    <a:pt x="50823" y="6750"/>
                    <a:pt x="50823" y="6750"/>
                    <a:pt x="50823" y="6750"/>
                  </a:cubicBezTo>
                  <a:cubicBezTo>
                    <a:pt x="52235" y="9000"/>
                    <a:pt x="52235" y="9000"/>
                    <a:pt x="52235" y="9000"/>
                  </a:cubicBezTo>
                  <a:cubicBezTo>
                    <a:pt x="55058" y="11250"/>
                    <a:pt x="55058" y="11250"/>
                    <a:pt x="55058" y="11250"/>
                  </a:cubicBezTo>
                  <a:cubicBezTo>
                    <a:pt x="56470" y="10500"/>
                    <a:pt x="56470" y="10500"/>
                    <a:pt x="56470" y="10500"/>
                  </a:cubicBezTo>
                  <a:cubicBezTo>
                    <a:pt x="59294" y="12000"/>
                    <a:pt x="59294" y="12000"/>
                    <a:pt x="59294" y="12000"/>
                  </a:cubicBezTo>
                  <a:cubicBezTo>
                    <a:pt x="62117" y="12750"/>
                    <a:pt x="62117" y="12750"/>
                    <a:pt x="62117" y="12750"/>
                  </a:cubicBezTo>
                  <a:cubicBezTo>
                    <a:pt x="62117" y="12750"/>
                    <a:pt x="64941" y="12750"/>
                    <a:pt x="67764" y="13500"/>
                  </a:cubicBezTo>
                  <a:cubicBezTo>
                    <a:pt x="69176" y="13500"/>
                    <a:pt x="69176" y="14250"/>
                    <a:pt x="69176" y="14250"/>
                  </a:cubicBezTo>
                  <a:cubicBezTo>
                    <a:pt x="70588" y="15750"/>
                    <a:pt x="73411" y="17250"/>
                    <a:pt x="73411" y="17250"/>
                  </a:cubicBezTo>
                  <a:cubicBezTo>
                    <a:pt x="74823" y="19500"/>
                    <a:pt x="74823" y="19500"/>
                    <a:pt x="74823" y="19500"/>
                  </a:cubicBezTo>
                  <a:cubicBezTo>
                    <a:pt x="74823" y="19500"/>
                    <a:pt x="76235" y="21000"/>
                    <a:pt x="76235" y="21750"/>
                  </a:cubicBezTo>
                  <a:cubicBezTo>
                    <a:pt x="76235" y="21750"/>
                    <a:pt x="76235" y="22500"/>
                    <a:pt x="76235" y="22500"/>
                  </a:cubicBezTo>
                  <a:cubicBezTo>
                    <a:pt x="80470" y="24750"/>
                    <a:pt x="80470" y="24750"/>
                    <a:pt x="80470" y="24750"/>
                  </a:cubicBezTo>
                  <a:cubicBezTo>
                    <a:pt x="79058" y="27000"/>
                    <a:pt x="79058" y="27000"/>
                    <a:pt x="79058" y="27000"/>
                  </a:cubicBezTo>
                  <a:cubicBezTo>
                    <a:pt x="77647" y="28500"/>
                    <a:pt x="77647" y="28500"/>
                    <a:pt x="77647" y="28500"/>
                  </a:cubicBezTo>
                  <a:cubicBezTo>
                    <a:pt x="77647" y="28500"/>
                    <a:pt x="77647" y="30000"/>
                    <a:pt x="77647" y="30000"/>
                  </a:cubicBezTo>
                  <a:cubicBezTo>
                    <a:pt x="77647" y="30000"/>
                    <a:pt x="77647" y="31500"/>
                    <a:pt x="77647" y="31500"/>
                  </a:cubicBezTo>
                  <a:cubicBezTo>
                    <a:pt x="76235" y="32250"/>
                    <a:pt x="76235" y="32250"/>
                    <a:pt x="76235" y="32250"/>
                  </a:cubicBezTo>
                  <a:cubicBezTo>
                    <a:pt x="77647" y="36000"/>
                    <a:pt x="77647" y="36000"/>
                    <a:pt x="77647" y="36000"/>
                  </a:cubicBezTo>
                  <a:cubicBezTo>
                    <a:pt x="76235" y="38250"/>
                    <a:pt x="76235" y="38250"/>
                    <a:pt x="76235" y="38250"/>
                  </a:cubicBezTo>
                  <a:cubicBezTo>
                    <a:pt x="77647" y="38250"/>
                    <a:pt x="79058" y="39000"/>
                    <a:pt x="79058" y="39750"/>
                  </a:cubicBezTo>
                  <a:cubicBezTo>
                    <a:pt x="80470" y="39750"/>
                    <a:pt x="79058" y="40500"/>
                    <a:pt x="79058" y="40500"/>
                  </a:cubicBezTo>
                  <a:cubicBezTo>
                    <a:pt x="77647" y="41250"/>
                    <a:pt x="77647" y="41250"/>
                    <a:pt x="76235" y="42000"/>
                  </a:cubicBezTo>
                  <a:cubicBezTo>
                    <a:pt x="74823" y="42000"/>
                    <a:pt x="74823" y="42000"/>
                    <a:pt x="74823" y="42000"/>
                  </a:cubicBezTo>
                  <a:cubicBezTo>
                    <a:pt x="74823" y="42750"/>
                    <a:pt x="73411" y="42750"/>
                    <a:pt x="73411" y="42750"/>
                  </a:cubicBezTo>
                  <a:cubicBezTo>
                    <a:pt x="73411" y="42750"/>
                    <a:pt x="73411" y="43500"/>
                    <a:pt x="73411" y="44250"/>
                  </a:cubicBezTo>
                  <a:cubicBezTo>
                    <a:pt x="74823" y="45000"/>
                    <a:pt x="77647" y="45750"/>
                    <a:pt x="77647" y="45750"/>
                  </a:cubicBezTo>
                  <a:cubicBezTo>
                    <a:pt x="77647" y="45750"/>
                    <a:pt x="80470" y="47250"/>
                    <a:pt x="80470" y="48000"/>
                  </a:cubicBezTo>
                  <a:cubicBezTo>
                    <a:pt x="81882" y="48000"/>
                    <a:pt x="80470" y="48750"/>
                    <a:pt x="80470" y="49500"/>
                  </a:cubicBezTo>
                  <a:cubicBezTo>
                    <a:pt x="80470" y="49500"/>
                    <a:pt x="80470" y="50250"/>
                    <a:pt x="77647" y="51000"/>
                  </a:cubicBezTo>
                  <a:cubicBezTo>
                    <a:pt x="79058" y="51750"/>
                    <a:pt x="79058" y="51750"/>
                    <a:pt x="79058" y="51750"/>
                  </a:cubicBezTo>
                  <a:cubicBezTo>
                    <a:pt x="80470" y="54000"/>
                    <a:pt x="80470" y="54000"/>
                    <a:pt x="80470" y="54000"/>
                  </a:cubicBezTo>
                  <a:cubicBezTo>
                    <a:pt x="80470" y="54000"/>
                    <a:pt x="80470" y="54750"/>
                    <a:pt x="80470" y="54750"/>
                  </a:cubicBezTo>
                  <a:cubicBezTo>
                    <a:pt x="81882" y="55500"/>
                    <a:pt x="83294" y="57000"/>
                    <a:pt x="84705" y="57000"/>
                  </a:cubicBezTo>
                  <a:cubicBezTo>
                    <a:pt x="84705" y="57000"/>
                    <a:pt x="86117" y="58500"/>
                    <a:pt x="86117" y="59250"/>
                  </a:cubicBezTo>
                  <a:cubicBezTo>
                    <a:pt x="86117" y="59250"/>
                    <a:pt x="86117" y="60000"/>
                    <a:pt x="86117" y="60000"/>
                  </a:cubicBezTo>
                  <a:cubicBezTo>
                    <a:pt x="86117" y="60000"/>
                    <a:pt x="87529" y="60000"/>
                    <a:pt x="87529" y="60000"/>
                  </a:cubicBezTo>
                  <a:cubicBezTo>
                    <a:pt x="88941" y="60750"/>
                    <a:pt x="91764" y="60750"/>
                    <a:pt x="91764" y="60750"/>
                  </a:cubicBezTo>
                  <a:cubicBezTo>
                    <a:pt x="91764" y="60750"/>
                    <a:pt x="93176" y="61500"/>
                    <a:pt x="93176" y="62250"/>
                  </a:cubicBezTo>
                  <a:cubicBezTo>
                    <a:pt x="94588" y="63000"/>
                    <a:pt x="96000" y="64500"/>
                    <a:pt x="96000" y="65250"/>
                  </a:cubicBezTo>
                  <a:cubicBezTo>
                    <a:pt x="96000" y="65250"/>
                    <a:pt x="96000" y="66000"/>
                    <a:pt x="96000" y="66000"/>
                  </a:cubicBezTo>
                  <a:cubicBezTo>
                    <a:pt x="96000" y="66750"/>
                    <a:pt x="96000" y="66750"/>
                    <a:pt x="96000" y="66750"/>
                  </a:cubicBezTo>
                  <a:cubicBezTo>
                    <a:pt x="96000" y="67500"/>
                    <a:pt x="97411" y="66750"/>
                    <a:pt x="97411" y="66750"/>
                  </a:cubicBezTo>
                  <a:cubicBezTo>
                    <a:pt x="97411" y="66750"/>
                    <a:pt x="98823" y="66000"/>
                    <a:pt x="98823" y="66000"/>
                  </a:cubicBezTo>
                  <a:cubicBezTo>
                    <a:pt x="100235" y="66000"/>
                    <a:pt x="101647" y="66000"/>
                    <a:pt x="103058" y="66000"/>
                  </a:cubicBezTo>
                  <a:cubicBezTo>
                    <a:pt x="104470" y="66000"/>
                    <a:pt x="104470" y="66000"/>
                    <a:pt x="104470" y="66000"/>
                  </a:cubicBezTo>
                  <a:cubicBezTo>
                    <a:pt x="107294" y="66000"/>
                    <a:pt x="107294" y="66000"/>
                    <a:pt x="108705" y="66000"/>
                  </a:cubicBezTo>
                  <a:cubicBezTo>
                    <a:pt x="111529" y="66750"/>
                    <a:pt x="111529" y="66750"/>
                    <a:pt x="111529" y="66750"/>
                  </a:cubicBezTo>
                  <a:cubicBezTo>
                    <a:pt x="112941" y="68250"/>
                    <a:pt x="112941" y="68250"/>
                    <a:pt x="112941" y="68250"/>
                  </a:cubicBezTo>
                  <a:cubicBezTo>
                    <a:pt x="112941" y="68250"/>
                    <a:pt x="114352" y="68250"/>
                    <a:pt x="114352" y="68250"/>
                  </a:cubicBezTo>
                  <a:cubicBezTo>
                    <a:pt x="115764" y="69750"/>
                    <a:pt x="115764" y="69750"/>
                    <a:pt x="115764" y="69750"/>
                  </a:cubicBezTo>
                  <a:cubicBezTo>
                    <a:pt x="118588" y="72000"/>
                    <a:pt x="118588" y="72000"/>
                    <a:pt x="118588" y="72000"/>
                  </a:cubicBezTo>
                  <a:cubicBezTo>
                    <a:pt x="120000" y="78000"/>
                    <a:pt x="120000" y="78000"/>
                    <a:pt x="120000" y="78000"/>
                  </a:cubicBezTo>
                  <a:cubicBezTo>
                    <a:pt x="117176" y="78000"/>
                    <a:pt x="114352" y="79500"/>
                    <a:pt x="112941" y="80250"/>
                  </a:cubicBezTo>
                  <a:cubicBezTo>
                    <a:pt x="108705" y="86250"/>
                    <a:pt x="108705" y="86250"/>
                    <a:pt x="108705" y="86250"/>
                  </a:cubicBezTo>
                  <a:cubicBezTo>
                    <a:pt x="105882" y="93000"/>
                    <a:pt x="105882" y="93000"/>
                    <a:pt x="105882" y="93000"/>
                  </a:cubicBezTo>
                  <a:cubicBezTo>
                    <a:pt x="98823" y="99000"/>
                    <a:pt x="98823" y="99000"/>
                    <a:pt x="98823" y="99000"/>
                  </a:cubicBezTo>
                  <a:cubicBezTo>
                    <a:pt x="88941" y="102000"/>
                    <a:pt x="88941" y="102000"/>
                    <a:pt x="88941" y="102000"/>
                  </a:cubicBezTo>
                  <a:cubicBezTo>
                    <a:pt x="87529" y="102000"/>
                    <a:pt x="87529" y="102000"/>
                    <a:pt x="87529" y="102000"/>
                  </a:cubicBezTo>
                  <a:cubicBezTo>
                    <a:pt x="87529" y="102000"/>
                    <a:pt x="86117" y="102750"/>
                    <a:pt x="86117" y="102750"/>
                  </a:cubicBezTo>
                  <a:cubicBezTo>
                    <a:pt x="84705" y="105000"/>
                    <a:pt x="84705" y="105000"/>
                    <a:pt x="84705" y="105000"/>
                  </a:cubicBezTo>
                  <a:cubicBezTo>
                    <a:pt x="83294" y="105750"/>
                    <a:pt x="83294" y="105750"/>
                    <a:pt x="83294" y="105750"/>
                  </a:cubicBezTo>
                  <a:cubicBezTo>
                    <a:pt x="81882" y="105750"/>
                    <a:pt x="81882" y="105750"/>
                    <a:pt x="81882" y="105750"/>
                  </a:cubicBezTo>
                  <a:cubicBezTo>
                    <a:pt x="81882" y="106500"/>
                    <a:pt x="81882" y="106500"/>
                    <a:pt x="81882" y="106500"/>
                  </a:cubicBezTo>
                  <a:cubicBezTo>
                    <a:pt x="81882" y="107250"/>
                    <a:pt x="81882" y="107250"/>
                    <a:pt x="81882" y="108000"/>
                  </a:cubicBezTo>
                  <a:cubicBezTo>
                    <a:pt x="81882" y="108000"/>
                    <a:pt x="81882" y="108000"/>
                    <a:pt x="81882" y="108750"/>
                  </a:cubicBezTo>
                  <a:cubicBezTo>
                    <a:pt x="81882" y="108750"/>
                    <a:pt x="83294" y="108750"/>
                    <a:pt x="83294" y="109500"/>
                  </a:cubicBezTo>
                  <a:cubicBezTo>
                    <a:pt x="83294" y="109500"/>
                    <a:pt x="84705" y="110250"/>
                    <a:pt x="86117" y="110250"/>
                  </a:cubicBezTo>
                  <a:cubicBezTo>
                    <a:pt x="87529" y="111000"/>
                    <a:pt x="88941" y="111000"/>
                    <a:pt x="88941" y="111000"/>
                  </a:cubicBezTo>
                  <a:cubicBezTo>
                    <a:pt x="90352" y="112500"/>
                    <a:pt x="90352" y="112500"/>
                    <a:pt x="90352" y="112500"/>
                  </a:cubicBezTo>
                  <a:cubicBezTo>
                    <a:pt x="88941" y="113250"/>
                    <a:pt x="87529" y="113250"/>
                    <a:pt x="86117" y="113250"/>
                  </a:cubicBezTo>
                  <a:cubicBezTo>
                    <a:pt x="86117" y="113250"/>
                    <a:pt x="84705" y="113250"/>
                    <a:pt x="84705" y="113250"/>
                  </a:cubicBezTo>
                  <a:cubicBezTo>
                    <a:pt x="83294" y="113250"/>
                    <a:pt x="83294" y="113250"/>
                    <a:pt x="81882" y="113250"/>
                  </a:cubicBezTo>
                  <a:cubicBezTo>
                    <a:pt x="81882" y="113250"/>
                    <a:pt x="81882" y="114000"/>
                    <a:pt x="81882" y="114750"/>
                  </a:cubicBezTo>
                  <a:cubicBezTo>
                    <a:pt x="83294" y="115500"/>
                    <a:pt x="83294" y="115500"/>
                    <a:pt x="83294" y="115500"/>
                  </a:cubicBezTo>
                  <a:cubicBezTo>
                    <a:pt x="83294" y="115500"/>
                    <a:pt x="83294" y="117000"/>
                    <a:pt x="83294" y="117000"/>
                  </a:cubicBezTo>
                  <a:cubicBezTo>
                    <a:pt x="83294" y="117000"/>
                    <a:pt x="83294" y="117750"/>
                    <a:pt x="80470" y="118500"/>
                  </a:cubicBezTo>
                  <a:cubicBezTo>
                    <a:pt x="79058" y="120000"/>
                    <a:pt x="79058" y="120000"/>
                    <a:pt x="79058" y="120000"/>
                  </a:cubicBezTo>
                  <a:cubicBezTo>
                    <a:pt x="73411" y="120000"/>
                    <a:pt x="73411" y="120000"/>
                    <a:pt x="73411" y="120000"/>
                  </a:cubicBezTo>
                  <a:cubicBezTo>
                    <a:pt x="73411" y="120000"/>
                    <a:pt x="73411" y="120000"/>
                    <a:pt x="73411" y="120000"/>
                  </a:cubicBezTo>
                  <a:close/>
                  <a:moveTo>
                    <a:pt x="69176" y="118500"/>
                  </a:moveTo>
                  <a:cubicBezTo>
                    <a:pt x="69176" y="118500"/>
                    <a:pt x="69176" y="118500"/>
                    <a:pt x="69176" y="118500"/>
                  </a:cubicBezTo>
                  <a:cubicBezTo>
                    <a:pt x="73411" y="119250"/>
                    <a:pt x="73411" y="119250"/>
                    <a:pt x="73411" y="119250"/>
                  </a:cubicBezTo>
                  <a:cubicBezTo>
                    <a:pt x="77647" y="119250"/>
                    <a:pt x="77647" y="119250"/>
                    <a:pt x="77647" y="119250"/>
                  </a:cubicBezTo>
                  <a:cubicBezTo>
                    <a:pt x="80470" y="118500"/>
                    <a:pt x="80470" y="118500"/>
                    <a:pt x="80470" y="118500"/>
                  </a:cubicBezTo>
                  <a:cubicBezTo>
                    <a:pt x="81882" y="117750"/>
                    <a:pt x="83294" y="117000"/>
                    <a:pt x="83294" y="117000"/>
                  </a:cubicBezTo>
                  <a:cubicBezTo>
                    <a:pt x="83294" y="117000"/>
                    <a:pt x="81882" y="115500"/>
                    <a:pt x="81882" y="115500"/>
                  </a:cubicBezTo>
                  <a:cubicBezTo>
                    <a:pt x="81882" y="114750"/>
                    <a:pt x="81882" y="114750"/>
                    <a:pt x="81882" y="114750"/>
                  </a:cubicBezTo>
                  <a:cubicBezTo>
                    <a:pt x="81882" y="114750"/>
                    <a:pt x="80470" y="114000"/>
                    <a:pt x="80470" y="113250"/>
                  </a:cubicBezTo>
                  <a:cubicBezTo>
                    <a:pt x="80470" y="113250"/>
                    <a:pt x="81882" y="112500"/>
                    <a:pt x="81882" y="112500"/>
                  </a:cubicBezTo>
                  <a:cubicBezTo>
                    <a:pt x="83294" y="112500"/>
                    <a:pt x="83294" y="112500"/>
                    <a:pt x="83294" y="112500"/>
                  </a:cubicBezTo>
                  <a:cubicBezTo>
                    <a:pt x="83294" y="112500"/>
                    <a:pt x="84705" y="112500"/>
                    <a:pt x="84705" y="112500"/>
                  </a:cubicBezTo>
                  <a:cubicBezTo>
                    <a:pt x="86117" y="113250"/>
                    <a:pt x="86117" y="113250"/>
                    <a:pt x="86117" y="113250"/>
                  </a:cubicBezTo>
                  <a:cubicBezTo>
                    <a:pt x="86117" y="113250"/>
                    <a:pt x="86117" y="113250"/>
                    <a:pt x="86117" y="113250"/>
                  </a:cubicBezTo>
                  <a:cubicBezTo>
                    <a:pt x="87529" y="113250"/>
                    <a:pt x="88941" y="112500"/>
                    <a:pt x="88941" y="111750"/>
                  </a:cubicBezTo>
                  <a:cubicBezTo>
                    <a:pt x="88941" y="111750"/>
                    <a:pt x="88941" y="111750"/>
                    <a:pt x="88941" y="111750"/>
                  </a:cubicBezTo>
                  <a:cubicBezTo>
                    <a:pt x="87529" y="111750"/>
                    <a:pt x="87529" y="111000"/>
                    <a:pt x="86117" y="111000"/>
                  </a:cubicBezTo>
                  <a:cubicBezTo>
                    <a:pt x="83294" y="110250"/>
                    <a:pt x="81882" y="109500"/>
                    <a:pt x="81882" y="109500"/>
                  </a:cubicBezTo>
                  <a:cubicBezTo>
                    <a:pt x="81882" y="109500"/>
                    <a:pt x="81882" y="108750"/>
                    <a:pt x="81882" y="108750"/>
                  </a:cubicBezTo>
                  <a:cubicBezTo>
                    <a:pt x="80470" y="108750"/>
                    <a:pt x="80470" y="108000"/>
                    <a:pt x="80470" y="108000"/>
                  </a:cubicBezTo>
                  <a:cubicBezTo>
                    <a:pt x="80470" y="107250"/>
                    <a:pt x="80470" y="106500"/>
                    <a:pt x="80470" y="106500"/>
                  </a:cubicBezTo>
                  <a:cubicBezTo>
                    <a:pt x="80470" y="105750"/>
                    <a:pt x="80470" y="105750"/>
                    <a:pt x="80470" y="105750"/>
                  </a:cubicBezTo>
                  <a:cubicBezTo>
                    <a:pt x="80470" y="105750"/>
                    <a:pt x="81882" y="105000"/>
                    <a:pt x="83294" y="105000"/>
                  </a:cubicBezTo>
                  <a:cubicBezTo>
                    <a:pt x="84705" y="105000"/>
                    <a:pt x="84705" y="105000"/>
                    <a:pt x="84705" y="105000"/>
                  </a:cubicBezTo>
                  <a:cubicBezTo>
                    <a:pt x="86117" y="102750"/>
                    <a:pt x="86117" y="102750"/>
                    <a:pt x="86117" y="102750"/>
                  </a:cubicBezTo>
                  <a:cubicBezTo>
                    <a:pt x="86117" y="102750"/>
                    <a:pt x="86117" y="102000"/>
                    <a:pt x="87529" y="102000"/>
                  </a:cubicBezTo>
                  <a:cubicBezTo>
                    <a:pt x="88941" y="102000"/>
                    <a:pt x="88941" y="102000"/>
                    <a:pt x="88941" y="102000"/>
                  </a:cubicBezTo>
                  <a:cubicBezTo>
                    <a:pt x="88941" y="102000"/>
                    <a:pt x="88941" y="102000"/>
                    <a:pt x="88941" y="102000"/>
                  </a:cubicBezTo>
                  <a:cubicBezTo>
                    <a:pt x="98823" y="99000"/>
                    <a:pt x="98823" y="99000"/>
                    <a:pt x="98823" y="99000"/>
                  </a:cubicBezTo>
                  <a:cubicBezTo>
                    <a:pt x="105882" y="93000"/>
                    <a:pt x="105882" y="93000"/>
                    <a:pt x="105882" y="93000"/>
                  </a:cubicBezTo>
                  <a:cubicBezTo>
                    <a:pt x="107294" y="86250"/>
                    <a:pt x="107294" y="86250"/>
                    <a:pt x="107294" y="86250"/>
                  </a:cubicBezTo>
                  <a:cubicBezTo>
                    <a:pt x="111529" y="80250"/>
                    <a:pt x="111529" y="80250"/>
                    <a:pt x="111529" y="80250"/>
                  </a:cubicBezTo>
                  <a:cubicBezTo>
                    <a:pt x="112941" y="79500"/>
                    <a:pt x="117176" y="78000"/>
                    <a:pt x="118588" y="78000"/>
                  </a:cubicBezTo>
                  <a:cubicBezTo>
                    <a:pt x="118588" y="77250"/>
                    <a:pt x="118588" y="75000"/>
                    <a:pt x="117176" y="72000"/>
                  </a:cubicBezTo>
                  <a:cubicBezTo>
                    <a:pt x="114352" y="69750"/>
                    <a:pt x="114352" y="69750"/>
                    <a:pt x="114352" y="69750"/>
                  </a:cubicBezTo>
                  <a:cubicBezTo>
                    <a:pt x="114352" y="68250"/>
                    <a:pt x="114352" y="68250"/>
                    <a:pt x="114352" y="68250"/>
                  </a:cubicBezTo>
                  <a:cubicBezTo>
                    <a:pt x="114352" y="69000"/>
                    <a:pt x="112941" y="69000"/>
                    <a:pt x="112941" y="68250"/>
                  </a:cubicBezTo>
                  <a:cubicBezTo>
                    <a:pt x="112941" y="68250"/>
                    <a:pt x="111529" y="68250"/>
                    <a:pt x="111529" y="68250"/>
                  </a:cubicBezTo>
                  <a:cubicBezTo>
                    <a:pt x="111529" y="67500"/>
                    <a:pt x="111529" y="67500"/>
                    <a:pt x="111529" y="67500"/>
                  </a:cubicBezTo>
                  <a:cubicBezTo>
                    <a:pt x="107294" y="66750"/>
                    <a:pt x="107294" y="66750"/>
                    <a:pt x="107294" y="66750"/>
                  </a:cubicBezTo>
                  <a:cubicBezTo>
                    <a:pt x="107294" y="66750"/>
                    <a:pt x="107294" y="66750"/>
                    <a:pt x="105882" y="66750"/>
                  </a:cubicBezTo>
                  <a:cubicBezTo>
                    <a:pt x="105882" y="66750"/>
                    <a:pt x="104470" y="66750"/>
                    <a:pt x="104470" y="66750"/>
                  </a:cubicBezTo>
                  <a:cubicBezTo>
                    <a:pt x="101647" y="66000"/>
                    <a:pt x="100235" y="66000"/>
                    <a:pt x="100235" y="66750"/>
                  </a:cubicBezTo>
                  <a:cubicBezTo>
                    <a:pt x="98823" y="66750"/>
                    <a:pt x="98823" y="66750"/>
                    <a:pt x="97411" y="67500"/>
                  </a:cubicBezTo>
                  <a:cubicBezTo>
                    <a:pt x="97411" y="67500"/>
                    <a:pt x="97411" y="67500"/>
                    <a:pt x="97411" y="67500"/>
                  </a:cubicBezTo>
                  <a:cubicBezTo>
                    <a:pt x="96000" y="68250"/>
                    <a:pt x="96000" y="67500"/>
                    <a:pt x="96000" y="67500"/>
                  </a:cubicBezTo>
                  <a:cubicBezTo>
                    <a:pt x="96000" y="67500"/>
                    <a:pt x="96000" y="67500"/>
                    <a:pt x="94588" y="67500"/>
                  </a:cubicBezTo>
                  <a:cubicBezTo>
                    <a:pt x="94588" y="66000"/>
                    <a:pt x="94588" y="66000"/>
                    <a:pt x="94588" y="66000"/>
                  </a:cubicBezTo>
                  <a:cubicBezTo>
                    <a:pt x="94588" y="66000"/>
                    <a:pt x="94588" y="65250"/>
                    <a:pt x="94588" y="65250"/>
                  </a:cubicBezTo>
                  <a:cubicBezTo>
                    <a:pt x="94588" y="64500"/>
                    <a:pt x="93176" y="63000"/>
                    <a:pt x="93176" y="62250"/>
                  </a:cubicBezTo>
                  <a:cubicBezTo>
                    <a:pt x="91764" y="61500"/>
                    <a:pt x="91764" y="61500"/>
                    <a:pt x="91764" y="60750"/>
                  </a:cubicBezTo>
                  <a:cubicBezTo>
                    <a:pt x="91764" y="60750"/>
                    <a:pt x="88941" y="60750"/>
                    <a:pt x="88941" y="60750"/>
                  </a:cubicBezTo>
                  <a:cubicBezTo>
                    <a:pt x="87529" y="60750"/>
                    <a:pt x="86117" y="60750"/>
                    <a:pt x="86117" y="60750"/>
                  </a:cubicBezTo>
                  <a:cubicBezTo>
                    <a:pt x="84705" y="60000"/>
                    <a:pt x="84705" y="59250"/>
                    <a:pt x="86117" y="58500"/>
                  </a:cubicBezTo>
                  <a:cubicBezTo>
                    <a:pt x="86117" y="58500"/>
                    <a:pt x="84705" y="57750"/>
                    <a:pt x="83294" y="57000"/>
                  </a:cubicBezTo>
                  <a:cubicBezTo>
                    <a:pt x="83294" y="57000"/>
                    <a:pt x="80470" y="54750"/>
                    <a:pt x="80470" y="54750"/>
                  </a:cubicBezTo>
                  <a:cubicBezTo>
                    <a:pt x="80470" y="54750"/>
                    <a:pt x="79058" y="54750"/>
                    <a:pt x="79058" y="54000"/>
                  </a:cubicBezTo>
                  <a:cubicBezTo>
                    <a:pt x="77647" y="51000"/>
                    <a:pt x="77647" y="51000"/>
                    <a:pt x="77647" y="51000"/>
                  </a:cubicBezTo>
                  <a:cubicBezTo>
                    <a:pt x="79058" y="50250"/>
                    <a:pt x="79058" y="49500"/>
                    <a:pt x="79058" y="49500"/>
                  </a:cubicBezTo>
                  <a:cubicBezTo>
                    <a:pt x="80470" y="48750"/>
                    <a:pt x="80470" y="48000"/>
                    <a:pt x="80470" y="48000"/>
                  </a:cubicBezTo>
                  <a:cubicBezTo>
                    <a:pt x="80470" y="48000"/>
                    <a:pt x="77647" y="46500"/>
                    <a:pt x="76235" y="46500"/>
                  </a:cubicBezTo>
                  <a:cubicBezTo>
                    <a:pt x="76235" y="46500"/>
                    <a:pt x="73411" y="45000"/>
                    <a:pt x="73411" y="44250"/>
                  </a:cubicBezTo>
                  <a:cubicBezTo>
                    <a:pt x="72000" y="43500"/>
                    <a:pt x="72000" y="42750"/>
                    <a:pt x="72000" y="42750"/>
                  </a:cubicBezTo>
                  <a:cubicBezTo>
                    <a:pt x="73411" y="42000"/>
                    <a:pt x="73411" y="42000"/>
                    <a:pt x="74823" y="42000"/>
                  </a:cubicBezTo>
                  <a:cubicBezTo>
                    <a:pt x="76235" y="41250"/>
                    <a:pt x="76235" y="41250"/>
                    <a:pt x="76235" y="41250"/>
                  </a:cubicBezTo>
                  <a:cubicBezTo>
                    <a:pt x="76235" y="41250"/>
                    <a:pt x="77647" y="40500"/>
                    <a:pt x="77647" y="40500"/>
                  </a:cubicBezTo>
                  <a:cubicBezTo>
                    <a:pt x="77647" y="39750"/>
                    <a:pt x="77647" y="39750"/>
                    <a:pt x="77647" y="39750"/>
                  </a:cubicBezTo>
                  <a:cubicBezTo>
                    <a:pt x="77647" y="39750"/>
                    <a:pt x="76235" y="38250"/>
                    <a:pt x="76235" y="38250"/>
                  </a:cubicBezTo>
                  <a:cubicBezTo>
                    <a:pt x="77647" y="36000"/>
                    <a:pt x="77647" y="36000"/>
                    <a:pt x="77647" y="36000"/>
                  </a:cubicBezTo>
                  <a:cubicBezTo>
                    <a:pt x="76235" y="35250"/>
                    <a:pt x="76235" y="35250"/>
                    <a:pt x="76235" y="35250"/>
                  </a:cubicBezTo>
                  <a:cubicBezTo>
                    <a:pt x="76235" y="32250"/>
                    <a:pt x="76235" y="32250"/>
                    <a:pt x="76235" y="32250"/>
                  </a:cubicBezTo>
                  <a:cubicBezTo>
                    <a:pt x="76235" y="31500"/>
                    <a:pt x="76235" y="31500"/>
                    <a:pt x="76235" y="31500"/>
                  </a:cubicBezTo>
                  <a:cubicBezTo>
                    <a:pt x="76235" y="30750"/>
                    <a:pt x="76235" y="30000"/>
                    <a:pt x="76235" y="30000"/>
                  </a:cubicBezTo>
                  <a:cubicBezTo>
                    <a:pt x="76235" y="29250"/>
                    <a:pt x="77647" y="28500"/>
                    <a:pt x="77647" y="27750"/>
                  </a:cubicBezTo>
                  <a:cubicBezTo>
                    <a:pt x="77647" y="26250"/>
                    <a:pt x="77647" y="26250"/>
                    <a:pt x="77647" y="26250"/>
                  </a:cubicBezTo>
                  <a:cubicBezTo>
                    <a:pt x="79058" y="24750"/>
                    <a:pt x="79058" y="24750"/>
                    <a:pt x="79058" y="24750"/>
                  </a:cubicBezTo>
                  <a:cubicBezTo>
                    <a:pt x="76235" y="22500"/>
                    <a:pt x="76235" y="22500"/>
                    <a:pt x="76235" y="22500"/>
                  </a:cubicBezTo>
                  <a:cubicBezTo>
                    <a:pt x="76235" y="22500"/>
                    <a:pt x="76235" y="22500"/>
                    <a:pt x="74823" y="21750"/>
                  </a:cubicBezTo>
                  <a:cubicBezTo>
                    <a:pt x="74823" y="21000"/>
                    <a:pt x="73411" y="19500"/>
                    <a:pt x="73411" y="19500"/>
                  </a:cubicBezTo>
                  <a:cubicBezTo>
                    <a:pt x="72000" y="18000"/>
                    <a:pt x="72000" y="18000"/>
                    <a:pt x="72000" y="18000"/>
                  </a:cubicBezTo>
                  <a:cubicBezTo>
                    <a:pt x="72000" y="17250"/>
                    <a:pt x="69176" y="15750"/>
                    <a:pt x="69176" y="15750"/>
                  </a:cubicBezTo>
                  <a:cubicBezTo>
                    <a:pt x="69176" y="15000"/>
                    <a:pt x="67764" y="15000"/>
                    <a:pt x="67764" y="15000"/>
                  </a:cubicBezTo>
                  <a:cubicBezTo>
                    <a:pt x="67764" y="14250"/>
                    <a:pt x="67764" y="14250"/>
                    <a:pt x="66352" y="14250"/>
                  </a:cubicBezTo>
                  <a:cubicBezTo>
                    <a:pt x="64941" y="13500"/>
                    <a:pt x="62117" y="12750"/>
                    <a:pt x="62117" y="12750"/>
                  </a:cubicBezTo>
                  <a:cubicBezTo>
                    <a:pt x="59294" y="12750"/>
                    <a:pt x="59294" y="12750"/>
                    <a:pt x="59294" y="12750"/>
                  </a:cubicBezTo>
                  <a:cubicBezTo>
                    <a:pt x="56470" y="11250"/>
                    <a:pt x="56470" y="11250"/>
                    <a:pt x="56470" y="11250"/>
                  </a:cubicBezTo>
                  <a:cubicBezTo>
                    <a:pt x="55058" y="12000"/>
                    <a:pt x="55058" y="12000"/>
                    <a:pt x="55058" y="12000"/>
                  </a:cubicBezTo>
                  <a:cubicBezTo>
                    <a:pt x="50823" y="9000"/>
                    <a:pt x="50823" y="9000"/>
                    <a:pt x="50823" y="9000"/>
                  </a:cubicBezTo>
                  <a:cubicBezTo>
                    <a:pt x="50823" y="6750"/>
                    <a:pt x="50823" y="6750"/>
                    <a:pt x="50823" y="6750"/>
                  </a:cubicBezTo>
                  <a:cubicBezTo>
                    <a:pt x="40941" y="3000"/>
                    <a:pt x="40941" y="3000"/>
                    <a:pt x="40941" y="3000"/>
                  </a:cubicBezTo>
                  <a:cubicBezTo>
                    <a:pt x="39529" y="3750"/>
                    <a:pt x="39529" y="3750"/>
                    <a:pt x="39529" y="3750"/>
                  </a:cubicBezTo>
                  <a:cubicBezTo>
                    <a:pt x="39529" y="3750"/>
                    <a:pt x="38117" y="4500"/>
                    <a:pt x="38117" y="4500"/>
                  </a:cubicBezTo>
                  <a:cubicBezTo>
                    <a:pt x="38117" y="5250"/>
                    <a:pt x="33882" y="5250"/>
                    <a:pt x="33882" y="5250"/>
                  </a:cubicBezTo>
                  <a:cubicBezTo>
                    <a:pt x="32470" y="6750"/>
                    <a:pt x="32470" y="6750"/>
                    <a:pt x="32470" y="6750"/>
                  </a:cubicBezTo>
                  <a:cubicBezTo>
                    <a:pt x="28235" y="7500"/>
                    <a:pt x="28235" y="7500"/>
                    <a:pt x="28235" y="7500"/>
                  </a:cubicBezTo>
                  <a:cubicBezTo>
                    <a:pt x="28235" y="7500"/>
                    <a:pt x="26823" y="7500"/>
                    <a:pt x="26823" y="7500"/>
                  </a:cubicBezTo>
                  <a:cubicBezTo>
                    <a:pt x="26823" y="6750"/>
                    <a:pt x="25411" y="6750"/>
                    <a:pt x="25411" y="6750"/>
                  </a:cubicBezTo>
                  <a:cubicBezTo>
                    <a:pt x="25411" y="6000"/>
                    <a:pt x="25411" y="6000"/>
                    <a:pt x="25411" y="6000"/>
                  </a:cubicBezTo>
                  <a:cubicBezTo>
                    <a:pt x="24000" y="5250"/>
                    <a:pt x="24000" y="4500"/>
                    <a:pt x="24000" y="4500"/>
                  </a:cubicBezTo>
                  <a:cubicBezTo>
                    <a:pt x="24000" y="3750"/>
                    <a:pt x="24000" y="3750"/>
                    <a:pt x="24000" y="3750"/>
                  </a:cubicBezTo>
                  <a:cubicBezTo>
                    <a:pt x="24000" y="3000"/>
                    <a:pt x="24000" y="3000"/>
                    <a:pt x="24000" y="2250"/>
                  </a:cubicBezTo>
                  <a:cubicBezTo>
                    <a:pt x="24000" y="1500"/>
                    <a:pt x="24000" y="1500"/>
                    <a:pt x="24000" y="1500"/>
                  </a:cubicBezTo>
                  <a:cubicBezTo>
                    <a:pt x="21176" y="750"/>
                    <a:pt x="21176" y="750"/>
                    <a:pt x="21176" y="750"/>
                  </a:cubicBezTo>
                  <a:cubicBezTo>
                    <a:pt x="21176" y="750"/>
                    <a:pt x="19764" y="0"/>
                    <a:pt x="19764" y="0"/>
                  </a:cubicBezTo>
                  <a:cubicBezTo>
                    <a:pt x="19764" y="750"/>
                    <a:pt x="16941" y="1500"/>
                    <a:pt x="15529" y="3000"/>
                  </a:cubicBezTo>
                  <a:cubicBezTo>
                    <a:pt x="15529" y="3750"/>
                    <a:pt x="15529" y="3750"/>
                    <a:pt x="15529" y="3750"/>
                  </a:cubicBezTo>
                  <a:cubicBezTo>
                    <a:pt x="12705" y="6750"/>
                    <a:pt x="12705" y="6750"/>
                    <a:pt x="12705" y="6750"/>
                  </a:cubicBezTo>
                  <a:cubicBezTo>
                    <a:pt x="11294" y="9000"/>
                    <a:pt x="11294" y="9000"/>
                    <a:pt x="11294" y="9000"/>
                  </a:cubicBezTo>
                  <a:cubicBezTo>
                    <a:pt x="11294" y="9000"/>
                    <a:pt x="11294" y="9750"/>
                    <a:pt x="9882" y="9750"/>
                  </a:cubicBezTo>
                  <a:cubicBezTo>
                    <a:pt x="9882" y="10500"/>
                    <a:pt x="8470" y="11250"/>
                    <a:pt x="8470" y="11250"/>
                  </a:cubicBezTo>
                  <a:cubicBezTo>
                    <a:pt x="7058" y="11250"/>
                    <a:pt x="7058" y="11250"/>
                    <a:pt x="7058" y="11250"/>
                  </a:cubicBezTo>
                  <a:cubicBezTo>
                    <a:pt x="5647" y="12000"/>
                    <a:pt x="5647" y="12000"/>
                    <a:pt x="5647" y="12000"/>
                  </a:cubicBezTo>
                  <a:cubicBezTo>
                    <a:pt x="7058" y="13500"/>
                    <a:pt x="7058" y="13500"/>
                    <a:pt x="7058" y="13500"/>
                  </a:cubicBezTo>
                  <a:cubicBezTo>
                    <a:pt x="5647" y="13500"/>
                    <a:pt x="5647" y="14250"/>
                    <a:pt x="5647" y="15000"/>
                  </a:cubicBezTo>
                  <a:cubicBezTo>
                    <a:pt x="5647" y="15000"/>
                    <a:pt x="5647" y="15000"/>
                    <a:pt x="4235" y="15750"/>
                  </a:cubicBezTo>
                  <a:cubicBezTo>
                    <a:pt x="4235" y="17250"/>
                    <a:pt x="4235" y="17250"/>
                    <a:pt x="4235" y="17250"/>
                  </a:cubicBezTo>
                  <a:cubicBezTo>
                    <a:pt x="0" y="19500"/>
                    <a:pt x="0" y="19500"/>
                    <a:pt x="0" y="19500"/>
                  </a:cubicBezTo>
                  <a:cubicBezTo>
                    <a:pt x="0" y="20250"/>
                    <a:pt x="0" y="20250"/>
                    <a:pt x="0" y="20250"/>
                  </a:cubicBezTo>
                  <a:cubicBezTo>
                    <a:pt x="1411" y="21000"/>
                    <a:pt x="1411" y="21000"/>
                    <a:pt x="1411" y="21000"/>
                  </a:cubicBezTo>
                  <a:cubicBezTo>
                    <a:pt x="7058" y="22500"/>
                    <a:pt x="7058" y="22500"/>
                    <a:pt x="7058" y="22500"/>
                  </a:cubicBezTo>
                  <a:cubicBezTo>
                    <a:pt x="8470" y="22500"/>
                    <a:pt x="8470" y="23250"/>
                    <a:pt x="8470" y="24000"/>
                  </a:cubicBezTo>
                  <a:cubicBezTo>
                    <a:pt x="8470" y="24000"/>
                    <a:pt x="7058" y="24750"/>
                    <a:pt x="7058" y="24750"/>
                  </a:cubicBezTo>
                  <a:cubicBezTo>
                    <a:pt x="7058" y="26250"/>
                    <a:pt x="7058" y="26250"/>
                    <a:pt x="7058" y="26250"/>
                  </a:cubicBezTo>
                  <a:cubicBezTo>
                    <a:pt x="7058" y="26250"/>
                    <a:pt x="7058" y="27000"/>
                    <a:pt x="7058" y="27000"/>
                  </a:cubicBezTo>
                  <a:cubicBezTo>
                    <a:pt x="7058" y="27000"/>
                    <a:pt x="8470" y="27750"/>
                    <a:pt x="8470" y="27750"/>
                  </a:cubicBezTo>
                  <a:cubicBezTo>
                    <a:pt x="8470" y="28500"/>
                    <a:pt x="7058" y="29250"/>
                    <a:pt x="7058" y="29250"/>
                  </a:cubicBezTo>
                  <a:cubicBezTo>
                    <a:pt x="5647" y="30000"/>
                    <a:pt x="5647" y="30000"/>
                    <a:pt x="5647" y="30000"/>
                  </a:cubicBezTo>
                  <a:cubicBezTo>
                    <a:pt x="7058" y="30750"/>
                    <a:pt x="7058" y="30750"/>
                    <a:pt x="7058" y="30750"/>
                  </a:cubicBezTo>
                  <a:cubicBezTo>
                    <a:pt x="7058" y="30750"/>
                    <a:pt x="7058" y="32250"/>
                    <a:pt x="7058" y="32250"/>
                  </a:cubicBezTo>
                  <a:cubicBezTo>
                    <a:pt x="7058" y="32250"/>
                    <a:pt x="8470" y="33000"/>
                    <a:pt x="9882" y="33000"/>
                  </a:cubicBezTo>
                  <a:cubicBezTo>
                    <a:pt x="9882" y="33000"/>
                    <a:pt x="9882" y="33000"/>
                    <a:pt x="11294" y="33000"/>
                  </a:cubicBezTo>
                  <a:cubicBezTo>
                    <a:pt x="12705" y="33000"/>
                    <a:pt x="12705" y="33000"/>
                    <a:pt x="12705" y="33000"/>
                  </a:cubicBezTo>
                  <a:cubicBezTo>
                    <a:pt x="14117" y="33000"/>
                    <a:pt x="14117" y="33000"/>
                    <a:pt x="14117" y="33000"/>
                  </a:cubicBezTo>
                  <a:cubicBezTo>
                    <a:pt x="19764" y="33750"/>
                    <a:pt x="19764" y="33750"/>
                    <a:pt x="19764" y="33750"/>
                  </a:cubicBezTo>
                  <a:cubicBezTo>
                    <a:pt x="21176" y="34500"/>
                    <a:pt x="21176" y="34500"/>
                    <a:pt x="21176" y="34500"/>
                  </a:cubicBezTo>
                  <a:cubicBezTo>
                    <a:pt x="21176" y="36750"/>
                    <a:pt x="21176" y="36750"/>
                    <a:pt x="21176" y="36750"/>
                  </a:cubicBezTo>
                  <a:cubicBezTo>
                    <a:pt x="22588" y="39000"/>
                    <a:pt x="22588" y="39000"/>
                    <a:pt x="22588" y="39000"/>
                  </a:cubicBezTo>
                  <a:cubicBezTo>
                    <a:pt x="21176" y="40500"/>
                    <a:pt x="21176" y="40500"/>
                    <a:pt x="21176" y="40500"/>
                  </a:cubicBezTo>
                  <a:cubicBezTo>
                    <a:pt x="22588" y="40500"/>
                    <a:pt x="22588" y="40500"/>
                    <a:pt x="22588" y="40500"/>
                  </a:cubicBezTo>
                  <a:cubicBezTo>
                    <a:pt x="22588" y="40500"/>
                    <a:pt x="22588" y="41250"/>
                    <a:pt x="22588" y="41250"/>
                  </a:cubicBezTo>
                  <a:cubicBezTo>
                    <a:pt x="22588" y="42000"/>
                    <a:pt x="22588" y="43500"/>
                    <a:pt x="22588" y="43500"/>
                  </a:cubicBezTo>
                  <a:cubicBezTo>
                    <a:pt x="21176" y="43500"/>
                    <a:pt x="19764" y="44250"/>
                    <a:pt x="18352" y="44250"/>
                  </a:cubicBezTo>
                  <a:cubicBezTo>
                    <a:pt x="16941" y="44250"/>
                    <a:pt x="15529" y="44250"/>
                    <a:pt x="15529" y="44250"/>
                  </a:cubicBezTo>
                  <a:cubicBezTo>
                    <a:pt x="15529" y="45000"/>
                    <a:pt x="15529" y="45000"/>
                    <a:pt x="15529" y="45000"/>
                  </a:cubicBezTo>
                  <a:cubicBezTo>
                    <a:pt x="18352" y="45750"/>
                    <a:pt x="18352" y="45750"/>
                    <a:pt x="18352" y="45750"/>
                  </a:cubicBezTo>
                  <a:cubicBezTo>
                    <a:pt x="19764" y="45750"/>
                    <a:pt x="19764" y="45750"/>
                    <a:pt x="19764" y="45750"/>
                  </a:cubicBezTo>
                  <a:cubicBezTo>
                    <a:pt x="21176" y="46500"/>
                    <a:pt x="21176" y="48000"/>
                    <a:pt x="21176" y="48000"/>
                  </a:cubicBezTo>
                  <a:cubicBezTo>
                    <a:pt x="19764" y="48000"/>
                    <a:pt x="19764" y="48750"/>
                    <a:pt x="19764" y="48750"/>
                  </a:cubicBezTo>
                  <a:cubicBezTo>
                    <a:pt x="18352" y="48750"/>
                    <a:pt x="16941" y="49500"/>
                    <a:pt x="16941" y="49500"/>
                  </a:cubicBezTo>
                  <a:cubicBezTo>
                    <a:pt x="14117" y="51000"/>
                    <a:pt x="14117" y="51000"/>
                    <a:pt x="14117" y="51000"/>
                  </a:cubicBezTo>
                  <a:cubicBezTo>
                    <a:pt x="12705" y="51750"/>
                    <a:pt x="12705" y="51750"/>
                    <a:pt x="12705" y="51750"/>
                  </a:cubicBezTo>
                  <a:cubicBezTo>
                    <a:pt x="14117" y="53250"/>
                    <a:pt x="14117" y="53250"/>
                    <a:pt x="14117" y="53250"/>
                  </a:cubicBezTo>
                  <a:cubicBezTo>
                    <a:pt x="15529" y="53250"/>
                    <a:pt x="15529" y="53250"/>
                    <a:pt x="15529" y="53250"/>
                  </a:cubicBezTo>
                  <a:cubicBezTo>
                    <a:pt x="16941" y="53250"/>
                    <a:pt x="16941" y="53250"/>
                    <a:pt x="16941" y="54000"/>
                  </a:cubicBezTo>
                  <a:cubicBezTo>
                    <a:pt x="16941" y="54000"/>
                    <a:pt x="16941" y="54000"/>
                    <a:pt x="21176" y="54750"/>
                  </a:cubicBezTo>
                  <a:cubicBezTo>
                    <a:pt x="21176" y="56250"/>
                    <a:pt x="21176" y="56250"/>
                    <a:pt x="21176" y="56250"/>
                  </a:cubicBezTo>
                  <a:cubicBezTo>
                    <a:pt x="21176" y="56250"/>
                    <a:pt x="21176" y="57000"/>
                    <a:pt x="21176" y="57750"/>
                  </a:cubicBezTo>
                  <a:cubicBezTo>
                    <a:pt x="21176" y="58500"/>
                    <a:pt x="19764" y="60750"/>
                    <a:pt x="19764" y="60750"/>
                  </a:cubicBezTo>
                  <a:cubicBezTo>
                    <a:pt x="18352" y="62250"/>
                    <a:pt x="18352" y="62250"/>
                    <a:pt x="18352" y="62250"/>
                  </a:cubicBezTo>
                  <a:cubicBezTo>
                    <a:pt x="18352" y="62250"/>
                    <a:pt x="19764" y="63000"/>
                    <a:pt x="19764" y="64500"/>
                  </a:cubicBezTo>
                  <a:cubicBezTo>
                    <a:pt x="18352" y="66750"/>
                    <a:pt x="18352" y="66750"/>
                    <a:pt x="18352" y="66750"/>
                  </a:cubicBezTo>
                  <a:cubicBezTo>
                    <a:pt x="24000" y="67500"/>
                    <a:pt x="24000" y="67500"/>
                    <a:pt x="24000" y="67500"/>
                  </a:cubicBezTo>
                  <a:cubicBezTo>
                    <a:pt x="24000" y="69000"/>
                    <a:pt x="24000" y="69000"/>
                    <a:pt x="24000" y="69000"/>
                  </a:cubicBezTo>
                  <a:cubicBezTo>
                    <a:pt x="19764" y="69750"/>
                    <a:pt x="19764" y="69750"/>
                    <a:pt x="19764" y="69750"/>
                  </a:cubicBezTo>
                  <a:cubicBezTo>
                    <a:pt x="19764" y="69750"/>
                    <a:pt x="18352" y="69750"/>
                    <a:pt x="18352" y="70500"/>
                  </a:cubicBezTo>
                  <a:cubicBezTo>
                    <a:pt x="18352" y="70500"/>
                    <a:pt x="18352" y="71250"/>
                    <a:pt x="18352" y="71250"/>
                  </a:cubicBezTo>
                  <a:cubicBezTo>
                    <a:pt x="21176" y="71250"/>
                    <a:pt x="21176" y="71250"/>
                    <a:pt x="21176" y="71250"/>
                  </a:cubicBezTo>
                  <a:cubicBezTo>
                    <a:pt x="18352" y="72750"/>
                    <a:pt x="18352" y="72750"/>
                    <a:pt x="18352" y="72750"/>
                  </a:cubicBezTo>
                  <a:cubicBezTo>
                    <a:pt x="18352" y="72750"/>
                    <a:pt x="18352" y="74250"/>
                    <a:pt x="18352" y="74250"/>
                  </a:cubicBezTo>
                  <a:cubicBezTo>
                    <a:pt x="18352" y="74250"/>
                    <a:pt x="18352" y="75000"/>
                    <a:pt x="18352" y="75750"/>
                  </a:cubicBezTo>
                  <a:cubicBezTo>
                    <a:pt x="16941" y="75750"/>
                    <a:pt x="16941" y="75750"/>
                    <a:pt x="16941" y="75750"/>
                  </a:cubicBezTo>
                  <a:cubicBezTo>
                    <a:pt x="16941" y="77250"/>
                    <a:pt x="16941" y="77250"/>
                    <a:pt x="16941" y="77250"/>
                  </a:cubicBezTo>
                  <a:cubicBezTo>
                    <a:pt x="15529" y="81000"/>
                    <a:pt x="15529" y="81000"/>
                    <a:pt x="15529" y="81000"/>
                  </a:cubicBezTo>
                  <a:cubicBezTo>
                    <a:pt x="19764" y="85500"/>
                    <a:pt x="19764" y="85500"/>
                    <a:pt x="19764" y="85500"/>
                  </a:cubicBezTo>
                  <a:cubicBezTo>
                    <a:pt x="24000" y="87750"/>
                    <a:pt x="24000" y="87750"/>
                    <a:pt x="24000" y="87750"/>
                  </a:cubicBezTo>
                  <a:cubicBezTo>
                    <a:pt x="26823" y="89250"/>
                    <a:pt x="26823" y="89250"/>
                    <a:pt x="26823" y="89250"/>
                  </a:cubicBezTo>
                  <a:cubicBezTo>
                    <a:pt x="25411" y="91500"/>
                    <a:pt x="25411" y="91500"/>
                    <a:pt x="25411" y="91500"/>
                  </a:cubicBezTo>
                  <a:cubicBezTo>
                    <a:pt x="26823" y="92250"/>
                    <a:pt x="26823" y="92250"/>
                    <a:pt x="26823" y="92250"/>
                  </a:cubicBezTo>
                  <a:cubicBezTo>
                    <a:pt x="26823" y="93750"/>
                    <a:pt x="26823" y="93750"/>
                    <a:pt x="26823" y="93750"/>
                  </a:cubicBezTo>
                  <a:cubicBezTo>
                    <a:pt x="26823" y="93750"/>
                    <a:pt x="26823" y="94500"/>
                    <a:pt x="25411" y="94500"/>
                  </a:cubicBezTo>
                  <a:cubicBezTo>
                    <a:pt x="25411" y="94500"/>
                    <a:pt x="24000" y="94500"/>
                    <a:pt x="24000" y="94500"/>
                  </a:cubicBezTo>
                  <a:cubicBezTo>
                    <a:pt x="22588" y="93750"/>
                    <a:pt x="21176" y="92250"/>
                    <a:pt x="21176" y="92250"/>
                  </a:cubicBezTo>
                  <a:cubicBezTo>
                    <a:pt x="21176" y="92250"/>
                    <a:pt x="19764" y="91500"/>
                    <a:pt x="19764" y="90750"/>
                  </a:cubicBezTo>
                  <a:cubicBezTo>
                    <a:pt x="19764" y="90750"/>
                    <a:pt x="18352" y="90000"/>
                    <a:pt x="18352" y="90000"/>
                  </a:cubicBezTo>
                  <a:cubicBezTo>
                    <a:pt x="15529" y="90000"/>
                    <a:pt x="15529" y="90000"/>
                    <a:pt x="15529" y="90000"/>
                  </a:cubicBezTo>
                  <a:cubicBezTo>
                    <a:pt x="15529" y="90750"/>
                    <a:pt x="15529" y="90750"/>
                    <a:pt x="15529" y="90750"/>
                  </a:cubicBezTo>
                  <a:cubicBezTo>
                    <a:pt x="15529" y="90750"/>
                    <a:pt x="16941" y="91500"/>
                    <a:pt x="16941" y="92250"/>
                  </a:cubicBezTo>
                  <a:cubicBezTo>
                    <a:pt x="18352" y="92250"/>
                    <a:pt x="19764" y="93000"/>
                    <a:pt x="19764" y="93000"/>
                  </a:cubicBezTo>
                  <a:cubicBezTo>
                    <a:pt x="19764" y="93000"/>
                    <a:pt x="21176" y="93750"/>
                    <a:pt x="21176" y="93750"/>
                  </a:cubicBezTo>
                  <a:cubicBezTo>
                    <a:pt x="21176" y="93750"/>
                    <a:pt x="22588" y="96000"/>
                    <a:pt x="22588" y="96000"/>
                  </a:cubicBezTo>
                  <a:cubicBezTo>
                    <a:pt x="38117" y="101250"/>
                    <a:pt x="38117" y="101250"/>
                    <a:pt x="38117" y="101250"/>
                  </a:cubicBezTo>
                  <a:cubicBezTo>
                    <a:pt x="43764" y="102000"/>
                    <a:pt x="43764" y="102000"/>
                    <a:pt x="43764" y="102000"/>
                  </a:cubicBezTo>
                  <a:cubicBezTo>
                    <a:pt x="45176" y="103500"/>
                    <a:pt x="45176" y="103500"/>
                    <a:pt x="45176" y="103500"/>
                  </a:cubicBezTo>
                  <a:cubicBezTo>
                    <a:pt x="46588" y="103500"/>
                    <a:pt x="46588" y="103500"/>
                    <a:pt x="46588" y="103500"/>
                  </a:cubicBezTo>
                  <a:cubicBezTo>
                    <a:pt x="46588" y="103500"/>
                    <a:pt x="48000" y="103500"/>
                    <a:pt x="49411" y="103500"/>
                  </a:cubicBezTo>
                  <a:cubicBezTo>
                    <a:pt x="49411" y="103500"/>
                    <a:pt x="49411" y="103500"/>
                    <a:pt x="49411" y="103500"/>
                  </a:cubicBezTo>
                  <a:cubicBezTo>
                    <a:pt x="49411" y="103500"/>
                    <a:pt x="52235" y="104250"/>
                    <a:pt x="52235" y="104250"/>
                  </a:cubicBezTo>
                  <a:cubicBezTo>
                    <a:pt x="52235" y="104250"/>
                    <a:pt x="53647" y="104250"/>
                    <a:pt x="53647" y="104250"/>
                  </a:cubicBezTo>
                  <a:cubicBezTo>
                    <a:pt x="53647" y="105000"/>
                    <a:pt x="56470" y="107250"/>
                    <a:pt x="57882" y="108750"/>
                  </a:cubicBezTo>
                  <a:cubicBezTo>
                    <a:pt x="57882" y="108750"/>
                    <a:pt x="59294" y="109500"/>
                    <a:pt x="59294" y="110250"/>
                  </a:cubicBezTo>
                  <a:cubicBezTo>
                    <a:pt x="60705" y="110250"/>
                    <a:pt x="63529" y="111000"/>
                    <a:pt x="63529" y="111000"/>
                  </a:cubicBezTo>
                  <a:cubicBezTo>
                    <a:pt x="63529" y="111750"/>
                    <a:pt x="63529" y="112500"/>
                    <a:pt x="63529" y="113250"/>
                  </a:cubicBezTo>
                  <a:cubicBezTo>
                    <a:pt x="63529" y="113250"/>
                    <a:pt x="63529" y="113250"/>
                    <a:pt x="63529" y="114000"/>
                  </a:cubicBezTo>
                  <a:cubicBezTo>
                    <a:pt x="63529" y="114750"/>
                    <a:pt x="64941" y="114750"/>
                    <a:pt x="64941" y="114750"/>
                  </a:cubicBezTo>
                  <a:cubicBezTo>
                    <a:pt x="64941" y="115500"/>
                    <a:pt x="66352" y="116250"/>
                    <a:pt x="66352" y="116250"/>
                  </a:cubicBezTo>
                  <a:cubicBezTo>
                    <a:pt x="66352" y="118500"/>
                    <a:pt x="66352" y="118500"/>
                    <a:pt x="66352" y="118500"/>
                  </a:cubicBezTo>
                  <a:cubicBezTo>
                    <a:pt x="67764" y="118500"/>
                    <a:pt x="67764" y="118500"/>
                    <a:pt x="67764" y="118500"/>
                  </a:cubicBezTo>
                  <a:lnTo>
                    <a:pt x="69176" y="118500"/>
                  </a:lnTo>
                  <a:close/>
                </a:path>
              </a:pathLst>
            </a:custGeom>
            <a:grpFill/>
            <a:ln w="3175" cap="flat" cmpd="sng">
              <a:solidFill>
                <a:schemeClr val="tx1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defTabSz="457178"/>
              <a:endParaRPr kern="0">
                <a:solidFill>
                  <a:srgbClr val="7F7F7F"/>
                </a:solidFill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10" name="Shape 2017">
              <a:extLst>
                <a:ext uri="{FF2B5EF4-FFF2-40B4-BE49-F238E27FC236}">
                  <a16:creationId xmlns:a16="http://schemas.microsoft.com/office/drawing/2014/main" id="{F645A73D-6665-4E89-8F50-9DDC87056DFB}"/>
                </a:ext>
              </a:extLst>
            </p:cNvPr>
            <p:cNvSpPr/>
            <p:nvPr/>
          </p:nvSpPr>
          <p:spPr>
            <a:xfrm>
              <a:off x="5810958" y="3583492"/>
              <a:ext cx="177008" cy="196037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64615" y="117303"/>
                  </a:moveTo>
                  <a:cubicBezTo>
                    <a:pt x="64615" y="117303"/>
                    <a:pt x="72307" y="120000"/>
                    <a:pt x="70769" y="120000"/>
                  </a:cubicBezTo>
                  <a:cubicBezTo>
                    <a:pt x="70769" y="120000"/>
                    <a:pt x="70769" y="120000"/>
                    <a:pt x="70769" y="118651"/>
                  </a:cubicBezTo>
                  <a:cubicBezTo>
                    <a:pt x="70769" y="118651"/>
                    <a:pt x="69230" y="120000"/>
                    <a:pt x="69230" y="120000"/>
                  </a:cubicBezTo>
                  <a:cubicBezTo>
                    <a:pt x="69230" y="120000"/>
                    <a:pt x="66153" y="117303"/>
                    <a:pt x="67692" y="117303"/>
                  </a:cubicBezTo>
                  <a:cubicBezTo>
                    <a:pt x="67692" y="117303"/>
                    <a:pt x="67692" y="115955"/>
                    <a:pt x="67692" y="115955"/>
                  </a:cubicBezTo>
                  <a:cubicBezTo>
                    <a:pt x="67692" y="114606"/>
                    <a:pt x="66153" y="113258"/>
                    <a:pt x="66153" y="113258"/>
                  </a:cubicBezTo>
                  <a:cubicBezTo>
                    <a:pt x="67692" y="111910"/>
                    <a:pt x="67692" y="111910"/>
                    <a:pt x="67692" y="111910"/>
                  </a:cubicBezTo>
                  <a:cubicBezTo>
                    <a:pt x="67692" y="111910"/>
                    <a:pt x="67692" y="109213"/>
                    <a:pt x="67692" y="109213"/>
                  </a:cubicBezTo>
                  <a:cubicBezTo>
                    <a:pt x="67692" y="109213"/>
                    <a:pt x="67692" y="107865"/>
                    <a:pt x="67692" y="107865"/>
                  </a:cubicBezTo>
                  <a:cubicBezTo>
                    <a:pt x="67692" y="107865"/>
                    <a:pt x="66153" y="106516"/>
                    <a:pt x="66153" y="106516"/>
                  </a:cubicBezTo>
                  <a:cubicBezTo>
                    <a:pt x="67692" y="103820"/>
                    <a:pt x="67692" y="103820"/>
                    <a:pt x="67692" y="103820"/>
                  </a:cubicBezTo>
                  <a:cubicBezTo>
                    <a:pt x="67692" y="103820"/>
                    <a:pt x="67692" y="102471"/>
                    <a:pt x="67692" y="102471"/>
                  </a:cubicBezTo>
                  <a:cubicBezTo>
                    <a:pt x="67692" y="101123"/>
                    <a:pt x="67692" y="99775"/>
                    <a:pt x="67692" y="99775"/>
                  </a:cubicBezTo>
                  <a:cubicBezTo>
                    <a:pt x="64615" y="98426"/>
                    <a:pt x="64615" y="98426"/>
                    <a:pt x="64615" y="98426"/>
                  </a:cubicBezTo>
                  <a:cubicBezTo>
                    <a:pt x="61538" y="97078"/>
                    <a:pt x="61538" y="97078"/>
                    <a:pt x="61538" y="97078"/>
                  </a:cubicBezTo>
                  <a:cubicBezTo>
                    <a:pt x="60000" y="95730"/>
                    <a:pt x="60000" y="95730"/>
                    <a:pt x="60000" y="95730"/>
                  </a:cubicBezTo>
                  <a:cubicBezTo>
                    <a:pt x="60000" y="93033"/>
                    <a:pt x="60000" y="93033"/>
                    <a:pt x="60000" y="93033"/>
                  </a:cubicBezTo>
                  <a:cubicBezTo>
                    <a:pt x="63076" y="90337"/>
                    <a:pt x="63076" y="90337"/>
                    <a:pt x="63076" y="90337"/>
                  </a:cubicBezTo>
                  <a:cubicBezTo>
                    <a:pt x="64615" y="87640"/>
                    <a:pt x="64615" y="87640"/>
                    <a:pt x="64615" y="87640"/>
                  </a:cubicBezTo>
                  <a:cubicBezTo>
                    <a:pt x="64615" y="87640"/>
                    <a:pt x="66153" y="86292"/>
                    <a:pt x="66153" y="86292"/>
                  </a:cubicBezTo>
                  <a:cubicBezTo>
                    <a:pt x="66153" y="84943"/>
                    <a:pt x="66153" y="83595"/>
                    <a:pt x="66153" y="83595"/>
                  </a:cubicBezTo>
                  <a:cubicBezTo>
                    <a:pt x="66153" y="80898"/>
                    <a:pt x="66153" y="80898"/>
                    <a:pt x="66153" y="80898"/>
                  </a:cubicBezTo>
                  <a:cubicBezTo>
                    <a:pt x="67692" y="79550"/>
                    <a:pt x="67692" y="79550"/>
                    <a:pt x="67692" y="79550"/>
                  </a:cubicBezTo>
                  <a:cubicBezTo>
                    <a:pt x="69230" y="78202"/>
                    <a:pt x="69230" y="78202"/>
                    <a:pt x="69230" y="78202"/>
                  </a:cubicBezTo>
                  <a:cubicBezTo>
                    <a:pt x="69230" y="78202"/>
                    <a:pt x="70769" y="76853"/>
                    <a:pt x="70769" y="76853"/>
                  </a:cubicBezTo>
                  <a:cubicBezTo>
                    <a:pt x="70769" y="75505"/>
                    <a:pt x="72307" y="74157"/>
                    <a:pt x="72307" y="74157"/>
                  </a:cubicBezTo>
                  <a:cubicBezTo>
                    <a:pt x="73846" y="71460"/>
                    <a:pt x="73846" y="71460"/>
                    <a:pt x="73846" y="71460"/>
                  </a:cubicBezTo>
                  <a:cubicBezTo>
                    <a:pt x="75384" y="68764"/>
                    <a:pt x="75384" y="68764"/>
                    <a:pt x="75384" y="68764"/>
                  </a:cubicBezTo>
                  <a:cubicBezTo>
                    <a:pt x="76923" y="66067"/>
                    <a:pt x="76923" y="66067"/>
                    <a:pt x="76923" y="66067"/>
                  </a:cubicBezTo>
                  <a:cubicBezTo>
                    <a:pt x="75384" y="64719"/>
                    <a:pt x="75384" y="64719"/>
                    <a:pt x="75384" y="64719"/>
                  </a:cubicBezTo>
                  <a:cubicBezTo>
                    <a:pt x="75384" y="64719"/>
                    <a:pt x="81538" y="59325"/>
                    <a:pt x="81538" y="59325"/>
                  </a:cubicBezTo>
                  <a:cubicBezTo>
                    <a:pt x="81538" y="59325"/>
                    <a:pt x="84615" y="59325"/>
                    <a:pt x="84615" y="59325"/>
                  </a:cubicBezTo>
                  <a:cubicBezTo>
                    <a:pt x="84615" y="60674"/>
                    <a:pt x="84615" y="60674"/>
                    <a:pt x="84615" y="60674"/>
                  </a:cubicBezTo>
                  <a:cubicBezTo>
                    <a:pt x="86153" y="62022"/>
                    <a:pt x="86153" y="62022"/>
                    <a:pt x="86153" y="62022"/>
                  </a:cubicBezTo>
                  <a:cubicBezTo>
                    <a:pt x="86153" y="63370"/>
                    <a:pt x="86153" y="63370"/>
                    <a:pt x="86153" y="63370"/>
                  </a:cubicBezTo>
                  <a:cubicBezTo>
                    <a:pt x="86153" y="63370"/>
                    <a:pt x="86153" y="64719"/>
                    <a:pt x="86153" y="66067"/>
                  </a:cubicBezTo>
                  <a:cubicBezTo>
                    <a:pt x="86153" y="66067"/>
                    <a:pt x="86153" y="67415"/>
                    <a:pt x="86153" y="67415"/>
                  </a:cubicBezTo>
                  <a:cubicBezTo>
                    <a:pt x="86153" y="67415"/>
                    <a:pt x="87692" y="68764"/>
                    <a:pt x="87692" y="68764"/>
                  </a:cubicBezTo>
                  <a:cubicBezTo>
                    <a:pt x="87692" y="70112"/>
                    <a:pt x="89230" y="71460"/>
                    <a:pt x="89230" y="71460"/>
                  </a:cubicBezTo>
                  <a:cubicBezTo>
                    <a:pt x="89230" y="71460"/>
                    <a:pt x="89230" y="71460"/>
                    <a:pt x="90769" y="71460"/>
                  </a:cubicBezTo>
                  <a:cubicBezTo>
                    <a:pt x="90769" y="72808"/>
                    <a:pt x="90769" y="72808"/>
                    <a:pt x="90769" y="72808"/>
                  </a:cubicBezTo>
                  <a:cubicBezTo>
                    <a:pt x="93846" y="71460"/>
                    <a:pt x="93846" y="71460"/>
                    <a:pt x="93846" y="71460"/>
                  </a:cubicBezTo>
                  <a:cubicBezTo>
                    <a:pt x="96923" y="68764"/>
                    <a:pt x="96923" y="68764"/>
                    <a:pt x="96923" y="68764"/>
                  </a:cubicBezTo>
                  <a:cubicBezTo>
                    <a:pt x="96923" y="68764"/>
                    <a:pt x="101538" y="67415"/>
                    <a:pt x="101538" y="67415"/>
                  </a:cubicBezTo>
                  <a:cubicBezTo>
                    <a:pt x="101538" y="67415"/>
                    <a:pt x="103076" y="64719"/>
                    <a:pt x="103076" y="64719"/>
                  </a:cubicBezTo>
                  <a:cubicBezTo>
                    <a:pt x="104615" y="64719"/>
                    <a:pt x="104615" y="64719"/>
                    <a:pt x="104615" y="64719"/>
                  </a:cubicBezTo>
                  <a:cubicBezTo>
                    <a:pt x="104615" y="64719"/>
                    <a:pt x="104615" y="64719"/>
                    <a:pt x="104615" y="64719"/>
                  </a:cubicBezTo>
                  <a:cubicBezTo>
                    <a:pt x="103076" y="62022"/>
                    <a:pt x="106153" y="59325"/>
                    <a:pt x="104615" y="56629"/>
                  </a:cubicBezTo>
                  <a:cubicBezTo>
                    <a:pt x="104615" y="56629"/>
                    <a:pt x="103076" y="55280"/>
                    <a:pt x="103076" y="55280"/>
                  </a:cubicBezTo>
                  <a:cubicBezTo>
                    <a:pt x="103076" y="55280"/>
                    <a:pt x="103076" y="55280"/>
                    <a:pt x="103076" y="55280"/>
                  </a:cubicBezTo>
                  <a:cubicBezTo>
                    <a:pt x="103076" y="55280"/>
                    <a:pt x="103076" y="55280"/>
                    <a:pt x="103076" y="55280"/>
                  </a:cubicBezTo>
                  <a:cubicBezTo>
                    <a:pt x="100000" y="52584"/>
                    <a:pt x="95384" y="51235"/>
                    <a:pt x="96923" y="51235"/>
                  </a:cubicBezTo>
                  <a:cubicBezTo>
                    <a:pt x="98461" y="48539"/>
                    <a:pt x="104615" y="49887"/>
                    <a:pt x="107692" y="48539"/>
                  </a:cubicBezTo>
                  <a:cubicBezTo>
                    <a:pt x="109230" y="48539"/>
                    <a:pt x="109230" y="45842"/>
                    <a:pt x="110769" y="44494"/>
                  </a:cubicBezTo>
                  <a:cubicBezTo>
                    <a:pt x="112307" y="44494"/>
                    <a:pt x="115384" y="45842"/>
                    <a:pt x="115384" y="43146"/>
                  </a:cubicBezTo>
                  <a:cubicBezTo>
                    <a:pt x="115384" y="40449"/>
                    <a:pt x="118461" y="40449"/>
                    <a:pt x="120000" y="41797"/>
                  </a:cubicBezTo>
                  <a:cubicBezTo>
                    <a:pt x="120000" y="41797"/>
                    <a:pt x="120000" y="41797"/>
                    <a:pt x="120000" y="41797"/>
                  </a:cubicBezTo>
                  <a:cubicBezTo>
                    <a:pt x="118461" y="39101"/>
                    <a:pt x="113846" y="36404"/>
                    <a:pt x="112307" y="35056"/>
                  </a:cubicBezTo>
                  <a:cubicBezTo>
                    <a:pt x="112307" y="35056"/>
                    <a:pt x="112307" y="33707"/>
                    <a:pt x="109230" y="33707"/>
                  </a:cubicBezTo>
                  <a:cubicBezTo>
                    <a:pt x="107692" y="33707"/>
                    <a:pt x="104615" y="31011"/>
                    <a:pt x="104615" y="31011"/>
                  </a:cubicBezTo>
                  <a:cubicBezTo>
                    <a:pt x="100000" y="31011"/>
                    <a:pt x="100000" y="31011"/>
                    <a:pt x="100000" y="31011"/>
                  </a:cubicBezTo>
                  <a:cubicBezTo>
                    <a:pt x="100000" y="31011"/>
                    <a:pt x="95384" y="26966"/>
                    <a:pt x="95384" y="26966"/>
                  </a:cubicBezTo>
                  <a:cubicBezTo>
                    <a:pt x="93846" y="26966"/>
                    <a:pt x="89230" y="25617"/>
                    <a:pt x="89230" y="25617"/>
                  </a:cubicBezTo>
                  <a:cubicBezTo>
                    <a:pt x="89230" y="22921"/>
                    <a:pt x="89230" y="22921"/>
                    <a:pt x="89230" y="22921"/>
                  </a:cubicBezTo>
                  <a:cubicBezTo>
                    <a:pt x="89230" y="22921"/>
                    <a:pt x="87692" y="22921"/>
                    <a:pt x="87692" y="22921"/>
                  </a:cubicBezTo>
                  <a:cubicBezTo>
                    <a:pt x="86153" y="22921"/>
                    <a:pt x="84615" y="24269"/>
                    <a:pt x="84615" y="24269"/>
                  </a:cubicBezTo>
                  <a:cubicBezTo>
                    <a:pt x="80000" y="25617"/>
                    <a:pt x="80000" y="25617"/>
                    <a:pt x="80000" y="25617"/>
                  </a:cubicBezTo>
                  <a:cubicBezTo>
                    <a:pt x="80000" y="25617"/>
                    <a:pt x="76923" y="25617"/>
                    <a:pt x="76923" y="25617"/>
                  </a:cubicBezTo>
                  <a:cubicBezTo>
                    <a:pt x="75384" y="24269"/>
                    <a:pt x="73846" y="21573"/>
                    <a:pt x="73846" y="21573"/>
                  </a:cubicBezTo>
                  <a:cubicBezTo>
                    <a:pt x="73846" y="21573"/>
                    <a:pt x="73846" y="21573"/>
                    <a:pt x="72307" y="21573"/>
                  </a:cubicBezTo>
                  <a:cubicBezTo>
                    <a:pt x="70769" y="22921"/>
                    <a:pt x="73846" y="24269"/>
                    <a:pt x="70769" y="22921"/>
                  </a:cubicBezTo>
                  <a:cubicBezTo>
                    <a:pt x="66153" y="21573"/>
                    <a:pt x="66153" y="21573"/>
                    <a:pt x="66153" y="21573"/>
                  </a:cubicBezTo>
                  <a:cubicBezTo>
                    <a:pt x="63076" y="18876"/>
                    <a:pt x="63076" y="18876"/>
                    <a:pt x="63076" y="18876"/>
                  </a:cubicBezTo>
                  <a:cubicBezTo>
                    <a:pt x="61538" y="18876"/>
                    <a:pt x="61538" y="18876"/>
                    <a:pt x="61538" y="18876"/>
                  </a:cubicBezTo>
                  <a:cubicBezTo>
                    <a:pt x="60000" y="18876"/>
                    <a:pt x="60000" y="18876"/>
                    <a:pt x="60000" y="18876"/>
                  </a:cubicBezTo>
                  <a:cubicBezTo>
                    <a:pt x="60000" y="18876"/>
                    <a:pt x="58461" y="16179"/>
                    <a:pt x="58461" y="16179"/>
                  </a:cubicBezTo>
                  <a:cubicBezTo>
                    <a:pt x="58461" y="16179"/>
                    <a:pt x="58461" y="13483"/>
                    <a:pt x="58461" y="13483"/>
                  </a:cubicBezTo>
                  <a:cubicBezTo>
                    <a:pt x="56923" y="13483"/>
                    <a:pt x="52307" y="12134"/>
                    <a:pt x="52307" y="12134"/>
                  </a:cubicBezTo>
                  <a:cubicBezTo>
                    <a:pt x="50769" y="9438"/>
                    <a:pt x="50769" y="9438"/>
                    <a:pt x="50769" y="9438"/>
                  </a:cubicBezTo>
                  <a:cubicBezTo>
                    <a:pt x="50769" y="9438"/>
                    <a:pt x="50769" y="9438"/>
                    <a:pt x="50769" y="9438"/>
                  </a:cubicBezTo>
                  <a:cubicBezTo>
                    <a:pt x="49230" y="9438"/>
                    <a:pt x="46153" y="8089"/>
                    <a:pt x="46153" y="8089"/>
                  </a:cubicBezTo>
                  <a:cubicBezTo>
                    <a:pt x="44615" y="6741"/>
                    <a:pt x="44615" y="6741"/>
                    <a:pt x="44615" y="6741"/>
                  </a:cubicBezTo>
                  <a:cubicBezTo>
                    <a:pt x="40000" y="6741"/>
                    <a:pt x="40000" y="6741"/>
                    <a:pt x="40000" y="6741"/>
                  </a:cubicBezTo>
                  <a:cubicBezTo>
                    <a:pt x="38461" y="4044"/>
                    <a:pt x="38461" y="4044"/>
                    <a:pt x="38461" y="4044"/>
                  </a:cubicBezTo>
                  <a:cubicBezTo>
                    <a:pt x="38461" y="4044"/>
                    <a:pt x="36923" y="2696"/>
                    <a:pt x="36923" y="2696"/>
                  </a:cubicBezTo>
                  <a:cubicBezTo>
                    <a:pt x="38461" y="2696"/>
                    <a:pt x="38461" y="0"/>
                    <a:pt x="38461" y="0"/>
                  </a:cubicBezTo>
                  <a:cubicBezTo>
                    <a:pt x="35384" y="0"/>
                    <a:pt x="35384" y="0"/>
                    <a:pt x="35384" y="0"/>
                  </a:cubicBezTo>
                  <a:cubicBezTo>
                    <a:pt x="35384" y="0"/>
                    <a:pt x="32307" y="1348"/>
                    <a:pt x="32307" y="1348"/>
                  </a:cubicBezTo>
                  <a:cubicBezTo>
                    <a:pt x="32307" y="1348"/>
                    <a:pt x="30769" y="2696"/>
                    <a:pt x="30769" y="2696"/>
                  </a:cubicBezTo>
                  <a:cubicBezTo>
                    <a:pt x="29230" y="2696"/>
                    <a:pt x="29230" y="2696"/>
                    <a:pt x="29230" y="2696"/>
                  </a:cubicBezTo>
                  <a:cubicBezTo>
                    <a:pt x="27692" y="1348"/>
                    <a:pt x="27692" y="1348"/>
                    <a:pt x="27692" y="1348"/>
                  </a:cubicBezTo>
                  <a:cubicBezTo>
                    <a:pt x="26153" y="0"/>
                    <a:pt x="26153" y="0"/>
                    <a:pt x="26153" y="0"/>
                  </a:cubicBezTo>
                  <a:cubicBezTo>
                    <a:pt x="23076" y="2696"/>
                    <a:pt x="23076" y="2696"/>
                    <a:pt x="23076" y="2696"/>
                  </a:cubicBezTo>
                  <a:cubicBezTo>
                    <a:pt x="21538" y="4044"/>
                    <a:pt x="21538" y="4044"/>
                    <a:pt x="21538" y="4044"/>
                  </a:cubicBezTo>
                  <a:cubicBezTo>
                    <a:pt x="21538" y="4044"/>
                    <a:pt x="21538" y="5393"/>
                    <a:pt x="21538" y="5393"/>
                  </a:cubicBezTo>
                  <a:cubicBezTo>
                    <a:pt x="21538" y="5393"/>
                    <a:pt x="24615" y="5393"/>
                    <a:pt x="24615" y="5393"/>
                  </a:cubicBezTo>
                  <a:cubicBezTo>
                    <a:pt x="24615" y="8089"/>
                    <a:pt x="24615" y="8089"/>
                    <a:pt x="24615" y="8089"/>
                  </a:cubicBezTo>
                  <a:cubicBezTo>
                    <a:pt x="24615" y="8089"/>
                    <a:pt x="24615" y="8089"/>
                    <a:pt x="26153" y="8089"/>
                  </a:cubicBezTo>
                  <a:cubicBezTo>
                    <a:pt x="26153" y="8089"/>
                    <a:pt x="27692" y="9438"/>
                    <a:pt x="27692" y="9438"/>
                  </a:cubicBezTo>
                  <a:cubicBezTo>
                    <a:pt x="29230" y="10786"/>
                    <a:pt x="29230" y="10786"/>
                    <a:pt x="29230" y="10786"/>
                  </a:cubicBezTo>
                  <a:cubicBezTo>
                    <a:pt x="29230" y="13483"/>
                    <a:pt x="29230" y="13483"/>
                    <a:pt x="29230" y="13483"/>
                  </a:cubicBezTo>
                  <a:cubicBezTo>
                    <a:pt x="32307" y="14831"/>
                    <a:pt x="32307" y="14831"/>
                    <a:pt x="32307" y="14831"/>
                  </a:cubicBezTo>
                  <a:cubicBezTo>
                    <a:pt x="32307" y="17528"/>
                    <a:pt x="32307" y="17528"/>
                    <a:pt x="32307" y="17528"/>
                  </a:cubicBezTo>
                  <a:cubicBezTo>
                    <a:pt x="30769" y="18876"/>
                    <a:pt x="30769" y="18876"/>
                    <a:pt x="30769" y="18876"/>
                  </a:cubicBezTo>
                  <a:cubicBezTo>
                    <a:pt x="29230" y="20224"/>
                    <a:pt x="29230" y="20224"/>
                    <a:pt x="29230" y="20224"/>
                  </a:cubicBezTo>
                  <a:cubicBezTo>
                    <a:pt x="26153" y="20224"/>
                    <a:pt x="26153" y="20224"/>
                    <a:pt x="26153" y="20224"/>
                  </a:cubicBezTo>
                  <a:cubicBezTo>
                    <a:pt x="26153" y="18876"/>
                    <a:pt x="26153" y="18876"/>
                    <a:pt x="26153" y="18876"/>
                  </a:cubicBezTo>
                  <a:cubicBezTo>
                    <a:pt x="24615" y="16179"/>
                    <a:pt x="24615" y="16179"/>
                    <a:pt x="24615" y="16179"/>
                  </a:cubicBezTo>
                  <a:cubicBezTo>
                    <a:pt x="23076" y="14831"/>
                    <a:pt x="23076" y="14831"/>
                    <a:pt x="23076" y="14831"/>
                  </a:cubicBezTo>
                  <a:cubicBezTo>
                    <a:pt x="18461" y="16179"/>
                    <a:pt x="18461" y="16179"/>
                    <a:pt x="18461" y="16179"/>
                  </a:cubicBezTo>
                  <a:cubicBezTo>
                    <a:pt x="18461" y="18876"/>
                    <a:pt x="18461" y="18876"/>
                    <a:pt x="18461" y="18876"/>
                  </a:cubicBezTo>
                  <a:cubicBezTo>
                    <a:pt x="10769" y="24269"/>
                    <a:pt x="10769" y="24269"/>
                    <a:pt x="10769" y="24269"/>
                  </a:cubicBezTo>
                  <a:cubicBezTo>
                    <a:pt x="12307" y="26966"/>
                    <a:pt x="12307" y="26966"/>
                    <a:pt x="12307" y="26966"/>
                  </a:cubicBezTo>
                  <a:cubicBezTo>
                    <a:pt x="9230" y="29662"/>
                    <a:pt x="9230" y="29662"/>
                    <a:pt x="9230" y="29662"/>
                  </a:cubicBezTo>
                  <a:cubicBezTo>
                    <a:pt x="9230" y="33707"/>
                    <a:pt x="9230" y="33707"/>
                    <a:pt x="9230" y="33707"/>
                  </a:cubicBezTo>
                  <a:cubicBezTo>
                    <a:pt x="10769" y="37752"/>
                    <a:pt x="10769" y="37752"/>
                    <a:pt x="10769" y="37752"/>
                  </a:cubicBezTo>
                  <a:cubicBezTo>
                    <a:pt x="10769" y="40449"/>
                    <a:pt x="10769" y="40449"/>
                    <a:pt x="10769" y="40449"/>
                  </a:cubicBezTo>
                  <a:cubicBezTo>
                    <a:pt x="4615" y="41797"/>
                    <a:pt x="4615" y="41797"/>
                    <a:pt x="4615" y="41797"/>
                  </a:cubicBezTo>
                  <a:cubicBezTo>
                    <a:pt x="0" y="43146"/>
                    <a:pt x="0" y="43146"/>
                    <a:pt x="0" y="43146"/>
                  </a:cubicBezTo>
                  <a:cubicBezTo>
                    <a:pt x="0" y="47191"/>
                    <a:pt x="0" y="47191"/>
                    <a:pt x="0" y="47191"/>
                  </a:cubicBezTo>
                  <a:cubicBezTo>
                    <a:pt x="0" y="48539"/>
                    <a:pt x="0" y="48539"/>
                    <a:pt x="0" y="48539"/>
                  </a:cubicBezTo>
                  <a:cubicBezTo>
                    <a:pt x="4615" y="53932"/>
                    <a:pt x="4615" y="53932"/>
                    <a:pt x="4615" y="53932"/>
                  </a:cubicBezTo>
                  <a:cubicBezTo>
                    <a:pt x="3076" y="55280"/>
                    <a:pt x="3076" y="55280"/>
                    <a:pt x="3076" y="55280"/>
                  </a:cubicBezTo>
                  <a:cubicBezTo>
                    <a:pt x="1538" y="56629"/>
                    <a:pt x="1538" y="56629"/>
                    <a:pt x="1538" y="56629"/>
                  </a:cubicBezTo>
                  <a:cubicBezTo>
                    <a:pt x="6153" y="62022"/>
                    <a:pt x="6153" y="62022"/>
                    <a:pt x="6153" y="62022"/>
                  </a:cubicBezTo>
                  <a:cubicBezTo>
                    <a:pt x="7692" y="63370"/>
                    <a:pt x="7692" y="63370"/>
                    <a:pt x="7692" y="63370"/>
                  </a:cubicBezTo>
                  <a:cubicBezTo>
                    <a:pt x="10769" y="63370"/>
                    <a:pt x="10769" y="63370"/>
                    <a:pt x="10769" y="63370"/>
                  </a:cubicBezTo>
                  <a:cubicBezTo>
                    <a:pt x="10769" y="66067"/>
                    <a:pt x="10769" y="66067"/>
                    <a:pt x="10769" y="66067"/>
                  </a:cubicBezTo>
                  <a:cubicBezTo>
                    <a:pt x="10769" y="67415"/>
                    <a:pt x="10769" y="67415"/>
                    <a:pt x="10769" y="67415"/>
                  </a:cubicBezTo>
                  <a:cubicBezTo>
                    <a:pt x="10769" y="70112"/>
                    <a:pt x="10769" y="70112"/>
                    <a:pt x="10769" y="70112"/>
                  </a:cubicBezTo>
                  <a:cubicBezTo>
                    <a:pt x="7692" y="72808"/>
                    <a:pt x="7692" y="72808"/>
                    <a:pt x="7692" y="72808"/>
                  </a:cubicBezTo>
                  <a:cubicBezTo>
                    <a:pt x="9230" y="75505"/>
                    <a:pt x="9230" y="75505"/>
                    <a:pt x="9230" y="75505"/>
                  </a:cubicBezTo>
                  <a:cubicBezTo>
                    <a:pt x="6153" y="74157"/>
                    <a:pt x="6153" y="74157"/>
                    <a:pt x="6153" y="74157"/>
                  </a:cubicBezTo>
                  <a:cubicBezTo>
                    <a:pt x="4615" y="76853"/>
                    <a:pt x="4615" y="76853"/>
                    <a:pt x="4615" y="76853"/>
                  </a:cubicBezTo>
                  <a:cubicBezTo>
                    <a:pt x="6153" y="78202"/>
                    <a:pt x="6153" y="78202"/>
                    <a:pt x="6153" y="78202"/>
                  </a:cubicBezTo>
                  <a:cubicBezTo>
                    <a:pt x="4615" y="79550"/>
                    <a:pt x="4615" y="79550"/>
                    <a:pt x="4615" y="79550"/>
                  </a:cubicBezTo>
                  <a:cubicBezTo>
                    <a:pt x="7692" y="82247"/>
                    <a:pt x="7692" y="82247"/>
                    <a:pt x="7692" y="82247"/>
                  </a:cubicBezTo>
                  <a:cubicBezTo>
                    <a:pt x="13846" y="83595"/>
                    <a:pt x="13846" y="83595"/>
                    <a:pt x="13846" y="83595"/>
                  </a:cubicBezTo>
                  <a:cubicBezTo>
                    <a:pt x="16923" y="82247"/>
                    <a:pt x="16923" y="82247"/>
                    <a:pt x="16923" y="82247"/>
                  </a:cubicBezTo>
                  <a:cubicBezTo>
                    <a:pt x="18461" y="80898"/>
                    <a:pt x="18461" y="80898"/>
                    <a:pt x="18461" y="80898"/>
                  </a:cubicBezTo>
                  <a:cubicBezTo>
                    <a:pt x="16923" y="79550"/>
                    <a:pt x="16923" y="79550"/>
                    <a:pt x="16923" y="79550"/>
                  </a:cubicBezTo>
                  <a:cubicBezTo>
                    <a:pt x="16923" y="79550"/>
                    <a:pt x="16923" y="78202"/>
                    <a:pt x="18461" y="78202"/>
                  </a:cubicBezTo>
                  <a:cubicBezTo>
                    <a:pt x="18461" y="76853"/>
                    <a:pt x="20000" y="76853"/>
                    <a:pt x="20000" y="76853"/>
                  </a:cubicBezTo>
                  <a:cubicBezTo>
                    <a:pt x="20000" y="78202"/>
                    <a:pt x="20000" y="78202"/>
                    <a:pt x="20000" y="78202"/>
                  </a:cubicBezTo>
                  <a:cubicBezTo>
                    <a:pt x="24615" y="78202"/>
                    <a:pt x="24615" y="78202"/>
                    <a:pt x="24615" y="78202"/>
                  </a:cubicBezTo>
                  <a:cubicBezTo>
                    <a:pt x="24615" y="80898"/>
                    <a:pt x="24615" y="80898"/>
                    <a:pt x="24615" y="80898"/>
                  </a:cubicBezTo>
                  <a:cubicBezTo>
                    <a:pt x="23076" y="82247"/>
                    <a:pt x="23076" y="82247"/>
                    <a:pt x="23076" y="82247"/>
                  </a:cubicBezTo>
                  <a:cubicBezTo>
                    <a:pt x="21538" y="80898"/>
                    <a:pt x="21538" y="80898"/>
                    <a:pt x="21538" y="80898"/>
                  </a:cubicBezTo>
                  <a:cubicBezTo>
                    <a:pt x="21538" y="80898"/>
                    <a:pt x="21538" y="82247"/>
                    <a:pt x="21538" y="82247"/>
                  </a:cubicBezTo>
                  <a:cubicBezTo>
                    <a:pt x="21538" y="82247"/>
                    <a:pt x="21538" y="86292"/>
                    <a:pt x="21538" y="86292"/>
                  </a:cubicBezTo>
                  <a:cubicBezTo>
                    <a:pt x="21538" y="86292"/>
                    <a:pt x="21538" y="87640"/>
                    <a:pt x="20000" y="86292"/>
                  </a:cubicBezTo>
                  <a:cubicBezTo>
                    <a:pt x="20000" y="86292"/>
                    <a:pt x="18461" y="84943"/>
                    <a:pt x="18461" y="84943"/>
                  </a:cubicBezTo>
                  <a:cubicBezTo>
                    <a:pt x="13846" y="83595"/>
                    <a:pt x="13846" y="83595"/>
                    <a:pt x="13846" y="83595"/>
                  </a:cubicBezTo>
                  <a:cubicBezTo>
                    <a:pt x="12307" y="84943"/>
                    <a:pt x="12307" y="84943"/>
                    <a:pt x="12307" y="84943"/>
                  </a:cubicBezTo>
                  <a:cubicBezTo>
                    <a:pt x="12307" y="84943"/>
                    <a:pt x="12307" y="86292"/>
                    <a:pt x="12307" y="87640"/>
                  </a:cubicBezTo>
                  <a:cubicBezTo>
                    <a:pt x="13846" y="87640"/>
                    <a:pt x="15384" y="87640"/>
                    <a:pt x="15384" y="87640"/>
                  </a:cubicBezTo>
                  <a:cubicBezTo>
                    <a:pt x="15384" y="87640"/>
                    <a:pt x="18461" y="87640"/>
                    <a:pt x="18461" y="87640"/>
                  </a:cubicBezTo>
                  <a:cubicBezTo>
                    <a:pt x="18461" y="87640"/>
                    <a:pt x="18461" y="87640"/>
                    <a:pt x="20000" y="87640"/>
                  </a:cubicBezTo>
                  <a:cubicBezTo>
                    <a:pt x="20000" y="87640"/>
                    <a:pt x="23076" y="87640"/>
                    <a:pt x="23076" y="87640"/>
                  </a:cubicBezTo>
                  <a:cubicBezTo>
                    <a:pt x="23076" y="90337"/>
                    <a:pt x="23076" y="90337"/>
                    <a:pt x="23076" y="90337"/>
                  </a:cubicBezTo>
                  <a:cubicBezTo>
                    <a:pt x="26153" y="93033"/>
                    <a:pt x="26153" y="93033"/>
                    <a:pt x="26153" y="93033"/>
                  </a:cubicBezTo>
                  <a:cubicBezTo>
                    <a:pt x="32307" y="93033"/>
                    <a:pt x="32307" y="93033"/>
                    <a:pt x="32307" y="93033"/>
                  </a:cubicBezTo>
                  <a:cubicBezTo>
                    <a:pt x="33846" y="93033"/>
                    <a:pt x="33846" y="93033"/>
                    <a:pt x="33846" y="93033"/>
                  </a:cubicBezTo>
                  <a:cubicBezTo>
                    <a:pt x="38461" y="95730"/>
                    <a:pt x="38461" y="95730"/>
                    <a:pt x="38461" y="95730"/>
                  </a:cubicBezTo>
                  <a:cubicBezTo>
                    <a:pt x="38461" y="95730"/>
                    <a:pt x="40000" y="98426"/>
                    <a:pt x="41538" y="98426"/>
                  </a:cubicBezTo>
                  <a:cubicBezTo>
                    <a:pt x="41538" y="98426"/>
                    <a:pt x="43076" y="101123"/>
                    <a:pt x="43076" y="101123"/>
                  </a:cubicBezTo>
                  <a:cubicBezTo>
                    <a:pt x="46153" y="101123"/>
                    <a:pt x="46153" y="101123"/>
                    <a:pt x="46153" y="101123"/>
                  </a:cubicBezTo>
                  <a:cubicBezTo>
                    <a:pt x="47692" y="101123"/>
                    <a:pt x="47692" y="101123"/>
                    <a:pt x="47692" y="101123"/>
                  </a:cubicBezTo>
                  <a:cubicBezTo>
                    <a:pt x="47692" y="101123"/>
                    <a:pt x="49230" y="102471"/>
                    <a:pt x="49230" y="102471"/>
                  </a:cubicBezTo>
                  <a:cubicBezTo>
                    <a:pt x="47692" y="103820"/>
                    <a:pt x="47692" y="103820"/>
                    <a:pt x="47692" y="103820"/>
                  </a:cubicBezTo>
                  <a:cubicBezTo>
                    <a:pt x="49230" y="106516"/>
                    <a:pt x="49230" y="106516"/>
                    <a:pt x="49230" y="106516"/>
                  </a:cubicBezTo>
                  <a:cubicBezTo>
                    <a:pt x="52307" y="106516"/>
                    <a:pt x="52307" y="106516"/>
                    <a:pt x="52307" y="106516"/>
                  </a:cubicBezTo>
                  <a:cubicBezTo>
                    <a:pt x="52307" y="106516"/>
                    <a:pt x="52307" y="106516"/>
                    <a:pt x="52307" y="107865"/>
                  </a:cubicBezTo>
                  <a:cubicBezTo>
                    <a:pt x="52307" y="107865"/>
                    <a:pt x="53846" y="110561"/>
                    <a:pt x="53846" y="110561"/>
                  </a:cubicBezTo>
                  <a:cubicBezTo>
                    <a:pt x="53846" y="111910"/>
                    <a:pt x="53846" y="111910"/>
                    <a:pt x="53846" y="111910"/>
                  </a:cubicBezTo>
                  <a:cubicBezTo>
                    <a:pt x="53846" y="111910"/>
                    <a:pt x="55384" y="111910"/>
                    <a:pt x="55384" y="113258"/>
                  </a:cubicBezTo>
                  <a:cubicBezTo>
                    <a:pt x="55384" y="113258"/>
                    <a:pt x="55384" y="113258"/>
                    <a:pt x="55384" y="114606"/>
                  </a:cubicBezTo>
                  <a:cubicBezTo>
                    <a:pt x="56923" y="114606"/>
                    <a:pt x="60000" y="114606"/>
                    <a:pt x="60000" y="114606"/>
                  </a:cubicBezTo>
                  <a:cubicBezTo>
                    <a:pt x="61538" y="115955"/>
                    <a:pt x="61538" y="115955"/>
                    <a:pt x="61538" y="115955"/>
                  </a:cubicBezTo>
                  <a:cubicBezTo>
                    <a:pt x="63076" y="117303"/>
                    <a:pt x="63076" y="117303"/>
                    <a:pt x="63076" y="117303"/>
                  </a:cubicBezTo>
                  <a:lnTo>
                    <a:pt x="64615" y="117303"/>
                  </a:lnTo>
                  <a:close/>
                </a:path>
              </a:pathLst>
            </a:custGeom>
            <a:grpFill/>
            <a:ln w="3175" cap="flat" cmpd="sng">
              <a:solidFill>
                <a:schemeClr val="tx1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defTabSz="457178"/>
              <a:endParaRPr kern="0">
                <a:solidFill>
                  <a:srgbClr val="7F7F7F"/>
                </a:solidFill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11" name="Shape 2018">
              <a:extLst>
                <a:ext uri="{FF2B5EF4-FFF2-40B4-BE49-F238E27FC236}">
                  <a16:creationId xmlns:a16="http://schemas.microsoft.com/office/drawing/2014/main" id="{C918DE02-2C59-408C-94AB-845897870098}"/>
                </a:ext>
              </a:extLst>
            </p:cNvPr>
            <p:cNvSpPr/>
            <p:nvPr/>
          </p:nvSpPr>
          <p:spPr>
            <a:xfrm>
              <a:off x="6017651" y="3676182"/>
              <a:ext cx="241874" cy="205626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23773" y="116129"/>
                  </a:moveTo>
                  <a:cubicBezTo>
                    <a:pt x="23773" y="116129"/>
                    <a:pt x="22641" y="116129"/>
                    <a:pt x="21509" y="116129"/>
                  </a:cubicBezTo>
                  <a:cubicBezTo>
                    <a:pt x="20377" y="116129"/>
                    <a:pt x="19245" y="118709"/>
                    <a:pt x="18113" y="118709"/>
                  </a:cubicBezTo>
                  <a:cubicBezTo>
                    <a:pt x="18113" y="118709"/>
                    <a:pt x="18113" y="118709"/>
                    <a:pt x="18113" y="117419"/>
                  </a:cubicBezTo>
                  <a:cubicBezTo>
                    <a:pt x="18113" y="116129"/>
                    <a:pt x="18113" y="116129"/>
                    <a:pt x="16981" y="114838"/>
                  </a:cubicBezTo>
                  <a:cubicBezTo>
                    <a:pt x="16981" y="113548"/>
                    <a:pt x="16981" y="110967"/>
                    <a:pt x="15849" y="109677"/>
                  </a:cubicBezTo>
                  <a:cubicBezTo>
                    <a:pt x="14716" y="108387"/>
                    <a:pt x="14716" y="107096"/>
                    <a:pt x="14716" y="107096"/>
                  </a:cubicBezTo>
                  <a:cubicBezTo>
                    <a:pt x="14716" y="107096"/>
                    <a:pt x="12452" y="107096"/>
                    <a:pt x="11320" y="107096"/>
                  </a:cubicBezTo>
                  <a:cubicBezTo>
                    <a:pt x="11320" y="107096"/>
                    <a:pt x="10188" y="107096"/>
                    <a:pt x="10188" y="107096"/>
                  </a:cubicBezTo>
                  <a:cubicBezTo>
                    <a:pt x="10188" y="107096"/>
                    <a:pt x="9056" y="104516"/>
                    <a:pt x="10188" y="104516"/>
                  </a:cubicBezTo>
                  <a:cubicBezTo>
                    <a:pt x="10188" y="103225"/>
                    <a:pt x="9056" y="101935"/>
                    <a:pt x="7924" y="100645"/>
                  </a:cubicBezTo>
                  <a:cubicBezTo>
                    <a:pt x="7924" y="100645"/>
                    <a:pt x="5660" y="96774"/>
                    <a:pt x="5660" y="96774"/>
                  </a:cubicBezTo>
                  <a:cubicBezTo>
                    <a:pt x="5660" y="96774"/>
                    <a:pt x="4528" y="96774"/>
                    <a:pt x="4528" y="95483"/>
                  </a:cubicBezTo>
                  <a:cubicBezTo>
                    <a:pt x="4528" y="94193"/>
                    <a:pt x="4528" y="92903"/>
                    <a:pt x="4528" y="92903"/>
                  </a:cubicBezTo>
                  <a:cubicBezTo>
                    <a:pt x="3396" y="90322"/>
                    <a:pt x="3396" y="90322"/>
                    <a:pt x="3396" y="90322"/>
                  </a:cubicBezTo>
                  <a:cubicBezTo>
                    <a:pt x="3396" y="90322"/>
                    <a:pt x="5660" y="89032"/>
                    <a:pt x="5660" y="87741"/>
                  </a:cubicBezTo>
                  <a:cubicBezTo>
                    <a:pt x="5660" y="87741"/>
                    <a:pt x="6792" y="86451"/>
                    <a:pt x="5660" y="85161"/>
                  </a:cubicBezTo>
                  <a:cubicBezTo>
                    <a:pt x="5660" y="83870"/>
                    <a:pt x="3396" y="82580"/>
                    <a:pt x="3396" y="82580"/>
                  </a:cubicBezTo>
                  <a:cubicBezTo>
                    <a:pt x="2264" y="81290"/>
                    <a:pt x="1132" y="80000"/>
                    <a:pt x="0" y="78709"/>
                  </a:cubicBezTo>
                  <a:cubicBezTo>
                    <a:pt x="0" y="77419"/>
                    <a:pt x="0" y="76129"/>
                    <a:pt x="0" y="76129"/>
                  </a:cubicBezTo>
                  <a:cubicBezTo>
                    <a:pt x="0" y="76129"/>
                    <a:pt x="0" y="74838"/>
                    <a:pt x="1132" y="74838"/>
                  </a:cubicBezTo>
                  <a:cubicBezTo>
                    <a:pt x="2264" y="73548"/>
                    <a:pt x="3396" y="73548"/>
                    <a:pt x="3396" y="72258"/>
                  </a:cubicBezTo>
                  <a:cubicBezTo>
                    <a:pt x="3396" y="72258"/>
                    <a:pt x="4528" y="72258"/>
                    <a:pt x="4528" y="70967"/>
                  </a:cubicBezTo>
                  <a:cubicBezTo>
                    <a:pt x="3396" y="69677"/>
                    <a:pt x="2264" y="68387"/>
                    <a:pt x="2264" y="68387"/>
                  </a:cubicBezTo>
                  <a:cubicBezTo>
                    <a:pt x="3396" y="64516"/>
                    <a:pt x="3396" y="64516"/>
                    <a:pt x="3396" y="64516"/>
                  </a:cubicBezTo>
                  <a:cubicBezTo>
                    <a:pt x="2264" y="63225"/>
                    <a:pt x="2264" y="63225"/>
                    <a:pt x="2264" y="63225"/>
                  </a:cubicBezTo>
                  <a:cubicBezTo>
                    <a:pt x="2264" y="58064"/>
                    <a:pt x="2264" y="58064"/>
                    <a:pt x="2264" y="58064"/>
                  </a:cubicBezTo>
                  <a:cubicBezTo>
                    <a:pt x="2264" y="56774"/>
                    <a:pt x="2264" y="56774"/>
                    <a:pt x="2264" y="56774"/>
                  </a:cubicBezTo>
                  <a:cubicBezTo>
                    <a:pt x="2264" y="56774"/>
                    <a:pt x="3396" y="54193"/>
                    <a:pt x="3396" y="54193"/>
                  </a:cubicBezTo>
                  <a:cubicBezTo>
                    <a:pt x="3396" y="52903"/>
                    <a:pt x="3396" y="50322"/>
                    <a:pt x="3396" y="50322"/>
                  </a:cubicBezTo>
                  <a:cubicBezTo>
                    <a:pt x="3396" y="50322"/>
                    <a:pt x="3396" y="50322"/>
                    <a:pt x="3396" y="50322"/>
                  </a:cubicBezTo>
                  <a:cubicBezTo>
                    <a:pt x="5660" y="51612"/>
                    <a:pt x="9056" y="50322"/>
                    <a:pt x="10188" y="50322"/>
                  </a:cubicBezTo>
                  <a:cubicBezTo>
                    <a:pt x="12452" y="50322"/>
                    <a:pt x="12452" y="46451"/>
                    <a:pt x="11320" y="42580"/>
                  </a:cubicBezTo>
                  <a:cubicBezTo>
                    <a:pt x="11320" y="40000"/>
                    <a:pt x="12452" y="37419"/>
                    <a:pt x="12452" y="34838"/>
                  </a:cubicBezTo>
                  <a:cubicBezTo>
                    <a:pt x="13584" y="32258"/>
                    <a:pt x="16981" y="30967"/>
                    <a:pt x="20377" y="28387"/>
                  </a:cubicBezTo>
                  <a:cubicBezTo>
                    <a:pt x="22641" y="25806"/>
                    <a:pt x="22641" y="23225"/>
                    <a:pt x="26037" y="23225"/>
                  </a:cubicBezTo>
                  <a:cubicBezTo>
                    <a:pt x="26037" y="23225"/>
                    <a:pt x="27169" y="23225"/>
                    <a:pt x="28301" y="24516"/>
                  </a:cubicBezTo>
                  <a:cubicBezTo>
                    <a:pt x="28301" y="24516"/>
                    <a:pt x="28301" y="25806"/>
                    <a:pt x="29433" y="27096"/>
                  </a:cubicBezTo>
                  <a:cubicBezTo>
                    <a:pt x="29433" y="27096"/>
                    <a:pt x="29433" y="27096"/>
                    <a:pt x="30566" y="27096"/>
                  </a:cubicBezTo>
                  <a:cubicBezTo>
                    <a:pt x="32830" y="30967"/>
                    <a:pt x="35094" y="33548"/>
                    <a:pt x="35094" y="23225"/>
                  </a:cubicBezTo>
                  <a:cubicBezTo>
                    <a:pt x="36226" y="14193"/>
                    <a:pt x="41886" y="16774"/>
                    <a:pt x="46415" y="14193"/>
                  </a:cubicBezTo>
                  <a:cubicBezTo>
                    <a:pt x="46415" y="14193"/>
                    <a:pt x="46415" y="14193"/>
                    <a:pt x="47547" y="12903"/>
                  </a:cubicBezTo>
                  <a:cubicBezTo>
                    <a:pt x="48679" y="14193"/>
                    <a:pt x="49811" y="14193"/>
                    <a:pt x="50943" y="14193"/>
                  </a:cubicBezTo>
                  <a:cubicBezTo>
                    <a:pt x="52075" y="14193"/>
                    <a:pt x="52075" y="14193"/>
                    <a:pt x="52075" y="14193"/>
                  </a:cubicBezTo>
                  <a:cubicBezTo>
                    <a:pt x="52075" y="14193"/>
                    <a:pt x="55471" y="9032"/>
                    <a:pt x="55471" y="9032"/>
                  </a:cubicBezTo>
                  <a:cubicBezTo>
                    <a:pt x="56603" y="9032"/>
                    <a:pt x="58867" y="7741"/>
                    <a:pt x="58867" y="7741"/>
                  </a:cubicBezTo>
                  <a:cubicBezTo>
                    <a:pt x="61132" y="3870"/>
                    <a:pt x="61132" y="3870"/>
                    <a:pt x="61132" y="3870"/>
                  </a:cubicBezTo>
                  <a:cubicBezTo>
                    <a:pt x="61132" y="3870"/>
                    <a:pt x="63396" y="5161"/>
                    <a:pt x="64528" y="5161"/>
                  </a:cubicBezTo>
                  <a:cubicBezTo>
                    <a:pt x="65660" y="5161"/>
                    <a:pt x="66792" y="5161"/>
                    <a:pt x="69056" y="5161"/>
                  </a:cubicBezTo>
                  <a:cubicBezTo>
                    <a:pt x="70188" y="3870"/>
                    <a:pt x="70188" y="3870"/>
                    <a:pt x="70188" y="3870"/>
                  </a:cubicBezTo>
                  <a:cubicBezTo>
                    <a:pt x="70188" y="3870"/>
                    <a:pt x="72452" y="1290"/>
                    <a:pt x="74716" y="1290"/>
                  </a:cubicBezTo>
                  <a:cubicBezTo>
                    <a:pt x="76981" y="0"/>
                    <a:pt x="76981" y="1290"/>
                    <a:pt x="76981" y="1290"/>
                  </a:cubicBezTo>
                  <a:cubicBezTo>
                    <a:pt x="76981" y="1290"/>
                    <a:pt x="80377" y="1290"/>
                    <a:pt x="82641" y="1290"/>
                  </a:cubicBezTo>
                  <a:cubicBezTo>
                    <a:pt x="82641" y="1290"/>
                    <a:pt x="82641" y="0"/>
                    <a:pt x="82641" y="0"/>
                  </a:cubicBezTo>
                  <a:cubicBezTo>
                    <a:pt x="86037" y="2580"/>
                    <a:pt x="86037" y="6451"/>
                    <a:pt x="89433" y="10322"/>
                  </a:cubicBezTo>
                  <a:cubicBezTo>
                    <a:pt x="93962" y="15483"/>
                    <a:pt x="98490" y="14193"/>
                    <a:pt x="106415" y="19354"/>
                  </a:cubicBezTo>
                  <a:cubicBezTo>
                    <a:pt x="106415" y="20645"/>
                    <a:pt x="110943" y="24516"/>
                    <a:pt x="112075" y="28387"/>
                  </a:cubicBezTo>
                  <a:cubicBezTo>
                    <a:pt x="113207" y="33548"/>
                    <a:pt x="117735" y="33548"/>
                    <a:pt x="118867" y="38709"/>
                  </a:cubicBezTo>
                  <a:cubicBezTo>
                    <a:pt x="118867" y="42580"/>
                    <a:pt x="116603" y="43870"/>
                    <a:pt x="116603" y="47741"/>
                  </a:cubicBezTo>
                  <a:cubicBezTo>
                    <a:pt x="116603" y="51612"/>
                    <a:pt x="118867" y="60645"/>
                    <a:pt x="120000" y="61935"/>
                  </a:cubicBezTo>
                  <a:cubicBezTo>
                    <a:pt x="120000" y="61935"/>
                    <a:pt x="120000" y="63225"/>
                    <a:pt x="120000" y="63225"/>
                  </a:cubicBezTo>
                  <a:cubicBezTo>
                    <a:pt x="109811" y="65806"/>
                    <a:pt x="109811" y="65806"/>
                    <a:pt x="109811" y="65806"/>
                  </a:cubicBezTo>
                  <a:cubicBezTo>
                    <a:pt x="110943" y="77419"/>
                    <a:pt x="110943" y="77419"/>
                    <a:pt x="110943" y="77419"/>
                  </a:cubicBezTo>
                  <a:cubicBezTo>
                    <a:pt x="105283" y="82580"/>
                    <a:pt x="105283" y="82580"/>
                    <a:pt x="105283" y="82580"/>
                  </a:cubicBezTo>
                  <a:cubicBezTo>
                    <a:pt x="105283" y="82580"/>
                    <a:pt x="91698" y="85161"/>
                    <a:pt x="90566" y="85161"/>
                  </a:cubicBezTo>
                  <a:cubicBezTo>
                    <a:pt x="89433" y="85161"/>
                    <a:pt x="83773" y="86451"/>
                    <a:pt x="81509" y="87741"/>
                  </a:cubicBezTo>
                  <a:cubicBezTo>
                    <a:pt x="79245" y="87741"/>
                    <a:pt x="75849" y="90322"/>
                    <a:pt x="74716" y="90322"/>
                  </a:cubicBezTo>
                  <a:cubicBezTo>
                    <a:pt x="72452" y="91612"/>
                    <a:pt x="71320" y="98064"/>
                    <a:pt x="71320" y="98064"/>
                  </a:cubicBezTo>
                  <a:cubicBezTo>
                    <a:pt x="71320" y="98064"/>
                    <a:pt x="67924" y="103225"/>
                    <a:pt x="66792" y="104516"/>
                  </a:cubicBezTo>
                  <a:cubicBezTo>
                    <a:pt x="65660" y="105806"/>
                    <a:pt x="60000" y="109677"/>
                    <a:pt x="60000" y="109677"/>
                  </a:cubicBezTo>
                  <a:cubicBezTo>
                    <a:pt x="60000" y="109677"/>
                    <a:pt x="54339" y="109677"/>
                    <a:pt x="53207" y="109677"/>
                  </a:cubicBezTo>
                  <a:cubicBezTo>
                    <a:pt x="50943" y="109677"/>
                    <a:pt x="48679" y="112258"/>
                    <a:pt x="46415" y="112258"/>
                  </a:cubicBezTo>
                  <a:cubicBezTo>
                    <a:pt x="43018" y="113548"/>
                    <a:pt x="40754" y="114838"/>
                    <a:pt x="39622" y="114838"/>
                  </a:cubicBezTo>
                  <a:cubicBezTo>
                    <a:pt x="38490" y="114838"/>
                    <a:pt x="32830" y="116129"/>
                    <a:pt x="32830" y="116129"/>
                  </a:cubicBezTo>
                  <a:cubicBezTo>
                    <a:pt x="32830" y="120000"/>
                    <a:pt x="32830" y="120000"/>
                    <a:pt x="32830" y="120000"/>
                  </a:cubicBezTo>
                  <a:cubicBezTo>
                    <a:pt x="32830" y="120000"/>
                    <a:pt x="31698" y="120000"/>
                    <a:pt x="31698" y="120000"/>
                  </a:cubicBezTo>
                  <a:cubicBezTo>
                    <a:pt x="31698" y="120000"/>
                    <a:pt x="31698" y="120000"/>
                    <a:pt x="30566" y="120000"/>
                  </a:cubicBezTo>
                  <a:cubicBezTo>
                    <a:pt x="30566" y="118709"/>
                    <a:pt x="30566" y="118709"/>
                    <a:pt x="30566" y="118709"/>
                  </a:cubicBezTo>
                  <a:cubicBezTo>
                    <a:pt x="28301" y="116129"/>
                    <a:pt x="28301" y="116129"/>
                    <a:pt x="28301" y="116129"/>
                  </a:cubicBezTo>
                  <a:cubicBezTo>
                    <a:pt x="28301" y="116129"/>
                    <a:pt x="27169" y="117419"/>
                    <a:pt x="26037" y="117419"/>
                  </a:cubicBezTo>
                  <a:cubicBezTo>
                    <a:pt x="24905" y="117419"/>
                    <a:pt x="24905" y="116129"/>
                    <a:pt x="23773" y="116129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tx1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defTabSz="457178"/>
              <a:endParaRPr kern="0">
                <a:solidFill>
                  <a:srgbClr val="7F7F7F"/>
                </a:solidFill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12" name="Shape 2019">
              <a:extLst>
                <a:ext uri="{FF2B5EF4-FFF2-40B4-BE49-F238E27FC236}">
                  <a16:creationId xmlns:a16="http://schemas.microsoft.com/office/drawing/2014/main" id="{CCD4E5B0-E797-47F0-A1C8-F2B0E2D824D5}"/>
                </a:ext>
              </a:extLst>
            </p:cNvPr>
            <p:cNvSpPr/>
            <p:nvPr/>
          </p:nvSpPr>
          <p:spPr>
            <a:xfrm>
              <a:off x="5588873" y="2851550"/>
              <a:ext cx="445269" cy="240785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6000" y="59449"/>
                  </a:moveTo>
                  <a:cubicBezTo>
                    <a:pt x="17846" y="57247"/>
                    <a:pt x="17846" y="57247"/>
                    <a:pt x="17846" y="57247"/>
                  </a:cubicBezTo>
                  <a:cubicBezTo>
                    <a:pt x="17846" y="57247"/>
                    <a:pt x="17846" y="53944"/>
                    <a:pt x="18461" y="55045"/>
                  </a:cubicBezTo>
                  <a:cubicBezTo>
                    <a:pt x="18461" y="55045"/>
                    <a:pt x="19692" y="53944"/>
                    <a:pt x="19692" y="53944"/>
                  </a:cubicBezTo>
                  <a:cubicBezTo>
                    <a:pt x="20307" y="51743"/>
                    <a:pt x="20307" y="51743"/>
                    <a:pt x="20307" y="51743"/>
                  </a:cubicBezTo>
                  <a:cubicBezTo>
                    <a:pt x="20923" y="48440"/>
                    <a:pt x="20923" y="48440"/>
                    <a:pt x="20923" y="48440"/>
                  </a:cubicBezTo>
                  <a:cubicBezTo>
                    <a:pt x="24000" y="46238"/>
                    <a:pt x="24000" y="46238"/>
                    <a:pt x="24000" y="46238"/>
                  </a:cubicBezTo>
                  <a:cubicBezTo>
                    <a:pt x="24615" y="40733"/>
                    <a:pt x="24615" y="40733"/>
                    <a:pt x="24615" y="40733"/>
                  </a:cubicBezTo>
                  <a:cubicBezTo>
                    <a:pt x="24000" y="37431"/>
                    <a:pt x="24000" y="37431"/>
                    <a:pt x="24000" y="37431"/>
                  </a:cubicBezTo>
                  <a:cubicBezTo>
                    <a:pt x="24000" y="37431"/>
                    <a:pt x="24000" y="33027"/>
                    <a:pt x="24615" y="33027"/>
                  </a:cubicBezTo>
                  <a:cubicBezTo>
                    <a:pt x="25230" y="33027"/>
                    <a:pt x="27076" y="30825"/>
                    <a:pt x="27076" y="30825"/>
                  </a:cubicBezTo>
                  <a:cubicBezTo>
                    <a:pt x="28923" y="27522"/>
                    <a:pt x="28923" y="27522"/>
                    <a:pt x="28923" y="27522"/>
                  </a:cubicBezTo>
                  <a:cubicBezTo>
                    <a:pt x="28923" y="25321"/>
                    <a:pt x="28923" y="25321"/>
                    <a:pt x="28923" y="25321"/>
                  </a:cubicBezTo>
                  <a:cubicBezTo>
                    <a:pt x="30153" y="20917"/>
                    <a:pt x="30153" y="20917"/>
                    <a:pt x="30153" y="20917"/>
                  </a:cubicBezTo>
                  <a:cubicBezTo>
                    <a:pt x="31384" y="18715"/>
                    <a:pt x="31384" y="18715"/>
                    <a:pt x="31384" y="18715"/>
                  </a:cubicBezTo>
                  <a:cubicBezTo>
                    <a:pt x="32615" y="16513"/>
                    <a:pt x="32615" y="16513"/>
                    <a:pt x="32615" y="16513"/>
                  </a:cubicBezTo>
                  <a:cubicBezTo>
                    <a:pt x="34461" y="15412"/>
                    <a:pt x="34461" y="15412"/>
                    <a:pt x="34461" y="15412"/>
                  </a:cubicBezTo>
                  <a:cubicBezTo>
                    <a:pt x="34461" y="15412"/>
                    <a:pt x="35076" y="15412"/>
                    <a:pt x="35692" y="15412"/>
                  </a:cubicBezTo>
                  <a:cubicBezTo>
                    <a:pt x="36307" y="15412"/>
                    <a:pt x="36923" y="14311"/>
                    <a:pt x="36923" y="14311"/>
                  </a:cubicBezTo>
                  <a:cubicBezTo>
                    <a:pt x="37538" y="14311"/>
                    <a:pt x="39384" y="14311"/>
                    <a:pt x="39384" y="14311"/>
                  </a:cubicBezTo>
                  <a:cubicBezTo>
                    <a:pt x="39384" y="14311"/>
                    <a:pt x="40615" y="12110"/>
                    <a:pt x="40615" y="13211"/>
                  </a:cubicBezTo>
                  <a:cubicBezTo>
                    <a:pt x="40615" y="15412"/>
                    <a:pt x="40615" y="16513"/>
                    <a:pt x="40615" y="16513"/>
                  </a:cubicBezTo>
                  <a:cubicBezTo>
                    <a:pt x="41230" y="17614"/>
                    <a:pt x="41846" y="19816"/>
                    <a:pt x="41846" y="19816"/>
                  </a:cubicBezTo>
                  <a:cubicBezTo>
                    <a:pt x="41846" y="19816"/>
                    <a:pt x="43076" y="19816"/>
                    <a:pt x="43692" y="18715"/>
                  </a:cubicBezTo>
                  <a:cubicBezTo>
                    <a:pt x="44307" y="17614"/>
                    <a:pt x="45538" y="16513"/>
                    <a:pt x="45538" y="16513"/>
                  </a:cubicBezTo>
                  <a:cubicBezTo>
                    <a:pt x="45538" y="16513"/>
                    <a:pt x="46769" y="18715"/>
                    <a:pt x="46769" y="17614"/>
                  </a:cubicBezTo>
                  <a:cubicBezTo>
                    <a:pt x="46769" y="16513"/>
                    <a:pt x="46769" y="12110"/>
                    <a:pt x="46769" y="12110"/>
                  </a:cubicBezTo>
                  <a:cubicBezTo>
                    <a:pt x="48000" y="8807"/>
                    <a:pt x="48000" y="8807"/>
                    <a:pt x="48000" y="8807"/>
                  </a:cubicBezTo>
                  <a:cubicBezTo>
                    <a:pt x="48000" y="8807"/>
                    <a:pt x="49230" y="8807"/>
                    <a:pt x="49230" y="7706"/>
                  </a:cubicBezTo>
                  <a:cubicBezTo>
                    <a:pt x="49230" y="6605"/>
                    <a:pt x="50461" y="4403"/>
                    <a:pt x="50461" y="4403"/>
                  </a:cubicBezTo>
                  <a:cubicBezTo>
                    <a:pt x="52307" y="4403"/>
                    <a:pt x="52307" y="4403"/>
                    <a:pt x="52307" y="4403"/>
                  </a:cubicBezTo>
                  <a:cubicBezTo>
                    <a:pt x="53538" y="11009"/>
                    <a:pt x="53538" y="11009"/>
                    <a:pt x="53538" y="11009"/>
                  </a:cubicBezTo>
                  <a:cubicBezTo>
                    <a:pt x="55384" y="13211"/>
                    <a:pt x="55384" y="13211"/>
                    <a:pt x="55384" y="13211"/>
                  </a:cubicBezTo>
                  <a:cubicBezTo>
                    <a:pt x="56000" y="14311"/>
                    <a:pt x="56000" y="14311"/>
                    <a:pt x="56000" y="14311"/>
                  </a:cubicBezTo>
                  <a:cubicBezTo>
                    <a:pt x="57230" y="15412"/>
                    <a:pt x="57230" y="15412"/>
                    <a:pt x="57230" y="15412"/>
                  </a:cubicBezTo>
                  <a:cubicBezTo>
                    <a:pt x="59076" y="15412"/>
                    <a:pt x="59076" y="15412"/>
                    <a:pt x="59076" y="15412"/>
                  </a:cubicBezTo>
                  <a:cubicBezTo>
                    <a:pt x="59076" y="16513"/>
                    <a:pt x="59076" y="16513"/>
                    <a:pt x="59076" y="16513"/>
                  </a:cubicBezTo>
                  <a:cubicBezTo>
                    <a:pt x="60307" y="18715"/>
                    <a:pt x="60307" y="18715"/>
                    <a:pt x="60307" y="18715"/>
                  </a:cubicBezTo>
                  <a:cubicBezTo>
                    <a:pt x="60923" y="22018"/>
                    <a:pt x="60923" y="22018"/>
                    <a:pt x="60923" y="22018"/>
                  </a:cubicBezTo>
                  <a:cubicBezTo>
                    <a:pt x="59692" y="24220"/>
                    <a:pt x="59692" y="24220"/>
                    <a:pt x="59692" y="24220"/>
                  </a:cubicBezTo>
                  <a:cubicBezTo>
                    <a:pt x="59692" y="25321"/>
                    <a:pt x="59692" y="25321"/>
                    <a:pt x="59692" y="25321"/>
                  </a:cubicBezTo>
                  <a:cubicBezTo>
                    <a:pt x="60307" y="26422"/>
                    <a:pt x="60307" y="26422"/>
                    <a:pt x="60307" y="26422"/>
                  </a:cubicBezTo>
                  <a:cubicBezTo>
                    <a:pt x="60307" y="26422"/>
                    <a:pt x="60923" y="26422"/>
                    <a:pt x="60923" y="26422"/>
                  </a:cubicBezTo>
                  <a:cubicBezTo>
                    <a:pt x="60923" y="26422"/>
                    <a:pt x="62153" y="25321"/>
                    <a:pt x="62769" y="25321"/>
                  </a:cubicBezTo>
                  <a:cubicBezTo>
                    <a:pt x="62769" y="25321"/>
                    <a:pt x="62769" y="24220"/>
                    <a:pt x="62769" y="24220"/>
                  </a:cubicBezTo>
                  <a:cubicBezTo>
                    <a:pt x="62769" y="24220"/>
                    <a:pt x="64000" y="23119"/>
                    <a:pt x="64000" y="23119"/>
                  </a:cubicBezTo>
                  <a:cubicBezTo>
                    <a:pt x="64000" y="23119"/>
                    <a:pt x="64615" y="23119"/>
                    <a:pt x="64615" y="23119"/>
                  </a:cubicBezTo>
                  <a:cubicBezTo>
                    <a:pt x="64615" y="24220"/>
                    <a:pt x="65230" y="25321"/>
                    <a:pt x="65230" y="25321"/>
                  </a:cubicBezTo>
                  <a:cubicBezTo>
                    <a:pt x="65230" y="25321"/>
                    <a:pt x="65846" y="24220"/>
                    <a:pt x="65846" y="25321"/>
                  </a:cubicBezTo>
                  <a:cubicBezTo>
                    <a:pt x="65846" y="25321"/>
                    <a:pt x="66461" y="25321"/>
                    <a:pt x="66461" y="25321"/>
                  </a:cubicBezTo>
                  <a:cubicBezTo>
                    <a:pt x="66461" y="25321"/>
                    <a:pt x="66461" y="25321"/>
                    <a:pt x="66461" y="24220"/>
                  </a:cubicBezTo>
                  <a:cubicBezTo>
                    <a:pt x="66461" y="22018"/>
                    <a:pt x="66461" y="22018"/>
                    <a:pt x="66461" y="22018"/>
                  </a:cubicBezTo>
                  <a:cubicBezTo>
                    <a:pt x="66461" y="20917"/>
                    <a:pt x="66461" y="19816"/>
                    <a:pt x="66461" y="19816"/>
                  </a:cubicBezTo>
                  <a:cubicBezTo>
                    <a:pt x="67076" y="18715"/>
                    <a:pt x="67076" y="18715"/>
                    <a:pt x="67076" y="17614"/>
                  </a:cubicBezTo>
                  <a:cubicBezTo>
                    <a:pt x="67076" y="17614"/>
                    <a:pt x="66461" y="16513"/>
                    <a:pt x="67076" y="16513"/>
                  </a:cubicBezTo>
                  <a:cubicBezTo>
                    <a:pt x="67692" y="16513"/>
                    <a:pt x="68307" y="16513"/>
                    <a:pt x="68307" y="16513"/>
                  </a:cubicBezTo>
                  <a:cubicBezTo>
                    <a:pt x="68307" y="16513"/>
                    <a:pt x="68307" y="15412"/>
                    <a:pt x="68307" y="15412"/>
                  </a:cubicBezTo>
                  <a:cubicBezTo>
                    <a:pt x="68307" y="15412"/>
                    <a:pt x="68923" y="14311"/>
                    <a:pt x="69538" y="14311"/>
                  </a:cubicBezTo>
                  <a:cubicBezTo>
                    <a:pt x="69538" y="14311"/>
                    <a:pt x="69538" y="15412"/>
                    <a:pt x="70153" y="14311"/>
                  </a:cubicBezTo>
                  <a:cubicBezTo>
                    <a:pt x="70769" y="13211"/>
                    <a:pt x="70153" y="13211"/>
                    <a:pt x="70153" y="13211"/>
                  </a:cubicBezTo>
                  <a:cubicBezTo>
                    <a:pt x="70153" y="12110"/>
                    <a:pt x="70153" y="12110"/>
                    <a:pt x="70153" y="12110"/>
                  </a:cubicBezTo>
                  <a:cubicBezTo>
                    <a:pt x="70769" y="11009"/>
                    <a:pt x="70153" y="12110"/>
                    <a:pt x="71384" y="12110"/>
                  </a:cubicBezTo>
                  <a:cubicBezTo>
                    <a:pt x="72000" y="11009"/>
                    <a:pt x="72615" y="11009"/>
                    <a:pt x="72615" y="11009"/>
                  </a:cubicBezTo>
                  <a:cubicBezTo>
                    <a:pt x="72615" y="11009"/>
                    <a:pt x="72615" y="9908"/>
                    <a:pt x="72615" y="9908"/>
                  </a:cubicBezTo>
                  <a:cubicBezTo>
                    <a:pt x="73846" y="8807"/>
                    <a:pt x="73846" y="8807"/>
                    <a:pt x="73846" y="8807"/>
                  </a:cubicBezTo>
                  <a:cubicBezTo>
                    <a:pt x="73846" y="8807"/>
                    <a:pt x="73846" y="9908"/>
                    <a:pt x="73846" y="9908"/>
                  </a:cubicBezTo>
                  <a:cubicBezTo>
                    <a:pt x="73846" y="9908"/>
                    <a:pt x="74461" y="9908"/>
                    <a:pt x="75076" y="9908"/>
                  </a:cubicBezTo>
                  <a:cubicBezTo>
                    <a:pt x="75076" y="9908"/>
                    <a:pt x="75692" y="11009"/>
                    <a:pt x="75692" y="9908"/>
                  </a:cubicBezTo>
                  <a:cubicBezTo>
                    <a:pt x="75692" y="9908"/>
                    <a:pt x="76307" y="9908"/>
                    <a:pt x="76307" y="8807"/>
                  </a:cubicBezTo>
                  <a:cubicBezTo>
                    <a:pt x="76307" y="8807"/>
                    <a:pt x="76307" y="8807"/>
                    <a:pt x="76307" y="8807"/>
                  </a:cubicBezTo>
                  <a:cubicBezTo>
                    <a:pt x="76307" y="8807"/>
                    <a:pt x="76307" y="7706"/>
                    <a:pt x="76923" y="7706"/>
                  </a:cubicBezTo>
                  <a:cubicBezTo>
                    <a:pt x="77538" y="8807"/>
                    <a:pt x="76923" y="8807"/>
                    <a:pt x="77538" y="8807"/>
                  </a:cubicBezTo>
                  <a:cubicBezTo>
                    <a:pt x="77538" y="7706"/>
                    <a:pt x="78769" y="6605"/>
                    <a:pt x="78769" y="6605"/>
                  </a:cubicBezTo>
                  <a:cubicBezTo>
                    <a:pt x="78769" y="6605"/>
                    <a:pt x="78769" y="6605"/>
                    <a:pt x="79384" y="8807"/>
                  </a:cubicBezTo>
                  <a:cubicBezTo>
                    <a:pt x="79384" y="9908"/>
                    <a:pt x="80000" y="9908"/>
                    <a:pt x="80615" y="9908"/>
                  </a:cubicBezTo>
                  <a:cubicBezTo>
                    <a:pt x="80615" y="9908"/>
                    <a:pt x="80615" y="9908"/>
                    <a:pt x="80615" y="9908"/>
                  </a:cubicBezTo>
                  <a:cubicBezTo>
                    <a:pt x="80615" y="11009"/>
                    <a:pt x="81230" y="12110"/>
                    <a:pt x="81230" y="12110"/>
                  </a:cubicBezTo>
                  <a:cubicBezTo>
                    <a:pt x="81846" y="12110"/>
                    <a:pt x="81846" y="12110"/>
                    <a:pt x="81846" y="12110"/>
                  </a:cubicBezTo>
                  <a:cubicBezTo>
                    <a:pt x="82461" y="11009"/>
                    <a:pt x="82461" y="11009"/>
                    <a:pt x="82461" y="11009"/>
                  </a:cubicBezTo>
                  <a:cubicBezTo>
                    <a:pt x="82461" y="11009"/>
                    <a:pt x="82461" y="12110"/>
                    <a:pt x="83076" y="12110"/>
                  </a:cubicBezTo>
                  <a:cubicBezTo>
                    <a:pt x="83692" y="12110"/>
                    <a:pt x="84307" y="13211"/>
                    <a:pt x="84307" y="13211"/>
                  </a:cubicBezTo>
                  <a:cubicBezTo>
                    <a:pt x="84307" y="12110"/>
                    <a:pt x="84923" y="11009"/>
                    <a:pt x="84923" y="11009"/>
                  </a:cubicBezTo>
                  <a:cubicBezTo>
                    <a:pt x="84923" y="9908"/>
                    <a:pt x="84923" y="9908"/>
                    <a:pt x="85538" y="8807"/>
                  </a:cubicBezTo>
                  <a:cubicBezTo>
                    <a:pt x="85538" y="8807"/>
                    <a:pt x="87384" y="7706"/>
                    <a:pt x="87384" y="7706"/>
                  </a:cubicBezTo>
                  <a:cubicBezTo>
                    <a:pt x="87384" y="7706"/>
                    <a:pt x="86769" y="5504"/>
                    <a:pt x="86153" y="5504"/>
                  </a:cubicBezTo>
                  <a:cubicBezTo>
                    <a:pt x="86153" y="5504"/>
                    <a:pt x="85538" y="4403"/>
                    <a:pt x="86769" y="3302"/>
                  </a:cubicBezTo>
                  <a:cubicBezTo>
                    <a:pt x="87384" y="3302"/>
                    <a:pt x="88000" y="3302"/>
                    <a:pt x="88000" y="3302"/>
                  </a:cubicBezTo>
                  <a:cubicBezTo>
                    <a:pt x="89230" y="4403"/>
                    <a:pt x="89230" y="4403"/>
                    <a:pt x="89230" y="4403"/>
                  </a:cubicBezTo>
                  <a:cubicBezTo>
                    <a:pt x="89230" y="3302"/>
                    <a:pt x="89230" y="3302"/>
                    <a:pt x="89230" y="3302"/>
                  </a:cubicBezTo>
                  <a:cubicBezTo>
                    <a:pt x="89846" y="2201"/>
                    <a:pt x="89846" y="2201"/>
                    <a:pt x="89846" y="2201"/>
                  </a:cubicBezTo>
                  <a:cubicBezTo>
                    <a:pt x="89846" y="2201"/>
                    <a:pt x="90461" y="1100"/>
                    <a:pt x="90461" y="1100"/>
                  </a:cubicBezTo>
                  <a:cubicBezTo>
                    <a:pt x="90461" y="1100"/>
                    <a:pt x="91076" y="1100"/>
                    <a:pt x="91076" y="1100"/>
                  </a:cubicBezTo>
                  <a:cubicBezTo>
                    <a:pt x="91692" y="1100"/>
                    <a:pt x="92307" y="1100"/>
                    <a:pt x="92307" y="1100"/>
                  </a:cubicBezTo>
                  <a:cubicBezTo>
                    <a:pt x="92307" y="1100"/>
                    <a:pt x="92923" y="2201"/>
                    <a:pt x="92923" y="2201"/>
                  </a:cubicBezTo>
                  <a:cubicBezTo>
                    <a:pt x="93538" y="2201"/>
                    <a:pt x="94153" y="2201"/>
                    <a:pt x="94153" y="2201"/>
                  </a:cubicBezTo>
                  <a:cubicBezTo>
                    <a:pt x="94153" y="2201"/>
                    <a:pt x="94769" y="3302"/>
                    <a:pt x="94769" y="2201"/>
                  </a:cubicBezTo>
                  <a:cubicBezTo>
                    <a:pt x="95384" y="2201"/>
                    <a:pt x="95384" y="1100"/>
                    <a:pt x="95384" y="1100"/>
                  </a:cubicBezTo>
                  <a:cubicBezTo>
                    <a:pt x="95384" y="1100"/>
                    <a:pt x="97846" y="0"/>
                    <a:pt x="97846" y="0"/>
                  </a:cubicBezTo>
                  <a:cubicBezTo>
                    <a:pt x="97846" y="0"/>
                    <a:pt x="98461" y="0"/>
                    <a:pt x="98461" y="0"/>
                  </a:cubicBezTo>
                  <a:cubicBezTo>
                    <a:pt x="99076" y="1100"/>
                    <a:pt x="99692" y="1100"/>
                    <a:pt x="99692" y="1100"/>
                  </a:cubicBezTo>
                  <a:cubicBezTo>
                    <a:pt x="100307" y="1100"/>
                    <a:pt x="100923" y="2201"/>
                    <a:pt x="100923" y="2201"/>
                  </a:cubicBezTo>
                  <a:cubicBezTo>
                    <a:pt x="101538" y="3302"/>
                    <a:pt x="102153" y="3302"/>
                    <a:pt x="102153" y="3302"/>
                  </a:cubicBezTo>
                  <a:cubicBezTo>
                    <a:pt x="102153" y="3302"/>
                    <a:pt x="102153" y="1100"/>
                    <a:pt x="102153" y="1100"/>
                  </a:cubicBezTo>
                  <a:cubicBezTo>
                    <a:pt x="102769" y="1100"/>
                    <a:pt x="103384" y="1100"/>
                    <a:pt x="103384" y="1100"/>
                  </a:cubicBezTo>
                  <a:cubicBezTo>
                    <a:pt x="104000" y="2201"/>
                    <a:pt x="104000" y="2201"/>
                    <a:pt x="104000" y="2201"/>
                  </a:cubicBezTo>
                  <a:cubicBezTo>
                    <a:pt x="104000" y="2201"/>
                    <a:pt x="104615" y="3302"/>
                    <a:pt x="105230" y="3302"/>
                  </a:cubicBezTo>
                  <a:cubicBezTo>
                    <a:pt x="105230" y="3302"/>
                    <a:pt x="105846" y="2201"/>
                    <a:pt x="105846" y="2201"/>
                  </a:cubicBezTo>
                  <a:cubicBezTo>
                    <a:pt x="105846" y="3302"/>
                    <a:pt x="106461" y="3302"/>
                    <a:pt x="106461" y="4403"/>
                  </a:cubicBezTo>
                  <a:cubicBezTo>
                    <a:pt x="106461" y="4403"/>
                    <a:pt x="107076" y="5504"/>
                    <a:pt x="107076" y="5504"/>
                  </a:cubicBezTo>
                  <a:cubicBezTo>
                    <a:pt x="107076" y="6605"/>
                    <a:pt x="107692" y="6605"/>
                    <a:pt x="107692" y="6605"/>
                  </a:cubicBezTo>
                  <a:cubicBezTo>
                    <a:pt x="107692" y="7706"/>
                    <a:pt x="107692" y="8807"/>
                    <a:pt x="107692" y="8807"/>
                  </a:cubicBezTo>
                  <a:cubicBezTo>
                    <a:pt x="107692" y="8807"/>
                    <a:pt x="107692" y="8807"/>
                    <a:pt x="107692" y="9908"/>
                  </a:cubicBezTo>
                  <a:cubicBezTo>
                    <a:pt x="108307" y="9908"/>
                    <a:pt x="110153" y="9908"/>
                    <a:pt x="110153" y="9908"/>
                  </a:cubicBezTo>
                  <a:cubicBezTo>
                    <a:pt x="110153" y="9908"/>
                    <a:pt x="110769" y="9908"/>
                    <a:pt x="110769" y="11009"/>
                  </a:cubicBezTo>
                  <a:cubicBezTo>
                    <a:pt x="110769" y="11009"/>
                    <a:pt x="112000" y="11009"/>
                    <a:pt x="112000" y="11009"/>
                  </a:cubicBezTo>
                  <a:cubicBezTo>
                    <a:pt x="112000" y="11009"/>
                    <a:pt x="112615" y="9908"/>
                    <a:pt x="112615" y="11009"/>
                  </a:cubicBezTo>
                  <a:cubicBezTo>
                    <a:pt x="112615" y="11009"/>
                    <a:pt x="112615" y="12110"/>
                    <a:pt x="112615" y="12110"/>
                  </a:cubicBezTo>
                  <a:cubicBezTo>
                    <a:pt x="113846" y="12110"/>
                    <a:pt x="113846" y="12110"/>
                    <a:pt x="113846" y="12110"/>
                  </a:cubicBezTo>
                  <a:cubicBezTo>
                    <a:pt x="114461" y="12110"/>
                    <a:pt x="114461" y="12110"/>
                    <a:pt x="114461" y="12110"/>
                  </a:cubicBezTo>
                  <a:cubicBezTo>
                    <a:pt x="114461" y="12110"/>
                    <a:pt x="115076" y="11009"/>
                    <a:pt x="115076" y="12110"/>
                  </a:cubicBezTo>
                  <a:cubicBezTo>
                    <a:pt x="115076" y="12110"/>
                    <a:pt x="115692" y="12110"/>
                    <a:pt x="115692" y="12110"/>
                  </a:cubicBezTo>
                  <a:cubicBezTo>
                    <a:pt x="115692" y="12110"/>
                    <a:pt x="116923" y="13211"/>
                    <a:pt x="116923" y="13211"/>
                  </a:cubicBezTo>
                  <a:cubicBezTo>
                    <a:pt x="116923" y="13211"/>
                    <a:pt x="117538" y="13211"/>
                    <a:pt x="118153" y="13211"/>
                  </a:cubicBezTo>
                  <a:cubicBezTo>
                    <a:pt x="118153" y="13211"/>
                    <a:pt x="120000" y="13211"/>
                    <a:pt x="120000" y="13211"/>
                  </a:cubicBezTo>
                  <a:cubicBezTo>
                    <a:pt x="120000" y="13211"/>
                    <a:pt x="120000" y="14311"/>
                    <a:pt x="120000" y="15412"/>
                  </a:cubicBezTo>
                  <a:cubicBezTo>
                    <a:pt x="120000" y="15412"/>
                    <a:pt x="120000" y="17614"/>
                    <a:pt x="120000" y="17614"/>
                  </a:cubicBezTo>
                  <a:cubicBezTo>
                    <a:pt x="120000" y="17614"/>
                    <a:pt x="119384" y="18715"/>
                    <a:pt x="119384" y="19816"/>
                  </a:cubicBezTo>
                  <a:cubicBezTo>
                    <a:pt x="118769" y="19816"/>
                    <a:pt x="118769" y="22018"/>
                    <a:pt x="118769" y="22018"/>
                  </a:cubicBezTo>
                  <a:cubicBezTo>
                    <a:pt x="118769" y="22018"/>
                    <a:pt x="118769" y="23119"/>
                    <a:pt x="118769" y="23119"/>
                  </a:cubicBezTo>
                  <a:cubicBezTo>
                    <a:pt x="118769" y="23119"/>
                    <a:pt x="118769" y="25321"/>
                    <a:pt x="118769" y="25321"/>
                  </a:cubicBezTo>
                  <a:cubicBezTo>
                    <a:pt x="118153" y="27522"/>
                    <a:pt x="118153" y="27522"/>
                    <a:pt x="118153" y="27522"/>
                  </a:cubicBezTo>
                  <a:cubicBezTo>
                    <a:pt x="118153" y="27522"/>
                    <a:pt x="117538" y="28623"/>
                    <a:pt x="118153" y="29724"/>
                  </a:cubicBezTo>
                  <a:cubicBezTo>
                    <a:pt x="118153" y="29724"/>
                    <a:pt x="118153" y="30825"/>
                    <a:pt x="118153" y="30825"/>
                  </a:cubicBezTo>
                  <a:cubicBezTo>
                    <a:pt x="118769" y="31926"/>
                    <a:pt x="118769" y="31926"/>
                    <a:pt x="118769" y="31926"/>
                  </a:cubicBezTo>
                  <a:cubicBezTo>
                    <a:pt x="117538" y="34128"/>
                    <a:pt x="117538" y="34128"/>
                    <a:pt x="117538" y="34128"/>
                  </a:cubicBezTo>
                  <a:cubicBezTo>
                    <a:pt x="117538" y="36330"/>
                    <a:pt x="117538" y="36330"/>
                    <a:pt x="117538" y="36330"/>
                  </a:cubicBezTo>
                  <a:cubicBezTo>
                    <a:pt x="117538" y="36330"/>
                    <a:pt x="118153" y="37431"/>
                    <a:pt x="117538" y="38532"/>
                  </a:cubicBezTo>
                  <a:cubicBezTo>
                    <a:pt x="117538" y="38532"/>
                    <a:pt x="116923" y="39633"/>
                    <a:pt x="116923" y="39633"/>
                  </a:cubicBezTo>
                  <a:cubicBezTo>
                    <a:pt x="116923" y="39633"/>
                    <a:pt x="115692" y="41834"/>
                    <a:pt x="115692" y="41834"/>
                  </a:cubicBezTo>
                  <a:cubicBezTo>
                    <a:pt x="115692" y="41834"/>
                    <a:pt x="115692" y="42935"/>
                    <a:pt x="115692" y="42935"/>
                  </a:cubicBezTo>
                  <a:cubicBezTo>
                    <a:pt x="115692" y="42935"/>
                    <a:pt x="115076" y="45137"/>
                    <a:pt x="115076" y="45137"/>
                  </a:cubicBezTo>
                  <a:cubicBezTo>
                    <a:pt x="115076" y="45137"/>
                    <a:pt x="115076" y="48440"/>
                    <a:pt x="115076" y="48440"/>
                  </a:cubicBezTo>
                  <a:cubicBezTo>
                    <a:pt x="115076" y="48440"/>
                    <a:pt x="115692" y="49541"/>
                    <a:pt x="115692" y="49541"/>
                  </a:cubicBezTo>
                  <a:cubicBezTo>
                    <a:pt x="115692" y="49541"/>
                    <a:pt x="115692" y="50642"/>
                    <a:pt x="115692" y="51743"/>
                  </a:cubicBezTo>
                  <a:cubicBezTo>
                    <a:pt x="115076" y="51743"/>
                    <a:pt x="115692" y="52844"/>
                    <a:pt x="115692" y="53944"/>
                  </a:cubicBezTo>
                  <a:cubicBezTo>
                    <a:pt x="115692" y="53944"/>
                    <a:pt x="115692" y="55045"/>
                    <a:pt x="115692" y="55045"/>
                  </a:cubicBezTo>
                  <a:cubicBezTo>
                    <a:pt x="115076" y="57247"/>
                    <a:pt x="115076" y="57247"/>
                    <a:pt x="115076" y="57247"/>
                  </a:cubicBezTo>
                  <a:cubicBezTo>
                    <a:pt x="114461" y="57247"/>
                    <a:pt x="114461" y="57247"/>
                    <a:pt x="114461" y="57247"/>
                  </a:cubicBezTo>
                  <a:cubicBezTo>
                    <a:pt x="115076" y="60550"/>
                    <a:pt x="115076" y="60550"/>
                    <a:pt x="115076" y="60550"/>
                  </a:cubicBezTo>
                  <a:cubicBezTo>
                    <a:pt x="113846" y="62752"/>
                    <a:pt x="113846" y="62752"/>
                    <a:pt x="113846" y="62752"/>
                  </a:cubicBezTo>
                  <a:cubicBezTo>
                    <a:pt x="108923" y="62752"/>
                    <a:pt x="108923" y="62752"/>
                    <a:pt x="108923" y="62752"/>
                  </a:cubicBezTo>
                  <a:cubicBezTo>
                    <a:pt x="104000" y="53944"/>
                    <a:pt x="104000" y="53944"/>
                    <a:pt x="104000" y="53944"/>
                  </a:cubicBezTo>
                  <a:cubicBezTo>
                    <a:pt x="100307" y="52844"/>
                    <a:pt x="100307" y="52844"/>
                    <a:pt x="100307" y="52844"/>
                  </a:cubicBezTo>
                  <a:cubicBezTo>
                    <a:pt x="97230" y="57247"/>
                    <a:pt x="97230" y="57247"/>
                    <a:pt x="97230" y="57247"/>
                  </a:cubicBezTo>
                  <a:cubicBezTo>
                    <a:pt x="92923" y="58348"/>
                    <a:pt x="92923" y="58348"/>
                    <a:pt x="92923" y="58348"/>
                  </a:cubicBezTo>
                  <a:cubicBezTo>
                    <a:pt x="89846" y="55045"/>
                    <a:pt x="89846" y="55045"/>
                    <a:pt x="89846" y="55045"/>
                  </a:cubicBezTo>
                  <a:cubicBezTo>
                    <a:pt x="81230" y="59449"/>
                    <a:pt x="81230" y="59449"/>
                    <a:pt x="81230" y="59449"/>
                  </a:cubicBezTo>
                  <a:cubicBezTo>
                    <a:pt x="80615" y="62752"/>
                    <a:pt x="80615" y="62752"/>
                    <a:pt x="80615" y="62752"/>
                  </a:cubicBezTo>
                  <a:cubicBezTo>
                    <a:pt x="79384" y="70458"/>
                    <a:pt x="79384" y="70458"/>
                    <a:pt x="79384" y="70458"/>
                  </a:cubicBezTo>
                  <a:cubicBezTo>
                    <a:pt x="77538" y="77064"/>
                    <a:pt x="77538" y="77064"/>
                    <a:pt x="77538" y="77064"/>
                  </a:cubicBezTo>
                  <a:cubicBezTo>
                    <a:pt x="75076" y="79266"/>
                    <a:pt x="75076" y="79266"/>
                    <a:pt x="75076" y="79266"/>
                  </a:cubicBezTo>
                  <a:cubicBezTo>
                    <a:pt x="73230" y="81467"/>
                    <a:pt x="73230" y="81467"/>
                    <a:pt x="73230" y="81467"/>
                  </a:cubicBezTo>
                  <a:cubicBezTo>
                    <a:pt x="71384" y="85871"/>
                    <a:pt x="71384" y="85871"/>
                    <a:pt x="71384" y="85871"/>
                  </a:cubicBezTo>
                  <a:cubicBezTo>
                    <a:pt x="67692" y="85871"/>
                    <a:pt x="67692" y="85871"/>
                    <a:pt x="67692" y="85871"/>
                  </a:cubicBezTo>
                  <a:cubicBezTo>
                    <a:pt x="65230" y="84770"/>
                    <a:pt x="65230" y="84770"/>
                    <a:pt x="65230" y="84770"/>
                  </a:cubicBezTo>
                  <a:cubicBezTo>
                    <a:pt x="61538" y="85871"/>
                    <a:pt x="61538" y="85871"/>
                    <a:pt x="61538" y="85871"/>
                  </a:cubicBezTo>
                  <a:cubicBezTo>
                    <a:pt x="60307" y="92477"/>
                    <a:pt x="60307" y="92477"/>
                    <a:pt x="60307" y="92477"/>
                  </a:cubicBezTo>
                  <a:cubicBezTo>
                    <a:pt x="57846" y="93577"/>
                    <a:pt x="57846" y="93577"/>
                    <a:pt x="57846" y="93577"/>
                  </a:cubicBezTo>
                  <a:cubicBezTo>
                    <a:pt x="53538" y="94678"/>
                    <a:pt x="53538" y="94678"/>
                    <a:pt x="53538" y="94678"/>
                  </a:cubicBezTo>
                  <a:cubicBezTo>
                    <a:pt x="48000" y="97981"/>
                    <a:pt x="48000" y="97981"/>
                    <a:pt x="48000" y="97981"/>
                  </a:cubicBezTo>
                  <a:cubicBezTo>
                    <a:pt x="44923" y="103486"/>
                    <a:pt x="44923" y="103486"/>
                    <a:pt x="44923" y="103486"/>
                  </a:cubicBezTo>
                  <a:cubicBezTo>
                    <a:pt x="44923" y="105688"/>
                    <a:pt x="44923" y="105688"/>
                    <a:pt x="44923" y="105688"/>
                  </a:cubicBezTo>
                  <a:cubicBezTo>
                    <a:pt x="44923" y="105688"/>
                    <a:pt x="47384" y="108990"/>
                    <a:pt x="48615" y="110091"/>
                  </a:cubicBezTo>
                  <a:cubicBezTo>
                    <a:pt x="49846" y="112293"/>
                    <a:pt x="46153" y="113394"/>
                    <a:pt x="45538" y="114495"/>
                  </a:cubicBezTo>
                  <a:cubicBezTo>
                    <a:pt x="44923" y="115596"/>
                    <a:pt x="39384" y="116697"/>
                    <a:pt x="39384" y="116697"/>
                  </a:cubicBezTo>
                  <a:cubicBezTo>
                    <a:pt x="28923" y="117798"/>
                    <a:pt x="28923" y="117798"/>
                    <a:pt x="28923" y="117798"/>
                  </a:cubicBezTo>
                  <a:cubicBezTo>
                    <a:pt x="23384" y="120000"/>
                    <a:pt x="23384" y="120000"/>
                    <a:pt x="23384" y="120000"/>
                  </a:cubicBezTo>
                  <a:cubicBezTo>
                    <a:pt x="20923" y="117798"/>
                    <a:pt x="20923" y="117798"/>
                    <a:pt x="20923" y="117798"/>
                  </a:cubicBezTo>
                  <a:cubicBezTo>
                    <a:pt x="16615" y="113394"/>
                    <a:pt x="16615" y="113394"/>
                    <a:pt x="16615" y="113394"/>
                  </a:cubicBezTo>
                  <a:cubicBezTo>
                    <a:pt x="13538" y="107889"/>
                    <a:pt x="13538" y="107889"/>
                    <a:pt x="13538" y="107889"/>
                  </a:cubicBezTo>
                  <a:cubicBezTo>
                    <a:pt x="13538" y="107889"/>
                    <a:pt x="13538" y="107889"/>
                    <a:pt x="13538" y="107889"/>
                  </a:cubicBezTo>
                  <a:cubicBezTo>
                    <a:pt x="8615" y="106788"/>
                    <a:pt x="8615" y="106788"/>
                    <a:pt x="8615" y="106788"/>
                  </a:cubicBezTo>
                  <a:cubicBezTo>
                    <a:pt x="8615" y="107889"/>
                    <a:pt x="8615" y="107889"/>
                    <a:pt x="8615" y="107889"/>
                  </a:cubicBezTo>
                  <a:cubicBezTo>
                    <a:pt x="8615" y="112293"/>
                    <a:pt x="8615" y="112293"/>
                    <a:pt x="8615" y="112293"/>
                  </a:cubicBezTo>
                  <a:cubicBezTo>
                    <a:pt x="6769" y="116697"/>
                    <a:pt x="6769" y="116697"/>
                    <a:pt x="6769" y="116697"/>
                  </a:cubicBezTo>
                  <a:cubicBezTo>
                    <a:pt x="5538" y="113394"/>
                    <a:pt x="4923" y="107889"/>
                    <a:pt x="3692" y="102385"/>
                  </a:cubicBezTo>
                  <a:cubicBezTo>
                    <a:pt x="3692" y="102385"/>
                    <a:pt x="3692" y="101284"/>
                    <a:pt x="3076" y="100183"/>
                  </a:cubicBezTo>
                  <a:cubicBezTo>
                    <a:pt x="3076" y="99082"/>
                    <a:pt x="2461" y="96880"/>
                    <a:pt x="2461" y="96880"/>
                  </a:cubicBezTo>
                  <a:cubicBezTo>
                    <a:pt x="2461" y="96880"/>
                    <a:pt x="2461" y="96880"/>
                    <a:pt x="2461" y="96880"/>
                  </a:cubicBezTo>
                  <a:cubicBezTo>
                    <a:pt x="1846" y="95779"/>
                    <a:pt x="1230" y="94678"/>
                    <a:pt x="1230" y="94678"/>
                  </a:cubicBezTo>
                  <a:cubicBezTo>
                    <a:pt x="1230" y="94678"/>
                    <a:pt x="1230" y="93577"/>
                    <a:pt x="1230" y="93577"/>
                  </a:cubicBezTo>
                  <a:cubicBezTo>
                    <a:pt x="615" y="93577"/>
                    <a:pt x="0" y="92477"/>
                    <a:pt x="0" y="92477"/>
                  </a:cubicBezTo>
                  <a:cubicBezTo>
                    <a:pt x="0" y="92477"/>
                    <a:pt x="0" y="89174"/>
                    <a:pt x="0" y="89174"/>
                  </a:cubicBezTo>
                  <a:cubicBezTo>
                    <a:pt x="0" y="86972"/>
                    <a:pt x="0" y="86972"/>
                    <a:pt x="0" y="86972"/>
                  </a:cubicBezTo>
                  <a:cubicBezTo>
                    <a:pt x="1230" y="84770"/>
                    <a:pt x="1230" y="84770"/>
                    <a:pt x="1230" y="84770"/>
                  </a:cubicBezTo>
                  <a:cubicBezTo>
                    <a:pt x="1230" y="84770"/>
                    <a:pt x="1230" y="82568"/>
                    <a:pt x="1230" y="82568"/>
                  </a:cubicBezTo>
                  <a:cubicBezTo>
                    <a:pt x="1230" y="82568"/>
                    <a:pt x="1846" y="80366"/>
                    <a:pt x="1846" y="80366"/>
                  </a:cubicBezTo>
                  <a:cubicBezTo>
                    <a:pt x="1230" y="79266"/>
                    <a:pt x="1230" y="79266"/>
                    <a:pt x="1230" y="79266"/>
                  </a:cubicBezTo>
                  <a:cubicBezTo>
                    <a:pt x="1230" y="75963"/>
                    <a:pt x="1230" y="75963"/>
                    <a:pt x="1230" y="75963"/>
                  </a:cubicBezTo>
                  <a:cubicBezTo>
                    <a:pt x="1846" y="74862"/>
                    <a:pt x="1846" y="74862"/>
                    <a:pt x="1846" y="74862"/>
                  </a:cubicBezTo>
                  <a:cubicBezTo>
                    <a:pt x="1846" y="72660"/>
                    <a:pt x="1846" y="72660"/>
                    <a:pt x="1846" y="72660"/>
                  </a:cubicBezTo>
                  <a:cubicBezTo>
                    <a:pt x="1846" y="72660"/>
                    <a:pt x="1846" y="71559"/>
                    <a:pt x="1846" y="71559"/>
                  </a:cubicBezTo>
                  <a:cubicBezTo>
                    <a:pt x="2461" y="71559"/>
                    <a:pt x="2461" y="68256"/>
                    <a:pt x="2461" y="68256"/>
                  </a:cubicBezTo>
                  <a:cubicBezTo>
                    <a:pt x="2461" y="68256"/>
                    <a:pt x="3076" y="66055"/>
                    <a:pt x="3076" y="66055"/>
                  </a:cubicBezTo>
                  <a:cubicBezTo>
                    <a:pt x="3692" y="66055"/>
                    <a:pt x="3692" y="64954"/>
                    <a:pt x="3692" y="64954"/>
                  </a:cubicBezTo>
                  <a:cubicBezTo>
                    <a:pt x="3692" y="63853"/>
                    <a:pt x="3692" y="62752"/>
                    <a:pt x="3692" y="62752"/>
                  </a:cubicBezTo>
                  <a:cubicBezTo>
                    <a:pt x="4923" y="61651"/>
                    <a:pt x="4923" y="61651"/>
                    <a:pt x="4923" y="61651"/>
                  </a:cubicBezTo>
                  <a:cubicBezTo>
                    <a:pt x="4923" y="61651"/>
                    <a:pt x="5538" y="60550"/>
                    <a:pt x="5538" y="60550"/>
                  </a:cubicBezTo>
                  <a:cubicBezTo>
                    <a:pt x="5538" y="60550"/>
                    <a:pt x="6153" y="60550"/>
                    <a:pt x="6769" y="60550"/>
                  </a:cubicBezTo>
                  <a:cubicBezTo>
                    <a:pt x="6769" y="60550"/>
                    <a:pt x="7384" y="60550"/>
                    <a:pt x="8000" y="60550"/>
                  </a:cubicBezTo>
                  <a:cubicBezTo>
                    <a:pt x="8000" y="60550"/>
                    <a:pt x="8000" y="61651"/>
                    <a:pt x="8615" y="61651"/>
                  </a:cubicBezTo>
                  <a:cubicBezTo>
                    <a:pt x="9230" y="61651"/>
                    <a:pt x="9846" y="62752"/>
                    <a:pt x="9846" y="62752"/>
                  </a:cubicBezTo>
                  <a:cubicBezTo>
                    <a:pt x="10461" y="61651"/>
                    <a:pt x="10461" y="61651"/>
                    <a:pt x="10461" y="61651"/>
                  </a:cubicBezTo>
                  <a:cubicBezTo>
                    <a:pt x="11076" y="61651"/>
                    <a:pt x="11076" y="60550"/>
                    <a:pt x="11076" y="60550"/>
                  </a:cubicBezTo>
                  <a:cubicBezTo>
                    <a:pt x="11692" y="60550"/>
                    <a:pt x="12923" y="61651"/>
                    <a:pt x="12923" y="61651"/>
                  </a:cubicBezTo>
                  <a:cubicBezTo>
                    <a:pt x="12923" y="61651"/>
                    <a:pt x="13538" y="62752"/>
                    <a:pt x="13538" y="61651"/>
                  </a:cubicBezTo>
                  <a:cubicBezTo>
                    <a:pt x="14153" y="61651"/>
                    <a:pt x="14769" y="60550"/>
                    <a:pt x="14769" y="60550"/>
                  </a:cubicBezTo>
                  <a:cubicBezTo>
                    <a:pt x="16000" y="59449"/>
                    <a:pt x="16000" y="59449"/>
                    <a:pt x="16000" y="59449"/>
                  </a:cubicBezTo>
                  <a:close/>
                </a:path>
              </a:pathLst>
            </a:custGeom>
            <a:solidFill>
              <a:srgbClr val="E4032D"/>
            </a:solidFill>
            <a:ln w="3175" cap="flat" cmpd="sng">
              <a:solidFill>
                <a:schemeClr val="tx1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defTabSz="457178"/>
              <a:endParaRPr kern="0">
                <a:solidFill>
                  <a:srgbClr val="7F7F7F"/>
                </a:solidFill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13" name="Shape 2020">
              <a:extLst>
                <a:ext uri="{FF2B5EF4-FFF2-40B4-BE49-F238E27FC236}">
                  <a16:creationId xmlns:a16="http://schemas.microsoft.com/office/drawing/2014/main" id="{B27A7E72-3586-4053-B0F7-C0C27BD4BE7F}"/>
                </a:ext>
              </a:extLst>
            </p:cNvPr>
            <p:cNvSpPr/>
            <p:nvPr/>
          </p:nvSpPr>
          <p:spPr>
            <a:xfrm>
              <a:off x="5320612" y="3211660"/>
              <a:ext cx="266061" cy="194972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9230" y="65454"/>
                  </a:moveTo>
                  <a:cubicBezTo>
                    <a:pt x="7179" y="64090"/>
                    <a:pt x="7179" y="64090"/>
                    <a:pt x="7179" y="64090"/>
                  </a:cubicBezTo>
                  <a:cubicBezTo>
                    <a:pt x="5128" y="62727"/>
                    <a:pt x="5128" y="62727"/>
                    <a:pt x="5128" y="62727"/>
                  </a:cubicBezTo>
                  <a:cubicBezTo>
                    <a:pt x="2051" y="62727"/>
                    <a:pt x="2051" y="62727"/>
                    <a:pt x="2051" y="62727"/>
                  </a:cubicBezTo>
                  <a:cubicBezTo>
                    <a:pt x="0" y="60000"/>
                    <a:pt x="0" y="60000"/>
                    <a:pt x="0" y="60000"/>
                  </a:cubicBezTo>
                  <a:cubicBezTo>
                    <a:pt x="1025" y="57272"/>
                    <a:pt x="1025" y="57272"/>
                    <a:pt x="1025" y="57272"/>
                  </a:cubicBezTo>
                  <a:cubicBezTo>
                    <a:pt x="1025" y="54545"/>
                    <a:pt x="1025" y="54545"/>
                    <a:pt x="1025" y="54545"/>
                  </a:cubicBezTo>
                  <a:cubicBezTo>
                    <a:pt x="1025" y="54545"/>
                    <a:pt x="3076" y="51818"/>
                    <a:pt x="3076" y="51818"/>
                  </a:cubicBezTo>
                  <a:cubicBezTo>
                    <a:pt x="4102" y="50454"/>
                    <a:pt x="6153" y="49090"/>
                    <a:pt x="6153" y="49090"/>
                  </a:cubicBezTo>
                  <a:cubicBezTo>
                    <a:pt x="7179" y="46363"/>
                    <a:pt x="7179" y="46363"/>
                    <a:pt x="7179" y="46363"/>
                  </a:cubicBezTo>
                  <a:cubicBezTo>
                    <a:pt x="7179" y="46363"/>
                    <a:pt x="8205" y="45000"/>
                    <a:pt x="9230" y="45000"/>
                  </a:cubicBezTo>
                  <a:cubicBezTo>
                    <a:pt x="10256" y="45000"/>
                    <a:pt x="10256" y="46363"/>
                    <a:pt x="10256" y="45000"/>
                  </a:cubicBezTo>
                  <a:cubicBezTo>
                    <a:pt x="11282" y="45000"/>
                    <a:pt x="11282" y="39545"/>
                    <a:pt x="11282" y="39545"/>
                  </a:cubicBezTo>
                  <a:cubicBezTo>
                    <a:pt x="11282" y="36818"/>
                    <a:pt x="11282" y="36818"/>
                    <a:pt x="11282" y="36818"/>
                  </a:cubicBezTo>
                  <a:cubicBezTo>
                    <a:pt x="13333" y="36818"/>
                    <a:pt x="13333" y="36818"/>
                    <a:pt x="13333" y="36818"/>
                  </a:cubicBezTo>
                  <a:cubicBezTo>
                    <a:pt x="22564" y="40909"/>
                    <a:pt x="22564" y="40909"/>
                    <a:pt x="22564" y="40909"/>
                  </a:cubicBezTo>
                  <a:cubicBezTo>
                    <a:pt x="32820" y="42272"/>
                    <a:pt x="32820" y="42272"/>
                    <a:pt x="32820" y="42272"/>
                  </a:cubicBezTo>
                  <a:cubicBezTo>
                    <a:pt x="42051" y="42272"/>
                    <a:pt x="42051" y="42272"/>
                    <a:pt x="42051" y="42272"/>
                  </a:cubicBezTo>
                  <a:cubicBezTo>
                    <a:pt x="44102" y="42272"/>
                    <a:pt x="44102" y="42272"/>
                    <a:pt x="44102" y="42272"/>
                  </a:cubicBezTo>
                  <a:cubicBezTo>
                    <a:pt x="47179" y="39545"/>
                    <a:pt x="47179" y="39545"/>
                    <a:pt x="47179" y="39545"/>
                  </a:cubicBezTo>
                  <a:cubicBezTo>
                    <a:pt x="49230" y="35454"/>
                    <a:pt x="49230" y="35454"/>
                    <a:pt x="49230" y="35454"/>
                  </a:cubicBezTo>
                  <a:cubicBezTo>
                    <a:pt x="53333" y="34090"/>
                    <a:pt x="53333" y="34090"/>
                    <a:pt x="53333" y="34090"/>
                  </a:cubicBezTo>
                  <a:cubicBezTo>
                    <a:pt x="54358" y="31363"/>
                    <a:pt x="54358" y="31363"/>
                    <a:pt x="54358" y="31363"/>
                  </a:cubicBezTo>
                  <a:cubicBezTo>
                    <a:pt x="56410" y="25909"/>
                    <a:pt x="56410" y="25909"/>
                    <a:pt x="56410" y="25909"/>
                  </a:cubicBezTo>
                  <a:cubicBezTo>
                    <a:pt x="59487" y="23181"/>
                    <a:pt x="59487" y="23181"/>
                    <a:pt x="59487" y="23181"/>
                  </a:cubicBezTo>
                  <a:cubicBezTo>
                    <a:pt x="65641" y="23181"/>
                    <a:pt x="65641" y="23181"/>
                    <a:pt x="65641" y="23181"/>
                  </a:cubicBezTo>
                  <a:cubicBezTo>
                    <a:pt x="72820" y="20454"/>
                    <a:pt x="72820" y="20454"/>
                    <a:pt x="72820" y="20454"/>
                  </a:cubicBezTo>
                  <a:cubicBezTo>
                    <a:pt x="77948" y="23181"/>
                    <a:pt x="77948" y="23181"/>
                    <a:pt x="77948" y="23181"/>
                  </a:cubicBezTo>
                  <a:cubicBezTo>
                    <a:pt x="84102" y="17727"/>
                    <a:pt x="84102" y="17727"/>
                    <a:pt x="84102" y="17727"/>
                  </a:cubicBezTo>
                  <a:cubicBezTo>
                    <a:pt x="87179" y="16363"/>
                    <a:pt x="87179" y="16363"/>
                    <a:pt x="87179" y="16363"/>
                  </a:cubicBezTo>
                  <a:cubicBezTo>
                    <a:pt x="92307" y="13636"/>
                    <a:pt x="92307" y="13636"/>
                    <a:pt x="92307" y="13636"/>
                  </a:cubicBezTo>
                  <a:cubicBezTo>
                    <a:pt x="98461" y="19090"/>
                    <a:pt x="98461" y="19090"/>
                    <a:pt x="98461" y="19090"/>
                  </a:cubicBezTo>
                  <a:cubicBezTo>
                    <a:pt x="97435" y="10909"/>
                    <a:pt x="97435" y="10909"/>
                    <a:pt x="97435" y="10909"/>
                  </a:cubicBezTo>
                  <a:cubicBezTo>
                    <a:pt x="98461" y="5454"/>
                    <a:pt x="98461" y="5454"/>
                    <a:pt x="98461" y="5454"/>
                  </a:cubicBezTo>
                  <a:cubicBezTo>
                    <a:pt x="102564" y="2727"/>
                    <a:pt x="102564" y="2727"/>
                    <a:pt x="102564" y="2727"/>
                  </a:cubicBezTo>
                  <a:cubicBezTo>
                    <a:pt x="103589" y="2727"/>
                    <a:pt x="103589" y="2727"/>
                    <a:pt x="103589" y="2727"/>
                  </a:cubicBezTo>
                  <a:cubicBezTo>
                    <a:pt x="103589" y="2727"/>
                    <a:pt x="103589" y="2727"/>
                    <a:pt x="103589" y="2727"/>
                  </a:cubicBezTo>
                  <a:cubicBezTo>
                    <a:pt x="107692" y="0"/>
                    <a:pt x="107692" y="0"/>
                    <a:pt x="107692" y="0"/>
                  </a:cubicBezTo>
                  <a:cubicBezTo>
                    <a:pt x="109743" y="2727"/>
                    <a:pt x="109743" y="2727"/>
                    <a:pt x="109743" y="2727"/>
                  </a:cubicBezTo>
                  <a:cubicBezTo>
                    <a:pt x="110769" y="5454"/>
                    <a:pt x="110769" y="5454"/>
                    <a:pt x="110769" y="5454"/>
                  </a:cubicBezTo>
                  <a:cubicBezTo>
                    <a:pt x="110769" y="5454"/>
                    <a:pt x="110769" y="5454"/>
                    <a:pt x="110769" y="5454"/>
                  </a:cubicBezTo>
                  <a:cubicBezTo>
                    <a:pt x="110769" y="5454"/>
                    <a:pt x="110769" y="5454"/>
                    <a:pt x="110769" y="6818"/>
                  </a:cubicBezTo>
                  <a:cubicBezTo>
                    <a:pt x="110769" y="6818"/>
                    <a:pt x="110769" y="6818"/>
                    <a:pt x="110769" y="6818"/>
                  </a:cubicBezTo>
                  <a:cubicBezTo>
                    <a:pt x="110769" y="8181"/>
                    <a:pt x="110769" y="8181"/>
                    <a:pt x="110769" y="8181"/>
                  </a:cubicBezTo>
                  <a:cubicBezTo>
                    <a:pt x="111794" y="9545"/>
                    <a:pt x="111794" y="9545"/>
                    <a:pt x="111794" y="9545"/>
                  </a:cubicBezTo>
                  <a:cubicBezTo>
                    <a:pt x="112820" y="10909"/>
                    <a:pt x="112820" y="10909"/>
                    <a:pt x="112820" y="10909"/>
                  </a:cubicBezTo>
                  <a:cubicBezTo>
                    <a:pt x="112820" y="10909"/>
                    <a:pt x="112820" y="10909"/>
                    <a:pt x="112820" y="10909"/>
                  </a:cubicBezTo>
                  <a:cubicBezTo>
                    <a:pt x="113846" y="13636"/>
                    <a:pt x="113846" y="13636"/>
                    <a:pt x="113846" y="13636"/>
                  </a:cubicBezTo>
                  <a:cubicBezTo>
                    <a:pt x="113846" y="16363"/>
                    <a:pt x="113846" y="16363"/>
                    <a:pt x="113846" y="16363"/>
                  </a:cubicBezTo>
                  <a:cubicBezTo>
                    <a:pt x="120000" y="25909"/>
                    <a:pt x="120000" y="25909"/>
                    <a:pt x="120000" y="25909"/>
                  </a:cubicBezTo>
                  <a:cubicBezTo>
                    <a:pt x="120000" y="25909"/>
                    <a:pt x="117948" y="25909"/>
                    <a:pt x="117948" y="25909"/>
                  </a:cubicBezTo>
                  <a:cubicBezTo>
                    <a:pt x="116923" y="25909"/>
                    <a:pt x="114871" y="25909"/>
                    <a:pt x="114871" y="25909"/>
                  </a:cubicBezTo>
                  <a:cubicBezTo>
                    <a:pt x="114871" y="25909"/>
                    <a:pt x="113846" y="27272"/>
                    <a:pt x="112820" y="27272"/>
                  </a:cubicBezTo>
                  <a:cubicBezTo>
                    <a:pt x="112820" y="27272"/>
                    <a:pt x="111794" y="30000"/>
                    <a:pt x="111794" y="30000"/>
                  </a:cubicBezTo>
                  <a:cubicBezTo>
                    <a:pt x="110769" y="31363"/>
                    <a:pt x="110769" y="31363"/>
                    <a:pt x="110769" y="31363"/>
                  </a:cubicBezTo>
                  <a:cubicBezTo>
                    <a:pt x="111794" y="32727"/>
                    <a:pt x="111794" y="32727"/>
                    <a:pt x="111794" y="32727"/>
                  </a:cubicBezTo>
                  <a:cubicBezTo>
                    <a:pt x="113846" y="38181"/>
                    <a:pt x="114871" y="38181"/>
                    <a:pt x="109743" y="36818"/>
                  </a:cubicBezTo>
                  <a:cubicBezTo>
                    <a:pt x="107692" y="35454"/>
                    <a:pt x="107692" y="35454"/>
                    <a:pt x="107692" y="35454"/>
                  </a:cubicBezTo>
                  <a:cubicBezTo>
                    <a:pt x="106666" y="36818"/>
                    <a:pt x="106666" y="36818"/>
                    <a:pt x="106666" y="36818"/>
                  </a:cubicBezTo>
                  <a:cubicBezTo>
                    <a:pt x="104615" y="38181"/>
                    <a:pt x="104615" y="38181"/>
                    <a:pt x="104615" y="38181"/>
                  </a:cubicBezTo>
                  <a:cubicBezTo>
                    <a:pt x="104615" y="38181"/>
                    <a:pt x="104615" y="38181"/>
                    <a:pt x="104615" y="38181"/>
                  </a:cubicBezTo>
                  <a:cubicBezTo>
                    <a:pt x="104615" y="38181"/>
                    <a:pt x="104615" y="40909"/>
                    <a:pt x="104615" y="40909"/>
                  </a:cubicBezTo>
                  <a:cubicBezTo>
                    <a:pt x="103589" y="43636"/>
                    <a:pt x="103589" y="43636"/>
                    <a:pt x="103589" y="43636"/>
                  </a:cubicBezTo>
                  <a:cubicBezTo>
                    <a:pt x="101538" y="45000"/>
                    <a:pt x="101538" y="45000"/>
                    <a:pt x="101538" y="45000"/>
                  </a:cubicBezTo>
                  <a:cubicBezTo>
                    <a:pt x="99487" y="46363"/>
                    <a:pt x="99487" y="46363"/>
                    <a:pt x="99487" y="46363"/>
                  </a:cubicBezTo>
                  <a:cubicBezTo>
                    <a:pt x="98461" y="47727"/>
                    <a:pt x="98461" y="47727"/>
                    <a:pt x="98461" y="47727"/>
                  </a:cubicBezTo>
                  <a:cubicBezTo>
                    <a:pt x="96410" y="47727"/>
                    <a:pt x="96410" y="47727"/>
                    <a:pt x="96410" y="47727"/>
                  </a:cubicBezTo>
                  <a:cubicBezTo>
                    <a:pt x="94358" y="49090"/>
                    <a:pt x="94358" y="49090"/>
                    <a:pt x="94358" y="49090"/>
                  </a:cubicBezTo>
                  <a:cubicBezTo>
                    <a:pt x="93333" y="51818"/>
                    <a:pt x="93333" y="51818"/>
                    <a:pt x="93333" y="51818"/>
                  </a:cubicBezTo>
                  <a:cubicBezTo>
                    <a:pt x="93333" y="51818"/>
                    <a:pt x="91282" y="51818"/>
                    <a:pt x="91282" y="51818"/>
                  </a:cubicBezTo>
                  <a:cubicBezTo>
                    <a:pt x="91282" y="51818"/>
                    <a:pt x="88205" y="53181"/>
                    <a:pt x="88205" y="53181"/>
                  </a:cubicBezTo>
                  <a:cubicBezTo>
                    <a:pt x="88205" y="55909"/>
                    <a:pt x="88205" y="55909"/>
                    <a:pt x="88205" y="55909"/>
                  </a:cubicBezTo>
                  <a:cubicBezTo>
                    <a:pt x="88205" y="55909"/>
                    <a:pt x="87179" y="57272"/>
                    <a:pt x="87179" y="57272"/>
                  </a:cubicBezTo>
                  <a:cubicBezTo>
                    <a:pt x="87179" y="57272"/>
                    <a:pt x="87179" y="61363"/>
                    <a:pt x="87179" y="61363"/>
                  </a:cubicBezTo>
                  <a:cubicBezTo>
                    <a:pt x="87179" y="61363"/>
                    <a:pt x="89230" y="62727"/>
                    <a:pt x="89230" y="62727"/>
                  </a:cubicBezTo>
                  <a:cubicBezTo>
                    <a:pt x="90256" y="64090"/>
                    <a:pt x="90256" y="64090"/>
                    <a:pt x="90256" y="64090"/>
                  </a:cubicBezTo>
                  <a:cubicBezTo>
                    <a:pt x="91282" y="65454"/>
                    <a:pt x="91282" y="65454"/>
                    <a:pt x="91282" y="65454"/>
                  </a:cubicBezTo>
                  <a:cubicBezTo>
                    <a:pt x="91282" y="65454"/>
                    <a:pt x="92307" y="66818"/>
                    <a:pt x="92307" y="66818"/>
                  </a:cubicBezTo>
                  <a:cubicBezTo>
                    <a:pt x="91282" y="66818"/>
                    <a:pt x="91282" y="70909"/>
                    <a:pt x="91282" y="70909"/>
                  </a:cubicBezTo>
                  <a:cubicBezTo>
                    <a:pt x="92307" y="75000"/>
                    <a:pt x="92307" y="75000"/>
                    <a:pt x="92307" y="75000"/>
                  </a:cubicBezTo>
                  <a:cubicBezTo>
                    <a:pt x="91282" y="76363"/>
                    <a:pt x="91282" y="76363"/>
                    <a:pt x="91282" y="76363"/>
                  </a:cubicBezTo>
                  <a:cubicBezTo>
                    <a:pt x="92307" y="79090"/>
                    <a:pt x="92307" y="79090"/>
                    <a:pt x="92307" y="79090"/>
                  </a:cubicBezTo>
                  <a:cubicBezTo>
                    <a:pt x="92307" y="79090"/>
                    <a:pt x="93333" y="79090"/>
                    <a:pt x="92307" y="80454"/>
                  </a:cubicBezTo>
                  <a:cubicBezTo>
                    <a:pt x="91282" y="80454"/>
                    <a:pt x="90256" y="81818"/>
                    <a:pt x="90256" y="81818"/>
                  </a:cubicBezTo>
                  <a:cubicBezTo>
                    <a:pt x="90256" y="81818"/>
                    <a:pt x="88205" y="81818"/>
                    <a:pt x="88205" y="81818"/>
                  </a:cubicBezTo>
                  <a:cubicBezTo>
                    <a:pt x="88205" y="81818"/>
                    <a:pt x="86153" y="81818"/>
                    <a:pt x="86153" y="81818"/>
                  </a:cubicBezTo>
                  <a:cubicBezTo>
                    <a:pt x="85128" y="84545"/>
                    <a:pt x="85128" y="84545"/>
                    <a:pt x="85128" y="84545"/>
                  </a:cubicBezTo>
                  <a:cubicBezTo>
                    <a:pt x="83076" y="83181"/>
                    <a:pt x="83076" y="83181"/>
                    <a:pt x="83076" y="83181"/>
                  </a:cubicBezTo>
                  <a:cubicBezTo>
                    <a:pt x="83076" y="85909"/>
                    <a:pt x="83076" y="85909"/>
                    <a:pt x="83076" y="85909"/>
                  </a:cubicBezTo>
                  <a:cubicBezTo>
                    <a:pt x="80000" y="87272"/>
                    <a:pt x="80000" y="87272"/>
                    <a:pt x="80000" y="87272"/>
                  </a:cubicBezTo>
                  <a:cubicBezTo>
                    <a:pt x="77948" y="88636"/>
                    <a:pt x="77948" y="88636"/>
                    <a:pt x="77948" y="88636"/>
                  </a:cubicBezTo>
                  <a:cubicBezTo>
                    <a:pt x="76923" y="91363"/>
                    <a:pt x="76923" y="91363"/>
                    <a:pt x="76923" y="91363"/>
                  </a:cubicBezTo>
                  <a:cubicBezTo>
                    <a:pt x="77948" y="92727"/>
                    <a:pt x="77948" y="92727"/>
                    <a:pt x="77948" y="92727"/>
                  </a:cubicBezTo>
                  <a:cubicBezTo>
                    <a:pt x="77948" y="92727"/>
                    <a:pt x="78974" y="94090"/>
                    <a:pt x="78974" y="92727"/>
                  </a:cubicBezTo>
                  <a:cubicBezTo>
                    <a:pt x="78974" y="92727"/>
                    <a:pt x="78974" y="91363"/>
                    <a:pt x="78974" y="91363"/>
                  </a:cubicBezTo>
                  <a:cubicBezTo>
                    <a:pt x="80000" y="92727"/>
                    <a:pt x="81025" y="94090"/>
                    <a:pt x="81025" y="94090"/>
                  </a:cubicBezTo>
                  <a:cubicBezTo>
                    <a:pt x="82051" y="96818"/>
                    <a:pt x="82051" y="96818"/>
                    <a:pt x="82051" y="96818"/>
                  </a:cubicBezTo>
                  <a:cubicBezTo>
                    <a:pt x="82051" y="96818"/>
                    <a:pt x="80000" y="96818"/>
                    <a:pt x="80000" y="96818"/>
                  </a:cubicBezTo>
                  <a:cubicBezTo>
                    <a:pt x="80000" y="96818"/>
                    <a:pt x="78974" y="98181"/>
                    <a:pt x="78974" y="98181"/>
                  </a:cubicBezTo>
                  <a:cubicBezTo>
                    <a:pt x="77948" y="99545"/>
                    <a:pt x="77948" y="99545"/>
                    <a:pt x="77948" y="99545"/>
                  </a:cubicBezTo>
                  <a:cubicBezTo>
                    <a:pt x="77948" y="100909"/>
                    <a:pt x="77948" y="100909"/>
                    <a:pt x="77948" y="102272"/>
                  </a:cubicBezTo>
                  <a:cubicBezTo>
                    <a:pt x="77948" y="102272"/>
                    <a:pt x="77948" y="103636"/>
                    <a:pt x="77948" y="103636"/>
                  </a:cubicBezTo>
                  <a:cubicBezTo>
                    <a:pt x="78974" y="103636"/>
                    <a:pt x="80000" y="106363"/>
                    <a:pt x="80000" y="106363"/>
                  </a:cubicBezTo>
                  <a:cubicBezTo>
                    <a:pt x="80000" y="106363"/>
                    <a:pt x="81025" y="107727"/>
                    <a:pt x="81025" y="107727"/>
                  </a:cubicBezTo>
                  <a:cubicBezTo>
                    <a:pt x="81025" y="107727"/>
                    <a:pt x="81025" y="109090"/>
                    <a:pt x="81025" y="109090"/>
                  </a:cubicBezTo>
                  <a:cubicBezTo>
                    <a:pt x="81025" y="109090"/>
                    <a:pt x="80000" y="110454"/>
                    <a:pt x="78974" y="110454"/>
                  </a:cubicBezTo>
                  <a:cubicBezTo>
                    <a:pt x="78974" y="110454"/>
                    <a:pt x="76923" y="110454"/>
                    <a:pt x="76923" y="110454"/>
                  </a:cubicBezTo>
                  <a:cubicBezTo>
                    <a:pt x="76923" y="110454"/>
                    <a:pt x="75897" y="113181"/>
                    <a:pt x="75897" y="113181"/>
                  </a:cubicBezTo>
                  <a:cubicBezTo>
                    <a:pt x="75897" y="113181"/>
                    <a:pt x="74871" y="113181"/>
                    <a:pt x="73846" y="113181"/>
                  </a:cubicBezTo>
                  <a:cubicBezTo>
                    <a:pt x="73846" y="113181"/>
                    <a:pt x="75897" y="114545"/>
                    <a:pt x="73846" y="113181"/>
                  </a:cubicBezTo>
                  <a:cubicBezTo>
                    <a:pt x="70769" y="111818"/>
                    <a:pt x="70769" y="110454"/>
                    <a:pt x="70769" y="110454"/>
                  </a:cubicBezTo>
                  <a:cubicBezTo>
                    <a:pt x="70769" y="110454"/>
                    <a:pt x="69743" y="109090"/>
                    <a:pt x="69743" y="109090"/>
                  </a:cubicBezTo>
                  <a:cubicBezTo>
                    <a:pt x="68717" y="109090"/>
                    <a:pt x="67692" y="109090"/>
                    <a:pt x="67692" y="109090"/>
                  </a:cubicBezTo>
                  <a:cubicBezTo>
                    <a:pt x="65641" y="109090"/>
                    <a:pt x="65641" y="109090"/>
                    <a:pt x="65641" y="109090"/>
                  </a:cubicBezTo>
                  <a:cubicBezTo>
                    <a:pt x="64615" y="107727"/>
                    <a:pt x="64615" y="107727"/>
                    <a:pt x="64615" y="107727"/>
                  </a:cubicBezTo>
                  <a:cubicBezTo>
                    <a:pt x="63589" y="110454"/>
                    <a:pt x="63589" y="110454"/>
                    <a:pt x="63589" y="110454"/>
                  </a:cubicBezTo>
                  <a:cubicBezTo>
                    <a:pt x="63589" y="110454"/>
                    <a:pt x="63589" y="111818"/>
                    <a:pt x="62564" y="111818"/>
                  </a:cubicBezTo>
                  <a:cubicBezTo>
                    <a:pt x="61538" y="113181"/>
                    <a:pt x="62564" y="113181"/>
                    <a:pt x="61538" y="113181"/>
                  </a:cubicBezTo>
                  <a:cubicBezTo>
                    <a:pt x="59487" y="113181"/>
                    <a:pt x="58461" y="110454"/>
                    <a:pt x="58461" y="110454"/>
                  </a:cubicBezTo>
                  <a:cubicBezTo>
                    <a:pt x="58461" y="110454"/>
                    <a:pt x="56410" y="109090"/>
                    <a:pt x="56410" y="109090"/>
                  </a:cubicBezTo>
                  <a:cubicBezTo>
                    <a:pt x="55384" y="107727"/>
                    <a:pt x="55384" y="107727"/>
                    <a:pt x="55384" y="107727"/>
                  </a:cubicBezTo>
                  <a:cubicBezTo>
                    <a:pt x="54358" y="107727"/>
                    <a:pt x="54358" y="109090"/>
                    <a:pt x="54358" y="106363"/>
                  </a:cubicBezTo>
                  <a:cubicBezTo>
                    <a:pt x="54358" y="105000"/>
                    <a:pt x="54358" y="105000"/>
                    <a:pt x="54358" y="105000"/>
                  </a:cubicBezTo>
                  <a:cubicBezTo>
                    <a:pt x="53333" y="103636"/>
                    <a:pt x="53333" y="105000"/>
                    <a:pt x="52307" y="103636"/>
                  </a:cubicBezTo>
                  <a:cubicBezTo>
                    <a:pt x="52307" y="102272"/>
                    <a:pt x="51282" y="100909"/>
                    <a:pt x="51282" y="100909"/>
                  </a:cubicBezTo>
                  <a:cubicBezTo>
                    <a:pt x="50256" y="98181"/>
                    <a:pt x="50256" y="98181"/>
                    <a:pt x="50256" y="98181"/>
                  </a:cubicBezTo>
                  <a:cubicBezTo>
                    <a:pt x="50256" y="98181"/>
                    <a:pt x="50256" y="98181"/>
                    <a:pt x="50256" y="99545"/>
                  </a:cubicBezTo>
                  <a:cubicBezTo>
                    <a:pt x="49230" y="100909"/>
                    <a:pt x="48205" y="100909"/>
                    <a:pt x="48205" y="100909"/>
                  </a:cubicBezTo>
                  <a:cubicBezTo>
                    <a:pt x="48205" y="102272"/>
                    <a:pt x="47179" y="103636"/>
                    <a:pt x="47179" y="103636"/>
                  </a:cubicBezTo>
                  <a:cubicBezTo>
                    <a:pt x="47179" y="103636"/>
                    <a:pt x="46153" y="105000"/>
                    <a:pt x="46153" y="106363"/>
                  </a:cubicBezTo>
                  <a:cubicBezTo>
                    <a:pt x="47179" y="106363"/>
                    <a:pt x="47179" y="106363"/>
                    <a:pt x="47179" y="107727"/>
                  </a:cubicBezTo>
                  <a:cubicBezTo>
                    <a:pt x="47179" y="107727"/>
                    <a:pt x="46153" y="109090"/>
                    <a:pt x="46153" y="109090"/>
                  </a:cubicBezTo>
                  <a:cubicBezTo>
                    <a:pt x="45128" y="110454"/>
                    <a:pt x="45128" y="110454"/>
                    <a:pt x="44102" y="110454"/>
                  </a:cubicBezTo>
                  <a:cubicBezTo>
                    <a:pt x="44102" y="111818"/>
                    <a:pt x="42051" y="113181"/>
                    <a:pt x="42051" y="113181"/>
                  </a:cubicBezTo>
                  <a:cubicBezTo>
                    <a:pt x="40000" y="113181"/>
                    <a:pt x="40000" y="113181"/>
                    <a:pt x="40000" y="113181"/>
                  </a:cubicBezTo>
                  <a:cubicBezTo>
                    <a:pt x="36923" y="111818"/>
                    <a:pt x="36923" y="111818"/>
                    <a:pt x="36923" y="111818"/>
                  </a:cubicBezTo>
                  <a:cubicBezTo>
                    <a:pt x="34871" y="114545"/>
                    <a:pt x="34871" y="114545"/>
                    <a:pt x="34871" y="114545"/>
                  </a:cubicBezTo>
                  <a:cubicBezTo>
                    <a:pt x="34871" y="114545"/>
                    <a:pt x="33846" y="114545"/>
                    <a:pt x="33846" y="114545"/>
                  </a:cubicBezTo>
                  <a:cubicBezTo>
                    <a:pt x="32820" y="114545"/>
                    <a:pt x="31794" y="114545"/>
                    <a:pt x="31794" y="114545"/>
                  </a:cubicBezTo>
                  <a:cubicBezTo>
                    <a:pt x="31794" y="114545"/>
                    <a:pt x="30769" y="113181"/>
                    <a:pt x="29743" y="113181"/>
                  </a:cubicBezTo>
                  <a:cubicBezTo>
                    <a:pt x="29743" y="113181"/>
                    <a:pt x="28717" y="113181"/>
                    <a:pt x="28717" y="113181"/>
                  </a:cubicBezTo>
                  <a:cubicBezTo>
                    <a:pt x="27692" y="113181"/>
                    <a:pt x="26666" y="113181"/>
                    <a:pt x="26666" y="113181"/>
                  </a:cubicBezTo>
                  <a:cubicBezTo>
                    <a:pt x="26666" y="114545"/>
                    <a:pt x="26666" y="114545"/>
                    <a:pt x="26666" y="114545"/>
                  </a:cubicBezTo>
                  <a:cubicBezTo>
                    <a:pt x="26666" y="114545"/>
                    <a:pt x="27692" y="114545"/>
                    <a:pt x="27692" y="114545"/>
                  </a:cubicBezTo>
                  <a:cubicBezTo>
                    <a:pt x="27692" y="115909"/>
                    <a:pt x="27692" y="117272"/>
                    <a:pt x="27692" y="117272"/>
                  </a:cubicBezTo>
                  <a:cubicBezTo>
                    <a:pt x="27692" y="117272"/>
                    <a:pt x="26666" y="117272"/>
                    <a:pt x="26666" y="117272"/>
                  </a:cubicBezTo>
                  <a:cubicBezTo>
                    <a:pt x="26666" y="118636"/>
                    <a:pt x="24615" y="118636"/>
                    <a:pt x="24615" y="118636"/>
                  </a:cubicBezTo>
                  <a:cubicBezTo>
                    <a:pt x="24615" y="118636"/>
                    <a:pt x="24615" y="120000"/>
                    <a:pt x="24615" y="120000"/>
                  </a:cubicBezTo>
                  <a:cubicBezTo>
                    <a:pt x="24615" y="120000"/>
                    <a:pt x="24615" y="120000"/>
                    <a:pt x="23589" y="120000"/>
                  </a:cubicBezTo>
                  <a:cubicBezTo>
                    <a:pt x="22564" y="120000"/>
                    <a:pt x="22564" y="120000"/>
                    <a:pt x="21538" y="120000"/>
                  </a:cubicBezTo>
                  <a:cubicBezTo>
                    <a:pt x="21538" y="118636"/>
                    <a:pt x="20512" y="118636"/>
                    <a:pt x="19487" y="118636"/>
                  </a:cubicBezTo>
                  <a:cubicBezTo>
                    <a:pt x="19487" y="118636"/>
                    <a:pt x="16410" y="117272"/>
                    <a:pt x="16410" y="117272"/>
                  </a:cubicBezTo>
                  <a:cubicBezTo>
                    <a:pt x="16410" y="117272"/>
                    <a:pt x="15384" y="118636"/>
                    <a:pt x="15384" y="118636"/>
                  </a:cubicBezTo>
                  <a:cubicBezTo>
                    <a:pt x="14358" y="118636"/>
                    <a:pt x="13333" y="118636"/>
                    <a:pt x="12307" y="117272"/>
                  </a:cubicBezTo>
                  <a:cubicBezTo>
                    <a:pt x="12307" y="117272"/>
                    <a:pt x="11282" y="117272"/>
                    <a:pt x="11282" y="117272"/>
                  </a:cubicBezTo>
                  <a:cubicBezTo>
                    <a:pt x="11282" y="115909"/>
                    <a:pt x="11282" y="114545"/>
                    <a:pt x="11282" y="114545"/>
                  </a:cubicBezTo>
                  <a:cubicBezTo>
                    <a:pt x="11282" y="114545"/>
                    <a:pt x="10256" y="113181"/>
                    <a:pt x="11282" y="113181"/>
                  </a:cubicBezTo>
                  <a:cubicBezTo>
                    <a:pt x="11282" y="113181"/>
                    <a:pt x="12307" y="113181"/>
                    <a:pt x="13333" y="113181"/>
                  </a:cubicBezTo>
                  <a:cubicBezTo>
                    <a:pt x="14358" y="113181"/>
                    <a:pt x="15384" y="113181"/>
                    <a:pt x="15384" y="111818"/>
                  </a:cubicBezTo>
                  <a:cubicBezTo>
                    <a:pt x="15384" y="111818"/>
                    <a:pt x="15384" y="111818"/>
                    <a:pt x="16410" y="111818"/>
                  </a:cubicBezTo>
                  <a:cubicBezTo>
                    <a:pt x="16410" y="111818"/>
                    <a:pt x="17435" y="113181"/>
                    <a:pt x="17435" y="111818"/>
                  </a:cubicBezTo>
                  <a:cubicBezTo>
                    <a:pt x="17435" y="110454"/>
                    <a:pt x="17435" y="110454"/>
                    <a:pt x="17435" y="110454"/>
                  </a:cubicBezTo>
                  <a:cubicBezTo>
                    <a:pt x="16410" y="109090"/>
                    <a:pt x="16410" y="109090"/>
                    <a:pt x="16410" y="109090"/>
                  </a:cubicBezTo>
                  <a:cubicBezTo>
                    <a:pt x="16410" y="109090"/>
                    <a:pt x="17435" y="107727"/>
                    <a:pt x="17435" y="107727"/>
                  </a:cubicBezTo>
                  <a:cubicBezTo>
                    <a:pt x="18461" y="107727"/>
                    <a:pt x="19487" y="107727"/>
                    <a:pt x="19487" y="107727"/>
                  </a:cubicBezTo>
                  <a:cubicBezTo>
                    <a:pt x="20512" y="107727"/>
                    <a:pt x="21538" y="107727"/>
                    <a:pt x="21538" y="107727"/>
                  </a:cubicBezTo>
                  <a:cubicBezTo>
                    <a:pt x="21538" y="107727"/>
                    <a:pt x="21538" y="107727"/>
                    <a:pt x="22564" y="106363"/>
                  </a:cubicBezTo>
                  <a:cubicBezTo>
                    <a:pt x="22564" y="106363"/>
                    <a:pt x="18461" y="106363"/>
                    <a:pt x="17435" y="105000"/>
                  </a:cubicBezTo>
                  <a:cubicBezTo>
                    <a:pt x="15384" y="102272"/>
                    <a:pt x="13333" y="100909"/>
                    <a:pt x="13333" y="95454"/>
                  </a:cubicBezTo>
                  <a:cubicBezTo>
                    <a:pt x="12307" y="95454"/>
                    <a:pt x="12307" y="92727"/>
                    <a:pt x="11282" y="92727"/>
                  </a:cubicBezTo>
                  <a:cubicBezTo>
                    <a:pt x="11282" y="92727"/>
                    <a:pt x="9230" y="91363"/>
                    <a:pt x="9230" y="91363"/>
                  </a:cubicBezTo>
                  <a:cubicBezTo>
                    <a:pt x="9230" y="90000"/>
                    <a:pt x="9230" y="90000"/>
                    <a:pt x="10256" y="88636"/>
                  </a:cubicBezTo>
                  <a:cubicBezTo>
                    <a:pt x="10256" y="87272"/>
                    <a:pt x="10256" y="87272"/>
                    <a:pt x="11282" y="85909"/>
                  </a:cubicBezTo>
                  <a:cubicBezTo>
                    <a:pt x="11282" y="85909"/>
                    <a:pt x="11282" y="83181"/>
                    <a:pt x="11282" y="83181"/>
                  </a:cubicBezTo>
                  <a:cubicBezTo>
                    <a:pt x="11282" y="83181"/>
                    <a:pt x="12307" y="81818"/>
                    <a:pt x="11282" y="81818"/>
                  </a:cubicBezTo>
                  <a:cubicBezTo>
                    <a:pt x="11282" y="80454"/>
                    <a:pt x="10256" y="79090"/>
                    <a:pt x="10256" y="79090"/>
                  </a:cubicBezTo>
                  <a:cubicBezTo>
                    <a:pt x="10256" y="79090"/>
                    <a:pt x="10256" y="79090"/>
                    <a:pt x="9230" y="79090"/>
                  </a:cubicBezTo>
                  <a:cubicBezTo>
                    <a:pt x="9230" y="80454"/>
                    <a:pt x="9230" y="80454"/>
                    <a:pt x="9230" y="80454"/>
                  </a:cubicBezTo>
                  <a:cubicBezTo>
                    <a:pt x="7179" y="81818"/>
                    <a:pt x="7179" y="81818"/>
                    <a:pt x="7179" y="81818"/>
                  </a:cubicBezTo>
                  <a:cubicBezTo>
                    <a:pt x="7179" y="81818"/>
                    <a:pt x="6153" y="79090"/>
                    <a:pt x="6153" y="79090"/>
                  </a:cubicBezTo>
                  <a:cubicBezTo>
                    <a:pt x="5128" y="79090"/>
                    <a:pt x="5128" y="79090"/>
                    <a:pt x="5128" y="77727"/>
                  </a:cubicBezTo>
                  <a:cubicBezTo>
                    <a:pt x="5128" y="77727"/>
                    <a:pt x="6153" y="76363"/>
                    <a:pt x="6153" y="76363"/>
                  </a:cubicBezTo>
                  <a:cubicBezTo>
                    <a:pt x="6153" y="76363"/>
                    <a:pt x="5128" y="75000"/>
                    <a:pt x="5128" y="75000"/>
                  </a:cubicBezTo>
                  <a:cubicBezTo>
                    <a:pt x="5128" y="75000"/>
                    <a:pt x="6153" y="72272"/>
                    <a:pt x="7179" y="72272"/>
                  </a:cubicBezTo>
                  <a:cubicBezTo>
                    <a:pt x="8205" y="70909"/>
                    <a:pt x="10256" y="68181"/>
                    <a:pt x="10256" y="68181"/>
                  </a:cubicBezTo>
                  <a:cubicBezTo>
                    <a:pt x="11282" y="65454"/>
                    <a:pt x="11282" y="65454"/>
                    <a:pt x="11282" y="65454"/>
                  </a:cubicBezTo>
                  <a:cubicBezTo>
                    <a:pt x="10256" y="64090"/>
                    <a:pt x="10256" y="64090"/>
                    <a:pt x="10256" y="64090"/>
                  </a:cubicBezTo>
                  <a:cubicBezTo>
                    <a:pt x="10256" y="64090"/>
                    <a:pt x="9230" y="65454"/>
                    <a:pt x="9230" y="65454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tx1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defTabSz="457178"/>
              <a:endParaRPr kern="0">
                <a:solidFill>
                  <a:srgbClr val="7F7F7F"/>
                </a:solidFill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14" name="Shape 2021">
              <a:extLst>
                <a:ext uri="{FF2B5EF4-FFF2-40B4-BE49-F238E27FC236}">
                  <a16:creationId xmlns:a16="http://schemas.microsoft.com/office/drawing/2014/main" id="{93C90C27-5DA4-4473-9C6C-D23FE6557602}"/>
                </a:ext>
              </a:extLst>
            </p:cNvPr>
            <p:cNvSpPr/>
            <p:nvPr/>
          </p:nvSpPr>
          <p:spPr>
            <a:xfrm>
              <a:off x="5338203" y="3253211"/>
              <a:ext cx="517832" cy="466653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3656" y="46635"/>
                  </a:moveTo>
                  <a:cubicBezTo>
                    <a:pt x="113656" y="45497"/>
                    <a:pt x="113127" y="44928"/>
                    <a:pt x="114185" y="44360"/>
                  </a:cubicBezTo>
                  <a:cubicBezTo>
                    <a:pt x="114713" y="44360"/>
                    <a:pt x="115242" y="45497"/>
                    <a:pt x="115242" y="44360"/>
                  </a:cubicBezTo>
                  <a:cubicBezTo>
                    <a:pt x="115242" y="43222"/>
                    <a:pt x="115770" y="43791"/>
                    <a:pt x="115242" y="42654"/>
                  </a:cubicBezTo>
                  <a:cubicBezTo>
                    <a:pt x="115242" y="42654"/>
                    <a:pt x="115242" y="42654"/>
                    <a:pt x="115242" y="42654"/>
                  </a:cubicBezTo>
                  <a:cubicBezTo>
                    <a:pt x="115242" y="42654"/>
                    <a:pt x="115242" y="42654"/>
                    <a:pt x="115242" y="42654"/>
                  </a:cubicBezTo>
                  <a:cubicBezTo>
                    <a:pt x="115242" y="42654"/>
                    <a:pt x="115242" y="43791"/>
                    <a:pt x="114713" y="43791"/>
                  </a:cubicBezTo>
                  <a:cubicBezTo>
                    <a:pt x="114713" y="43791"/>
                    <a:pt x="114185" y="44360"/>
                    <a:pt x="113656" y="44360"/>
                  </a:cubicBezTo>
                  <a:cubicBezTo>
                    <a:pt x="113127" y="43791"/>
                    <a:pt x="113127" y="43791"/>
                    <a:pt x="113127" y="43791"/>
                  </a:cubicBezTo>
                  <a:cubicBezTo>
                    <a:pt x="114185" y="42654"/>
                    <a:pt x="114185" y="42654"/>
                    <a:pt x="114185" y="42654"/>
                  </a:cubicBezTo>
                  <a:cubicBezTo>
                    <a:pt x="114185" y="40379"/>
                    <a:pt x="114185" y="40379"/>
                    <a:pt x="114185" y="40379"/>
                  </a:cubicBezTo>
                  <a:cubicBezTo>
                    <a:pt x="114185" y="40379"/>
                    <a:pt x="113656" y="39241"/>
                    <a:pt x="113127" y="38104"/>
                  </a:cubicBezTo>
                  <a:cubicBezTo>
                    <a:pt x="112599" y="37535"/>
                    <a:pt x="112070" y="36966"/>
                    <a:pt x="112070" y="36966"/>
                  </a:cubicBezTo>
                  <a:cubicBezTo>
                    <a:pt x="113656" y="35829"/>
                    <a:pt x="113656" y="35829"/>
                    <a:pt x="113656" y="35829"/>
                  </a:cubicBezTo>
                  <a:cubicBezTo>
                    <a:pt x="114185" y="35260"/>
                    <a:pt x="114185" y="35260"/>
                    <a:pt x="114185" y="35260"/>
                  </a:cubicBezTo>
                  <a:cubicBezTo>
                    <a:pt x="114185" y="34691"/>
                    <a:pt x="114185" y="34691"/>
                    <a:pt x="114185" y="34691"/>
                  </a:cubicBezTo>
                  <a:cubicBezTo>
                    <a:pt x="114185" y="34691"/>
                    <a:pt x="115242" y="35829"/>
                    <a:pt x="116299" y="35829"/>
                  </a:cubicBezTo>
                  <a:cubicBezTo>
                    <a:pt x="116828" y="35829"/>
                    <a:pt x="116299" y="35829"/>
                    <a:pt x="117356" y="35260"/>
                  </a:cubicBezTo>
                  <a:cubicBezTo>
                    <a:pt x="118414" y="35260"/>
                    <a:pt x="120000" y="33554"/>
                    <a:pt x="120000" y="33554"/>
                  </a:cubicBezTo>
                  <a:cubicBezTo>
                    <a:pt x="120000" y="33554"/>
                    <a:pt x="118942" y="32417"/>
                    <a:pt x="118414" y="32417"/>
                  </a:cubicBezTo>
                  <a:cubicBezTo>
                    <a:pt x="117885" y="32985"/>
                    <a:pt x="118414" y="32985"/>
                    <a:pt x="116828" y="32985"/>
                  </a:cubicBezTo>
                  <a:cubicBezTo>
                    <a:pt x="115242" y="32417"/>
                    <a:pt x="114713" y="31848"/>
                    <a:pt x="114713" y="31848"/>
                  </a:cubicBezTo>
                  <a:cubicBezTo>
                    <a:pt x="114713" y="31848"/>
                    <a:pt x="114185" y="31848"/>
                    <a:pt x="113656" y="31848"/>
                  </a:cubicBezTo>
                  <a:cubicBezTo>
                    <a:pt x="113127" y="31848"/>
                    <a:pt x="113127" y="31848"/>
                    <a:pt x="112599" y="31279"/>
                  </a:cubicBezTo>
                  <a:cubicBezTo>
                    <a:pt x="111541" y="30142"/>
                    <a:pt x="110484" y="29004"/>
                    <a:pt x="110484" y="29004"/>
                  </a:cubicBezTo>
                  <a:cubicBezTo>
                    <a:pt x="110484" y="29004"/>
                    <a:pt x="109427" y="29573"/>
                    <a:pt x="109427" y="29004"/>
                  </a:cubicBezTo>
                  <a:cubicBezTo>
                    <a:pt x="109427" y="29004"/>
                    <a:pt x="109955" y="27867"/>
                    <a:pt x="109955" y="27867"/>
                  </a:cubicBezTo>
                  <a:cubicBezTo>
                    <a:pt x="109955" y="27298"/>
                    <a:pt x="109955" y="27298"/>
                    <a:pt x="109955" y="27298"/>
                  </a:cubicBezTo>
                  <a:cubicBezTo>
                    <a:pt x="109427" y="26729"/>
                    <a:pt x="109427" y="26729"/>
                    <a:pt x="109427" y="26729"/>
                  </a:cubicBezTo>
                  <a:cubicBezTo>
                    <a:pt x="109427" y="26729"/>
                    <a:pt x="110484" y="26729"/>
                    <a:pt x="110484" y="26729"/>
                  </a:cubicBezTo>
                  <a:cubicBezTo>
                    <a:pt x="111013" y="26161"/>
                    <a:pt x="111013" y="26161"/>
                    <a:pt x="111013" y="26161"/>
                  </a:cubicBezTo>
                  <a:cubicBezTo>
                    <a:pt x="112070" y="25023"/>
                    <a:pt x="111013" y="23886"/>
                    <a:pt x="109427" y="24454"/>
                  </a:cubicBezTo>
                  <a:cubicBezTo>
                    <a:pt x="108898" y="24454"/>
                    <a:pt x="108370" y="25023"/>
                    <a:pt x="108370" y="25023"/>
                  </a:cubicBezTo>
                  <a:cubicBezTo>
                    <a:pt x="107841" y="25023"/>
                    <a:pt x="106784" y="24454"/>
                    <a:pt x="106784" y="23886"/>
                  </a:cubicBezTo>
                  <a:cubicBezTo>
                    <a:pt x="106784" y="23317"/>
                    <a:pt x="106255" y="23317"/>
                    <a:pt x="107312" y="22748"/>
                  </a:cubicBezTo>
                  <a:cubicBezTo>
                    <a:pt x="107841" y="22748"/>
                    <a:pt x="108370" y="21611"/>
                    <a:pt x="108370" y="21611"/>
                  </a:cubicBezTo>
                  <a:cubicBezTo>
                    <a:pt x="107312" y="19905"/>
                    <a:pt x="107312" y="19905"/>
                    <a:pt x="107312" y="19905"/>
                  </a:cubicBezTo>
                  <a:cubicBezTo>
                    <a:pt x="107841" y="16492"/>
                    <a:pt x="107841" y="16492"/>
                    <a:pt x="107841" y="16492"/>
                  </a:cubicBezTo>
                  <a:cubicBezTo>
                    <a:pt x="105726" y="15924"/>
                    <a:pt x="105726" y="15924"/>
                    <a:pt x="105726" y="15924"/>
                  </a:cubicBezTo>
                  <a:cubicBezTo>
                    <a:pt x="105726" y="14786"/>
                    <a:pt x="105726" y="14786"/>
                    <a:pt x="105726" y="14786"/>
                  </a:cubicBezTo>
                  <a:cubicBezTo>
                    <a:pt x="104669" y="14218"/>
                    <a:pt x="104669" y="14218"/>
                    <a:pt x="104669" y="14218"/>
                  </a:cubicBezTo>
                  <a:cubicBezTo>
                    <a:pt x="103612" y="17061"/>
                    <a:pt x="103612" y="17061"/>
                    <a:pt x="103612" y="17061"/>
                  </a:cubicBezTo>
                  <a:cubicBezTo>
                    <a:pt x="103612" y="17061"/>
                    <a:pt x="102026" y="17630"/>
                    <a:pt x="102026" y="18199"/>
                  </a:cubicBezTo>
                  <a:cubicBezTo>
                    <a:pt x="101497" y="18767"/>
                    <a:pt x="98854" y="18767"/>
                    <a:pt x="98854" y="18767"/>
                  </a:cubicBezTo>
                  <a:cubicBezTo>
                    <a:pt x="96740" y="18767"/>
                    <a:pt x="96740" y="18767"/>
                    <a:pt x="96740" y="18767"/>
                  </a:cubicBezTo>
                  <a:cubicBezTo>
                    <a:pt x="93039" y="19905"/>
                    <a:pt x="93039" y="19905"/>
                    <a:pt x="93039" y="19905"/>
                  </a:cubicBezTo>
                  <a:cubicBezTo>
                    <a:pt x="93039" y="19905"/>
                    <a:pt x="91982" y="20473"/>
                    <a:pt x="91453" y="20473"/>
                  </a:cubicBezTo>
                  <a:cubicBezTo>
                    <a:pt x="90925" y="20473"/>
                    <a:pt x="88281" y="19905"/>
                    <a:pt x="88281" y="19905"/>
                  </a:cubicBezTo>
                  <a:cubicBezTo>
                    <a:pt x="86696" y="20473"/>
                    <a:pt x="86696" y="20473"/>
                    <a:pt x="86696" y="20473"/>
                  </a:cubicBezTo>
                  <a:cubicBezTo>
                    <a:pt x="82995" y="19336"/>
                    <a:pt x="82995" y="19336"/>
                    <a:pt x="82995" y="19336"/>
                  </a:cubicBezTo>
                  <a:cubicBezTo>
                    <a:pt x="81938" y="18199"/>
                    <a:pt x="81938" y="18199"/>
                    <a:pt x="81938" y="18199"/>
                  </a:cubicBezTo>
                  <a:cubicBezTo>
                    <a:pt x="81409" y="17630"/>
                    <a:pt x="81409" y="17630"/>
                    <a:pt x="81409" y="17630"/>
                  </a:cubicBezTo>
                  <a:cubicBezTo>
                    <a:pt x="78766" y="17061"/>
                    <a:pt x="78766" y="17061"/>
                    <a:pt x="78766" y="17061"/>
                  </a:cubicBezTo>
                  <a:cubicBezTo>
                    <a:pt x="78237" y="15924"/>
                    <a:pt x="78237" y="15924"/>
                    <a:pt x="78237" y="15924"/>
                  </a:cubicBezTo>
                  <a:cubicBezTo>
                    <a:pt x="76123" y="15924"/>
                    <a:pt x="76123" y="15924"/>
                    <a:pt x="76123" y="15924"/>
                  </a:cubicBezTo>
                  <a:cubicBezTo>
                    <a:pt x="76123" y="15924"/>
                    <a:pt x="76123" y="15924"/>
                    <a:pt x="76123" y="15924"/>
                  </a:cubicBezTo>
                  <a:cubicBezTo>
                    <a:pt x="76123" y="15924"/>
                    <a:pt x="76123" y="15924"/>
                    <a:pt x="76123" y="15924"/>
                  </a:cubicBezTo>
                  <a:cubicBezTo>
                    <a:pt x="75066" y="15355"/>
                    <a:pt x="75066" y="15355"/>
                    <a:pt x="75066" y="15355"/>
                  </a:cubicBezTo>
                  <a:cubicBezTo>
                    <a:pt x="75066" y="14786"/>
                    <a:pt x="75066" y="14786"/>
                    <a:pt x="75066" y="14786"/>
                  </a:cubicBezTo>
                  <a:cubicBezTo>
                    <a:pt x="74537" y="14786"/>
                    <a:pt x="74537" y="14786"/>
                    <a:pt x="74537" y="14218"/>
                  </a:cubicBezTo>
                  <a:cubicBezTo>
                    <a:pt x="74008" y="13649"/>
                    <a:pt x="74008" y="13649"/>
                    <a:pt x="74008" y="13649"/>
                  </a:cubicBezTo>
                  <a:cubicBezTo>
                    <a:pt x="71365" y="10236"/>
                    <a:pt x="71365" y="10236"/>
                    <a:pt x="71365" y="10236"/>
                  </a:cubicBezTo>
                  <a:cubicBezTo>
                    <a:pt x="70837" y="10236"/>
                    <a:pt x="70837" y="10236"/>
                    <a:pt x="70837" y="10236"/>
                  </a:cubicBezTo>
                  <a:cubicBezTo>
                    <a:pt x="70837" y="10236"/>
                    <a:pt x="70837" y="10236"/>
                    <a:pt x="70837" y="10236"/>
                  </a:cubicBezTo>
                  <a:cubicBezTo>
                    <a:pt x="66079" y="8530"/>
                    <a:pt x="66079" y="8530"/>
                    <a:pt x="66079" y="8530"/>
                  </a:cubicBezTo>
                  <a:cubicBezTo>
                    <a:pt x="64493" y="6255"/>
                    <a:pt x="64493" y="6255"/>
                    <a:pt x="64493" y="6255"/>
                  </a:cubicBezTo>
                  <a:cubicBezTo>
                    <a:pt x="62907" y="5118"/>
                    <a:pt x="62907" y="5118"/>
                    <a:pt x="62907" y="5118"/>
                  </a:cubicBezTo>
                  <a:cubicBezTo>
                    <a:pt x="60792" y="3412"/>
                    <a:pt x="60792" y="3412"/>
                    <a:pt x="60792" y="3412"/>
                  </a:cubicBezTo>
                  <a:cubicBezTo>
                    <a:pt x="58678" y="1706"/>
                    <a:pt x="58678" y="1706"/>
                    <a:pt x="58678" y="1706"/>
                  </a:cubicBezTo>
                  <a:cubicBezTo>
                    <a:pt x="57621" y="568"/>
                    <a:pt x="57621" y="568"/>
                    <a:pt x="57621" y="568"/>
                  </a:cubicBezTo>
                  <a:cubicBezTo>
                    <a:pt x="57621" y="568"/>
                    <a:pt x="57621" y="568"/>
                    <a:pt x="57621" y="568"/>
                  </a:cubicBezTo>
                  <a:cubicBezTo>
                    <a:pt x="57621" y="568"/>
                    <a:pt x="57092" y="0"/>
                    <a:pt x="57092" y="0"/>
                  </a:cubicBezTo>
                  <a:cubicBezTo>
                    <a:pt x="57092" y="0"/>
                    <a:pt x="56563" y="0"/>
                    <a:pt x="56563" y="0"/>
                  </a:cubicBezTo>
                  <a:cubicBezTo>
                    <a:pt x="56035" y="0"/>
                    <a:pt x="54977" y="0"/>
                    <a:pt x="54977" y="0"/>
                  </a:cubicBezTo>
                  <a:cubicBezTo>
                    <a:pt x="54977" y="0"/>
                    <a:pt x="54449" y="568"/>
                    <a:pt x="53920" y="568"/>
                  </a:cubicBezTo>
                  <a:cubicBezTo>
                    <a:pt x="53920" y="568"/>
                    <a:pt x="53392" y="1706"/>
                    <a:pt x="53392" y="1706"/>
                  </a:cubicBezTo>
                  <a:cubicBezTo>
                    <a:pt x="52863" y="2274"/>
                    <a:pt x="52863" y="2274"/>
                    <a:pt x="52863" y="2274"/>
                  </a:cubicBezTo>
                  <a:cubicBezTo>
                    <a:pt x="53392" y="2843"/>
                    <a:pt x="53392" y="2843"/>
                    <a:pt x="53392" y="2843"/>
                  </a:cubicBezTo>
                  <a:cubicBezTo>
                    <a:pt x="54449" y="5118"/>
                    <a:pt x="54977" y="5118"/>
                    <a:pt x="52334" y="4549"/>
                  </a:cubicBezTo>
                  <a:cubicBezTo>
                    <a:pt x="51277" y="3981"/>
                    <a:pt x="51277" y="3981"/>
                    <a:pt x="51277" y="3981"/>
                  </a:cubicBezTo>
                  <a:cubicBezTo>
                    <a:pt x="50748" y="4549"/>
                    <a:pt x="50748" y="4549"/>
                    <a:pt x="50748" y="4549"/>
                  </a:cubicBezTo>
                  <a:cubicBezTo>
                    <a:pt x="49691" y="5118"/>
                    <a:pt x="49691" y="5118"/>
                    <a:pt x="49691" y="5118"/>
                  </a:cubicBezTo>
                  <a:cubicBezTo>
                    <a:pt x="49691" y="5118"/>
                    <a:pt x="49691" y="5118"/>
                    <a:pt x="49691" y="5118"/>
                  </a:cubicBezTo>
                  <a:cubicBezTo>
                    <a:pt x="49691" y="5118"/>
                    <a:pt x="49691" y="6255"/>
                    <a:pt x="49691" y="6255"/>
                  </a:cubicBezTo>
                  <a:cubicBezTo>
                    <a:pt x="49162" y="7393"/>
                    <a:pt x="49162" y="7393"/>
                    <a:pt x="49162" y="7393"/>
                  </a:cubicBezTo>
                  <a:cubicBezTo>
                    <a:pt x="48105" y="7962"/>
                    <a:pt x="48105" y="7962"/>
                    <a:pt x="48105" y="7962"/>
                  </a:cubicBezTo>
                  <a:cubicBezTo>
                    <a:pt x="47048" y="8530"/>
                    <a:pt x="47048" y="8530"/>
                    <a:pt x="47048" y="8530"/>
                  </a:cubicBezTo>
                  <a:cubicBezTo>
                    <a:pt x="46519" y="9099"/>
                    <a:pt x="46519" y="9099"/>
                    <a:pt x="46519" y="9099"/>
                  </a:cubicBezTo>
                  <a:cubicBezTo>
                    <a:pt x="45462" y="9099"/>
                    <a:pt x="45462" y="9099"/>
                    <a:pt x="45462" y="9099"/>
                  </a:cubicBezTo>
                  <a:cubicBezTo>
                    <a:pt x="44405" y="9668"/>
                    <a:pt x="44405" y="9668"/>
                    <a:pt x="44405" y="9668"/>
                  </a:cubicBezTo>
                  <a:cubicBezTo>
                    <a:pt x="43876" y="10805"/>
                    <a:pt x="43876" y="10805"/>
                    <a:pt x="43876" y="10805"/>
                  </a:cubicBezTo>
                  <a:cubicBezTo>
                    <a:pt x="43876" y="10805"/>
                    <a:pt x="42819" y="10805"/>
                    <a:pt x="42819" y="10805"/>
                  </a:cubicBezTo>
                  <a:cubicBezTo>
                    <a:pt x="42819" y="10805"/>
                    <a:pt x="41233" y="11374"/>
                    <a:pt x="41233" y="11374"/>
                  </a:cubicBezTo>
                  <a:cubicBezTo>
                    <a:pt x="41233" y="12511"/>
                    <a:pt x="41233" y="12511"/>
                    <a:pt x="41233" y="12511"/>
                  </a:cubicBezTo>
                  <a:cubicBezTo>
                    <a:pt x="41233" y="12511"/>
                    <a:pt x="40704" y="13080"/>
                    <a:pt x="40704" y="13080"/>
                  </a:cubicBezTo>
                  <a:cubicBezTo>
                    <a:pt x="40704" y="13080"/>
                    <a:pt x="40704" y="14786"/>
                    <a:pt x="40704" y="14786"/>
                  </a:cubicBezTo>
                  <a:cubicBezTo>
                    <a:pt x="40704" y="14786"/>
                    <a:pt x="41762" y="15355"/>
                    <a:pt x="41762" y="15355"/>
                  </a:cubicBezTo>
                  <a:cubicBezTo>
                    <a:pt x="42290" y="15924"/>
                    <a:pt x="42290" y="15924"/>
                    <a:pt x="42290" y="15924"/>
                  </a:cubicBezTo>
                  <a:cubicBezTo>
                    <a:pt x="42819" y="16492"/>
                    <a:pt x="42819" y="16492"/>
                    <a:pt x="42819" y="16492"/>
                  </a:cubicBezTo>
                  <a:cubicBezTo>
                    <a:pt x="42819" y="16492"/>
                    <a:pt x="43348" y="17061"/>
                    <a:pt x="43348" y="17061"/>
                  </a:cubicBezTo>
                  <a:cubicBezTo>
                    <a:pt x="42819" y="17061"/>
                    <a:pt x="42819" y="18767"/>
                    <a:pt x="42819" y="18767"/>
                  </a:cubicBezTo>
                  <a:cubicBezTo>
                    <a:pt x="43348" y="20473"/>
                    <a:pt x="43348" y="20473"/>
                    <a:pt x="43348" y="20473"/>
                  </a:cubicBezTo>
                  <a:cubicBezTo>
                    <a:pt x="42819" y="21042"/>
                    <a:pt x="42819" y="21042"/>
                    <a:pt x="42819" y="21042"/>
                  </a:cubicBezTo>
                  <a:cubicBezTo>
                    <a:pt x="43348" y="22180"/>
                    <a:pt x="43348" y="22180"/>
                    <a:pt x="43348" y="22180"/>
                  </a:cubicBezTo>
                  <a:cubicBezTo>
                    <a:pt x="43348" y="22180"/>
                    <a:pt x="43876" y="22180"/>
                    <a:pt x="43348" y="22748"/>
                  </a:cubicBezTo>
                  <a:cubicBezTo>
                    <a:pt x="42819" y="22748"/>
                    <a:pt x="42290" y="23317"/>
                    <a:pt x="42290" y="23317"/>
                  </a:cubicBezTo>
                  <a:cubicBezTo>
                    <a:pt x="42290" y="23317"/>
                    <a:pt x="41233" y="23317"/>
                    <a:pt x="41233" y="23317"/>
                  </a:cubicBezTo>
                  <a:cubicBezTo>
                    <a:pt x="41233" y="23317"/>
                    <a:pt x="40176" y="23317"/>
                    <a:pt x="40176" y="23317"/>
                  </a:cubicBezTo>
                  <a:cubicBezTo>
                    <a:pt x="39647" y="24454"/>
                    <a:pt x="39647" y="24454"/>
                    <a:pt x="39647" y="24454"/>
                  </a:cubicBezTo>
                  <a:cubicBezTo>
                    <a:pt x="38590" y="23886"/>
                    <a:pt x="38590" y="23886"/>
                    <a:pt x="38590" y="23886"/>
                  </a:cubicBezTo>
                  <a:cubicBezTo>
                    <a:pt x="38590" y="25023"/>
                    <a:pt x="38590" y="25023"/>
                    <a:pt x="38590" y="25023"/>
                  </a:cubicBezTo>
                  <a:cubicBezTo>
                    <a:pt x="37004" y="25592"/>
                    <a:pt x="37004" y="25592"/>
                    <a:pt x="37004" y="25592"/>
                  </a:cubicBezTo>
                  <a:cubicBezTo>
                    <a:pt x="35947" y="26161"/>
                    <a:pt x="35947" y="26161"/>
                    <a:pt x="35947" y="26161"/>
                  </a:cubicBezTo>
                  <a:cubicBezTo>
                    <a:pt x="35418" y="27298"/>
                    <a:pt x="35418" y="27298"/>
                    <a:pt x="35418" y="27298"/>
                  </a:cubicBezTo>
                  <a:cubicBezTo>
                    <a:pt x="35947" y="27867"/>
                    <a:pt x="35947" y="27867"/>
                    <a:pt x="35947" y="27867"/>
                  </a:cubicBezTo>
                  <a:cubicBezTo>
                    <a:pt x="35947" y="27867"/>
                    <a:pt x="36475" y="28436"/>
                    <a:pt x="36475" y="27867"/>
                  </a:cubicBezTo>
                  <a:cubicBezTo>
                    <a:pt x="36475" y="27867"/>
                    <a:pt x="36475" y="27298"/>
                    <a:pt x="36475" y="27298"/>
                  </a:cubicBezTo>
                  <a:cubicBezTo>
                    <a:pt x="37004" y="27867"/>
                    <a:pt x="37533" y="28436"/>
                    <a:pt x="37533" y="28436"/>
                  </a:cubicBezTo>
                  <a:cubicBezTo>
                    <a:pt x="38061" y="29573"/>
                    <a:pt x="38061" y="29573"/>
                    <a:pt x="38061" y="29573"/>
                  </a:cubicBezTo>
                  <a:cubicBezTo>
                    <a:pt x="38061" y="29573"/>
                    <a:pt x="37004" y="29573"/>
                    <a:pt x="37004" y="29573"/>
                  </a:cubicBezTo>
                  <a:cubicBezTo>
                    <a:pt x="37004" y="29573"/>
                    <a:pt x="36475" y="30142"/>
                    <a:pt x="36475" y="30142"/>
                  </a:cubicBezTo>
                  <a:cubicBezTo>
                    <a:pt x="35947" y="30710"/>
                    <a:pt x="35947" y="30710"/>
                    <a:pt x="35947" y="30710"/>
                  </a:cubicBezTo>
                  <a:cubicBezTo>
                    <a:pt x="35947" y="31279"/>
                    <a:pt x="35947" y="31279"/>
                    <a:pt x="35947" y="31848"/>
                  </a:cubicBezTo>
                  <a:cubicBezTo>
                    <a:pt x="35947" y="31848"/>
                    <a:pt x="35947" y="32417"/>
                    <a:pt x="35947" y="32417"/>
                  </a:cubicBezTo>
                  <a:cubicBezTo>
                    <a:pt x="36475" y="32417"/>
                    <a:pt x="37004" y="33554"/>
                    <a:pt x="37004" y="33554"/>
                  </a:cubicBezTo>
                  <a:cubicBezTo>
                    <a:pt x="37004" y="33554"/>
                    <a:pt x="37533" y="34123"/>
                    <a:pt x="37533" y="34123"/>
                  </a:cubicBezTo>
                  <a:cubicBezTo>
                    <a:pt x="37533" y="34123"/>
                    <a:pt x="37533" y="34691"/>
                    <a:pt x="37533" y="34691"/>
                  </a:cubicBezTo>
                  <a:cubicBezTo>
                    <a:pt x="37533" y="34691"/>
                    <a:pt x="37004" y="35260"/>
                    <a:pt x="36475" y="35260"/>
                  </a:cubicBezTo>
                  <a:cubicBezTo>
                    <a:pt x="36475" y="35260"/>
                    <a:pt x="35418" y="35260"/>
                    <a:pt x="35418" y="35260"/>
                  </a:cubicBezTo>
                  <a:cubicBezTo>
                    <a:pt x="35418" y="35260"/>
                    <a:pt x="34889" y="36398"/>
                    <a:pt x="34889" y="36398"/>
                  </a:cubicBezTo>
                  <a:cubicBezTo>
                    <a:pt x="34889" y="36398"/>
                    <a:pt x="34361" y="36398"/>
                    <a:pt x="33832" y="36398"/>
                  </a:cubicBezTo>
                  <a:cubicBezTo>
                    <a:pt x="33832" y="36398"/>
                    <a:pt x="34889" y="36966"/>
                    <a:pt x="33832" y="36398"/>
                  </a:cubicBezTo>
                  <a:cubicBezTo>
                    <a:pt x="32246" y="35829"/>
                    <a:pt x="32246" y="35260"/>
                    <a:pt x="32246" y="35260"/>
                  </a:cubicBezTo>
                  <a:cubicBezTo>
                    <a:pt x="32246" y="35260"/>
                    <a:pt x="31718" y="34691"/>
                    <a:pt x="31718" y="34691"/>
                  </a:cubicBezTo>
                  <a:cubicBezTo>
                    <a:pt x="31189" y="34691"/>
                    <a:pt x="30660" y="34691"/>
                    <a:pt x="30660" y="34691"/>
                  </a:cubicBezTo>
                  <a:cubicBezTo>
                    <a:pt x="29603" y="34691"/>
                    <a:pt x="29603" y="34691"/>
                    <a:pt x="29603" y="34691"/>
                  </a:cubicBezTo>
                  <a:cubicBezTo>
                    <a:pt x="29074" y="34123"/>
                    <a:pt x="29074" y="34123"/>
                    <a:pt x="29074" y="34123"/>
                  </a:cubicBezTo>
                  <a:cubicBezTo>
                    <a:pt x="28546" y="35260"/>
                    <a:pt x="28546" y="35260"/>
                    <a:pt x="28546" y="35260"/>
                  </a:cubicBezTo>
                  <a:cubicBezTo>
                    <a:pt x="28546" y="35260"/>
                    <a:pt x="28546" y="35829"/>
                    <a:pt x="28017" y="35829"/>
                  </a:cubicBezTo>
                  <a:cubicBezTo>
                    <a:pt x="27488" y="36398"/>
                    <a:pt x="28017" y="36398"/>
                    <a:pt x="27488" y="36398"/>
                  </a:cubicBezTo>
                  <a:cubicBezTo>
                    <a:pt x="26431" y="36398"/>
                    <a:pt x="25903" y="35260"/>
                    <a:pt x="25903" y="35260"/>
                  </a:cubicBezTo>
                  <a:cubicBezTo>
                    <a:pt x="25903" y="35260"/>
                    <a:pt x="24845" y="34691"/>
                    <a:pt x="24845" y="34691"/>
                  </a:cubicBezTo>
                  <a:cubicBezTo>
                    <a:pt x="24317" y="34123"/>
                    <a:pt x="24317" y="34123"/>
                    <a:pt x="24317" y="34123"/>
                  </a:cubicBezTo>
                  <a:cubicBezTo>
                    <a:pt x="23788" y="34123"/>
                    <a:pt x="23788" y="34691"/>
                    <a:pt x="23788" y="33554"/>
                  </a:cubicBezTo>
                  <a:cubicBezTo>
                    <a:pt x="23788" y="32985"/>
                    <a:pt x="23788" y="32985"/>
                    <a:pt x="23788" y="32985"/>
                  </a:cubicBezTo>
                  <a:cubicBezTo>
                    <a:pt x="23259" y="32417"/>
                    <a:pt x="23259" y="32985"/>
                    <a:pt x="22731" y="32417"/>
                  </a:cubicBezTo>
                  <a:cubicBezTo>
                    <a:pt x="22731" y="31848"/>
                    <a:pt x="22202" y="31279"/>
                    <a:pt x="22202" y="31279"/>
                  </a:cubicBezTo>
                  <a:cubicBezTo>
                    <a:pt x="21674" y="30142"/>
                    <a:pt x="21674" y="30142"/>
                    <a:pt x="21674" y="30142"/>
                  </a:cubicBezTo>
                  <a:cubicBezTo>
                    <a:pt x="21674" y="30142"/>
                    <a:pt x="21674" y="30142"/>
                    <a:pt x="21674" y="30710"/>
                  </a:cubicBezTo>
                  <a:cubicBezTo>
                    <a:pt x="21145" y="31279"/>
                    <a:pt x="20616" y="31279"/>
                    <a:pt x="20616" y="31279"/>
                  </a:cubicBezTo>
                  <a:cubicBezTo>
                    <a:pt x="20616" y="31848"/>
                    <a:pt x="20088" y="32417"/>
                    <a:pt x="20088" y="32417"/>
                  </a:cubicBezTo>
                  <a:cubicBezTo>
                    <a:pt x="20088" y="32417"/>
                    <a:pt x="19559" y="32985"/>
                    <a:pt x="19559" y="33554"/>
                  </a:cubicBezTo>
                  <a:cubicBezTo>
                    <a:pt x="20088" y="33554"/>
                    <a:pt x="20088" y="33554"/>
                    <a:pt x="20088" y="34123"/>
                  </a:cubicBezTo>
                  <a:cubicBezTo>
                    <a:pt x="20088" y="34123"/>
                    <a:pt x="19559" y="34691"/>
                    <a:pt x="19559" y="34691"/>
                  </a:cubicBezTo>
                  <a:cubicBezTo>
                    <a:pt x="19030" y="35260"/>
                    <a:pt x="19030" y="35260"/>
                    <a:pt x="18502" y="35260"/>
                  </a:cubicBezTo>
                  <a:cubicBezTo>
                    <a:pt x="18502" y="35829"/>
                    <a:pt x="17444" y="36398"/>
                    <a:pt x="17444" y="36398"/>
                  </a:cubicBezTo>
                  <a:cubicBezTo>
                    <a:pt x="16387" y="36398"/>
                    <a:pt x="16387" y="36398"/>
                    <a:pt x="16387" y="36398"/>
                  </a:cubicBezTo>
                  <a:cubicBezTo>
                    <a:pt x="14801" y="35829"/>
                    <a:pt x="14801" y="35829"/>
                    <a:pt x="14801" y="35829"/>
                  </a:cubicBezTo>
                  <a:cubicBezTo>
                    <a:pt x="13744" y="36966"/>
                    <a:pt x="13744" y="36966"/>
                    <a:pt x="13744" y="36966"/>
                  </a:cubicBezTo>
                  <a:cubicBezTo>
                    <a:pt x="13744" y="36966"/>
                    <a:pt x="13215" y="36966"/>
                    <a:pt x="13215" y="36966"/>
                  </a:cubicBezTo>
                  <a:cubicBezTo>
                    <a:pt x="12687" y="36966"/>
                    <a:pt x="12158" y="36966"/>
                    <a:pt x="12158" y="36966"/>
                  </a:cubicBezTo>
                  <a:cubicBezTo>
                    <a:pt x="12158" y="36966"/>
                    <a:pt x="11629" y="36398"/>
                    <a:pt x="11101" y="36398"/>
                  </a:cubicBezTo>
                  <a:cubicBezTo>
                    <a:pt x="11101" y="36398"/>
                    <a:pt x="10572" y="36398"/>
                    <a:pt x="10572" y="36398"/>
                  </a:cubicBezTo>
                  <a:cubicBezTo>
                    <a:pt x="10044" y="36398"/>
                    <a:pt x="9515" y="36398"/>
                    <a:pt x="9515" y="36398"/>
                  </a:cubicBezTo>
                  <a:cubicBezTo>
                    <a:pt x="9515" y="36966"/>
                    <a:pt x="9515" y="36966"/>
                    <a:pt x="9515" y="36966"/>
                  </a:cubicBezTo>
                  <a:cubicBezTo>
                    <a:pt x="9515" y="36966"/>
                    <a:pt x="10044" y="36966"/>
                    <a:pt x="10044" y="36966"/>
                  </a:cubicBezTo>
                  <a:cubicBezTo>
                    <a:pt x="10044" y="37535"/>
                    <a:pt x="10044" y="38104"/>
                    <a:pt x="10044" y="38104"/>
                  </a:cubicBezTo>
                  <a:cubicBezTo>
                    <a:pt x="10044" y="38104"/>
                    <a:pt x="9515" y="38104"/>
                    <a:pt x="9515" y="38104"/>
                  </a:cubicBezTo>
                  <a:cubicBezTo>
                    <a:pt x="9515" y="38672"/>
                    <a:pt x="8458" y="38672"/>
                    <a:pt x="8458" y="38672"/>
                  </a:cubicBezTo>
                  <a:cubicBezTo>
                    <a:pt x="8458" y="38672"/>
                    <a:pt x="8458" y="39241"/>
                    <a:pt x="8458" y="39241"/>
                  </a:cubicBezTo>
                  <a:cubicBezTo>
                    <a:pt x="8458" y="39241"/>
                    <a:pt x="8458" y="39241"/>
                    <a:pt x="7929" y="39241"/>
                  </a:cubicBezTo>
                  <a:cubicBezTo>
                    <a:pt x="7400" y="39241"/>
                    <a:pt x="7400" y="39241"/>
                    <a:pt x="6872" y="39241"/>
                  </a:cubicBezTo>
                  <a:cubicBezTo>
                    <a:pt x="6872" y="38672"/>
                    <a:pt x="6343" y="38672"/>
                    <a:pt x="5814" y="38672"/>
                  </a:cubicBezTo>
                  <a:cubicBezTo>
                    <a:pt x="5814" y="38672"/>
                    <a:pt x="4229" y="38104"/>
                    <a:pt x="4229" y="38104"/>
                  </a:cubicBezTo>
                  <a:cubicBezTo>
                    <a:pt x="4229" y="38104"/>
                    <a:pt x="3700" y="38672"/>
                    <a:pt x="3700" y="38672"/>
                  </a:cubicBezTo>
                  <a:cubicBezTo>
                    <a:pt x="3171" y="38672"/>
                    <a:pt x="2643" y="38672"/>
                    <a:pt x="2114" y="38104"/>
                  </a:cubicBezTo>
                  <a:cubicBezTo>
                    <a:pt x="2114" y="38104"/>
                    <a:pt x="1585" y="38104"/>
                    <a:pt x="1585" y="38104"/>
                  </a:cubicBezTo>
                  <a:cubicBezTo>
                    <a:pt x="1585" y="38104"/>
                    <a:pt x="1585" y="38104"/>
                    <a:pt x="1585" y="38104"/>
                  </a:cubicBezTo>
                  <a:cubicBezTo>
                    <a:pt x="1585" y="38104"/>
                    <a:pt x="1585" y="38104"/>
                    <a:pt x="1585" y="38104"/>
                  </a:cubicBezTo>
                  <a:cubicBezTo>
                    <a:pt x="1585" y="38104"/>
                    <a:pt x="1585" y="38104"/>
                    <a:pt x="1585" y="38104"/>
                  </a:cubicBezTo>
                  <a:cubicBezTo>
                    <a:pt x="1585" y="38104"/>
                    <a:pt x="1585" y="38104"/>
                    <a:pt x="1585" y="38104"/>
                  </a:cubicBezTo>
                  <a:cubicBezTo>
                    <a:pt x="1585" y="38104"/>
                    <a:pt x="1585" y="38104"/>
                    <a:pt x="1585" y="38104"/>
                  </a:cubicBezTo>
                  <a:cubicBezTo>
                    <a:pt x="1585" y="38104"/>
                    <a:pt x="1585" y="38104"/>
                    <a:pt x="1585" y="38104"/>
                  </a:cubicBezTo>
                  <a:cubicBezTo>
                    <a:pt x="1585" y="38104"/>
                    <a:pt x="1585" y="38104"/>
                    <a:pt x="1585" y="38104"/>
                  </a:cubicBezTo>
                  <a:cubicBezTo>
                    <a:pt x="1585" y="38104"/>
                    <a:pt x="1585" y="38104"/>
                    <a:pt x="1585" y="38104"/>
                  </a:cubicBezTo>
                  <a:cubicBezTo>
                    <a:pt x="1585" y="38104"/>
                    <a:pt x="1585" y="38104"/>
                    <a:pt x="1585" y="38104"/>
                  </a:cubicBezTo>
                  <a:cubicBezTo>
                    <a:pt x="1585" y="38104"/>
                    <a:pt x="1585" y="38104"/>
                    <a:pt x="1585" y="38104"/>
                  </a:cubicBezTo>
                  <a:cubicBezTo>
                    <a:pt x="1585" y="38104"/>
                    <a:pt x="1585" y="38104"/>
                    <a:pt x="1585" y="38104"/>
                  </a:cubicBezTo>
                  <a:cubicBezTo>
                    <a:pt x="1585" y="38104"/>
                    <a:pt x="1585" y="38104"/>
                    <a:pt x="1585" y="38104"/>
                  </a:cubicBezTo>
                  <a:cubicBezTo>
                    <a:pt x="1585" y="38104"/>
                    <a:pt x="1585" y="38104"/>
                    <a:pt x="1585" y="38104"/>
                  </a:cubicBezTo>
                  <a:cubicBezTo>
                    <a:pt x="1585" y="37535"/>
                    <a:pt x="1585" y="37535"/>
                    <a:pt x="1585" y="37535"/>
                  </a:cubicBezTo>
                  <a:cubicBezTo>
                    <a:pt x="1585" y="37535"/>
                    <a:pt x="1585" y="37535"/>
                    <a:pt x="1585" y="37535"/>
                  </a:cubicBezTo>
                  <a:cubicBezTo>
                    <a:pt x="1585" y="37535"/>
                    <a:pt x="1585" y="37535"/>
                    <a:pt x="1585" y="37535"/>
                  </a:cubicBezTo>
                  <a:cubicBezTo>
                    <a:pt x="1585" y="37535"/>
                    <a:pt x="1585" y="37535"/>
                    <a:pt x="1585" y="37535"/>
                  </a:cubicBezTo>
                  <a:cubicBezTo>
                    <a:pt x="1585" y="37535"/>
                    <a:pt x="1585" y="37535"/>
                    <a:pt x="1585" y="37535"/>
                  </a:cubicBezTo>
                  <a:cubicBezTo>
                    <a:pt x="1585" y="37535"/>
                    <a:pt x="1585" y="37535"/>
                    <a:pt x="1585" y="37535"/>
                  </a:cubicBezTo>
                  <a:cubicBezTo>
                    <a:pt x="1585" y="37535"/>
                    <a:pt x="1585" y="37535"/>
                    <a:pt x="1585" y="37535"/>
                  </a:cubicBezTo>
                  <a:cubicBezTo>
                    <a:pt x="1585" y="37535"/>
                    <a:pt x="1585" y="37535"/>
                    <a:pt x="1585" y="37535"/>
                  </a:cubicBezTo>
                  <a:cubicBezTo>
                    <a:pt x="1585" y="37535"/>
                    <a:pt x="1585" y="37535"/>
                    <a:pt x="1585" y="37535"/>
                  </a:cubicBezTo>
                  <a:cubicBezTo>
                    <a:pt x="1585" y="37535"/>
                    <a:pt x="1585" y="37535"/>
                    <a:pt x="1585" y="37535"/>
                  </a:cubicBezTo>
                  <a:cubicBezTo>
                    <a:pt x="1585" y="37535"/>
                    <a:pt x="1585" y="37535"/>
                    <a:pt x="1585" y="37535"/>
                  </a:cubicBezTo>
                  <a:cubicBezTo>
                    <a:pt x="1585" y="37535"/>
                    <a:pt x="1585" y="37535"/>
                    <a:pt x="1585" y="37535"/>
                  </a:cubicBezTo>
                  <a:cubicBezTo>
                    <a:pt x="1585" y="37535"/>
                    <a:pt x="1585" y="37535"/>
                    <a:pt x="1585" y="37535"/>
                  </a:cubicBezTo>
                  <a:cubicBezTo>
                    <a:pt x="1585" y="37535"/>
                    <a:pt x="1585" y="37535"/>
                    <a:pt x="1585" y="37535"/>
                  </a:cubicBezTo>
                  <a:cubicBezTo>
                    <a:pt x="1585" y="37535"/>
                    <a:pt x="1585" y="37535"/>
                    <a:pt x="1585" y="37535"/>
                  </a:cubicBezTo>
                  <a:cubicBezTo>
                    <a:pt x="1585" y="37535"/>
                    <a:pt x="1585" y="37535"/>
                    <a:pt x="1585" y="37535"/>
                  </a:cubicBezTo>
                  <a:cubicBezTo>
                    <a:pt x="1585" y="37535"/>
                    <a:pt x="1585" y="37535"/>
                    <a:pt x="1585" y="37535"/>
                  </a:cubicBezTo>
                  <a:cubicBezTo>
                    <a:pt x="1585" y="37535"/>
                    <a:pt x="1585" y="37535"/>
                    <a:pt x="1585" y="37535"/>
                  </a:cubicBezTo>
                  <a:cubicBezTo>
                    <a:pt x="1585" y="37535"/>
                    <a:pt x="1585" y="37535"/>
                    <a:pt x="1585" y="37535"/>
                  </a:cubicBezTo>
                  <a:cubicBezTo>
                    <a:pt x="1585" y="37535"/>
                    <a:pt x="1585" y="37535"/>
                    <a:pt x="1585" y="37535"/>
                  </a:cubicBezTo>
                  <a:cubicBezTo>
                    <a:pt x="1585" y="37535"/>
                    <a:pt x="1585" y="37535"/>
                    <a:pt x="1585" y="37535"/>
                  </a:cubicBezTo>
                  <a:cubicBezTo>
                    <a:pt x="1585" y="37535"/>
                    <a:pt x="1585" y="37535"/>
                    <a:pt x="1585" y="37535"/>
                  </a:cubicBezTo>
                  <a:cubicBezTo>
                    <a:pt x="1585" y="37535"/>
                    <a:pt x="1585" y="37535"/>
                    <a:pt x="1585" y="37535"/>
                  </a:cubicBezTo>
                  <a:cubicBezTo>
                    <a:pt x="1585" y="37535"/>
                    <a:pt x="1585" y="37535"/>
                    <a:pt x="1585" y="37535"/>
                  </a:cubicBezTo>
                  <a:cubicBezTo>
                    <a:pt x="1585" y="37535"/>
                    <a:pt x="1585" y="37535"/>
                    <a:pt x="1585" y="37535"/>
                  </a:cubicBezTo>
                  <a:cubicBezTo>
                    <a:pt x="1585" y="37535"/>
                    <a:pt x="1585" y="37535"/>
                    <a:pt x="1585" y="37535"/>
                  </a:cubicBezTo>
                  <a:cubicBezTo>
                    <a:pt x="1585" y="37535"/>
                    <a:pt x="1585" y="37535"/>
                    <a:pt x="1585" y="37535"/>
                  </a:cubicBezTo>
                  <a:cubicBezTo>
                    <a:pt x="1585" y="36966"/>
                    <a:pt x="1585" y="36966"/>
                    <a:pt x="1585" y="36966"/>
                  </a:cubicBezTo>
                  <a:cubicBezTo>
                    <a:pt x="0" y="38104"/>
                    <a:pt x="0" y="38104"/>
                    <a:pt x="0" y="38104"/>
                  </a:cubicBezTo>
                  <a:cubicBezTo>
                    <a:pt x="1057" y="40379"/>
                    <a:pt x="1057" y="40379"/>
                    <a:pt x="1057" y="40379"/>
                  </a:cubicBezTo>
                  <a:cubicBezTo>
                    <a:pt x="528" y="40947"/>
                    <a:pt x="528" y="40947"/>
                    <a:pt x="528" y="40947"/>
                  </a:cubicBezTo>
                  <a:cubicBezTo>
                    <a:pt x="528" y="40947"/>
                    <a:pt x="1057" y="41516"/>
                    <a:pt x="1057" y="41516"/>
                  </a:cubicBezTo>
                  <a:cubicBezTo>
                    <a:pt x="1057" y="42085"/>
                    <a:pt x="1585" y="42085"/>
                    <a:pt x="1585" y="42654"/>
                  </a:cubicBezTo>
                  <a:cubicBezTo>
                    <a:pt x="1585" y="43222"/>
                    <a:pt x="1585" y="43791"/>
                    <a:pt x="1585" y="43791"/>
                  </a:cubicBezTo>
                  <a:cubicBezTo>
                    <a:pt x="2114" y="43791"/>
                    <a:pt x="2114" y="43791"/>
                    <a:pt x="2114" y="43791"/>
                  </a:cubicBezTo>
                  <a:cubicBezTo>
                    <a:pt x="2643" y="44928"/>
                    <a:pt x="2643" y="44928"/>
                    <a:pt x="2643" y="44928"/>
                  </a:cubicBezTo>
                  <a:cubicBezTo>
                    <a:pt x="2643" y="45497"/>
                    <a:pt x="2643" y="45497"/>
                    <a:pt x="2643" y="45497"/>
                  </a:cubicBezTo>
                  <a:cubicBezTo>
                    <a:pt x="2643" y="46635"/>
                    <a:pt x="2643" y="46635"/>
                    <a:pt x="2643" y="46635"/>
                  </a:cubicBezTo>
                  <a:cubicBezTo>
                    <a:pt x="2643" y="46635"/>
                    <a:pt x="3171" y="47203"/>
                    <a:pt x="3171" y="47772"/>
                  </a:cubicBezTo>
                  <a:cubicBezTo>
                    <a:pt x="3171" y="47772"/>
                    <a:pt x="3171" y="48341"/>
                    <a:pt x="3171" y="48909"/>
                  </a:cubicBezTo>
                  <a:cubicBezTo>
                    <a:pt x="3171" y="48909"/>
                    <a:pt x="4229" y="50047"/>
                    <a:pt x="4229" y="50047"/>
                  </a:cubicBezTo>
                  <a:cubicBezTo>
                    <a:pt x="4229" y="51184"/>
                    <a:pt x="4229" y="51184"/>
                    <a:pt x="4229" y="51184"/>
                  </a:cubicBezTo>
                  <a:cubicBezTo>
                    <a:pt x="4229" y="51184"/>
                    <a:pt x="4757" y="51753"/>
                    <a:pt x="5286" y="52322"/>
                  </a:cubicBezTo>
                  <a:cubicBezTo>
                    <a:pt x="5286" y="52322"/>
                    <a:pt x="5814" y="52890"/>
                    <a:pt x="5814" y="52890"/>
                  </a:cubicBezTo>
                  <a:cubicBezTo>
                    <a:pt x="6343" y="54028"/>
                    <a:pt x="6343" y="54028"/>
                    <a:pt x="6343" y="54028"/>
                  </a:cubicBezTo>
                  <a:cubicBezTo>
                    <a:pt x="6872" y="55165"/>
                    <a:pt x="6872" y="55165"/>
                    <a:pt x="6872" y="55165"/>
                  </a:cubicBezTo>
                  <a:cubicBezTo>
                    <a:pt x="7400" y="55734"/>
                    <a:pt x="7400" y="55734"/>
                    <a:pt x="7400" y="55734"/>
                  </a:cubicBezTo>
                  <a:cubicBezTo>
                    <a:pt x="7929" y="56872"/>
                    <a:pt x="7929" y="56872"/>
                    <a:pt x="7929" y="56872"/>
                  </a:cubicBezTo>
                  <a:cubicBezTo>
                    <a:pt x="8458" y="57440"/>
                    <a:pt x="8458" y="57440"/>
                    <a:pt x="8458" y="57440"/>
                  </a:cubicBezTo>
                  <a:cubicBezTo>
                    <a:pt x="8986" y="58009"/>
                    <a:pt x="8986" y="58009"/>
                    <a:pt x="8986" y="58009"/>
                  </a:cubicBezTo>
                  <a:cubicBezTo>
                    <a:pt x="8986" y="58009"/>
                    <a:pt x="8986" y="58578"/>
                    <a:pt x="9515" y="58578"/>
                  </a:cubicBezTo>
                  <a:cubicBezTo>
                    <a:pt x="10044" y="58578"/>
                    <a:pt x="10572" y="58578"/>
                    <a:pt x="10572" y="58578"/>
                  </a:cubicBezTo>
                  <a:cubicBezTo>
                    <a:pt x="11101" y="58578"/>
                    <a:pt x="11101" y="59146"/>
                    <a:pt x="11629" y="57440"/>
                  </a:cubicBezTo>
                  <a:cubicBezTo>
                    <a:pt x="11629" y="56303"/>
                    <a:pt x="11629" y="55734"/>
                    <a:pt x="11629" y="55734"/>
                  </a:cubicBezTo>
                  <a:cubicBezTo>
                    <a:pt x="11629" y="55734"/>
                    <a:pt x="12158" y="55734"/>
                    <a:pt x="12158" y="55165"/>
                  </a:cubicBezTo>
                  <a:cubicBezTo>
                    <a:pt x="12687" y="55165"/>
                    <a:pt x="13215" y="55165"/>
                    <a:pt x="13215" y="54597"/>
                  </a:cubicBezTo>
                  <a:cubicBezTo>
                    <a:pt x="13215" y="53459"/>
                    <a:pt x="12158" y="52890"/>
                    <a:pt x="12158" y="52890"/>
                  </a:cubicBezTo>
                  <a:cubicBezTo>
                    <a:pt x="12158" y="52890"/>
                    <a:pt x="13215" y="52322"/>
                    <a:pt x="13744" y="52890"/>
                  </a:cubicBezTo>
                  <a:cubicBezTo>
                    <a:pt x="13744" y="53459"/>
                    <a:pt x="13744" y="54028"/>
                    <a:pt x="14273" y="53459"/>
                  </a:cubicBezTo>
                  <a:cubicBezTo>
                    <a:pt x="14801" y="52322"/>
                    <a:pt x="14801" y="52322"/>
                    <a:pt x="14801" y="52322"/>
                  </a:cubicBezTo>
                  <a:cubicBezTo>
                    <a:pt x="14273" y="51753"/>
                    <a:pt x="14273" y="51184"/>
                    <a:pt x="14273" y="50616"/>
                  </a:cubicBezTo>
                  <a:cubicBezTo>
                    <a:pt x="14273" y="50616"/>
                    <a:pt x="14801" y="50047"/>
                    <a:pt x="14801" y="49478"/>
                  </a:cubicBezTo>
                  <a:cubicBezTo>
                    <a:pt x="15330" y="48909"/>
                    <a:pt x="15330" y="48341"/>
                    <a:pt x="15330" y="47772"/>
                  </a:cubicBezTo>
                  <a:cubicBezTo>
                    <a:pt x="15330" y="46635"/>
                    <a:pt x="15330" y="47203"/>
                    <a:pt x="15859" y="46066"/>
                  </a:cubicBezTo>
                  <a:cubicBezTo>
                    <a:pt x="15859" y="45497"/>
                    <a:pt x="15859" y="46066"/>
                    <a:pt x="15859" y="43791"/>
                  </a:cubicBezTo>
                  <a:cubicBezTo>
                    <a:pt x="16387" y="42085"/>
                    <a:pt x="16387" y="41516"/>
                    <a:pt x="16916" y="41516"/>
                  </a:cubicBezTo>
                  <a:cubicBezTo>
                    <a:pt x="16916" y="41516"/>
                    <a:pt x="21145" y="43222"/>
                    <a:pt x="21145" y="43222"/>
                  </a:cubicBezTo>
                  <a:cubicBezTo>
                    <a:pt x="21145" y="43222"/>
                    <a:pt x="21674" y="44360"/>
                    <a:pt x="21674" y="44360"/>
                  </a:cubicBezTo>
                  <a:cubicBezTo>
                    <a:pt x="21674" y="44928"/>
                    <a:pt x="21674" y="45497"/>
                    <a:pt x="21674" y="45497"/>
                  </a:cubicBezTo>
                  <a:cubicBezTo>
                    <a:pt x="21674" y="46066"/>
                    <a:pt x="21145" y="47203"/>
                    <a:pt x="21145" y="47203"/>
                  </a:cubicBezTo>
                  <a:cubicBezTo>
                    <a:pt x="21145" y="47772"/>
                    <a:pt x="21145" y="47772"/>
                    <a:pt x="21145" y="47772"/>
                  </a:cubicBezTo>
                  <a:cubicBezTo>
                    <a:pt x="21145" y="47772"/>
                    <a:pt x="20088" y="47772"/>
                    <a:pt x="20088" y="48909"/>
                  </a:cubicBezTo>
                  <a:cubicBezTo>
                    <a:pt x="19559" y="49478"/>
                    <a:pt x="19559" y="49478"/>
                    <a:pt x="20088" y="50047"/>
                  </a:cubicBezTo>
                  <a:cubicBezTo>
                    <a:pt x="20616" y="50616"/>
                    <a:pt x="21145" y="51184"/>
                    <a:pt x="21145" y="51184"/>
                  </a:cubicBezTo>
                  <a:cubicBezTo>
                    <a:pt x="21674" y="51184"/>
                    <a:pt x="22202" y="50616"/>
                    <a:pt x="22731" y="50616"/>
                  </a:cubicBezTo>
                  <a:cubicBezTo>
                    <a:pt x="22731" y="50616"/>
                    <a:pt x="23259" y="50616"/>
                    <a:pt x="23259" y="50616"/>
                  </a:cubicBezTo>
                  <a:cubicBezTo>
                    <a:pt x="23259" y="51184"/>
                    <a:pt x="23259" y="51753"/>
                    <a:pt x="23788" y="52322"/>
                  </a:cubicBezTo>
                  <a:cubicBezTo>
                    <a:pt x="24317" y="52322"/>
                    <a:pt x="24845" y="52890"/>
                    <a:pt x="24845" y="52890"/>
                  </a:cubicBezTo>
                  <a:cubicBezTo>
                    <a:pt x="25374" y="52890"/>
                    <a:pt x="25903" y="52890"/>
                    <a:pt x="25903" y="52890"/>
                  </a:cubicBezTo>
                  <a:cubicBezTo>
                    <a:pt x="25903" y="52890"/>
                    <a:pt x="26431" y="52322"/>
                    <a:pt x="26960" y="52322"/>
                  </a:cubicBezTo>
                  <a:cubicBezTo>
                    <a:pt x="26960" y="52322"/>
                    <a:pt x="28546" y="54028"/>
                    <a:pt x="27488" y="51753"/>
                  </a:cubicBezTo>
                  <a:cubicBezTo>
                    <a:pt x="25903" y="50047"/>
                    <a:pt x="25903" y="50047"/>
                    <a:pt x="25903" y="49478"/>
                  </a:cubicBezTo>
                  <a:cubicBezTo>
                    <a:pt x="25374" y="49478"/>
                    <a:pt x="24845" y="48909"/>
                    <a:pt x="24845" y="48909"/>
                  </a:cubicBezTo>
                  <a:cubicBezTo>
                    <a:pt x="24317" y="48909"/>
                    <a:pt x="24317" y="48909"/>
                    <a:pt x="24317" y="48909"/>
                  </a:cubicBezTo>
                  <a:cubicBezTo>
                    <a:pt x="24317" y="48909"/>
                    <a:pt x="24317" y="48341"/>
                    <a:pt x="24317" y="47772"/>
                  </a:cubicBezTo>
                  <a:cubicBezTo>
                    <a:pt x="24845" y="47203"/>
                    <a:pt x="24845" y="47203"/>
                    <a:pt x="25374" y="47203"/>
                  </a:cubicBezTo>
                  <a:cubicBezTo>
                    <a:pt x="25903" y="47203"/>
                    <a:pt x="25903" y="46635"/>
                    <a:pt x="26960" y="47772"/>
                  </a:cubicBezTo>
                  <a:cubicBezTo>
                    <a:pt x="27488" y="48341"/>
                    <a:pt x="27488" y="48341"/>
                    <a:pt x="27488" y="48909"/>
                  </a:cubicBezTo>
                  <a:cubicBezTo>
                    <a:pt x="28017" y="50047"/>
                    <a:pt x="28546" y="50616"/>
                    <a:pt x="29074" y="51184"/>
                  </a:cubicBezTo>
                  <a:cubicBezTo>
                    <a:pt x="29074" y="51184"/>
                    <a:pt x="29603" y="51184"/>
                    <a:pt x="29603" y="52322"/>
                  </a:cubicBezTo>
                  <a:cubicBezTo>
                    <a:pt x="29603" y="53459"/>
                    <a:pt x="29603" y="54597"/>
                    <a:pt x="29603" y="55165"/>
                  </a:cubicBezTo>
                  <a:cubicBezTo>
                    <a:pt x="29603" y="55165"/>
                    <a:pt x="29603" y="57440"/>
                    <a:pt x="29603" y="57440"/>
                  </a:cubicBezTo>
                  <a:cubicBezTo>
                    <a:pt x="29603" y="57440"/>
                    <a:pt x="29603" y="58578"/>
                    <a:pt x="29603" y="59146"/>
                  </a:cubicBezTo>
                  <a:cubicBezTo>
                    <a:pt x="29603" y="59715"/>
                    <a:pt x="32246" y="63696"/>
                    <a:pt x="32246" y="63696"/>
                  </a:cubicBezTo>
                  <a:cubicBezTo>
                    <a:pt x="32246" y="63696"/>
                    <a:pt x="33303" y="65402"/>
                    <a:pt x="33832" y="65402"/>
                  </a:cubicBezTo>
                  <a:cubicBezTo>
                    <a:pt x="33832" y="65402"/>
                    <a:pt x="34361" y="67109"/>
                    <a:pt x="34889" y="67677"/>
                  </a:cubicBezTo>
                  <a:cubicBezTo>
                    <a:pt x="35947" y="67677"/>
                    <a:pt x="38061" y="68815"/>
                    <a:pt x="38061" y="68815"/>
                  </a:cubicBezTo>
                  <a:cubicBezTo>
                    <a:pt x="41762" y="71090"/>
                    <a:pt x="41762" y="71090"/>
                    <a:pt x="41762" y="71090"/>
                  </a:cubicBezTo>
                  <a:cubicBezTo>
                    <a:pt x="41762" y="71090"/>
                    <a:pt x="42819" y="72796"/>
                    <a:pt x="43348" y="72796"/>
                  </a:cubicBezTo>
                  <a:cubicBezTo>
                    <a:pt x="43348" y="72796"/>
                    <a:pt x="45991" y="72796"/>
                    <a:pt x="43876" y="72796"/>
                  </a:cubicBezTo>
                  <a:cubicBezTo>
                    <a:pt x="42290" y="72796"/>
                    <a:pt x="40176" y="71658"/>
                    <a:pt x="40176" y="71658"/>
                  </a:cubicBezTo>
                  <a:cubicBezTo>
                    <a:pt x="40176" y="71658"/>
                    <a:pt x="39647" y="70521"/>
                    <a:pt x="39647" y="70521"/>
                  </a:cubicBezTo>
                  <a:cubicBezTo>
                    <a:pt x="39118" y="70521"/>
                    <a:pt x="37004" y="69952"/>
                    <a:pt x="36475" y="69383"/>
                  </a:cubicBezTo>
                  <a:cubicBezTo>
                    <a:pt x="36475" y="69383"/>
                    <a:pt x="35947" y="68815"/>
                    <a:pt x="35418" y="68246"/>
                  </a:cubicBezTo>
                  <a:cubicBezTo>
                    <a:pt x="34889" y="67109"/>
                    <a:pt x="33832" y="66540"/>
                    <a:pt x="33832" y="66540"/>
                  </a:cubicBezTo>
                  <a:cubicBezTo>
                    <a:pt x="33832" y="66540"/>
                    <a:pt x="33303" y="65971"/>
                    <a:pt x="32775" y="64834"/>
                  </a:cubicBezTo>
                  <a:cubicBezTo>
                    <a:pt x="32246" y="64265"/>
                    <a:pt x="32246" y="64265"/>
                    <a:pt x="32246" y="63696"/>
                  </a:cubicBezTo>
                  <a:cubicBezTo>
                    <a:pt x="31718" y="63696"/>
                    <a:pt x="32246" y="63696"/>
                    <a:pt x="31189" y="63127"/>
                  </a:cubicBezTo>
                  <a:cubicBezTo>
                    <a:pt x="30132" y="62559"/>
                    <a:pt x="29603" y="61990"/>
                    <a:pt x="29603" y="61990"/>
                  </a:cubicBezTo>
                  <a:cubicBezTo>
                    <a:pt x="29074" y="61990"/>
                    <a:pt x="28017" y="61421"/>
                    <a:pt x="28017" y="61421"/>
                  </a:cubicBezTo>
                  <a:cubicBezTo>
                    <a:pt x="28017" y="61421"/>
                    <a:pt x="26960" y="60284"/>
                    <a:pt x="26960" y="60284"/>
                  </a:cubicBezTo>
                  <a:cubicBezTo>
                    <a:pt x="26960" y="60284"/>
                    <a:pt x="26431" y="61421"/>
                    <a:pt x="27488" y="61990"/>
                  </a:cubicBezTo>
                  <a:cubicBezTo>
                    <a:pt x="28017" y="61990"/>
                    <a:pt x="29074" y="63127"/>
                    <a:pt x="29074" y="63127"/>
                  </a:cubicBezTo>
                  <a:cubicBezTo>
                    <a:pt x="29074" y="63127"/>
                    <a:pt x="30132" y="63696"/>
                    <a:pt x="30132" y="63696"/>
                  </a:cubicBezTo>
                  <a:cubicBezTo>
                    <a:pt x="30132" y="63696"/>
                    <a:pt x="30132" y="64834"/>
                    <a:pt x="30132" y="64834"/>
                  </a:cubicBezTo>
                  <a:cubicBezTo>
                    <a:pt x="30132" y="64834"/>
                    <a:pt x="28546" y="64265"/>
                    <a:pt x="30132" y="64834"/>
                  </a:cubicBezTo>
                  <a:cubicBezTo>
                    <a:pt x="31189" y="65402"/>
                    <a:pt x="32246" y="65402"/>
                    <a:pt x="32246" y="65402"/>
                  </a:cubicBezTo>
                  <a:cubicBezTo>
                    <a:pt x="32246" y="65402"/>
                    <a:pt x="31189" y="65971"/>
                    <a:pt x="30660" y="65971"/>
                  </a:cubicBezTo>
                  <a:cubicBezTo>
                    <a:pt x="30660" y="66540"/>
                    <a:pt x="31718" y="68246"/>
                    <a:pt x="31718" y="67677"/>
                  </a:cubicBezTo>
                  <a:cubicBezTo>
                    <a:pt x="32246" y="67677"/>
                    <a:pt x="32775" y="68246"/>
                    <a:pt x="33303" y="68246"/>
                  </a:cubicBezTo>
                  <a:cubicBezTo>
                    <a:pt x="33303" y="68246"/>
                    <a:pt x="34361" y="68246"/>
                    <a:pt x="34361" y="68815"/>
                  </a:cubicBezTo>
                  <a:cubicBezTo>
                    <a:pt x="34889" y="68815"/>
                    <a:pt x="34889" y="68815"/>
                    <a:pt x="34889" y="69383"/>
                  </a:cubicBezTo>
                  <a:cubicBezTo>
                    <a:pt x="34361" y="69383"/>
                    <a:pt x="34889" y="70521"/>
                    <a:pt x="34889" y="70521"/>
                  </a:cubicBezTo>
                  <a:cubicBezTo>
                    <a:pt x="35947" y="71090"/>
                    <a:pt x="35947" y="71090"/>
                    <a:pt x="35947" y="71090"/>
                  </a:cubicBezTo>
                  <a:cubicBezTo>
                    <a:pt x="35947" y="71090"/>
                    <a:pt x="34361" y="71090"/>
                    <a:pt x="34361" y="70521"/>
                  </a:cubicBezTo>
                  <a:cubicBezTo>
                    <a:pt x="33832" y="70521"/>
                    <a:pt x="33832" y="69952"/>
                    <a:pt x="33303" y="70521"/>
                  </a:cubicBezTo>
                  <a:cubicBezTo>
                    <a:pt x="32775" y="71090"/>
                    <a:pt x="32775" y="71090"/>
                    <a:pt x="32775" y="71658"/>
                  </a:cubicBezTo>
                  <a:cubicBezTo>
                    <a:pt x="33303" y="72227"/>
                    <a:pt x="33832" y="72796"/>
                    <a:pt x="34361" y="72227"/>
                  </a:cubicBezTo>
                  <a:cubicBezTo>
                    <a:pt x="34361" y="72227"/>
                    <a:pt x="34361" y="72227"/>
                    <a:pt x="34889" y="71658"/>
                  </a:cubicBezTo>
                  <a:cubicBezTo>
                    <a:pt x="34889" y="71658"/>
                    <a:pt x="34889" y="71658"/>
                    <a:pt x="35418" y="71658"/>
                  </a:cubicBezTo>
                  <a:cubicBezTo>
                    <a:pt x="35418" y="71658"/>
                    <a:pt x="35947" y="71658"/>
                    <a:pt x="35947" y="71658"/>
                  </a:cubicBezTo>
                  <a:cubicBezTo>
                    <a:pt x="36475" y="71090"/>
                    <a:pt x="36475" y="71090"/>
                    <a:pt x="36475" y="71090"/>
                  </a:cubicBezTo>
                  <a:cubicBezTo>
                    <a:pt x="36475" y="71090"/>
                    <a:pt x="36475" y="71090"/>
                    <a:pt x="36475" y="71658"/>
                  </a:cubicBezTo>
                  <a:cubicBezTo>
                    <a:pt x="36475" y="71658"/>
                    <a:pt x="37004" y="71658"/>
                    <a:pt x="36475" y="72227"/>
                  </a:cubicBezTo>
                  <a:cubicBezTo>
                    <a:pt x="36475" y="72796"/>
                    <a:pt x="35947" y="72796"/>
                    <a:pt x="35947" y="72796"/>
                  </a:cubicBezTo>
                  <a:cubicBezTo>
                    <a:pt x="35947" y="73364"/>
                    <a:pt x="35418" y="72796"/>
                    <a:pt x="35947" y="73933"/>
                  </a:cubicBezTo>
                  <a:cubicBezTo>
                    <a:pt x="35947" y="74502"/>
                    <a:pt x="35947" y="75071"/>
                    <a:pt x="35947" y="75071"/>
                  </a:cubicBezTo>
                  <a:cubicBezTo>
                    <a:pt x="35947" y="75071"/>
                    <a:pt x="36475" y="75071"/>
                    <a:pt x="36475" y="75071"/>
                  </a:cubicBezTo>
                  <a:cubicBezTo>
                    <a:pt x="37004" y="75639"/>
                    <a:pt x="37004" y="76208"/>
                    <a:pt x="37004" y="76777"/>
                  </a:cubicBezTo>
                  <a:cubicBezTo>
                    <a:pt x="37533" y="76777"/>
                    <a:pt x="38590" y="78483"/>
                    <a:pt x="38590" y="78483"/>
                  </a:cubicBezTo>
                  <a:cubicBezTo>
                    <a:pt x="38590" y="78483"/>
                    <a:pt x="40176" y="79620"/>
                    <a:pt x="40176" y="79620"/>
                  </a:cubicBezTo>
                  <a:cubicBezTo>
                    <a:pt x="40176" y="79620"/>
                    <a:pt x="40704" y="80189"/>
                    <a:pt x="40704" y="80189"/>
                  </a:cubicBezTo>
                  <a:cubicBezTo>
                    <a:pt x="40704" y="80189"/>
                    <a:pt x="40704" y="80758"/>
                    <a:pt x="40176" y="80189"/>
                  </a:cubicBezTo>
                  <a:cubicBezTo>
                    <a:pt x="39647" y="79620"/>
                    <a:pt x="38590" y="79052"/>
                    <a:pt x="38590" y="79052"/>
                  </a:cubicBezTo>
                  <a:cubicBezTo>
                    <a:pt x="38590" y="80189"/>
                    <a:pt x="38590" y="80189"/>
                    <a:pt x="38590" y="80189"/>
                  </a:cubicBezTo>
                  <a:cubicBezTo>
                    <a:pt x="38590" y="80189"/>
                    <a:pt x="39118" y="80758"/>
                    <a:pt x="39647" y="80758"/>
                  </a:cubicBezTo>
                  <a:cubicBezTo>
                    <a:pt x="39647" y="81327"/>
                    <a:pt x="39647" y="81327"/>
                    <a:pt x="40176" y="81895"/>
                  </a:cubicBezTo>
                  <a:cubicBezTo>
                    <a:pt x="40704" y="81895"/>
                    <a:pt x="41233" y="81895"/>
                    <a:pt x="41762" y="81895"/>
                  </a:cubicBezTo>
                  <a:cubicBezTo>
                    <a:pt x="41762" y="82464"/>
                    <a:pt x="41762" y="81327"/>
                    <a:pt x="41762" y="81327"/>
                  </a:cubicBezTo>
                  <a:cubicBezTo>
                    <a:pt x="41762" y="81327"/>
                    <a:pt x="42290" y="81327"/>
                    <a:pt x="42290" y="81327"/>
                  </a:cubicBezTo>
                  <a:cubicBezTo>
                    <a:pt x="42290" y="81895"/>
                    <a:pt x="42819" y="82464"/>
                    <a:pt x="42290" y="83033"/>
                  </a:cubicBezTo>
                  <a:cubicBezTo>
                    <a:pt x="42290" y="83033"/>
                    <a:pt x="42290" y="83601"/>
                    <a:pt x="41762" y="83033"/>
                  </a:cubicBezTo>
                  <a:cubicBezTo>
                    <a:pt x="41233" y="83033"/>
                    <a:pt x="40704" y="82464"/>
                    <a:pt x="40176" y="82464"/>
                  </a:cubicBezTo>
                  <a:cubicBezTo>
                    <a:pt x="40176" y="82464"/>
                    <a:pt x="39647" y="81895"/>
                    <a:pt x="39118" y="82464"/>
                  </a:cubicBezTo>
                  <a:cubicBezTo>
                    <a:pt x="39118" y="82464"/>
                    <a:pt x="38061" y="81895"/>
                    <a:pt x="38061" y="82464"/>
                  </a:cubicBezTo>
                  <a:cubicBezTo>
                    <a:pt x="38061" y="83033"/>
                    <a:pt x="38061" y="83601"/>
                    <a:pt x="38061" y="83601"/>
                  </a:cubicBezTo>
                  <a:cubicBezTo>
                    <a:pt x="38061" y="83601"/>
                    <a:pt x="37533" y="81327"/>
                    <a:pt x="37004" y="81327"/>
                  </a:cubicBezTo>
                  <a:cubicBezTo>
                    <a:pt x="36475" y="81327"/>
                    <a:pt x="35418" y="80758"/>
                    <a:pt x="35418" y="80758"/>
                  </a:cubicBezTo>
                  <a:cubicBezTo>
                    <a:pt x="34889" y="79620"/>
                    <a:pt x="34889" y="79620"/>
                    <a:pt x="34889" y="79620"/>
                  </a:cubicBezTo>
                  <a:cubicBezTo>
                    <a:pt x="34889" y="79620"/>
                    <a:pt x="35418" y="79620"/>
                    <a:pt x="35418" y="79620"/>
                  </a:cubicBezTo>
                  <a:cubicBezTo>
                    <a:pt x="35947" y="80189"/>
                    <a:pt x="35418" y="80189"/>
                    <a:pt x="35947" y="80189"/>
                  </a:cubicBezTo>
                  <a:cubicBezTo>
                    <a:pt x="36475" y="80189"/>
                    <a:pt x="35418" y="79052"/>
                    <a:pt x="36475" y="79052"/>
                  </a:cubicBezTo>
                  <a:cubicBezTo>
                    <a:pt x="37533" y="79052"/>
                    <a:pt x="37533" y="79052"/>
                    <a:pt x="37533" y="79052"/>
                  </a:cubicBezTo>
                  <a:cubicBezTo>
                    <a:pt x="37533" y="78483"/>
                    <a:pt x="38590" y="78483"/>
                    <a:pt x="37533" y="77914"/>
                  </a:cubicBezTo>
                  <a:cubicBezTo>
                    <a:pt x="36475" y="77345"/>
                    <a:pt x="36475" y="77345"/>
                    <a:pt x="36475" y="77345"/>
                  </a:cubicBezTo>
                  <a:cubicBezTo>
                    <a:pt x="35947" y="77345"/>
                    <a:pt x="35947" y="77345"/>
                    <a:pt x="35947" y="76777"/>
                  </a:cubicBezTo>
                  <a:cubicBezTo>
                    <a:pt x="35418" y="76208"/>
                    <a:pt x="35418" y="75639"/>
                    <a:pt x="34889" y="75639"/>
                  </a:cubicBezTo>
                  <a:cubicBezTo>
                    <a:pt x="34889" y="75639"/>
                    <a:pt x="33303" y="75639"/>
                    <a:pt x="33303" y="75639"/>
                  </a:cubicBezTo>
                  <a:cubicBezTo>
                    <a:pt x="33303" y="75639"/>
                    <a:pt x="32775" y="75071"/>
                    <a:pt x="32246" y="75071"/>
                  </a:cubicBezTo>
                  <a:cubicBezTo>
                    <a:pt x="31718" y="75071"/>
                    <a:pt x="30660" y="73933"/>
                    <a:pt x="30660" y="73933"/>
                  </a:cubicBezTo>
                  <a:cubicBezTo>
                    <a:pt x="30132" y="73364"/>
                    <a:pt x="28546" y="72796"/>
                    <a:pt x="28546" y="72796"/>
                  </a:cubicBezTo>
                  <a:cubicBezTo>
                    <a:pt x="28546" y="72796"/>
                    <a:pt x="28017" y="72227"/>
                    <a:pt x="27488" y="72227"/>
                  </a:cubicBezTo>
                  <a:cubicBezTo>
                    <a:pt x="26960" y="72227"/>
                    <a:pt x="26960" y="72227"/>
                    <a:pt x="26431" y="72227"/>
                  </a:cubicBezTo>
                  <a:cubicBezTo>
                    <a:pt x="25903" y="71658"/>
                    <a:pt x="25374" y="71090"/>
                    <a:pt x="25374" y="71090"/>
                  </a:cubicBezTo>
                  <a:cubicBezTo>
                    <a:pt x="24845" y="70521"/>
                    <a:pt x="24317" y="70521"/>
                    <a:pt x="24317" y="70521"/>
                  </a:cubicBezTo>
                  <a:cubicBezTo>
                    <a:pt x="24845" y="71090"/>
                    <a:pt x="24317" y="71090"/>
                    <a:pt x="25374" y="71658"/>
                  </a:cubicBezTo>
                  <a:cubicBezTo>
                    <a:pt x="25903" y="72227"/>
                    <a:pt x="26431" y="72227"/>
                    <a:pt x="26431" y="72227"/>
                  </a:cubicBezTo>
                  <a:cubicBezTo>
                    <a:pt x="26431" y="72227"/>
                    <a:pt x="26960" y="72796"/>
                    <a:pt x="26960" y="72796"/>
                  </a:cubicBezTo>
                  <a:cubicBezTo>
                    <a:pt x="26960" y="73364"/>
                    <a:pt x="27488" y="72796"/>
                    <a:pt x="28017" y="72796"/>
                  </a:cubicBezTo>
                  <a:cubicBezTo>
                    <a:pt x="28017" y="73364"/>
                    <a:pt x="28546" y="73364"/>
                    <a:pt x="28546" y="73933"/>
                  </a:cubicBezTo>
                  <a:cubicBezTo>
                    <a:pt x="28546" y="73933"/>
                    <a:pt x="30132" y="73933"/>
                    <a:pt x="30132" y="74502"/>
                  </a:cubicBezTo>
                  <a:cubicBezTo>
                    <a:pt x="30132" y="75071"/>
                    <a:pt x="30660" y="75639"/>
                    <a:pt x="30132" y="75639"/>
                  </a:cubicBezTo>
                  <a:cubicBezTo>
                    <a:pt x="30132" y="75639"/>
                    <a:pt x="29603" y="76208"/>
                    <a:pt x="29603" y="76208"/>
                  </a:cubicBezTo>
                  <a:cubicBezTo>
                    <a:pt x="30132" y="76208"/>
                    <a:pt x="30660" y="76777"/>
                    <a:pt x="31189" y="76777"/>
                  </a:cubicBezTo>
                  <a:cubicBezTo>
                    <a:pt x="31718" y="76777"/>
                    <a:pt x="31189" y="76777"/>
                    <a:pt x="32246" y="77345"/>
                  </a:cubicBezTo>
                  <a:cubicBezTo>
                    <a:pt x="33303" y="77345"/>
                    <a:pt x="33303" y="78483"/>
                    <a:pt x="33303" y="78483"/>
                  </a:cubicBezTo>
                  <a:cubicBezTo>
                    <a:pt x="33303" y="79052"/>
                    <a:pt x="34361" y="79620"/>
                    <a:pt x="34361" y="79620"/>
                  </a:cubicBezTo>
                  <a:cubicBezTo>
                    <a:pt x="34361" y="79620"/>
                    <a:pt x="33832" y="79620"/>
                    <a:pt x="34361" y="80189"/>
                  </a:cubicBezTo>
                  <a:cubicBezTo>
                    <a:pt x="34361" y="80189"/>
                    <a:pt x="33832" y="80189"/>
                    <a:pt x="34361" y="80758"/>
                  </a:cubicBezTo>
                  <a:cubicBezTo>
                    <a:pt x="34889" y="80758"/>
                    <a:pt x="35418" y="80758"/>
                    <a:pt x="35418" y="80758"/>
                  </a:cubicBezTo>
                  <a:cubicBezTo>
                    <a:pt x="35418" y="81327"/>
                    <a:pt x="35418" y="81327"/>
                    <a:pt x="35418" y="81895"/>
                  </a:cubicBezTo>
                  <a:cubicBezTo>
                    <a:pt x="35418" y="81895"/>
                    <a:pt x="34361" y="83033"/>
                    <a:pt x="35947" y="83033"/>
                  </a:cubicBezTo>
                  <a:cubicBezTo>
                    <a:pt x="37004" y="83033"/>
                    <a:pt x="37004" y="83033"/>
                    <a:pt x="37004" y="83033"/>
                  </a:cubicBezTo>
                  <a:cubicBezTo>
                    <a:pt x="37533" y="83601"/>
                    <a:pt x="37533" y="83601"/>
                    <a:pt x="37533" y="83601"/>
                  </a:cubicBezTo>
                  <a:cubicBezTo>
                    <a:pt x="37533" y="83601"/>
                    <a:pt x="37004" y="84170"/>
                    <a:pt x="37533" y="84739"/>
                  </a:cubicBezTo>
                  <a:cubicBezTo>
                    <a:pt x="37533" y="85308"/>
                    <a:pt x="39647" y="85308"/>
                    <a:pt x="39647" y="85308"/>
                  </a:cubicBezTo>
                  <a:cubicBezTo>
                    <a:pt x="39647" y="84739"/>
                    <a:pt x="39647" y="84739"/>
                    <a:pt x="39647" y="84739"/>
                  </a:cubicBezTo>
                  <a:cubicBezTo>
                    <a:pt x="39647" y="84739"/>
                    <a:pt x="40704" y="85308"/>
                    <a:pt x="40176" y="85308"/>
                  </a:cubicBezTo>
                  <a:cubicBezTo>
                    <a:pt x="40176" y="85876"/>
                    <a:pt x="39647" y="85876"/>
                    <a:pt x="39647" y="85876"/>
                  </a:cubicBezTo>
                  <a:cubicBezTo>
                    <a:pt x="39647" y="85876"/>
                    <a:pt x="39647" y="87014"/>
                    <a:pt x="40176" y="87014"/>
                  </a:cubicBezTo>
                  <a:cubicBezTo>
                    <a:pt x="40704" y="87014"/>
                    <a:pt x="41233" y="87582"/>
                    <a:pt x="41233" y="87582"/>
                  </a:cubicBezTo>
                  <a:cubicBezTo>
                    <a:pt x="41233" y="87582"/>
                    <a:pt x="41762" y="87582"/>
                    <a:pt x="41762" y="88151"/>
                  </a:cubicBezTo>
                  <a:cubicBezTo>
                    <a:pt x="42290" y="88151"/>
                    <a:pt x="42290" y="88720"/>
                    <a:pt x="42290" y="88720"/>
                  </a:cubicBezTo>
                  <a:cubicBezTo>
                    <a:pt x="42819" y="88720"/>
                    <a:pt x="43348" y="88720"/>
                    <a:pt x="43348" y="89289"/>
                  </a:cubicBezTo>
                  <a:cubicBezTo>
                    <a:pt x="43876" y="89289"/>
                    <a:pt x="44405" y="89857"/>
                    <a:pt x="44405" y="89289"/>
                  </a:cubicBezTo>
                  <a:cubicBezTo>
                    <a:pt x="44405" y="88720"/>
                    <a:pt x="44933" y="88720"/>
                    <a:pt x="44405" y="88151"/>
                  </a:cubicBezTo>
                  <a:cubicBezTo>
                    <a:pt x="43876" y="87582"/>
                    <a:pt x="43348" y="87582"/>
                    <a:pt x="42819" y="87582"/>
                  </a:cubicBezTo>
                  <a:cubicBezTo>
                    <a:pt x="42819" y="87582"/>
                    <a:pt x="42290" y="87582"/>
                    <a:pt x="42290" y="87014"/>
                  </a:cubicBezTo>
                  <a:cubicBezTo>
                    <a:pt x="41762" y="87014"/>
                    <a:pt x="41762" y="87014"/>
                    <a:pt x="41762" y="86445"/>
                  </a:cubicBezTo>
                  <a:cubicBezTo>
                    <a:pt x="41762" y="85876"/>
                    <a:pt x="41233" y="85308"/>
                    <a:pt x="41233" y="85308"/>
                  </a:cubicBezTo>
                  <a:cubicBezTo>
                    <a:pt x="41233" y="85308"/>
                    <a:pt x="41233" y="84170"/>
                    <a:pt x="41233" y="84170"/>
                  </a:cubicBezTo>
                  <a:cubicBezTo>
                    <a:pt x="40704" y="84170"/>
                    <a:pt x="40704" y="84170"/>
                    <a:pt x="40176" y="84170"/>
                  </a:cubicBezTo>
                  <a:cubicBezTo>
                    <a:pt x="40176" y="84170"/>
                    <a:pt x="39647" y="83601"/>
                    <a:pt x="39647" y="83601"/>
                  </a:cubicBezTo>
                  <a:cubicBezTo>
                    <a:pt x="39118" y="83601"/>
                    <a:pt x="38590" y="83601"/>
                    <a:pt x="38590" y="83601"/>
                  </a:cubicBezTo>
                  <a:cubicBezTo>
                    <a:pt x="38590" y="83033"/>
                    <a:pt x="39118" y="83033"/>
                    <a:pt x="39118" y="83033"/>
                  </a:cubicBezTo>
                  <a:cubicBezTo>
                    <a:pt x="39118" y="83033"/>
                    <a:pt x="39647" y="83033"/>
                    <a:pt x="40176" y="83033"/>
                  </a:cubicBezTo>
                  <a:cubicBezTo>
                    <a:pt x="40704" y="83601"/>
                    <a:pt x="40704" y="83033"/>
                    <a:pt x="41233" y="83601"/>
                  </a:cubicBezTo>
                  <a:cubicBezTo>
                    <a:pt x="41762" y="83601"/>
                    <a:pt x="41233" y="84170"/>
                    <a:pt x="41762" y="84170"/>
                  </a:cubicBezTo>
                  <a:cubicBezTo>
                    <a:pt x="42819" y="84170"/>
                    <a:pt x="42819" y="83601"/>
                    <a:pt x="42819" y="83601"/>
                  </a:cubicBezTo>
                  <a:cubicBezTo>
                    <a:pt x="43876" y="83033"/>
                    <a:pt x="43876" y="83033"/>
                    <a:pt x="43876" y="83033"/>
                  </a:cubicBezTo>
                  <a:cubicBezTo>
                    <a:pt x="43876" y="83033"/>
                    <a:pt x="43876" y="83033"/>
                    <a:pt x="44405" y="83601"/>
                  </a:cubicBezTo>
                  <a:cubicBezTo>
                    <a:pt x="44933" y="83601"/>
                    <a:pt x="43876" y="84170"/>
                    <a:pt x="44933" y="84170"/>
                  </a:cubicBezTo>
                  <a:cubicBezTo>
                    <a:pt x="45991" y="84170"/>
                    <a:pt x="46519" y="84170"/>
                    <a:pt x="46519" y="84170"/>
                  </a:cubicBezTo>
                  <a:cubicBezTo>
                    <a:pt x="46519" y="84739"/>
                    <a:pt x="46519" y="85308"/>
                    <a:pt x="46519" y="85308"/>
                  </a:cubicBezTo>
                  <a:cubicBezTo>
                    <a:pt x="46519" y="85308"/>
                    <a:pt x="46519" y="85876"/>
                    <a:pt x="46519" y="85876"/>
                  </a:cubicBezTo>
                  <a:cubicBezTo>
                    <a:pt x="47048" y="85876"/>
                    <a:pt x="48105" y="85876"/>
                    <a:pt x="48105" y="85876"/>
                  </a:cubicBezTo>
                  <a:cubicBezTo>
                    <a:pt x="48105" y="85876"/>
                    <a:pt x="48634" y="85876"/>
                    <a:pt x="48634" y="86445"/>
                  </a:cubicBezTo>
                  <a:cubicBezTo>
                    <a:pt x="49162" y="87014"/>
                    <a:pt x="47577" y="87582"/>
                    <a:pt x="47577" y="87582"/>
                  </a:cubicBezTo>
                  <a:cubicBezTo>
                    <a:pt x="47577" y="87582"/>
                    <a:pt x="47048" y="87014"/>
                    <a:pt x="47048" y="87582"/>
                  </a:cubicBezTo>
                  <a:cubicBezTo>
                    <a:pt x="47048" y="88151"/>
                    <a:pt x="46519" y="88151"/>
                    <a:pt x="47048" y="88720"/>
                  </a:cubicBezTo>
                  <a:cubicBezTo>
                    <a:pt x="47577" y="88720"/>
                    <a:pt x="47048" y="88720"/>
                    <a:pt x="47048" y="88720"/>
                  </a:cubicBezTo>
                  <a:cubicBezTo>
                    <a:pt x="46519" y="88720"/>
                    <a:pt x="45991" y="88151"/>
                    <a:pt x="46519" y="89289"/>
                  </a:cubicBezTo>
                  <a:cubicBezTo>
                    <a:pt x="46519" y="89857"/>
                    <a:pt x="47048" y="90426"/>
                    <a:pt x="47048" y="90426"/>
                  </a:cubicBezTo>
                  <a:cubicBezTo>
                    <a:pt x="47577" y="90426"/>
                    <a:pt x="48634" y="90426"/>
                    <a:pt x="48634" y="90426"/>
                  </a:cubicBezTo>
                  <a:cubicBezTo>
                    <a:pt x="49162" y="90426"/>
                    <a:pt x="49691" y="90426"/>
                    <a:pt x="49162" y="90426"/>
                  </a:cubicBezTo>
                  <a:cubicBezTo>
                    <a:pt x="48634" y="89857"/>
                    <a:pt x="48105" y="89857"/>
                    <a:pt x="48105" y="89857"/>
                  </a:cubicBezTo>
                  <a:cubicBezTo>
                    <a:pt x="48105" y="89857"/>
                    <a:pt x="48105" y="89857"/>
                    <a:pt x="48105" y="89289"/>
                  </a:cubicBezTo>
                  <a:cubicBezTo>
                    <a:pt x="48105" y="89289"/>
                    <a:pt x="48634" y="89289"/>
                    <a:pt x="48634" y="89289"/>
                  </a:cubicBezTo>
                  <a:cubicBezTo>
                    <a:pt x="48634" y="88720"/>
                    <a:pt x="49162" y="88151"/>
                    <a:pt x="49162" y="88151"/>
                  </a:cubicBezTo>
                  <a:cubicBezTo>
                    <a:pt x="49162" y="88151"/>
                    <a:pt x="49691" y="87014"/>
                    <a:pt x="50220" y="87582"/>
                  </a:cubicBezTo>
                  <a:cubicBezTo>
                    <a:pt x="50220" y="88151"/>
                    <a:pt x="50220" y="88151"/>
                    <a:pt x="50748" y="88151"/>
                  </a:cubicBezTo>
                  <a:cubicBezTo>
                    <a:pt x="50748" y="88151"/>
                    <a:pt x="52334" y="86445"/>
                    <a:pt x="52334" y="86445"/>
                  </a:cubicBezTo>
                  <a:cubicBezTo>
                    <a:pt x="52334" y="86445"/>
                    <a:pt x="52863" y="86445"/>
                    <a:pt x="52334" y="87014"/>
                  </a:cubicBezTo>
                  <a:cubicBezTo>
                    <a:pt x="52334" y="87582"/>
                    <a:pt x="51806" y="88151"/>
                    <a:pt x="52334" y="88720"/>
                  </a:cubicBezTo>
                  <a:cubicBezTo>
                    <a:pt x="52334" y="89289"/>
                    <a:pt x="52334" y="89289"/>
                    <a:pt x="52334" y="89289"/>
                  </a:cubicBezTo>
                  <a:cubicBezTo>
                    <a:pt x="52863" y="89857"/>
                    <a:pt x="52334" y="89857"/>
                    <a:pt x="52863" y="90426"/>
                  </a:cubicBezTo>
                  <a:cubicBezTo>
                    <a:pt x="52863" y="90995"/>
                    <a:pt x="52863" y="90426"/>
                    <a:pt x="52863" y="90995"/>
                  </a:cubicBezTo>
                  <a:cubicBezTo>
                    <a:pt x="53392" y="91563"/>
                    <a:pt x="53920" y="92701"/>
                    <a:pt x="53920" y="92701"/>
                  </a:cubicBezTo>
                  <a:cubicBezTo>
                    <a:pt x="53920" y="92701"/>
                    <a:pt x="53392" y="93270"/>
                    <a:pt x="53920" y="93270"/>
                  </a:cubicBezTo>
                  <a:cubicBezTo>
                    <a:pt x="54449" y="93838"/>
                    <a:pt x="55506" y="93838"/>
                    <a:pt x="55506" y="93838"/>
                  </a:cubicBezTo>
                  <a:cubicBezTo>
                    <a:pt x="55506" y="93838"/>
                    <a:pt x="55506" y="93838"/>
                    <a:pt x="55506" y="93838"/>
                  </a:cubicBezTo>
                  <a:cubicBezTo>
                    <a:pt x="55506" y="93838"/>
                    <a:pt x="56035" y="94407"/>
                    <a:pt x="56563" y="93838"/>
                  </a:cubicBezTo>
                  <a:cubicBezTo>
                    <a:pt x="56563" y="93270"/>
                    <a:pt x="57092" y="93270"/>
                    <a:pt x="57092" y="93270"/>
                  </a:cubicBezTo>
                  <a:cubicBezTo>
                    <a:pt x="57621" y="93270"/>
                    <a:pt x="57092" y="93270"/>
                    <a:pt x="58149" y="93270"/>
                  </a:cubicBezTo>
                  <a:cubicBezTo>
                    <a:pt x="59207" y="93270"/>
                    <a:pt x="59207" y="93838"/>
                    <a:pt x="59735" y="93270"/>
                  </a:cubicBezTo>
                  <a:cubicBezTo>
                    <a:pt x="60264" y="92701"/>
                    <a:pt x="59735" y="92701"/>
                    <a:pt x="60792" y="92701"/>
                  </a:cubicBezTo>
                  <a:cubicBezTo>
                    <a:pt x="61850" y="92701"/>
                    <a:pt x="62907" y="92132"/>
                    <a:pt x="62907" y="92132"/>
                  </a:cubicBezTo>
                  <a:cubicBezTo>
                    <a:pt x="62907" y="92132"/>
                    <a:pt x="64493" y="92132"/>
                    <a:pt x="64493" y="92132"/>
                  </a:cubicBezTo>
                  <a:cubicBezTo>
                    <a:pt x="65550" y="92701"/>
                    <a:pt x="65550" y="92701"/>
                    <a:pt x="65550" y="92701"/>
                  </a:cubicBezTo>
                  <a:cubicBezTo>
                    <a:pt x="65550" y="92701"/>
                    <a:pt x="66079" y="93270"/>
                    <a:pt x="66607" y="93270"/>
                  </a:cubicBezTo>
                  <a:cubicBezTo>
                    <a:pt x="66607" y="93270"/>
                    <a:pt x="67136" y="93270"/>
                    <a:pt x="67665" y="93270"/>
                  </a:cubicBezTo>
                  <a:cubicBezTo>
                    <a:pt x="67665" y="93270"/>
                    <a:pt x="69779" y="93838"/>
                    <a:pt x="69779" y="93838"/>
                  </a:cubicBezTo>
                  <a:cubicBezTo>
                    <a:pt x="71894" y="94407"/>
                    <a:pt x="71894" y="94407"/>
                    <a:pt x="71894" y="94407"/>
                  </a:cubicBezTo>
                  <a:cubicBezTo>
                    <a:pt x="72951" y="94976"/>
                    <a:pt x="72951" y="94976"/>
                    <a:pt x="72951" y="94976"/>
                  </a:cubicBezTo>
                  <a:cubicBezTo>
                    <a:pt x="75066" y="96682"/>
                    <a:pt x="75066" y="96682"/>
                    <a:pt x="75066" y="96682"/>
                  </a:cubicBezTo>
                  <a:cubicBezTo>
                    <a:pt x="77180" y="98957"/>
                    <a:pt x="77180" y="98957"/>
                    <a:pt x="77180" y="98957"/>
                  </a:cubicBezTo>
                  <a:cubicBezTo>
                    <a:pt x="79823" y="100094"/>
                    <a:pt x="79823" y="100094"/>
                    <a:pt x="79823" y="100094"/>
                  </a:cubicBezTo>
                  <a:cubicBezTo>
                    <a:pt x="81409" y="101232"/>
                    <a:pt x="81409" y="101232"/>
                    <a:pt x="81409" y="101232"/>
                  </a:cubicBezTo>
                  <a:cubicBezTo>
                    <a:pt x="82466" y="102369"/>
                    <a:pt x="82466" y="102369"/>
                    <a:pt x="82466" y="102369"/>
                  </a:cubicBezTo>
                  <a:cubicBezTo>
                    <a:pt x="82466" y="102369"/>
                    <a:pt x="84052" y="103507"/>
                    <a:pt x="84052" y="103507"/>
                  </a:cubicBezTo>
                  <a:cubicBezTo>
                    <a:pt x="84581" y="103507"/>
                    <a:pt x="86167" y="104644"/>
                    <a:pt x="86167" y="104644"/>
                  </a:cubicBezTo>
                  <a:cubicBezTo>
                    <a:pt x="87753" y="105781"/>
                    <a:pt x="87753" y="105781"/>
                    <a:pt x="87753" y="105781"/>
                  </a:cubicBezTo>
                  <a:cubicBezTo>
                    <a:pt x="87753" y="105781"/>
                    <a:pt x="88281" y="106919"/>
                    <a:pt x="88281" y="106919"/>
                  </a:cubicBezTo>
                  <a:cubicBezTo>
                    <a:pt x="88281" y="107488"/>
                    <a:pt x="87753" y="106919"/>
                    <a:pt x="87224" y="106919"/>
                  </a:cubicBezTo>
                  <a:cubicBezTo>
                    <a:pt x="86696" y="107488"/>
                    <a:pt x="84581" y="106350"/>
                    <a:pt x="84581" y="106350"/>
                  </a:cubicBezTo>
                  <a:cubicBezTo>
                    <a:pt x="83524" y="105213"/>
                    <a:pt x="83524" y="105213"/>
                    <a:pt x="83524" y="105213"/>
                  </a:cubicBezTo>
                  <a:cubicBezTo>
                    <a:pt x="81938" y="105213"/>
                    <a:pt x="81938" y="105213"/>
                    <a:pt x="81938" y="105213"/>
                  </a:cubicBezTo>
                  <a:cubicBezTo>
                    <a:pt x="80881" y="104644"/>
                    <a:pt x="80881" y="104644"/>
                    <a:pt x="80881" y="104644"/>
                  </a:cubicBezTo>
                  <a:cubicBezTo>
                    <a:pt x="78766" y="105213"/>
                    <a:pt x="78766" y="105213"/>
                    <a:pt x="78766" y="105213"/>
                  </a:cubicBezTo>
                  <a:cubicBezTo>
                    <a:pt x="77180" y="104644"/>
                    <a:pt x="77180" y="104644"/>
                    <a:pt x="77180" y="104644"/>
                  </a:cubicBezTo>
                  <a:cubicBezTo>
                    <a:pt x="77180" y="104644"/>
                    <a:pt x="76651" y="104644"/>
                    <a:pt x="77180" y="105213"/>
                  </a:cubicBezTo>
                  <a:cubicBezTo>
                    <a:pt x="77180" y="105213"/>
                    <a:pt x="77180" y="105781"/>
                    <a:pt x="77180" y="105781"/>
                  </a:cubicBezTo>
                  <a:cubicBezTo>
                    <a:pt x="75594" y="106919"/>
                    <a:pt x="75594" y="106919"/>
                    <a:pt x="75594" y="106919"/>
                  </a:cubicBezTo>
                  <a:cubicBezTo>
                    <a:pt x="73480" y="107488"/>
                    <a:pt x="73480" y="107488"/>
                    <a:pt x="73480" y="107488"/>
                  </a:cubicBezTo>
                  <a:cubicBezTo>
                    <a:pt x="71365" y="107488"/>
                    <a:pt x="71365" y="107488"/>
                    <a:pt x="71365" y="107488"/>
                  </a:cubicBezTo>
                  <a:cubicBezTo>
                    <a:pt x="69779" y="107488"/>
                    <a:pt x="69779" y="107488"/>
                    <a:pt x="69779" y="107488"/>
                  </a:cubicBezTo>
                  <a:cubicBezTo>
                    <a:pt x="69779" y="108625"/>
                    <a:pt x="69779" y="108625"/>
                    <a:pt x="69779" y="108625"/>
                  </a:cubicBezTo>
                  <a:cubicBezTo>
                    <a:pt x="69779" y="108625"/>
                    <a:pt x="67665" y="108625"/>
                    <a:pt x="69779" y="109194"/>
                  </a:cubicBezTo>
                  <a:cubicBezTo>
                    <a:pt x="71894" y="109194"/>
                    <a:pt x="72951" y="109194"/>
                    <a:pt x="72951" y="108625"/>
                  </a:cubicBezTo>
                  <a:cubicBezTo>
                    <a:pt x="73480" y="108625"/>
                    <a:pt x="73480" y="108056"/>
                    <a:pt x="74008" y="108056"/>
                  </a:cubicBezTo>
                  <a:cubicBezTo>
                    <a:pt x="74537" y="108056"/>
                    <a:pt x="75594" y="108056"/>
                    <a:pt x="76123" y="108056"/>
                  </a:cubicBezTo>
                  <a:cubicBezTo>
                    <a:pt x="76123" y="108056"/>
                    <a:pt x="76651" y="108056"/>
                    <a:pt x="77709" y="107488"/>
                  </a:cubicBezTo>
                  <a:cubicBezTo>
                    <a:pt x="78237" y="107488"/>
                    <a:pt x="78237" y="106919"/>
                    <a:pt x="79295" y="107488"/>
                  </a:cubicBezTo>
                  <a:cubicBezTo>
                    <a:pt x="80352" y="108056"/>
                    <a:pt x="79823" y="106350"/>
                    <a:pt x="79823" y="106350"/>
                  </a:cubicBezTo>
                  <a:cubicBezTo>
                    <a:pt x="79823" y="106350"/>
                    <a:pt x="79823" y="105781"/>
                    <a:pt x="80352" y="105781"/>
                  </a:cubicBezTo>
                  <a:cubicBezTo>
                    <a:pt x="81409" y="106350"/>
                    <a:pt x="81409" y="106350"/>
                    <a:pt x="81409" y="106350"/>
                  </a:cubicBezTo>
                  <a:cubicBezTo>
                    <a:pt x="81938" y="106350"/>
                    <a:pt x="82995" y="106919"/>
                    <a:pt x="82995" y="106919"/>
                  </a:cubicBezTo>
                  <a:cubicBezTo>
                    <a:pt x="83524" y="106919"/>
                    <a:pt x="85638" y="107488"/>
                    <a:pt x="85638" y="107488"/>
                  </a:cubicBezTo>
                  <a:cubicBezTo>
                    <a:pt x="85638" y="107488"/>
                    <a:pt x="86167" y="109194"/>
                    <a:pt x="86167" y="109194"/>
                  </a:cubicBezTo>
                  <a:cubicBezTo>
                    <a:pt x="86696" y="109194"/>
                    <a:pt x="88281" y="109194"/>
                    <a:pt x="88810" y="109194"/>
                  </a:cubicBezTo>
                  <a:cubicBezTo>
                    <a:pt x="89339" y="109194"/>
                    <a:pt x="90396" y="109194"/>
                    <a:pt x="90925" y="109763"/>
                  </a:cubicBezTo>
                  <a:cubicBezTo>
                    <a:pt x="91453" y="110331"/>
                    <a:pt x="91982" y="110331"/>
                    <a:pt x="91982" y="110331"/>
                  </a:cubicBezTo>
                  <a:cubicBezTo>
                    <a:pt x="91982" y="110331"/>
                    <a:pt x="92511" y="110900"/>
                    <a:pt x="93039" y="111469"/>
                  </a:cubicBezTo>
                  <a:cubicBezTo>
                    <a:pt x="93039" y="111469"/>
                    <a:pt x="94625" y="112606"/>
                    <a:pt x="94625" y="112606"/>
                  </a:cubicBezTo>
                  <a:cubicBezTo>
                    <a:pt x="94625" y="112606"/>
                    <a:pt x="97268" y="113744"/>
                    <a:pt x="97268" y="113744"/>
                  </a:cubicBezTo>
                  <a:cubicBezTo>
                    <a:pt x="97797" y="113175"/>
                    <a:pt x="97797" y="113175"/>
                    <a:pt x="97797" y="113175"/>
                  </a:cubicBezTo>
                  <a:cubicBezTo>
                    <a:pt x="97797" y="112606"/>
                    <a:pt x="97797" y="112037"/>
                    <a:pt x="97797" y="112037"/>
                  </a:cubicBezTo>
                  <a:cubicBezTo>
                    <a:pt x="97268" y="111469"/>
                    <a:pt x="95154" y="110900"/>
                    <a:pt x="95154" y="110900"/>
                  </a:cubicBezTo>
                  <a:cubicBezTo>
                    <a:pt x="95154" y="110900"/>
                    <a:pt x="94096" y="110331"/>
                    <a:pt x="94096" y="110331"/>
                  </a:cubicBezTo>
                  <a:cubicBezTo>
                    <a:pt x="93568" y="107488"/>
                    <a:pt x="94096" y="109763"/>
                    <a:pt x="92511" y="109194"/>
                  </a:cubicBezTo>
                  <a:cubicBezTo>
                    <a:pt x="92511" y="109194"/>
                    <a:pt x="92511" y="109194"/>
                    <a:pt x="92511" y="109194"/>
                  </a:cubicBezTo>
                  <a:cubicBezTo>
                    <a:pt x="92511" y="109194"/>
                    <a:pt x="92511" y="109194"/>
                    <a:pt x="92511" y="109194"/>
                  </a:cubicBezTo>
                  <a:cubicBezTo>
                    <a:pt x="91453" y="109763"/>
                    <a:pt x="91453" y="109194"/>
                    <a:pt x="91453" y="109194"/>
                  </a:cubicBezTo>
                  <a:cubicBezTo>
                    <a:pt x="91453" y="108625"/>
                    <a:pt x="91453" y="108625"/>
                    <a:pt x="91453" y="108625"/>
                  </a:cubicBezTo>
                  <a:cubicBezTo>
                    <a:pt x="90925" y="108056"/>
                    <a:pt x="90925" y="108056"/>
                    <a:pt x="90925" y="108056"/>
                  </a:cubicBezTo>
                  <a:cubicBezTo>
                    <a:pt x="90925" y="108056"/>
                    <a:pt x="90396" y="106919"/>
                    <a:pt x="90925" y="106350"/>
                  </a:cubicBezTo>
                  <a:cubicBezTo>
                    <a:pt x="91453" y="106350"/>
                    <a:pt x="90396" y="109194"/>
                    <a:pt x="92511" y="105781"/>
                  </a:cubicBezTo>
                  <a:cubicBezTo>
                    <a:pt x="92511" y="105781"/>
                    <a:pt x="92511" y="105213"/>
                    <a:pt x="92511" y="105213"/>
                  </a:cubicBezTo>
                  <a:cubicBezTo>
                    <a:pt x="91982" y="105213"/>
                    <a:pt x="91982" y="105213"/>
                    <a:pt x="91982" y="105213"/>
                  </a:cubicBezTo>
                  <a:cubicBezTo>
                    <a:pt x="90396" y="105213"/>
                    <a:pt x="90396" y="105213"/>
                    <a:pt x="90396" y="105213"/>
                  </a:cubicBezTo>
                  <a:cubicBezTo>
                    <a:pt x="90396" y="105213"/>
                    <a:pt x="90396" y="105781"/>
                    <a:pt x="89867" y="106350"/>
                  </a:cubicBezTo>
                  <a:cubicBezTo>
                    <a:pt x="89339" y="106919"/>
                    <a:pt x="89339" y="106350"/>
                    <a:pt x="89339" y="106350"/>
                  </a:cubicBezTo>
                  <a:cubicBezTo>
                    <a:pt x="89339" y="105781"/>
                    <a:pt x="89339" y="105781"/>
                    <a:pt x="89339" y="105781"/>
                  </a:cubicBezTo>
                  <a:cubicBezTo>
                    <a:pt x="89867" y="105213"/>
                    <a:pt x="89867" y="105213"/>
                    <a:pt x="89867" y="105213"/>
                  </a:cubicBezTo>
                  <a:cubicBezTo>
                    <a:pt x="89867" y="105213"/>
                    <a:pt x="89867" y="103507"/>
                    <a:pt x="89867" y="102938"/>
                  </a:cubicBezTo>
                  <a:cubicBezTo>
                    <a:pt x="89867" y="102938"/>
                    <a:pt x="89867" y="102938"/>
                    <a:pt x="89867" y="102938"/>
                  </a:cubicBezTo>
                  <a:cubicBezTo>
                    <a:pt x="88281" y="101800"/>
                    <a:pt x="88281" y="101800"/>
                    <a:pt x="88281" y="101800"/>
                  </a:cubicBezTo>
                  <a:cubicBezTo>
                    <a:pt x="87224" y="100663"/>
                    <a:pt x="87224" y="100663"/>
                    <a:pt x="87224" y="100663"/>
                  </a:cubicBezTo>
                  <a:cubicBezTo>
                    <a:pt x="85638" y="99526"/>
                    <a:pt x="85638" y="99526"/>
                    <a:pt x="85638" y="99526"/>
                  </a:cubicBezTo>
                  <a:cubicBezTo>
                    <a:pt x="83524" y="97251"/>
                    <a:pt x="83524" y="97251"/>
                    <a:pt x="83524" y="97251"/>
                  </a:cubicBezTo>
                  <a:cubicBezTo>
                    <a:pt x="82466" y="96682"/>
                    <a:pt x="82466" y="96682"/>
                    <a:pt x="82466" y="96682"/>
                  </a:cubicBezTo>
                  <a:cubicBezTo>
                    <a:pt x="81409" y="95545"/>
                    <a:pt x="81409" y="95545"/>
                    <a:pt x="81409" y="95545"/>
                  </a:cubicBezTo>
                  <a:cubicBezTo>
                    <a:pt x="81409" y="94407"/>
                    <a:pt x="81409" y="94407"/>
                    <a:pt x="81409" y="94407"/>
                  </a:cubicBezTo>
                  <a:cubicBezTo>
                    <a:pt x="80881" y="92132"/>
                    <a:pt x="80881" y="92132"/>
                    <a:pt x="80881" y="92132"/>
                  </a:cubicBezTo>
                  <a:cubicBezTo>
                    <a:pt x="80881" y="92132"/>
                    <a:pt x="80881" y="92132"/>
                    <a:pt x="80881" y="92132"/>
                  </a:cubicBezTo>
                  <a:cubicBezTo>
                    <a:pt x="80881" y="92132"/>
                    <a:pt x="78766" y="91563"/>
                    <a:pt x="77709" y="90995"/>
                  </a:cubicBezTo>
                  <a:cubicBezTo>
                    <a:pt x="76651" y="90426"/>
                    <a:pt x="76651" y="90426"/>
                    <a:pt x="76651" y="90426"/>
                  </a:cubicBezTo>
                  <a:cubicBezTo>
                    <a:pt x="75594" y="88720"/>
                    <a:pt x="75594" y="88720"/>
                    <a:pt x="75594" y="88720"/>
                  </a:cubicBezTo>
                  <a:cubicBezTo>
                    <a:pt x="75066" y="88151"/>
                    <a:pt x="75066" y="88151"/>
                    <a:pt x="75066" y="88151"/>
                  </a:cubicBezTo>
                  <a:cubicBezTo>
                    <a:pt x="73480" y="86445"/>
                    <a:pt x="73480" y="86445"/>
                    <a:pt x="73480" y="86445"/>
                  </a:cubicBezTo>
                  <a:cubicBezTo>
                    <a:pt x="72951" y="86445"/>
                    <a:pt x="72951" y="86445"/>
                    <a:pt x="72951" y="86445"/>
                  </a:cubicBezTo>
                  <a:cubicBezTo>
                    <a:pt x="70308" y="85308"/>
                    <a:pt x="70308" y="85308"/>
                    <a:pt x="70308" y="85308"/>
                  </a:cubicBezTo>
                  <a:cubicBezTo>
                    <a:pt x="69779" y="84170"/>
                    <a:pt x="69779" y="84170"/>
                    <a:pt x="69779" y="84170"/>
                  </a:cubicBezTo>
                  <a:cubicBezTo>
                    <a:pt x="68722" y="83601"/>
                    <a:pt x="68722" y="83601"/>
                    <a:pt x="68722" y="83601"/>
                  </a:cubicBezTo>
                  <a:cubicBezTo>
                    <a:pt x="68193" y="82464"/>
                    <a:pt x="68193" y="82464"/>
                    <a:pt x="68193" y="82464"/>
                  </a:cubicBezTo>
                  <a:cubicBezTo>
                    <a:pt x="66607" y="81895"/>
                    <a:pt x="66607" y="81895"/>
                    <a:pt x="66607" y="81895"/>
                  </a:cubicBezTo>
                  <a:cubicBezTo>
                    <a:pt x="66079" y="80758"/>
                    <a:pt x="66079" y="80758"/>
                    <a:pt x="66079" y="80758"/>
                  </a:cubicBezTo>
                  <a:cubicBezTo>
                    <a:pt x="65550" y="80189"/>
                    <a:pt x="65550" y="80189"/>
                    <a:pt x="65550" y="80189"/>
                  </a:cubicBezTo>
                  <a:cubicBezTo>
                    <a:pt x="63964" y="77914"/>
                    <a:pt x="63964" y="77914"/>
                    <a:pt x="63964" y="77914"/>
                  </a:cubicBezTo>
                  <a:cubicBezTo>
                    <a:pt x="62378" y="76777"/>
                    <a:pt x="62378" y="76777"/>
                    <a:pt x="62378" y="76777"/>
                  </a:cubicBezTo>
                  <a:cubicBezTo>
                    <a:pt x="61850" y="76208"/>
                    <a:pt x="61850" y="76208"/>
                    <a:pt x="61850" y="76208"/>
                  </a:cubicBezTo>
                  <a:cubicBezTo>
                    <a:pt x="61321" y="75639"/>
                    <a:pt x="61321" y="75639"/>
                    <a:pt x="61321" y="75639"/>
                  </a:cubicBezTo>
                  <a:cubicBezTo>
                    <a:pt x="60264" y="73933"/>
                    <a:pt x="60264" y="73933"/>
                    <a:pt x="60264" y="73933"/>
                  </a:cubicBezTo>
                  <a:cubicBezTo>
                    <a:pt x="58678" y="72227"/>
                    <a:pt x="58678" y="72227"/>
                    <a:pt x="58678" y="72227"/>
                  </a:cubicBezTo>
                  <a:cubicBezTo>
                    <a:pt x="57621" y="71090"/>
                    <a:pt x="57621" y="71090"/>
                    <a:pt x="57621" y="71090"/>
                  </a:cubicBezTo>
                  <a:cubicBezTo>
                    <a:pt x="56563" y="69383"/>
                    <a:pt x="56563" y="69383"/>
                    <a:pt x="56563" y="69383"/>
                  </a:cubicBezTo>
                  <a:cubicBezTo>
                    <a:pt x="57621" y="68246"/>
                    <a:pt x="57621" y="68246"/>
                    <a:pt x="57621" y="68246"/>
                  </a:cubicBezTo>
                  <a:cubicBezTo>
                    <a:pt x="57092" y="67677"/>
                    <a:pt x="56563" y="67677"/>
                    <a:pt x="56563" y="67109"/>
                  </a:cubicBezTo>
                  <a:cubicBezTo>
                    <a:pt x="56035" y="67109"/>
                    <a:pt x="54977" y="66540"/>
                    <a:pt x="55506" y="65971"/>
                  </a:cubicBezTo>
                  <a:cubicBezTo>
                    <a:pt x="55506" y="65402"/>
                    <a:pt x="54977" y="64834"/>
                    <a:pt x="54977" y="63696"/>
                  </a:cubicBezTo>
                  <a:cubicBezTo>
                    <a:pt x="54977" y="63127"/>
                    <a:pt x="54977" y="62559"/>
                    <a:pt x="54449" y="62559"/>
                  </a:cubicBezTo>
                  <a:cubicBezTo>
                    <a:pt x="53920" y="61990"/>
                    <a:pt x="53920" y="61990"/>
                    <a:pt x="53920" y="61990"/>
                  </a:cubicBezTo>
                  <a:cubicBezTo>
                    <a:pt x="53392" y="61990"/>
                    <a:pt x="52863" y="61990"/>
                    <a:pt x="52863" y="61990"/>
                  </a:cubicBezTo>
                  <a:cubicBezTo>
                    <a:pt x="52334" y="61990"/>
                    <a:pt x="52334" y="61990"/>
                    <a:pt x="52334" y="61990"/>
                  </a:cubicBezTo>
                  <a:cubicBezTo>
                    <a:pt x="52334" y="61990"/>
                    <a:pt x="52863" y="60853"/>
                    <a:pt x="52863" y="59715"/>
                  </a:cubicBezTo>
                  <a:cubicBezTo>
                    <a:pt x="50748" y="59146"/>
                    <a:pt x="50748" y="59146"/>
                    <a:pt x="50748" y="59146"/>
                  </a:cubicBezTo>
                  <a:cubicBezTo>
                    <a:pt x="50748" y="59146"/>
                    <a:pt x="50748" y="57440"/>
                    <a:pt x="49691" y="56872"/>
                  </a:cubicBezTo>
                  <a:cubicBezTo>
                    <a:pt x="48634" y="56872"/>
                    <a:pt x="48634" y="56872"/>
                    <a:pt x="48634" y="56872"/>
                  </a:cubicBezTo>
                  <a:cubicBezTo>
                    <a:pt x="48105" y="57440"/>
                    <a:pt x="48105" y="58009"/>
                    <a:pt x="48105" y="58009"/>
                  </a:cubicBezTo>
                  <a:cubicBezTo>
                    <a:pt x="45991" y="55734"/>
                    <a:pt x="45991" y="55734"/>
                    <a:pt x="45991" y="55734"/>
                  </a:cubicBezTo>
                  <a:cubicBezTo>
                    <a:pt x="45991" y="55734"/>
                    <a:pt x="45991" y="55165"/>
                    <a:pt x="46519" y="54028"/>
                  </a:cubicBezTo>
                  <a:cubicBezTo>
                    <a:pt x="47577" y="52890"/>
                    <a:pt x="46519" y="52322"/>
                    <a:pt x="46519" y="52322"/>
                  </a:cubicBezTo>
                  <a:cubicBezTo>
                    <a:pt x="45991" y="50616"/>
                    <a:pt x="45991" y="50616"/>
                    <a:pt x="45991" y="50616"/>
                  </a:cubicBezTo>
                  <a:cubicBezTo>
                    <a:pt x="46519" y="49478"/>
                    <a:pt x="46519" y="49478"/>
                    <a:pt x="46519" y="49478"/>
                  </a:cubicBezTo>
                  <a:cubicBezTo>
                    <a:pt x="45991" y="48909"/>
                    <a:pt x="45991" y="48909"/>
                    <a:pt x="45991" y="48909"/>
                  </a:cubicBezTo>
                  <a:cubicBezTo>
                    <a:pt x="45462" y="48341"/>
                    <a:pt x="45462" y="48341"/>
                    <a:pt x="45462" y="48341"/>
                  </a:cubicBezTo>
                  <a:cubicBezTo>
                    <a:pt x="45462" y="48341"/>
                    <a:pt x="45462" y="48341"/>
                    <a:pt x="45462" y="48341"/>
                  </a:cubicBezTo>
                  <a:cubicBezTo>
                    <a:pt x="45462" y="48341"/>
                    <a:pt x="45462" y="48341"/>
                    <a:pt x="45462" y="48341"/>
                  </a:cubicBezTo>
                  <a:cubicBezTo>
                    <a:pt x="46519" y="46066"/>
                    <a:pt x="46519" y="46066"/>
                    <a:pt x="46519" y="46066"/>
                  </a:cubicBezTo>
                  <a:cubicBezTo>
                    <a:pt x="46519" y="46066"/>
                    <a:pt x="45991" y="43791"/>
                    <a:pt x="46519" y="43222"/>
                  </a:cubicBezTo>
                  <a:cubicBezTo>
                    <a:pt x="46519" y="43222"/>
                    <a:pt x="46519" y="43222"/>
                    <a:pt x="46519" y="43222"/>
                  </a:cubicBezTo>
                  <a:cubicBezTo>
                    <a:pt x="46519" y="42654"/>
                    <a:pt x="46519" y="42654"/>
                    <a:pt x="47048" y="42654"/>
                  </a:cubicBezTo>
                  <a:cubicBezTo>
                    <a:pt x="47048" y="42085"/>
                    <a:pt x="49691" y="41516"/>
                    <a:pt x="49691" y="41516"/>
                  </a:cubicBezTo>
                  <a:cubicBezTo>
                    <a:pt x="50748" y="40947"/>
                    <a:pt x="50748" y="40947"/>
                    <a:pt x="50748" y="40947"/>
                  </a:cubicBezTo>
                  <a:cubicBezTo>
                    <a:pt x="52863" y="43791"/>
                    <a:pt x="52863" y="43791"/>
                    <a:pt x="52863" y="43791"/>
                  </a:cubicBezTo>
                  <a:cubicBezTo>
                    <a:pt x="54977" y="46066"/>
                    <a:pt x="54977" y="46066"/>
                    <a:pt x="54977" y="46066"/>
                  </a:cubicBezTo>
                  <a:cubicBezTo>
                    <a:pt x="56563" y="47203"/>
                    <a:pt x="56563" y="47203"/>
                    <a:pt x="56563" y="47203"/>
                  </a:cubicBezTo>
                  <a:cubicBezTo>
                    <a:pt x="56563" y="47203"/>
                    <a:pt x="57092" y="46635"/>
                    <a:pt x="57621" y="46635"/>
                  </a:cubicBezTo>
                  <a:cubicBezTo>
                    <a:pt x="57621" y="46066"/>
                    <a:pt x="57621" y="44928"/>
                    <a:pt x="57621" y="44928"/>
                  </a:cubicBezTo>
                  <a:cubicBezTo>
                    <a:pt x="58678" y="43791"/>
                    <a:pt x="58678" y="43791"/>
                    <a:pt x="58678" y="43791"/>
                  </a:cubicBezTo>
                  <a:cubicBezTo>
                    <a:pt x="59207" y="42654"/>
                    <a:pt x="59207" y="42654"/>
                    <a:pt x="59207" y="42654"/>
                  </a:cubicBezTo>
                  <a:cubicBezTo>
                    <a:pt x="59207" y="41516"/>
                    <a:pt x="59207" y="41516"/>
                    <a:pt x="59207" y="41516"/>
                  </a:cubicBezTo>
                  <a:cubicBezTo>
                    <a:pt x="60264" y="40947"/>
                    <a:pt x="60264" y="40947"/>
                    <a:pt x="60264" y="40947"/>
                  </a:cubicBezTo>
                  <a:cubicBezTo>
                    <a:pt x="61850" y="40379"/>
                    <a:pt x="61850" y="40379"/>
                    <a:pt x="61850" y="40379"/>
                  </a:cubicBezTo>
                  <a:cubicBezTo>
                    <a:pt x="63964" y="39810"/>
                    <a:pt x="63964" y="39810"/>
                    <a:pt x="63964" y="39810"/>
                  </a:cubicBezTo>
                  <a:cubicBezTo>
                    <a:pt x="63964" y="39810"/>
                    <a:pt x="65550" y="40379"/>
                    <a:pt x="66079" y="40379"/>
                  </a:cubicBezTo>
                  <a:cubicBezTo>
                    <a:pt x="66079" y="40379"/>
                    <a:pt x="66607" y="40379"/>
                    <a:pt x="66607" y="40379"/>
                  </a:cubicBezTo>
                  <a:cubicBezTo>
                    <a:pt x="67665" y="38672"/>
                    <a:pt x="67665" y="38672"/>
                    <a:pt x="67665" y="38672"/>
                  </a:cubicBezTo>
                  <a:cubicBezTo>
                    <a:pt x="67665" y="38672"/>
                    <a:pt x="67665" y="38672"/>
                    <a:pt x="67665" y="38672"/>
                  </a:cubicBezTo>
                  <a:cubicBezTo>
                    <a:pt x="68193" y="37535"/>
                    <a:pt x="68193" y="37535"/>
                    <a:pt x="68193" y="37535"/>
                  </a:cubicBezTo>
                  <a:cubicBezTo>
                    <a:pt x="70837" y="38672"/>
                    <a:pt x="70837" y="38672"/>
                    <a:pt x="70837" y="38672"/>
                  </a:cubicBezTo>
                  <a:cubicBezTo>
                    <a:pt x="71894" y="39810"/>
                    <a:pt x="71894" y="39810"/>
                    <a:pt x="71894" y="39810"/>
                  </a:cubicBezTo>
                  <a:cubicBezTo>
                    <a:pt x="74537" y="40379"/>
                    <a:pt x="74537" y="40379"/>
                    <a:pt x="74537" y="40379"/>
                  </a:cubicBezTo>
                  <a:cubicBezTo>
                    <a:pt x="74537" y="40379"/>
                    <a:pt x="74537" y="40379"/>
                    <a:pt x="74537" y="40379"/>
                  </a:cubicBezTo>
                  <a:cubicBezTo>
                    <a:pt x="75594" y="40379"/>
                    <a:pt x="75594" y="40379"/>
                    <a:pt x="75594" y="40379"/>
                  </a:cubicBezTo>
                  <a:cubicBezTo>
                    <a:pt x="75594" y="39810"/>
                    <a:pt x="75594" y="39810"/>
                    <a:pt x="75594" y="39810"/>
                  </a:cubicBezTo>
                  <a:cubicBezTo>
                    <a:pt x="77709" y="39810"/>
                    <a:pt x="77709" y="39810"/>
                    <a:pt x="77709" y="39810"/>
                  </a:cubicBezTo>
                  <a:cubicBezTo>
                    <a:pt x="80352" y="40379"/>
                    <a:pt x="80352" y="40379"/>
                    <a:pt x="80352" y="40379"/>
                  </a:cubicBezTo>
                  <a:cubicBezTo>
                    <a:pt x="81938" y="40379"/>
                    <a:pt x="81938" y="40379"/>
                    <a:pt x="81938" y="40379"/>
                  </a:cubicBezTo>
                  <a:cubicBezTo>
                    <a:pt x="84581" y="40379"/>
                    <a:pt x="84581" y="40379"/>
                    <a:pt x="84581" y="40379"/>
                  </a:cubicBezTo>
                  <a:cubicBezTo>
                    <a:pt x="86167" y="40947"/>
                    <a:pt x="86167" y="40947"/>
                    <a:pt x="86167" y="40947"/>
                  </a:cubicBezTo>
                  <a:cubicBezTo>
                    <a:pt x="87224" y="41516"/>
                    <a:pt x="87224" y="41516"/>
                    <a:pt x="87224" y="41516"/>
                  </a:cubicBezTo>
                  <a:cubicBezTo>
                    <a:pt x="87224" y="41516"/>
                    <a:pt x="87224" y="41516"/>
                    <a:pt x="87753" y="40947"/>
                  </a:cubicBezTo>
                  <a:cubicBezTo>
                    <a:pt x="87753" y="40947"/>
                    <a:pt x="89339" y="40947"/>
                    <a:pt x="89339" y="40947"/>
                  </a:cubicBezTo>
                  <a:cubicBezTo>
                    <a:pt x="89867" y="39241"/>
                    <a:pt x="89867" y="39241"/>
                    <a:pt x="89867" y="39241"/>
                  </a:cubicBezTo>
                  <a:cubicBezTo>
                    <a:pt x="90396" y="40379"/>
                    <a:pt x="90396" y="40379"/>
                    <a:pt x="90396" y="40379"/>
                  </a:cubicBezTo>
                  <a:cubicBezTo>
                    <a:pt x="90925" y="40379"/>
                    <a:pt x="91982" y="40379"/>
                    <a:pt x="91982" y="40379"/>
                  </a:cubicBezTo>
                  <a:cubicBezTo>
                    <a:pt x="92511" y="38672"/>
                    <a:pt x="92511" y="38672"/>
                    <a:pt x="92511" y="38672"/>
                  </a:cubicBezTo>
                  <a:cubicBezTo>
                    <a:pt x="93039" y="39241"/>
                    <a:pt x="93039" y="39241"/>
                    <a:pt x="93039" y="39241"/>
                  </a:cubicBezTo>
                  <a:cubicBezTo>
                    <a:pt x="93568" y="39241"/>
                    <a:pt x="93568" y="39241"/>
                    <a:pt x="94096" y="39241"/>
                  </a:cubicBezTo>
                  <a:cubicBezTo>
                    <a:pt x="94625" y="39241"/>
                    <a:pt x="95154" y="38672"/>
                    <a:pt x="95154" y="38672"/>
                  </a:cubicBezTo>
                  <a:cubicBezTo>
                    <a:pt x="95154" y="38672"/>
                    <a:pt x="95682" y="39241"/>
                    <a:pt x="95682" y="39241"/>
                  </a:cubicBezTo>
                  <a:cubicBezTo>
                    <a:pt x="95682" y="39241"/>
                    <a:pt x="96211" y="38672"/>
                    <a:pt x="96740" y="38672"/>
                  </a:cubicBezTo>
                  <a:cubicBezTo>
                    <a:pt x="97797" y="38672"/>
                    <a:pt x="98325" y="38104"/>
                    <a:pt x="98325" y="38104"/>
                  </a:cubicBezTo>
                  <a:cubicBezTo>
                    <a:pt x="98325" y="38104"/>
                    <a:pt x="98854" y="39241"/>
                    <a:pt x="99911" y="39810"/>
                  </a:cubicBezTo>
                  <a:cubicBezTo>
                    <a:pt x="99911" y="39810"/>
                    <a:pt x="99911" y="39810"/>
                    <a:pt x="99911" y="39810"/>
                  </a:cubicBezTo>
                  <a:cubicBezTo>
                    <a:pt x="100969" y="39810"/>
                    <a:pt x="100969" y="39810"/>
                    <a:pt x="100969" y="39810"/>
                  </a:cubicBezTo>
                  <a:cubicBezTo>
                    <a:pt x="100969" y="39810"/>
                    <a:pt x="100969" y="39810"/>
                    <a:pt x="100969" y="39810"/>
                  </a:cubicBezTo>
                  <a:cubicBezTo>
                    <a:pt x="100969" y="39810"/>
                    <a:pt x="101497" y="39241"/>
                    <a:pt x="102026" y="39241"/>
                  </a:cubicBezTo>
                  <a:cubicBezTo>
                    <a:pt x="103083" y="39241"/>
                    <a:pt x="103612" y="39241"/>
                    <a:pt x="104140" y="39241"/>
                  </a:cubicBezTo>
                  <a:cubicBezTo>
                    <a:pt x="105198" y="39241"/>
                    <a:pt x="105726" y="40379"/>
                    <a:pt x="105726" y="40379"/>
                  </a:cubicBezTo>
                  <a:cubicBezTo>
                    <a:pt x="107312" y="42085"/>
                    <a:pt x="107312" y="42085"/>
                    <a:pt x="107312" y="42085"/>
                  </a:cubicBezTo>
                  <a:cubicBezTo>
                    <a:pt x="107312" y="42085"/>
                    <a:pt x="107841" y="43222"/>
                    <a:pt x="107841" y="43791"/>
                  </a:cubicBezTo>
                  <a:cubicBezTo>
                    <a:pt x="108370" y="44360"/>
                    <a:pt x="108370" y="44928"/>
                    <a:pt x="108370" y="44928"/>
                  </a:cubicBezTo>
                  <a:cubicBezTo>
                    <a:pt x="108370" y="44928"/>
                    <a:pt x="112599" y="46635"/>
                    <a:pt x="113127" y="46635"/>
                  </a:cubicBezTo>
                  <a:cubicBezTo>
                    <a:pt x="113127" y="46635"/>
                    <a:pt x="113656" y="46635"/>
                    <a:pt x="113656" y="46635"/>
                  </a:cubicBezTo>
                  <a:close/>
                  <a:moveTo>
                    <a:pt x="92511" y="108625"/>
                  </a:moveTo>
                  <a:cubicBezTo>
                    <a:pt x="92511" y="108625"/>
                    <a:pt x="92511" y="108625"/>
                    <a:pt x="92511" y="108625"/>
                  </a:cubicBezTo>
                  <a:cubicBezTo>
                    <a:pt x="93039" y="108625"/>
                    <a:pt x="93039" y="108056"/>
                    <a:pt x="93039" y="108056"/>
                  </a:cubicBezTo>
                  <a:cubicBezTo>
                    <a:pt x="94625" y="108056"/>
                    <a:pt x="94625" y="108056"/>
                    <a:pt x="94625" y="108056"/>
                  </a:cubicBezTo>
                  <a:cubicBezTo>
                    <a:pt x="94625" y="108056"/>
                    <a:pt x="94625" y="108056"/>
                    <a:pt x="94625" y="108056"/>
                  </a:cubicBezTo>
                  <a:cubicBezTo>
                    <a:pt x="96211" y="108625"/>
                    <a:pt x="96211" y="108625"/>
                    <a:pt x="96211" y="108625"/>
                  </a:cubicBezTo>
                  <a:cubicBezTo>
                    <a:pt x="97268" y="109763"/>
                    <a:pt x="97268" y="109763"/>
                    <a:pt x="97268" y="109763"/>
                  </a:cubicBezTo>
                  <a:cubicBezTo>
                    <a:pt x="97797" y="110900"/>
                    <a:pt x="97797" y="110900"/>
                    <a:pt x="97797" y="110900"/>
                  </a:cubicBezTo>
                  <a:cubicBezTo>
                    <a:pt x="98854" y="112037"/>
                    <a:pt x="98854" y="112037"/>
                    <a:pt x="98854" y="112037"/>
                  </a:cubicBezTo>
                  <a:cubicBezTo>
                    <a:pt x="101497" y="113744"/>
                    <a:pt x="101497" y="113744"/>
                    <a:pt x="101497" y="113744"/>
                  </a:cubicBezTo>
                  <a:cubicBezTo>
                    <a:pt x="104669" y="115450"/>
                    <a:pt x="104669" y="115450"/>
                    <a:pt x="104669" y="115450"/>
                  </a:cubicBezTo>
                  <a:cubicBezTo>
                    <a:pt x="104669" y="115450"/>
                    <a:pt x="106784" y="116587"/>
                    <a:pt x="107312" y="116587"/>
                  </a:cubicBezTo>
                  <a:cubicBezTo>
                    <a:pt x="107312" y="116587"/>
                    <a:pt x="107312" y="117156"/>
                    <a:pt x="107841" y="117156"/>
                  </a:cubicBezTo>
                  <a:cubicBezTo>
                    <a:pt x="107841" y="117725"/>
                    <a:pt x="108898" y="119431"/>
                    <a:pt x="108898" y="119431"/>
                  </a:cubicBezTo>
                  <a:cubicBezTo>
                    <a:pt x="109427" y="120000"/>
                    <a:pt x="107841" y="118862"/>
                    <a:pt x="107841" y="118862"/>
                  </a:cubicBezTo>
                  <a:cubicBezTo>
                    <a:pt x="107841" y="118862"/>
                    <a:pt x="107312" y="117725"/>
                    <a:pt x="106784" y="117156"/>
                  </a:cubicBezTo>
                  <a:cubicBezTo>
                    <a:pt x="105726" y="117156"/>
                    <a:pt x="104669" y="117156"/>
                    <a:pt x="104140" y="116587"/>
                  </a:cubicBezTo>
                  <a:cubicBezTo>
                    <a:pt x="103612" y="116018"/>
                    <a:pt x="103612" y="115450"/>
                    <a:pt x="103612" y="115450"/>
                  </a:cubicBezTo>
                  <a:cubicBezTo>
                    <a:pt x="103083" y="115450"/>
                    <a:pt x="103083" y="114312"/>
                    <a:pt x="101497" y="114312"/>
                  </a:cubicBezTo>
                  <a:cubicBezTo>
                    <a:pt x="99911" y="113744"/>
                    <a:pt x="99911" y="114312"/>
                    <a:pt x="99383" y="113175"/>
                  </a:cubicBezTo>
                  <a:cubicBezTo>
                    <a:pt x="98854" y="111469"/>
                    <a:pt x="98854" y="112606"/>
                    <a:pt x="98325" y="111469"/>
                  </a:cubicBezTo>
                  <a:cubicBezTo>
                    <a:pt x="97268" y="110900"/>
                    <a:pt x="97797" y="111469"/>
                    <a:pt x="95682" y="110900"/>
                  </a:cubicBezTo>
                  <a:cubicBezTo>
                    <a:pt x="94096" y="109763"/>
                    <a:pt x="95154" y="110331"/>
                    <a:pt x="95154" y="109763"/>
                  </a:cubicBezTo>
                  <a:cubicBezTo>
                    <a:pt x="94625" y="108625"/>
                    <a:pt x="95154" y="109194"/>
                    <a:pt x="94096" y="109194"/>
                  </a:cubicBezTo>
                  <a:cubicBezTo>
                    <a:pt x="93568" y="108625"/>
                    <a:pt x="94096" y="108625"/>
                    <a:pt x="93568" y="108625"/>
                  </a:cubicBezTo>
                  <a:cubicBezTo>
                    <a:pt x="93568" y="108625"/>
                    <a:pt x="93039" y="109194"/>
                    <a:pt x="92511" y="109194"/>
                  </a:cubicBezTo>
                  <a:cubicBezTo>
                    <a:pt x="92511" y="108625"/>
                    <a:pt x="92511" y="108625"/>
                    <a:pt x="92511" y="108625"/>
                  </a:cubicBezTo>
                  <a:close/>
                  <a:moveTo>
                    <a:pt x="89339" y="112606"/>
                  </a:moveTo>
                  <a:cubicBezTo>
                    <a:pt x="89339" y="112606"/>
                    <a:pt x="89339" y="112606"/>
                    <a:pt x="89339" y="112606"/>
                  </a:cubicBezTo>
                  <a:cubicBezTo>
                    <a:pt x="89339" y="112606"/>
                    <a:pt x="88281" y="112606"/>
                    <a:pt x="87753" y="112606"/>
                  </a:cubicBezTo>
                  <a:cubicBezTo>
                    <a:pt x="87753" y="112606"/>
                    <a:pt x="87224" y="112037"/>
                    <a:pt x="86696" y="112037"/>
                  </a:cubicBezTo>
                  <a:cubicBezTo>
                    <a:pt x="86167" y="112037"/>
                    <a:pt x="85110" y="112037"/>
                    <a:pt x="85110" y="112037"/>
                  </a:cubicBezTo>
                  <a:cubicBezTo>
                    <a:pt x="84581" y="112037"/>
                    <a:pt x="84052" y="111469"/>
                    <a:pt x="84052" y="111469"/>
                  </a:cubicBezTo>
                  <a:cubicBezTo>
                    <a:pt x="84052" y="111469"/>
                    <a:pt x="84052" y="110900"/>
                    <a:pt x="84052" y="110900"/>
                  </a:cubicBezTo>
                  <a:cubicBezTo>
                    <a:pt x="84052" y="110900"/>
                    <a:pt x="85110" y="110331"/>
                    <a:pt x="85110" y="110331"/>
                  </a:cubicBezTo>
                  <a:cubicBezTo>
                    <a:pt x="85110" y="110900"/>
                    <a:pt x="88281" y="111469"/>
                    <a:pt x="88281" y="111469"/>
                  </a:cubicBezTo>
                  <a:cubicBezTo>
                    <a:pt x="90396" y="111469"/>
                    <a:pt x="90396" y="111469"/>
                    <a:pt x="90396" y="111469"/>
                  </a:cubicBezTo>
                  <a:cubicBezTo>
                    <a:pt x="90396" y="111469"/>
                    <a:pt x="90925" y="111469"/>
                    <a:pt x="90925" y="111469"/>
                  </a:cubicBezTo>
                  <a:cubicBezTo>
                    <a:pt x="90925" y="111469"/>
                    <a:pt x="91453" y="111469"/>
                    <a:pt x="91982" y="112037"/>
                  </a:cubicBezTo>
                  <a:cubicBezTo>
                    <a:pt x="92511" y="112037"/>
                    <a:pt x="92511" y="112037"/>
                    <a:pt x="92511" y="112606"/>
                  </a:cubicBezTo>
                  <a:cubicBezTo>
                    <a:pt x="92511" y="112606"/>
                    <a:pt x="93039" y="113175"/>
                    <a:pt x="92511" y="113175"/>
                  </a:cubicBezTo>
                  <a:cubicBezTo>
                    <a:pt x="92511" y="113175"/>
                    <a:pt x="91982" y="113175"/>
                    <a:pt x="91982" y="113175"/>
                  </a:cubicBezTo>
                  <a:cubicBezTo>
                    <a:pt x="91982" y="113175"/>
                    <a:pt x="90925" y="112606"/>
                    <a:pt x="90925" y="112606"/>
                  </a:cubicBezTo>
                  <a:cubicBezTo>
                    <a:pt x="89867" y="112606"/>
                    <a:pt x="89867" y="112606"/>
                    <a:pt x="89867" y="112606"/>
                  </a:cubicBezTo>
                  <a:cubicBezTo>
                    <a:pt x="89339" y="112606"/>
                    <a:pt x="89339" y="112606"/>
                    <a:pt x="89339" y="112606"/>
                  </a:cubicBezTo>
                  <a:close/>
                  <a:moveTo>
                    <a:pt x="72951" y="113175"/>
                  </a:moveTo>
                  <a:cubicBezTo>
                    <a:pt x="72951" y="113175"/>
                    <a:pt x="72951" y="113175"/>
                    <a:pt x="72951" y="113175"/>
                  </a:cubicBezTo>
                  <a:cubicBezTo>
                    <a:pt x="72951" y="113175"/>
                    <a:pt x="75066" y="112606"/>
                    <a:pt x="75066" y="112606"/>
                  </a:cubicBezTo>
                  <a:cubicBezTo>
                    <a:pt x="76123" y="113175"/>
                    <a:pt x="76123" y="113175"/>
                    <a:pt x="76123" y="113175"/>
                  </a:cubicBezTo>
                  <a:cubicBezTo>
                    <a:pt x="76123" y="113175"/>
                    <a:pt x="76123" y="113744"/>
                    <a:pt x="75594" y="113744"/>
                  </a:cubicBezTo>
                  <a:cubicBezTo>
                    <a:pt x="75594" y="113744"/>
                    <a:pt x="74537" y="114881"/>
                    <a:pt x="74537" y="114881"/>
                  </a:cubicBezTo>
                  <a:cubicBezTo>
                    <a:pt x="72951" y="113744"/>
                    <a:pt x="72951" y="113744"/>
                    <a:pt x="72951" y="113744"/>
                  </a:cubicBezTo>
                  <a:cubicBezTo>
                    <a:pt x="72951" y="113175"/>
                    <a:pt x="72951" y="113175"/>
                    <a:pt x="72951" y="113175"/>
                  </a:cubicBezTo>
                  <a:close/>
                  <a:moveTo>
                    <a:pt x="56563" y="110331"/>
                  </a:moveTo>
                  <a:cubicBezTo>
                    <a:pt x="56563" y="110331"/>
                    <a:pt x="56563" y="110331"/>
                    <a:pt x="56563" y="110331"/>
                  </a:cubicBezTo>
                  <a:cubicBezTo>
                    <a:pt x="57092" y="110331"/>
                    <a:pt x="57621" y="109763"/>
                    <a:pt x="57621" y="110331"/>
                  </a:cubicBezTo>
                  <a:cubicBezTo>
                    <a:pt x="57621" y="110900"/>
                    <a:pt x="57092" y="111469"/>
                    <a:pt x="57092" y="111469"/>
                  </a:cubicBezTo>
                  <a:cubicBezTo>
                    <a:pt x="57092" y="111469"/>
                    <a:pt x="56563" y="111469"/>
                    <a:pt x="56563" y="111469"/>
                  </a:cubicBezTo>
                  <a:cubicBezTo>
                    <a:pt x="56563" y="110900"/>
                    <a:pt x="56563" y="110331"/>
                    <a:pt x="56563" y="110331"/>
                  </a:cubicBezTo>
                  <a:close/>
                  <a:moveTo>
                    <a:pt x="59735" y="107488"/>
                  </a:moveTo>
                  <a:cubicBezTo>
                    <a:pt x="59735" y="107488"/>
                    <a:pt x="59735" y="107488"/>
                    <a:pt x="59735" y="107488"/>
                  </a:cubicBezTo>
                  <a:cubicBezTo>
                    <a:pt x="59735" y="107488"/>
                    <a:pt x="60792" y="106919"/>
                    <a:pt x="60792" y="106919"/>
                  </a:cubicBezTo>
                  <a:cubicBezTo>
                    <a:pt x="61321" y="107488"/>
                    <a:pt x="61850" y="107488"/>
                    <a:pt x="61321" y="108056"/>
                  </a:cubicBezTo>
                  <a:cubicBezTo>
                    <a:pt x="61321" y="108056"/>
                    <a:pt x="61321" y="108056"/>
                    <a:pt x="60792" y="108625"/>
                  </a:cubicBezTo>
                  <a:cubicBezTo>
                    <a:pt x="60264" y="109194"/>
                    <a:pt x="59207" y="109763"/>
                    <a:pt x="59207" y="109763"/>
                  </a:cubicBezTo>
                  <a:cubicBezTo>
                    <a:pt x="59207" y="109763"/>
                    <a:pt x="59207" y="109763"/>
                    <a:pt x="58678" y="109763"/>
                  </a:cubicBezTo>
                  <a:cubicBezTo>
                    <a:pt x="57621" y="109194"/>
                    <a:pt x="57092" y="108625"/>
                    <a:pt x="57092" y="108625"/>
                  </a:cubicBezTo>
                  <a:cubicBezTo>
                    <a:pt x="57092" y="108625"/>
                    <a:pt x="56563" y="108056"/>
                    <a:pt x="57621" y="108056"/>
                  </a:cubicBezTo>
                  <a:cubicBezTo>
                    <a:pt x="58149" y="107488"/>
                    <a:pt x="58678" y="107488"/>
                    <a:pt x="58678" y="107488"/>
                  </a:cubicBezTo>
                  <a:cubicBezTo>
                    <a:pt x="59207" y="107488"/>
                    <a:pt x="59735" y="107488"/>
                    <a:pt x="59735" y="107488"/>
                  </a:cubicBezTo>
                  <a:close/>
                  <a:moveTo>
                    <a:pt x="65550" y="101232"/>
                  </a:moveTo>
                  <a:cubicBezTo>
                    <a:pt x="65550" y="101232"/>
                    <a:pt x="65550" y="101232"/>
                    <a:pt x="65550" y="101232"/>
                  </a:cubicBezTo>
                  <a:cubicBezTo>
                    <a:pt x="65550" y="101232"/>
                    <a:pt x="66607" y="100663"/>
                    <a:pt x="66607" y="100663"/>
                  </a:cubicBezTo>
                  <a:cubicBezTo>
                    <a:pt x="66607" y="100663"/>
                    <a:pt x="66607" y="100663"/>
                    <a:pt x="67136" y="100663"/>
                  </a:cubicBezTo>
                  <a:cubicBezTo>
                    <a:pt x="67136" y="100663"/>
                    <a:pt x="67136" y="100663"/>
                    <a:pt x="67665" y="100663"/>
                  </a:cubicBezTo>
                  <a:cubicBezTo>
                    <a:pt x="67665" y="100663"/>
                    <a:pt x="68193" y="100094"/>
                    <a:pt x="68722" y="100663"/>
                  </a:cubicBezTo>
                  <a:cubicBezTo>
                    <a:pt x="69251" y="100663"/>
                    <a:pt x="69251" y="101232"/>
                    <a:pt x="69779" y="101232"/>
                  </a:cubicBezTo>
                  <a:cubicBezTo>
                    <a:pt x="69779" y="101232"/>
                    <a:pt x="70308" y="101232"/>
                    <a:pt x="70308" y="101232"/>
                  </a:cubicBezTo>
                  <a:cubicBezTo>
                    <a:pt x="70837" y="101232"/>
                    <a:pt x="70837" y="101232"/>
                    <a:pt x="71894" y="101232"/>
                  </a:cubicBezTo>
                  <a:cubicBezTo>
                    <a:pt x="72951" y="101232"/>
                    <a:pt x="74537" y="101232"/>
                    <a:pt x="74537" y="101232"/>
                  </a:cubicBezTo>
                  <a:cubicBezTo>
                    <a:pt x="74537" y="101800"/>
                    <a:pt x="75066" y="101232"/>
                    <a:pt x="75594" y="101232"/>
                  </a:cubicBezTo>
                  <a:cubicBezTo>
                    <a:pt x="76651" y="101800"/>
                    <a:pt x="76651" y="101800"/>
                    <a:pt x="76651" y="101800"/>
                  </a:cubicBezTo>
                  <a:cubicBezTo>
                    <a:pt x="77180" y="101800"/>
                    <a:pt x="76651" y="102369"/>
                    <a:pt x="77709" y="101800"/>
                  </a:cubicBezTo>
                  <a:cubicBezTo>
                    <a:pt x="78237" y="101800"/>
                    <a:pt x="78237" y="101800"/>
                    <a:pt x="78237" y="101800"/>
                  </a:cubicBezTo>
                  <a:cubicBezTo>
                    <a:pt x="78237" y="101800"/>
                    <a:pt x="78237" y="101800"/>
                    <a:pt x="78766" y="101232"/>
                  </a:cubicBezTo>
                  <a:cubicBezTo>
                    <a:pt x="79295" y="101232"/>
                    <a:pt x="79823" y="100663"/>
                    <a:pt x="79823" y="100663"/>
                  </a:cubicBezTo>
                  <a:cubicBezTo>
                    <a:pt x="80352" y="100663"/>
                    <a:pt x="80352" y="100663"/>
                    <a:pt x="80352" y="100663"/>
                  </a:cubicBezTo>
                  <a:cubicBezTo>
                    <a:pt x="80352" y="102369"/>
                    <a:pt x="80352" y="102369"/>
                    <a:pt x="80352" y="102369"/>
                  </a:cubicBezTo>
                  <a:cubicBezTo>
                    <a:pt x="80352" y="102369"/>
                    <a:pt x="80352" y="102369"/>
                    <a:pt x="80352" y="102938"/>
                  </a:cubicBezTo>
                  <a:cubicBezTo>
                    <a:pt x="80352" y="102938"/>
                    <a:pt x="79823" y="103507"/>
                    <a:pt x="79295" y="103507"/>
                  </a:cubicBezTo>
                  <a:cubicBezTo>
                    <a:pt x="79295" y="103507"/>
                    <a:pt x="78766" y="102938"/>
                    <a:pt x="78766" y="102938"/>
                  </a:cubicBezTo>
                  <a:cubicBezTo>
                    <a:pt x="78766" y="102369"/>
                    <a:pt x="78237" y="102369"/>
                    <a:pt x="78237" y="102369"/>
                  </a:cubicBezTo>
                  <a:cubicBezTo>
                    <a:pt x="77709" y="102369"/>
                    <a:pt x="77180" y="102938"/>
                    <a:pt x="76651" y="102938"/>
                  </a:cubicBezTo>
                  <a:cubicBezTo>
                    <a:pt x="76651" y="102938"/>
                    <a:pt x="76123" y="102369"/>
                    <a:pt x="76123" y="102369"/>
                  </a:cubicBezTo>
                  <a:cubicBezTo>
                    <a:pt x="76123" y="102369"/>
                    <a:pt x="75066" y="102369"/>
                    <a:pt x="74537" y="102369"/>
                  </a:cubicBezTo>
                  <a:cubicBezTo>
                    <a:pt x="74537" y="102369"/>
                    <a:pt x="74008" y="102369"/>
                    <a:pt x="73480" y="102369"/>
                  </a:cubicBezTo>
                  <a:cubicBezTo>
                    <a:pt x="72951" y="102369"/>
                    <a:pt x="72422" y="102369"/>
                    <a:pt x="71894" y="102369"/>
                  </a:cubicBezTo>
                  <a:cubicBezTo>
                    <a:pt x="71365" y="102938"/>
                    <a:pt x="70308" y="102369"/>
                    <a:pt x="70308" y="102938"/>
                  </a:cubicBezTo>
                  <a:cubicBezTo>
                    <a:pt x="70308" y="102938"/>
                    <a:pt x="70308" y="103507"/>
                    <a:pt x="70308" y="103507"/>
                  </a:cubicBezTo>
                  <a:cubicBezTo>
                    <a:pt x="70308" y="103507"/>
                    <a:pt x="70837" y="104075"/>
                    <a:pt x="70308" y="104075"/>
                  </a:cubicBezTo>
                  <a:cubicBezTo>
                    <a:pt x="69251" y="104075"/>
                    <a:pt x="69251" y="104075"/>
                    <a:pt x="69251" y="103507"/>
                  </a:cubicBezTo>
                  <a:cubicBezTo>
                    <a:pt x="68722" y="102938"/>
                    <a:pt x="69779" y="102369"/>
                    <a:pt x="68193" y="102938"/>
                  </a:cubicBezTo>
                  <a:cubicBezTo>
                    <a:pt x="67136" y="102938"/>
                    <a:pt x="67136" y="102369"/>
                    <a:pt x="66607" y="102369"/>
                  </a:cubicBezTo>
                  <a:cubicBezTo>
                    <a:pt x="66607" y="102938"/>
                    <a:pt x="65550" y="101800"/>
                    <a:pt x="65022" y="102369"/>
                  </a:cubicBezTo>
                  <a:cubicBezTo>
                    <a:pt x="65022" y="102369"/>
                    <a:pt x="64493" y="102938"/>
                    <a:pt x="64493" y="102938"/>
                  </a:cubicBezTo>
                  <a:cubicBezTo>
                    <a:pt x="64493" y="102938"/>
                    <a:pt x="62907" y="102938"/>
                    <a:pt x="62907" y="102938"/>
                  </a:cubicBezTo>
                  <a:cubicBezTo>
                    <a:pt x="62907" y="102938"/>
                    <a:pt x="63436" y="101232"/>
                    <a:pt x="63436" y="101232"/>
                  </a:cubicBezTo>
                  <a:cubicBezTo>
                    <a:pt x="63436" y="101232"/>
                    <a:pt x="63436" y="101232"/>
                    <a:pt x="63964" y="101232"/>
                  </a:cubicBezTo>
                  <a:cubicBezTo>
                    <a:pt x="64493" y="101232"/>
                    <a:pt x="65022" y="101232"/>
                    <a:pt x="65022" y="101232"/>
                  </a:cubicBezTo>
                  <a:cubicBezTo>
                    <a:pt x="65550" y="101232"/>
                    <a:pt x="65550" y="101232"/>
                    <a:pt x="65550" y="101232"/>
                  </a:cubicBezTo>
                  <a:close/>
                  <a:moveTo>
                    <a:pt x="63436" y="97819"/>
                  </a:moveTo>
                  <a:cubicBezTo>
                    <a:pt x="63436" y="97819"/>
                    <a:pt x="63436" y="97819"/>
                    <a:pt x="63436" y="97819"/>
                  </a:cubicBezTo>
                  <a:cubicBezTo>
                    <a:pt x="63436" y="97819"/>
                    <a:pt x="61321" y="96682"/>
                    <a:pt x="61321" y="96682"/>
                  </a:cubicBezTo>
                  <a:cubicBezTo>
                    <a:pt x="60792" y="96682"/>
                    <a:pt x="60264" y="96682"/>
                    <a:pt x="59735" y="96682"/>
                  </a:cubicBezTo>
                  <a:cubicBezTo>
                    <a:pt x="59735" y="96682"/>
                    <a:pt x="58678" y="96113"/>
                    <a:pt x="59207" y="95545"/>
                  </a:cubicBezTo>
                  <a:cubicBezTo>
                    <a:pt x="59207" y="95545"/>
                    <a:pt x="59735" y="94976"/>
                    <a:pt x="60264" y="95545"/>
                  </a:cubicBezTo>
                  <a:cubicBezTo>
                    <a:pt x="60792" y="96113"/>
                    <a:pt x="61321" y="96113"/>
                    <a:pt x="61321" y="96682"/>
                  </a:cubicBezTo>
                  <a:cubicBezTo>
                    <a:pt x="61850" y="96682"/>
                    <a:pt x="62907" y="97251"/>
                    <a:pt x="62907" y="97251"/>
                  </a:cubicBezTo>
                  <a:cubicBezTo>
                    <a:pt x="63436" y="97251"/>
                    <a:pt x="63436" y="97819"/>
                    <a:pt x="63436" y="97251"/>
                  </a:cubicBezTo>
                  <a:cubicBezTo>
                    <a:pt x="63964" y="97251"/>
                    <a:pt x="63964" y="96113"/>
                    <a:pt x="63964" y="96113"/>
                  </a:cubicBezTo>
                  <a:cubicBezTo>
                    <a:pt x="63964" y="95545"/>
                    <a:pt x="63436" y="95545"/>
                    <a:pt x="63436" y="95545"/>
                  </a:cubicBezTo>
                  <a:cubicBezTo>
                    <a:pt x="63964" y="95545"/>
                    <a:pt x="65022" y="94976"/>
                    <a:pt x="65022" y="94976"/>
                  </a:cubicBezTo>
                  <a:cubicBezTo>
                    <a:pt x="65550" y="95545"/>
                    <a:pt x="66079" y="95545"/>
                    <a:pt x="66607" y="95545"/>
                  </a:cubicBezTo>
                  <a:cubicBezTo>
                    <a:pt x="66607" y="95545"/>
                    <a:pt x="66079" y="95545"/>
                    <a:pt x="68193" y="95545"/>
                  </a:cubicBezTo>
                  <a:cubicBezTo>
                    <a:pt x="69779" y="95545"/>
                    <a:pt x="69251" y="95545"/>
                    <a:pt x="70308" y="95545"/>
                  </a:cubicBezTo>
                  <a:cubicBezTo>
                    <a:pt x="70837" y="95545"/>
                    <a:pt x="71894" y="95545"/>
                    <a:pt x="71894" y="95545"/>
                  </a:cubicBezTo>
                  <a:cubicBezTo>
                    <a:pt x="71894" y="96113"/>
                    <a:pt x="72951" y="96682"/>
                    <a:pt x="72951" y="96682"/>
                  </a:cubicBezTo>
                  <a:cubicBezTo>
                    <a:pt x="72951" y="97251"/>
                    <a:pt x="73480" y="97251"/>
                    <a:pt x="72951" y="97819"/>
                  </a:cubicBezTo>
                  <a:cubicBezTo>
                    <a:pt x="71894" y="98388"/>
                    <a:pt x="71894" y="98388"/>
                    <a:pt x="70837" y="98388"/>
                  </a:cubicBezTo>
                  <a:cubicBezTo>
                    <a:pt x="70308" y="98388"/>
                    <a:pt x="70837" y="98388"/>
                    <a:pt x="69779" y="98957"/>
                  </a:cubicBezTo>
                  <a:cubicBezTo>
                    <a:pt x="68193" y="98957"/>
                    <a:pt x="67136" y="98957"/>
                    <a:pt x="67136" y="98957"/>
                  </a:cubicBezTo>
                  <a:cubicBezTo>
                    <a:pt x="67136" y="98957"/>
                    <a:pt x="67665" y="98957"/>
                    <a:pt x="66079" y="98957"/>
                  </a:cubicBezTo>
                  <a:cubicBezTo>
                    <a:pt x="65022" y="98388"/>
                    <a:pt x="64493" y="98957"/>
                    <a:pt x="63964" y="98388"/>
                  </a:cubicBezTo>
                  <a:cubicBezTo>
                    <a:pt x="63964" y="98388"/>
                    <a:pt x="63436" y="97819"/>
                    <a:pt x="63436" y="97819"/>
                  </a:cubicBezTo>
                  <a:close/>
                  <a:moveTo>
                    <a:pt x="26431" y="53459"/>
                  </a:moveTo>
                  <a:cubicBezTo>
                    <a:pt x="26431" y="53459"/>
                    <a:pt x="26431" y="53459"/>
                    <a:pt x="26431" y="53459"/>
                  </a:cubicBezTo>
                  <a:cubicBezTo>
                    <a:pt x="26431" y="53459"/>
                    <a:pt x="26431" y="52890"/>
                    <a:pt x="26431" y="52890"/>
                  </a:cubicBezTo>
                  <a:cubicBezTo>
                    <a:pt x="26431" y="52890"/>
                    <a:pt x="26431" y="52890"/>
                    <a:pt x="26431" y="52890"/>
                  </a:cubicBezTo>
                  <a:cubicBezTo>
                    <a:pt x="26431" y="52890"/>
                    <a:pt x="26960" y="52890"/>
                    <a:pt x="26960" y="52890"/>
                  </a:cubicBezTo>
                  <a:cubicBezTo>
                    <a:pt x="26960" y="53459"/>
                    <a:pt x="26960" y="53459"/>
                    <a:pt x="27488" y="53459"/>
                  </a:cubicBezTo>
                  <a:cubicBezTo>
                    <a:pt x="27488" y="53459"/>
                    <a:pt x="27488" y="53459"/>
                    <a:pt x="28017" y="53459"/>
                  </a:cubicBezTo>
                  <a:cubicBezTo>
                    <a:pt x="28017" y="54028"/>
                    <a:pt x="28017" y="54028"/>
                    <a:pt x="28017" y="54028"/>
                  </a:cubicBezTo>
                  <a:cubicBezTo>
                    <a:pt x="28017" y="54028"/>
                    <a:pt x="28017" y="55165"/>
                    <a:pt x="27488" y="54597"/>
                  </a:cubicBezTo>
                  <a:cubicBezTo>
                    <a:pt x="26960" y="54597"/>
                    <a:pt x="26431" y="54597"/>
                    <a:pt x="26431" y="54028"/>
                  </a:cubicBezTo>
                  <a:cubicBezTo>
                    <a:pt x="26431" y="54028"/>
                    <a:pt x="26431" y="53459"/>
                    <a:pt x="26431" y="53459"/>
                  </a:cubicBezTo>
                  <a:close/>
                  <a:moveTo>
                    <a:pt x="26960" y="58578"/>
                  </a:moveTo>
                  <a:cubicBezTo>
                    <a:pt x="26960" y="58578"/>
                    <a:pt x="26960" y="58578"/>
                    <a:pt x="26960" y="58578"/>
                  </a:cubicBezTo>
                  <a:cubicBezTo>
                    <a:pt x="26960" y="58578"/>
                    <a:pt x="26431" y="58578"/>
                    <a:pt x="26431" y="58578"/>
                  </a:cubicBezTo>
                  <a:cubicBezTo>
                    <a:pt x="26431" y="58578"/>
                    <a:pt x="25374" y="58009"/>
                    <a:pt x="24845" y="58009"/>
                  </a:cubicBezTo>
                  <a:cubicBezTo>
                    <a:pt x="24845" y="57440"/>
                    <a:pt x="24845" y="57440"/>
                    <a:pt x="25374" y="57440"/>
                  </a:cubicBezTo>
                  <a:cubicBezTo>
                    <a:pt x="25374" y="56872"/>
                    <a:pt x="25374" y="56303"/>
                    <a:pt x="25374" y="56303"/>
                  </a:cubicBezTo>
                  <a:cubicBezTo>
                    <a:pt x="25374" y="56303"/>
                    <a:pt x="25903" y="55734"/>
                    <a:pt x="25903" y="55734"/>
                  </a:cubicBezTo>
                  <a:cubicBezTo>
                    <a:pt x="26431" y="55734"/>
                    <a:pt x="26431" y="55734"/>
                    <a:pt x="26431" y="55734"/>
                  </a:cubicBezTo>
                  <a:cubicBezTo>
                    <a:pt x="26431" y="55734"/>
                    <a:pt x="26431" y="55165"/>
                    <a:pt x="26431" y="55165"/>
                  </a:cubicBezTo>
                  <a:cubicBezTo>
                    <a:pt x="26431" y="54597"/>
                    <a:pt x="26960" y="54597"/>
                    <a:pt x="26960" y="54597"/>
                  </a:cubicBezTo>
                  <a:cubicBezTo>
                    <a:pt x="26960" y="54597"/>
                    <a:pt x="28017" y="55734"/>
                    <a:pt x="28017" y="56303"/>
                  </a:cubicBezTo>
                  <a:cubicBezTo>
                    <a:pt x="28017" y="56303"/>
                    <a:pt x="26431" y="56303"/>
                    <a:pt x="26431" y="56303"/>
                  </a:cubicBezTo>
                  <a:cubicBezTo>
                    <a:pt x="26431" y="56303"/>
                    <a:pt x="26431" y="56303"/>
                    <a:pt x="26960" y="57440"/>
                  </a:cubicBezTo>
                  <a:cubicBezTo>
                    <a:pt x="27488" y="58009"/>
                    <a:pt x="27488" y="57440"/>
                    <a:pt x="27488" y="57440"/>
                  </a:cubicBezTo>
                  <a:cubicBezTo>
                    <a:pt x="27488" y="58009"/>
                    <a:pt x="27488" y="58009"/>
                    <a:pt x="28546" y="58009"/>
                  </a:cubicBezTo>
                  <a:cubicBezTo>
                    <a:pt x="29074" y="58578"/>
                    <a:pt x="28546" y="58578"/>
                    <a:pt x="29074" y="59146"/>
                  </a:cubicBezTo>
                  <a:cubicBezTo>
                    <a:pt x="29074" y="59146"/>
                    <a:pt x="28546" y="59715"/>
                    <a:pt x="28546" y="59715"/>
                  </a:cubicBezTo>
                  <a:cubicBezTo>
                    <a:pt x="28017" y="60284"/>
                    <a:pt x="28017" y="59715"/>
                    <a:pt x="28017" y="59715"/>
                  </a:cubicBezTo>
                  <a:cubicBezTo>
                    <a:pt x="28017" y="59715"/>
                    <a:pt x="27488" y="58578"/>
                    <a:pt x="26960" y="58578"/>
                  </a:cubicBezTo>
                  <a:close/>
                  <a:moveTo>
                    <a:pt x="29074" y="66540"/>
                  </a:moveTo>
                  <a:cubicBezTo>
                    <a:pt x="29074" y="66540"/>
                    <a:pt x="29074" y="66540"/>
                    <a:pt x="29074" y="66540"/>
                  </a:cubicBezTo>
                  <a:cubicBezTo>
                    <a:pt x="29074" y="66540"/>
                    <a:pt x="29603" y="65971"/>
                    <a:pt x="29603" y="66540"/>
                  </a:cubicBezTo>
                  <a:cubicBezTo>
                    <a:pt x="30132" y="66540"/>
                    <a:pt x="30132" y="67109"/>
                    <a:pt x="30132" y="67109"/>
                  </a:cubicBezTo>
                  <a:cubicBezTo>
                    <a:pt x="30660" y="67677"/>
                    <a:pt x="31189" y="67677"/>
                    <a:pt x="31718" y="67677"/>
                  </a:cubicBezTo>
                  <a:cubicBezTo>
                    <a:pt x="31718" y="68246"/>
                    <a:pt x="31718" y="68815"/>
                    <a:pt x="31718" y="68815"/>
                  </a:cubicBezTo>
                  <a:cubicBezTo>
                    <a:pt x="31718" y="68815"/>
                    <a:pt x="31189" y="69383"/>
                    <a:pt x="31189" y="68815"/>
                  </a:cubicBezTo>
                  <a:cubicBezTo>
                    <a:pt x="30660" y="68246"/>
                    <a:pt x="30660" y="68246"/>
                    <a:pt x="30660" y="68246"/>
                  </a:cubicBezTo>
                  <a:cubicBezTo>
                    <a:pt x="30660" y="68246"/>
                    <a:pt x="30132" y="67677"/>
                    <a:pt x="30132" y="67677"/>
                  </a:cubicBezTo>
                  <a:cubicBezTo>
                    <a:pt x="30132" y="67677"/>
                    <a:pt x="29074" y="66540"/>
                    <a:pt x="29074" y="66540"/>
                  </a:cubicBezTo>
                  <a:close/>
                  <a:moveTo>
                    <a:pt x="28017" y="68815"/>
                  </a:moveTo>
                  <a:cubicBezTo>
                    <a:pt x="28017" y="68815"/>
                    <a:pt x="28017" y="68815"/>
                    <a:pt x="28017" y="68815"/>
                  </a:cubicBezTo>
                  <a:cubicBezTo>
                    <a:pt x="28017" y="68815"/>
                    <a:pt x="28017" y="68246"/>
                    <a:pt x="28017" y="68246"/>
                  </a:cubicBezTo>
                  <a:cubicBezTo>
                    <a:pt x="28017" y="68246"/>
                    <a:pt x="28546" y="68246"/>
                    <a:pt x="28546" y="68815"/>
                  </a:cubicBezTo>
                  <a:cubicBezTo>
                    <a:pt x="28546" y="68815"/>
                    <a:pt x="29074" y="69383"/>
                    <a:pt x="29074" y="69383"/>
                  </a:cubicBezTo>
                  <a:cubicBezTo>
                    <a:pt x="29074" y="69952"/>
                    <a:pt x="28546" y="69952"/>
                    <a:pt x="28546" y="69952"/>
                  </a:cubicBezTo>
                  <a:cubicBezTo>
                    <a:pt x="28546" y="70521"/>
                    <a:pt x="29074" y="70521"/>
                    <a:pt x="28546" y="70521"/>
                  </a:cubicBezTo>
                  <a:cubicBezTo>
                    <a:pt x="28017" y="70521"/>
                    <a:pt x="28017" y="70521"/>
                    <a:pt x="28017" y="70521"/>
                  </a:cubicBezTo>
                  <a:cubicBezTo>
                    <a:pt x="28017" y="70521"/>
                    <a:pt x="28017" y="69952"/>
                    <a:pt x="28017" y="69952"/>
                  </a:cubicBezTo>
                  <a:cubicBezTo>
                    <a:pt x="28017" y="69383"/>
                    <a:pt x="28017" y="68815"/>
                    <a:pt x="28017" y="68815"/>
                  </a:cubicBezTo>
                  <a:close/>
                  <a:moveTo>
                    <a:pt x="25903" y="68815"/>
                  </a:moveTo>
                  <a:cubicBezTo>
                    <a:pt x="25903" y="68815"/>
                    <a:pt x="25903" y="68815"/>
                    <a:pt x="25903" y="68815"/>
                  </a:cubicBezTo>
                  <a:cubicBezTo>
                    <a:pt x="25903" y="68815"/>
                    <a:pt x="26431" y="68815"/>
                    <a:pt x="26431" y="69383"/>
                  </a:cubicBezTo>
                  <a:cubicBezTo>
                    <a:pt x="26431" y="69383"/>
                    <a:pt x="26960" y="69383"/>
                    <a:pt x="26960" y="69952"/>
                  </a:cubicBezTo>
                  <a:cubicBezTo>
                    <a:pt x="26960" y="69952"/>
                    <a:pt x="26960" y="69952"/>
                    <a:pt x="26960" y="70521"/>
                  </a:cubicBezTo>
                  <a:cubicBezTo>
                    <a:pt x="26960" y="71090"/>
                    <a:pt x="27488" y="71090"/>
                    <a:pt x="26960" y="71090"/>
                  </a:cubicBezTo>
                  <a:cubicBezTo>
                    <a:pt x="26431" y="70521"/>
                    <a:pt x="26431" y="70521"/>
                    <a:pt x="26431" y="70521"/>
                  </a:cubicBezTo>
                  <a:cubicBezTo>
                    <a:pt x="25903" y="69952"/>
                    <a:pt x="25903" y="69952"/>
                    <a:pt x="25903" y="69952"/>
                  </a:cubicBezTo>
                  <a:cubicBezTo>
                    <a:pt x="25903" y="69383"/>
                    <a:pt x="25903" y="69383"/>
                    <a:pt x="25903" y="69383"/>
                  </a:cubicBezTo>
                  <a:cubicBezTo>
                    <a:pt x="25903" y="68815"/>
                    <a:pt x="25903" y="68815"/>
                    <a:pt x="25903" y="68815"/>
                  </a:cubicBezTo>
                  <a:close/>
                  <a:moveTo>
                    <a:pt x="17973" y="65971"/>
                  </a:moveTo>
                  <a:cubicBezTo>
                    <a:pt x="17973" y="65971"/>
                    <a:pt x="17973" y="65971"/>
                    <a:pt x="17973" y="65971"/>
                  </a:cubicBezTo>
                  <a:cubicBezTo>
                    <a:pt x="17973" y="65971"/>
                    <a:pt x="18502" y="65971"/>
                    <a:pt x="18502" y="65971"/>
                  </a:cubicBezTo>
                  <a:cubicBezTo>
                    <a:pt x="19030" y="66540"/>
                    <a:pt x="18502" y="66540"/>
                    <a:pt x="19030" y="67109"/>
                  </a:cubicBezTo>
                  <a:cubicBezTo>
                    <a:pt x="19030" y="67109"/>
                    <a:pt x="18502" y="67677"/>
                    <a:pt x="18502" y="67677"/>
                  </a:cubicBezTo>
                  <a:cubicBezTo>
                    <a:pt x="17973" y="67109"/>
                    <a:pt x="17973" y="67109"/>
                    <a:pt x="17973" y="67109"/>
                  </a:cubicBezTo>
                  <a:cubicBezTo>
                    <a:pt x="17973" y="65971"/>
                    <a:pt x="17973" y="65971"/>
                    <a:pt x="17973" y="65971"/>
                  </a:cubicBezTo>
                  <a:close/>
                  <a:moveTo>
                    <a:pt x="17973" y="63696"/>
                  </a:moveTo>
                  <a:cubicBezTo>
                    <a:pt x="17973" y="63696"/>
                    <a:pt x="17973" y="63696"/>
                    <a:pt x="17973" y="63696"/>
                  </a:cubicBezTo>
                  <a:cubicBezTo>
                    <a:pt x="17973" y="63696"/>
                    <a:pt x="16916" y="63696"/>
                    <a:pt x="16916" y="63696"/>
                  </a:cubicBezTo>
                  <a:cubicBezTo>
                    <a:pt x="16916" y="63696"/>
                    <a:pt x="16387" y="63696"/>
                    <a:pt x="16387" y="63127"/>
                  </a:cubicBezTo>
                  <a:cubicBezTo>
                    <a:pt x="16387" y="63127"/>
                    <a:pt x="16387" y="62559"/>
                    <a:pt x="16916" y="62559"/>
                  </a:cubicBezTo>
                  <a:cubicBezTo>
                    <a:pt x="16916" y="62559"/>
                    <a:pt x="16916" y="61990"/>
                    <a:pt x="16916" y="61421"/>
                  </a:cubicBezTo>
                  <a:cubicBezTo>
                    <a:pt x="16916" y="61421"/>
                    <a:pt x="17444" y="61421"/>
                    <a:pt x="17444" y="61421"/>
                  </a:cubicBezTo>
                  <a:cubicBezTo>
                    <a:pt x="17444" y="61421"/>
                    <a:pt x="17973" y="61990"/>
                    <a:pt x="17973" y="61990"/>
                  </a:cubicBezTo>
                  <a:cubicBezTo>
                    <a:pt x="17973" y="61990"/>
                    <a:pt x="17973" y="63127"/>
                    <a:pt x="17973" y="63696"/>
                  </a:cubicBezTo>
                  <a:close/>
                  <a:moveTo>
                    <a:pt x="17973" y="50616"/>
                  </a:moveTo>
                  <a:cubicBezTo>
                    <a:pt x="17973" y="50616"/>
                    <a:pt x="17973" y="50616"/>
                    <a:pt x="17973" y="50616"/>
                  </a:cubicBezTo>
                  <a:cubicBezTo>
                    <a:pt x="17973" y="50616"/>
                    <a:pt x="19030" y="50616"/>
                    <a:pt x="19030" y="50616"/>
                  </a:cubicBezTo>
                  <a:cubicBezTo>
                    <a:pt x="19030" y="50616"/>
                    <a:pt x="19030" y="51184"/>
                    <a:pt x="19030" y="51753"/>
                  </a:cubicBezTo>
                  <a:cubicBezTo>
                    <a:pt x="19559" y="51753"/>
                    <a:pt x="19559" y="52322"/>
                    <a:pt x="19559" y="52322"/>
                  </a:cubicBezTo>
                  <a:cubicBezTo>
                    <a:pt x="20088" y="52322"/>
                    <a:pt x="20088" y="52322"/>
                    <a:pt x="20088" y="52322"/>
                  </a:cubicBezTo>
                  <a:cubicBezTo>
                    <a:pt x="20088" y="52322"/>
                    <a:pt x="20616" y="51753"/>
                    <a:pt x="20616" y="52322"/>
                  </a:cubicBezTo>
                  <a:cubicBezTo>
                    <a:pt x="21145" y="52322"/>
                    <a:pt x="21674" y="51753"/>
                    <a:pt x="21674" y="51753"/>
                  </a:cubicBezTo>
                  <a:cubicBezTo>
                    <a:pt x="21674" y="51753"/>
                    <a:pt x="22202" y="52322"/>
                    <a:pt x="22202" y="52322"/>
                  </a:cubicBezTo>
                  <a:cubicBezTo>
                    <a:pt x="22202" y="52890"/>
                    <a:pt x="21674" y="53459"/>
                    <a:pt x="21674" y="53459"/>
                  </a:cubicBezTo>
                  <a:cubicBezTo>
                    <a:pt x="21145" y="53459"/>
                    <a:pt x="20616" y="52890"/>
                    <a:pt x="20616" y="52890"/>
                  </a:cubicBezTo>
                  <a:cubicBezTo>
                    <a:pt x="20616" y="52890"/>
                    <a:pt x="20088" y="52322"/>
                    <a:pt x="20088" y="52890"/>
                  </a:cubicBezTo>
                  <a:cubicBezTo>
                    <a:pt x="20088" y="52890"/>
                    <a:pt x="20088" y="53459"/>
                    <a:pt x="20088" y="54028"/>
                  </a:cubicBezTo>
                  <a:cubicBezTo>
                    <a:pt x="20616" y="54028"/>
                    <a:pt x="20616" y="54028"/>
                    <a:pt x="20616" y="54597"/>
                  </a:cubicBezTo>
                  <a:cubicBezTo>
                    <a:pt x="20088" y="54597"/>
                    <a:pt x="20088" y="55165"/>
                    <a:pt x="20088" y="55165"/>
                  </a:cubicBezTo>
                  <a:cubicBezTo>
                    <a:pt x="20088" y="55734"/>
                    <a:pt x="20616" y="56303"/>
                    <a:pt x="20616" y="56303"/>
                  </a:cubicBezTo>
                  <a:cubicBezTo>
                    <a:pt x="20616" y="56303"/>
                    <a:pt x="20616" y="56303"/>
                    <a:pt x="20616" y="56872"/>
                  </a:cubicBezTo>
                  <a:cubicBezTo>
                    <a:pt x="20616" y="56872"/>
                    <a:pt x="21145" y="57440"/>
                    <a:pt x="21145" y="57440"/>
                  </a:cubicBezTo>
                  <a:cubicBezTo>
                    <a:pt x="21145" y="58009"/>
                    <a:pt x="21145" y="58578"/>
                    <a:pt x="21145" y="58578"/>
                  </a:cubicBezTo>
                  <a:cubicBezTo>
                    <a:pt x="21674" y="59146"/>
                    <a:pt x="21674" y="59146"/>
                    <a:pt x="21674" y="59146"/>
                  </a:cubicBezTo>
                  <a:cubicBezTo>
                    <a:pt x="21145" y="60284"/>
                    <a:pt x="21145" y="60284"/>
                    <a:pt x="21145" y="60284"/>
                  </a:cubicBezTo>
                  <a:cubicBezTo>
                    <a:pt x="21145" y="60284"/>
                    <a:pt x="21674" y="60853"/>
                    <a:pt x="21674" y="60853"/>
                  </a:cubicBezTo>
                  <a:cubicBezTo>
                    <a:pt x="21674" y="61421"/>
                    <a:pt x="22731" y="61990"/>
                    <a:pt x="22731" y="62559"/>
                  </a:cubicBezTo>
                  <a:cubicBezTo>
                    <a:pt x="22731" y="62559"/>
                    <a:pt x="22731" y="63696"/>
                    <a:pt x="22202" y="63696"/>
                  </a:cubicBezTo>
                  <a:cubicBezTo>
                    <a:pt x="22202" y="63696"/>
                    <a:pt x="21674" y="64265"/>
                    <a:pt x="21674" y="63696"/>
                  </a:cubicBezTo>
                  <a:cubicBezTo>
                    <a:pt x="21145" y="63127"/>
                    <a:pt x="20616" y="61990"/>
                    <a:pt x="20616" y="61990"/>
                  </a:cubicBezTo>
                  <a:cubicBezTo>
                    <a:pt x="20616" y="61990"/>
                    <a:pt x="20616" y="61990"/>
                    <a:pt x="20616" y="61990"/>
                  </a:cubicBezTo>
                  <a:cubicBezTo>
                    <a:pt x="20616" y="62559"/>
                    <a:pt x="20088" y="63127"/>
                    <a:pt x="20088" y="63127"/>
                  </a:cubicBezTo>
                  <a:cubicBezTo>
                    <a:pt x="20088" y="63696"/>
                    <a:pt x="21145" y="64265"/>
                    <a:pt x="21145" y="64265"/>
                  </a:cubicBezTo>
                  <a:cubicBezTo>
                    <a:pt x="21145" y="64265"/>
                    <a:pt x="20616" y="63127"/>
                    <a:pt x="21145" y="64265"/>
                  </a:cubicBezTo>
                  <a:cubicBezTo>
                    <a:pt x="21674" y="65402"/>
                    <a:pt x="22202" y="65971"/>
                    <a:pt x="22202" y="65971"/>
                  </a:cubicBezTo>
                  <a:cubicBezTo>
                    <a:pt x="22202" y="65971"/>
                    <a:pt x="22731" y="66540"/>
                    <a:pt x="23259" y="66540"/>
                  </a:cubicBezTo>
                  <a:cubicBezTo>
                    <a:pt x="23259" y="67109"/>
                    <a:pt x="23259" y="67109"/>
                    <a:pt x="23788" y="67677"/>
                  </a:cubicBezTo>
                  <a:cubicBezTo>
                    <a:pt x="23788" y="67677"/>
                    <a:pt x="24317" y="68246"/>
                    <a:pt x="23788" y="68246"/>
                  </a:cubicBezTo>
                  <a:cubicBezTo>
                    <a:pt x="23259" y="68815"/>
                    <a:pt x="23788" y="68815"/>
                    <a:pt x="23259" y="68815"/>
                  </a:cubicBezTo>
                  <a:cubicBezTo>
                    <a:pt x="23259" y="68246"/>
                    <a:pt x="22731" y="68246"/>
                    <a:pt x="22731" y="67677"/>
                  </a:cubicBezTo>
                  <a:cubicBezTo>
                    <a:pt x="22731" y="67109"/>
                    <a:pt x="22202" y="66540"/>
                    <a:pt x="22202" y="65971"/>
                  </a:cubicBezTo>
                  <a:cubicBezTo>
                    <a:pt x="21674" y="65971"/>
                    <a:pt x="21145" y="65402"/>
                    <a:pt x="21145" y="65402"/>
                  </a:cubicBezTo>
                  <a:cubicBezTo>
                    <a:pt x="20616" y="65402"/>
                    <a:pt x="20616" y="64834"/>
                    <a:pt x="20616" y="64834"/>
                  </a:cubicBezTo>
                  <a:cubicBezTo>
                    <a:pt x="20616" y="64834"/>
                    <a:pt x="20088" y="64834"/>
                    <a:pt x="20088" y="64834"/>
                  </a:cubicBezTo>
                  <a:cubicBezTo>
                    <a:pt x="20088" y="64834"/>
                    <a:pt x="19030" y="64834"/>
                    <a:pt x="19030" y="64834"/>
                  </a:cubicBezTo>
                  <a:cubicBezTo>
                    <a:pt x="19030" y="64265"/>
                    <a:pt x="19030" y="64265"/>
                    <a:pt x="19559" y="63696"/>
                  </a:cubicBezTo>
                  <a:cubicBezTo>
                    <a:pt x="19559" y="63696"/>
                    <a:pt x="20088" y="63696"/>
                    <a:pt x="20088" y="63696"/>
                  </a:cubicBezTo>
                  <a:cubicBezTo>
                    <a:pt x="20088" y="63696"/>
                    <a:pt x="19559" y="63127"/>
                    <a:pt x="19559" y="63127"/>
                  </a:cubicBezTo>
                  <a:cubicBezTo>
                    <a:pt x="19559" y="63127"/>
                    <a:pt x="19559" y="62559"/>
                    <a:pt x="19559" y="62559"/>
                  </a:cubicBezTo>
                  <a:cubicBezTo>
                    <a:pt x="19030" y="62559"/>
                    <a:pt x="19030" y="63127"/>
                    <a:pt x="19030" y="62559"/>
                  </a:cubicBezTo>
                  <a:cubicBezTo>
                    <a:pt x="19030" y="61990"/>
                    <a:pt x="19030" y="61990"/>
                    <a:pt x="19030" y="61421"/>
                  </a:cubicBezTo>
                  <a:cubicBezTo>
                    <a:pt x="19030" y="61421"/>
                    <a:pt x="19030" y="60284"/>
                    <a:pt x="19030" y="60284"/>
                  </a:cubicBezTo>
                  <a:cubicBezTo>
                    <a:pt x="19559" y="60853"/>
                    <a:pt x="19559" y="60853"/>
                    <a:pt x="19559" y="60853"/>
                  </a:cubicBezTo>
                  <a:cubicBezTo>
                    <a:pt x="20088" y="59715"/>
                    <a:pt x="20088" y="59715"/>
                    <a:pt x="20088" y="59715"/>
                  </a:cubicBezTo>
                  <a:cubicBezTo>
                    <a:pt x="20088" y="59715"/>
                    <a:pt x="20088" y="59715"/>
                    <a:pt x="19559" y="59715"/>
                  </a:cubicBezTo>
                  <a:cubicBezTo>
                    <a:pt x="19030" y="59715"/>
                    <a:pt x="19030" y="58578"/>
                    <a:pt x="19030" y="58578"/>
                  </a:cubicBezTo>
                  <a:cubicBezTo>
                    <a:pt x="19030" y="58578"/>
                    <a:pt x="19030" y="58009"/>
                    <a:pt x="19030" y="58009"/>
                  </a:cubicBezTo>
                  <a:cubicBezTo>
                    <a:pt x="19030" y="58009"/>
                    <a:pt x="18502" y="58009"/>
                    <a:pt x="18502" y="57440"/>
                  </a:cubicBezTo>
                  <a:cubicBezTo>
                    <a:pt x="17973" y="56872"/>
                    <a:pt x="17973" y="56303"/>
                    <a:pt x="17973" y="56303"/>
                  </a:cubicBezTo>
                  <a:cubicBezTo>
                    <a:pt x="17973" y="56303"/>
                    <a:pt x="18502" y="56303"/>
                    <a:pt x="17973" y="55734"/>
                  </a:cubicBezTo>
                  <a:cubicBezTo>
                    <a:pt x="17973" y="55165"/>
                    <a:pt x="17973" y="55165"/>
                    <a:pt x="17444" y="55165"/>
                  </a:cubicBezTo>
                  <a:cubicBezTo>
                    <a:pt x="17444" y="54597"/>
                    <a:pt x="17444" y="54028"/>
                    <a:pt x="17973" y="54028"/>
                  </a:cubicBezTo>
                  <a:cubicBezTo>
                    <a:pt x="17973" y="54028"/>
                    <a:pt x="17973" y="54028"/>
                    <a:pt x="18502" y="54028"/>
                  </a:cubicBezTo>
                  <a:cubicBezTo>
                    <a:pt x="18502" y="54597"/>
                    <a:pt x="19030" y="54597"/>
                    <a:pt x="19030" y="54597"/>
                  </a:cubicBezTo>
                  <a:cubicBezTo>
                    <a:pt x="19030" y="54028"/>
                    <a:pt x="19559" y="53459"/>
                    <a:pt x="19030" y="53459"/>
                  </a:cubicBezTo>
                  <a:cubicBezTo>
                    <a:pt x="19030" y="52890"/>
                    <a:pt x="18502" y="52322"/>
                    <a:pt x="18502" y="52322"/>
                  </a:cubicBezTo>
                  <a:cubicBezTo>
                    <a:pt x="17973" y="51753"/>
                    <a:pt x="17973" y="51753"/>
                    <a:pt x="17973" y="51753"/>
                  </a:cubicBezTo>
                  <a:cubicBezTo>
                    <a:pt x="17973" y="51753"/>
                    <a:pt x="17973" y="51753"/>
                    <a:pt x="17973" y="51184"/>
                  </a:cubicBezTo>
                  <a:cubicBezTo>
                    <a:pt x="17973" y="51184"/>
                    <a:pt x="17973" y="50616"/>
                    <a:pt x="17973" y="50616"/>
                  </a:cubicBezTo>
                  <a:close/>
                  <a:moveTo>
                    <a:pt x="17444" y="50616"/>
                  </a:moveTo>
                  <a:cubicBezTo>
                    <a:pt x="17444" y="50616"/>
                    <a:pt x="17444" y="50616"/>
                    <a:pt x="17444" y="50616"/>
                  </a:cubicBezTo>
                  <a:cubicBezTo>
                    <a:pt x="17444" y="50616"/>
                    <a:pt x="16916" y="50047"/>
                    <a:pt x="16916" y="49478"/>
                  </a:cubicBezTo>
                  <a:cubicBezTo>
                    <a:pt x="16916" y="49478"/>
                    <a:pt x="16916" y="49478"/>
                    <a:pt x="16916" y="48909"/>
                  </a:cubicBezTo>
                  <a:cubicBezTo>
                    <a:pt x="16916" y="48341"/>
                    <a:pt x="16387" y="48341"/>
                    <a:pt x="16387" y="47772"/>
                  </a:cubicBezTo>
                  <a:cubicBezTo>
                    <a:pt x="16916" y="47772"/>
                    <a:pt x="16916" y="47203"/>
                    <a:pt x="16916" y="47203"/>
                  </a:cubicBezTo>
                  <a:cubicBezTo>
                    <a:pt x="17444" y="46635"/>
                    <a:pt x="17973" y="46635"/>
                    <a:pt x="17973" y="47203"/>
                  </a:cubicBezTo>
                  <a:cubicBezTo>
                    <a:pt x="17973" y="47203"/>
                    <a:pt x="17973" y="47772"/>
                    <a:pt x="17973" y="48341"/>
                  </a:cubicBezTo>
                  <a:cubicBezTo>
                    <a:pt x="17973" y="48341"/>
                    <a:pt x="17973" y="48909"/>
                    <a:pt x="17973" y="48909"/>
                  </a:cubicBezTo>
                  <a:cubicBezTo>
                    <a:pt x="17973" y="49478"/>
                    <a:pt x="18502" y="49478"/>
                    <a:pt x="18502" y="49478"/>
                  </a:cubicBezTo>
                  <a:cubicBezTo>
                    <a:pt x="18502" y="50047"/>
                    <a:pt x="18502" y="50616"/>
                    <a:pt x="18502" y="50616"/>
                  </a:cubicBezTo>
                  <a:lnTo>
                    <a:pt x="17444" y="50616"/>
                  </a:lnTo>
                  <a:close/>
                </a:path>
              </a:pathLst>
            </a:custGeom>
            <a:grpFill/>
            <a:ln w="3175" cap="flat" cmpd="sng">
              <a:solidFill>
                <a:schemeClr val="tx1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defTabSz="457178"/>
              <a:endParaRPr kern="0">
                <a:solidFill>
                  <a:srgbClr val="7F7F7F"/>
                </a:solidFill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15" name="Shape 2022">
              <a:extLst>
                <a:ext uri="{FF2B5EF4-FFF2-40B4-BE49-F238E27FC236}">
                  <a16:creationId xmlns:a16="http://schemas.microsoft.com/office/drawing/2014/main" id="{7DED6004-205E-4579-BA98-F1B0BDD934D4}"/>
                </a:ext>
              </a:extLst>
            </p:cNvPr>
            <p:cNvSpPr/>
            <p:nvPr/>
          </p:nvSpPr>
          <p:spPr>
            <a:xfrm>
              <a:off x="7316078" y="4213153"/>
              <a:ext cx="216587" cy="12145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2526" y="85090"/>
                  </a:moveTo>
                  <a:cubicBezTo>
                    <a:pt x="2526" y="85090"/>
                    <a:pt x="2526" y="82909"/>
                    <a:pt x="2526" y="78545"/>
                  </a:cubicBezTo>
                  <a:cubicBezTo>
                    <a:pt x="1263" y="74181"/>
                    <a:pt x="0" y="67636"/>
                    <a:pt x="0" y="67636"/>
                  </a:cubicBezTo>
                  <a:cubicBezTo>
                    <a:pt x="0" y="67636"/>
                    <a:pt x="1263" y="65454"/>
                    <a:pt x="2526" y="67636"/>
                  </a:cubicBezTo>
                  <a:cubicBezTo>
                    <a:pt x="3789" y="69818"/>
                    <a:pt x="5052" y="74181"/>
                    <a:pt x="8842" y="69818"/>
                  </a:cubicBezTo>
                  <a:cubicBezTo>
                    <a:pt x="10105" y="69818"/>
                    <a:pt x="11368" y="69818"/>
                    <a:pt x="11368" y="67636"/>
                  </a:cubicBezTo>
                  <a:cubicBezTo>
                    <a:pt x="13894" y="63272"/>
                    <a:pt x="13894" y="58909"/>
                    <a:pt x="15157" y="58909"/>
                  </a:cubicBezTo>
                  <a:cubicBezTo>
                    <a:pt x="16421" y="56727"/>
                    <a:pt x="16421" y="58909"/>
                    <a:pt x="18947" y="58909"/>
                  </a:cubicBezTo>
                  <a:cubicBezTo>
                    <a:pt x="18947" y="58909"/>
                    <a:pt x="20210" y="56727"/>
                    <a:pt x="20210" y="56727"/>
                  </a:cubicBezTo>
                  <a:cubicBezTo>
                    <a:pt x="21473" y="56727"/>
                    <a:pt x="21473" y="58909"/>
                    <a:pt x="22736" y="58909"/>
                  </a:cubicBezTo>
                  <a:cubicBezTo>
                    <a:pt x="24000" y="58909"/>
                    <a:pt x="24000" y="56727"/>
                    <a:pt x="25263" y="58909"/>
                  </a:cubicBezTo>
                  <a:cubicBezTo>
                    <a:pt x="26526" y="58909"/>
                    <a:pt x="27789" y="61090"/>
                    <a:pt x="29052" y="61090"/>
                  </a:cubicBezTo>
                  <a:cubicBezTo>
                    <a:pt x="30315" y="61090"/>
                    <a:pt x="32842" y="61090"/>
                    <a:pt x="32842" y="56727"/>
                  </a:cubicBezTo>
                  <a:cubicBezTo>
                    <a:pt x="34105" y="54545"/>
                    <a:pt x="35368" y="50181"/>
                    <a:pt x="35368" y="43636"/>
                  </a:cubicBezTo>
                  <a:cubicBezTo>
                    <a:pt x="35368" y="37090"/>
                    <a:pt x="34105" y="32727"/>
                    <a:pt x="35368" y="34909"/>
                  </a:cubicBezTo>
                  <a:cubicBezTo>
                    <a:pt x="35368" y="34909"/>
                    <a:pt x="39157" y="37090"/>
                    <a:pt x="41684" y="39272"/>
                  </a:cubicBezTo>
                  <a:cubicBezTo>
                    <a:pt x="44210" y="39272"/>
                    <a:pt x="42947" y="37090"/>
                    <a:pt x="45473" y="39272"/>
                  </a:cubicBezTo>
                  <a:cubicBezTo>
                    <a:pt x="48000" y="39272"/>
                    <a:pt x="53052" y="41454"/>
                    <a:pt x="55578" y="41454"/>
                  </a:cubicBezTo>
                  <a:cubicBezTo>
                    <a:pt x="60631" y="41454"/>
                    <a:pt x="66947" y="41454"/>
                    <a:pt x="73263" y="39272"/>
                  </a:cubicBezTo>
                  <a:cubicBezTo>
                    <a:pt x="73263" y="37090"/>
                    <a:pt x="75789" y="34909"/>
                    <a:pt x="77052" y="34909"/>
                  </a:cubicBezTo>
                  <a:cubicBezTo>
                    <a:pt x="78315" y="32727"/>
                    <a:pt x="80842" y="34909"/>
                    <a:pt x="83368" y="32727"/>
                  </a:cubicBezTo>
                  <a:cubicBezTo>
                    <a:pt x="84631" y="32727"/>
                    <a:pt x="87157" y="30545"/>
                    <a:pt x="88421" y="28363"/>
                  </a:cubicBezTo>
                  <a:cubicBezTo>
                    <a:pt x="90947" y="26181"/>
                    <a:pt x="93473" y="24000"/>
                    <a:pt x="96000" y="21818"/>
                  </a:cubicBezTo>
                  <a:cubicBezTo>
                    <a:pt x="97263" y="21818"/>
                    <a:pt x="97263" y="19636"/>
                    <a:pt x="98526" y="17454"/>
                  </a:cubicBezTo>
                  <a:cubicBezTo>
                    <a:pt x="99789" y="17454"/>
                    <a:pt x="99789" y="17454"/>
                    <a:pt x="101052" y="17454"/>
                  </a:cubicBezTo>
                  <a:cubicBezTo>
                    <a:pt x="102315" y="17454"/>
                    <a:pt x="103578" y="15272"/>
                    <a:pt x="104842" y="15272"/>
                  </a:cubicBezTo>
                  <a:cubicBezTo>
                    <a:pt x="107368" y="13090"/>
                    <a:pt x="108631" y="10909"/>
                    <a:pt x="112421" y="6545"/>
                  </a:cubicBezTo>
                  <a:cubicBezTo>
                    <a:pt x="116210" y="0"/>
                    <a:pt x="120000" y="0"/>
                    <a:pt x="118736" y="4363"/>
                  </a:cubicBezTo>
                  <a:cubicBezTo>
                    <a:pt x="118736" y="6545"/>
                    <a:pt x="113684" y="10909"/>
                    <a:pt x="112421" y="13090"/>
                  </a:cubicBezTo>
                  <a:cubicBezTo>
                    <a:pt x="109894" y="17454"/>
                    <a:pt x="107368" y="21818"/>
                    <a:pt x="104842" y="24000"/>
                  </a:cubicBezTo>
                  <a:cubicBezTo>
                    <a:pt x="102315" y="24000"/>
                    <a:pt x="98526" y="28363"/>
                    <a:pt x="96000" y="32727"/>
                  </a:cubicBezTo>
                  <a:cubicBezTo>
                    <a:pt x="93473" y="34909"/>
                    <a:pt x="93473" y="39272"/>
                    <a:pt x="92210" y="41454"/>
                  </a:cubicBezTo>
                  <a:cubicBezTo>
                    <a:pt x="88421" y="45818"/>
                    <a:pt x="87157" y="41454"/>
                    <a:pt x="85894" y="43636"/>
                  </a:cubicBezTo>
                  <a:cubicBezTo>
                    <a:pt x="85894" y="48000"/>
                    <a:pt x="84631" y="54545"/>
                    <a:pt x="84631" y="58909"/>
                  </a:cubicBezTo>
                  <a:cubicBezTo>
                    <a:pt x="85894" y="65454"/>
                    <a:pt x="89684" y="69818"/>
                    <a:pt x="92210" y="74181"/>
                  </a:cubicBezTo>
                  <a:cubicBezTo>
                    <a:pt x="92210" y="74181"/>
                    <a:pt x="96000" y="80727"/>
                    <a:pt x="93473" y="82909"/>
                  </a:cubicBezTo>
                  <a:cubicBezTo>
                    <a:pt x="92210" y="82909"/>
                    <a:pt x="90947" y="78545"/>
                    <a:pt x="88421" y="78545"/>
                  </a:cubicBezTo>
                  <a:cubicBezTo>
                    <a:pt x="85894" y="78545"/>
                    <a:pt x="82105" y="78545"/>
                    <a:pt x="79578" y="80727"/>
                  </a:cubicBezTo>
                  <a:cubicBezTo>
                    <a:pt x="78315" y="80727"/>
                    <a:pt x="77052" y="78545"/>
                    <a:pt x="74526" y="78545"/>
                  </a:cubicBezTo>
                  <a:cubicBezTo>
                    <a:pt x="72000" y="80727"/>
                    <a:pt x="69473" y="89454"/>
                    <a:pt x="69473" y="93818"/>
                  </a:cubicBezTo>
                  <a:cubicBezTo>
                    <a:pt x="69473" y="96000"/>
                    <a:pt x="66947" y="96000"/>
                    <a:pt x="65684" y="100363"/>
                  </a:cubicBezTo>
                  <a:cubicBezTo>
                    <a:pt x="63157" y="102545"/>
                    <a:pt x="61894" y="100363"/>
                    <a:pt x="59368" y="102545"/>
                  </a:cubicBezTo>
                  <a:cubicBezTo>
                    <a:pt x="56842" y="104727"/>
                    <a:pt x="56842" y="106909"/>
                    <a:pt x="54315" y="106909"/>
                  </a:cubicBezTo>
                  <a:cubicBezTo>
                    <a:pt x="50526" y="106909"/>
                    <a:pt x="46736" y="109090"/>
                    <a:pt x="45473" y="109090"/>
                  </a:cubicBezTo>
                  <a:cubicBezTo>
                    <a:pt x="37894" y="109090"/>
                    <a:pt x="41684" y="120000"/>
                    <a:pt x="36631" y="115636"/>
                  </a:cubicBezTo>
                  <a:cubicBezTo>
                    <a:pt x="34105" y="115636"/>
                    <a:pt x="32842" y="111272"/>
                    <a:pt x="30315" y="109090"/>
                  </a:cubicBezTo>
                  <a:cubicBezTo>
                    <a:pt x="29052" y="109090"/>
                    <a:pt x="26526" y="113454"/>
                    <a:pt x="24000" y="115636"/>
                  </a:cubicBezTo>
                  <a:cubicBezTo>
                    <a:pt x="21473" y="117818"/>
                    <a:pt x="17684" y="111272"/>
                    <a:pt x="15157" y="109090"/>
                  </a:cubicBezTo>
                  <a:cubicBezTo>
                    <a:pt x="12631" y="106909"/>
                    <a:pt x="11368" y="111272"/>
                    <a:pt x="10105" y="109090"/>
                  </a:cubicBezTo>
                  <a:cubicBezTo>
                    <a:pt x="7578" y="104727"/>
                    <a:pt x="8842" y="100363"/>
                    <a:pt x="6315" y="98181"/>
                  </a:cubicBezTo>
                  <a:cubicBezTo>
                    <a:pt x="5052" y="93818"/>
                    <a:pt x="2526" y="89454"/>
                    <a:pt x="2526" y="85090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tx1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defTabSz="457178"/>
              <a:endParaRPr kern="0">
                <a:solidFill>
                  <a:srgbClr val="7F7F7F"/>
                </a:solidFill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16" name="Shape 2023">
              <a:extLst>
                <a:ext uri="{FF2B5EF4-FFF2-40B4-BE49-F238E27FC236}">
                  <a16:creationId xmlns:a16="http://schemas.microsoft.com/office/drawing/2014/main" id="{86C7E85A-D4AF-4C38-ADB6-6DA1CCCF65A1}"/>
                </a:ext>
              </a:extLst>
            </p:cNvPr>
            <p:cNvSpPr/>
            <p:nvPr/>
          </p:nvSpPr>
          <p:spPr>
            <a:xfrm>
              <a:off x="5794467" y="3262800"/>
              <a:ext cx="424380" cy="437886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7096" y="8484"/>
                  </a:moveTo>
                  <a:cubicBezTo>
                    <a:pt x="7096" y="8484"/>
                    <a:pt x="7096" y="8484"/>
                    <a:pt x="7096" y="8484"/>
                  </a:cubicBezTo>
                  <a:cubicBezTo>
                    <a:pt x="7096" y="8484"/>
                    <a:pt x="7096" y="8484"/>
                    <a:pt x="7096" y="8484"/>
                  </a:cubicBezTo>
                  <a:cubicBezTo>
                    <a:pt x="7741" y="8484"/>
                    <a:pt x="7741" y="8484"/>
                    <a:pt x="8387" y="8484"/>
                  </a:cubicBezTo>
                  <a:cubicBezTo>
                    <a:pt x="9677" y="8484"/>
                    <a:pt x="10322" y="8484"/>
                    <a:pt x="10322" y="8484"/>
                  </a:cubicBezTo>
                  <a:cubicBezTo>
                    <a:pt x="10967" y="6666"/>
                    <a:pt x="10967" y="6666"/>
                    <a:pt x="10967" y="6666"/>
                  </a:cubicBezTo>
                  <a:cubicBezTo>
                    <a:pt x="12258" y="6060"/>
                    <a:pt x="12258" y="6060"/>
                    <a:pt x="12258" y="6060"/>
                  </a:cubicBezTo>
                  <a:cubicBezTo>
                    <a:pt x="12258" y="6060"/>
                    <a:pt x="14193" y="3636"/>
                    <a:pt x="14838" y="3636"/>
                  </a:cubicBezTo>
                  <a:cubicBezTo>
                    <a:pt x="16129" y="3636"/>
                    <a:pt x="14838" y="2424"/>
                    <a:pt x="14838" y="2424"/>
                  </a:cubicBezTo>
                  <a:cubicBezTo>
                    <a:pt x="14838" y="2424"/>
                    <a:pt x="18064" y="1212"/>
                    <a:pt x="19354" y="1212"/>
                  </a:cubicBezTo>
                  <a:cubicBezTo>
                    <a:pt x="19354" y="1212"/>
                    <a:pt x="19354" y="1212"/>
                    <a:pt x="20000" y="1212"/>
                  </a:cubicBezTo>
                  <a:cubicBezTo>
                    <a:pt x="20645" y="1212"/>
                    <a:pt x="20645" y="1818"/>
                    <a:pt x="20645" y="1818"/>
                  </a:cubicBezTo>
                  <a:cubicBezTo>
                    <a:pt x="23225" y="606"/>
                    <a:pt x="23225" y="606"/>
                    <a:pt x="23225" y="606"/>
                  </a:cubicBezTo>
                  <a:cubicBezTo>
                    <a:pt x="23225" y="606"/>
                    <a:pt x="27096" y="0"/>
                    <a:pt x="27741" y="0"/>
                  </a:cubicBezTo>
                  <a:cubicBezTo>
                    <a:pt x="28387" y="0"/>
                    <a:pt x="29677" y="606"/>
                    <a:pt x="29677" y="606"/>
                  </a:cubicBezTo>
                  <a:cubicBezTo>
                    <a:pt x="30967" y="606"/>
                    <a:pt x="30967" y="606"/>
                    <a:pt x="30967" y="606"/>
                  </a:cubicBezTo>
                  <a:cubicBezTo>
                    <a:pt x="30967" y="606"/>
                    <a:pt x="31612" y="1212"/>
                    <a:pt x="32258" y="1212"/>
                  </a:cubicBezTo>
                  <a:cubicBezTo>
                    <a:pt x="33548" y="1818"/>
                    <a:pt x="34193" y="3636"/>
                    <a:pt x="34838" y="3636"/>
                  </a:cubicBezTo>
                  <a:cubicBezTo>
                    <a:pt x="36129" y="4242"/>
                    <a:pt x="37419" y="4242"/>
                    <a:pt x="38064" y="4242"/>
                  </a:cubicBezTo>
                  <a:cubicBezTo>
                    <a:pt x="38709" y="4848"/>
                    <a:pt x="40000" y="5454"/>
                    <a:pt x="40000" y="5454"/>
                  </a:cubicBezTo>
                  <a:cubicBezTo>
                    <a:pt x="40000" y="5454"/>
                    <a:pt x="43225" y="8484"/>
                    <a:pt x="43870" y="8484"/>
                  </a:cubicBezTo>
                  <a:cubicBezTo>
                    <a:pt x="44516" y="8484"/>
                    <a:pt x="44516" y="8484"/>
                    <a:pt x="45161" y="9696"/>
                  </a:cubicBezTo>
                  <a:cubicBezTo>
                    <a:pt x="45806" y="10303"/>
                    <a:pt x="47741" y="9696"/>
                    <a:pt x="47741" y="9696"/>
                  </a:cubicBezTo>
                  <a:cubicBezTo>
                    <a:pt x="47741" y="9696"/>
                    <a:pt x="48387" y="11515"/>
                    <a:pt x="47741" y="12121"/>
                  </a:cubicBezTo>
                  <a:cubicBezTo>
                    <a:pt x="47741" y="12727"/>
                    <a:pt x="47741" y="14545"/>
                    <a:pt x="47741" y="14545"/>
                  </a:cubicBezTo>
                  <a:cubicBezTo>
                    <a:pt x="47741" y="14545"/>
                    <a:pt x="47741" y="15151"/>
                    <a:pt x="47741" y="15757"/>
                  </a:cubicBezTo>
                  <a:cubicBezTo>
                    <a:pt x="48387" y="16969"/>
                    <a:pt x="49032" y="16969"/>
                    <a:pt x="49032" y="18181"/>
                  </a:cubicBezTo>
                  <a:cubicBezTo>
                    <a:pt x="49677" y="18787"/>
                    <a:pt x="49032" y="18787"/>
                    <a:pt x="49677" y="19393"/>
                  </a:cubicBezTo>
                  <a:cubicBezTo>
                    <a:pt x="50322" y="20000"/>
                    <a:pt x="50967" y="21212"/>
                    <a:pt x="51612" y="21212"/>
                  </a:cubicBezTo>
                  <a:cubicBezTo>
                    <a:pt x="52258" y="21212"/>
                    <a:pt x="52903" y="21212"/>
                    <a:pt x="54838" y="21818"/>
                  </a:cubicBezTo>
                  <a:cubicBezTo>
                    <a:pt x="56774" y="23030"/>
                    <a:pt x="57419" y="23030"/>
                    <a:pt x="58064" y="23636"/>
                  </a:cubicBezTo>
                  <a:cubicBezTo>
                    <a:pt x="59354" y="24242"/>
                    <a:pt x="58709" y="23636"/>
                    <a:pt x="60645" y="24242"/>
                  </a:cubicBezTo>
                  <a:cubicBezTo>
                    <a:pt x="63225" y="24848"/>
                    <a:pt x="62580" y="24242"/>
                    <a:pt x="63225" y="24848"/>
                  </a:cubicBezTo>
                  <a:cubicBezTo>
                    <a:pt x="63870" y="24848"/>
                    <a:pt x="63225" y="24242"/>
                    <a:pt x="64516" y="24848"/>
                  </a:cubicBezTo>
                  <a:cubicBezTo>
                    <a:pt x="66451" y="24848"/>
                    <a:pt x="67741" y="25454"/>
                    <a:pt x="67741" y="25454"/>
                  </a:cubicBezTo>
                  <a:cubicBezTo>
                    <a:pt x="67741" y="26666"/>
                    <a:pt x="67741" y="26666"/>
                    <a:pt x="67741" y="26666"/>
                  </a:cubicBezTo>
                  <a:cubicBezTo>
                    <a:pt x="66451" y="29090"/>
                    <a:pt x="66451" y="29090"/>
                    <a:pt x="66451" y="29090"/>
                  </a:cubicBezTo>
                  <a:cubicBezTo>
                    <a:pt x="66451" y="30909"/>
                    <a:pt x="66451" y="30909"/>
                    <a:pt x="66451" y="30909"/>
                  </a:cubicBezTo>
                  <a:cubicBezTo>
                    <a:pt x="66451" y="30909"/>
                    <a:pt x="65161" y="30909"/>
                    <a:pt x="66451" y="31515"/>
                  </a:cubicBezTo>
                  <a:cubicBezTo>
                    <a:pt x="67741" y="32121"/>
                    <a:pt x="70322" y="32727"/>
                    <a:pt x="70322" y="32727"/>
                  </a:cubicBezTo>
                  <a:cubicBezTo>
                    <a:pt x="72258" y="33939"/>
                    <a:pt x="72258" y="33939"/>
                    <a:pt x="72258" y="33939"/>
                  </a:cubicBezTo>
                  <a:cubicBezTo>
                    <a:pt x="72258" y="33939"/>
                    <a:pt x="70967" y="35757"/>
                    <a:pt x="70322" y="36363"/>
                  </a:cubicBezTo>
                  <a:cubicBezTo>
                    <a:pt x="69677" y="36363"/>
                    <a:pt x="67741" y="36363"/>
                    <a:pt x="67741" y="36363"/>
                  </a:cubicBezTo>
                  <a:cubicBezTo>
                    <a:pt x="67741" y="36363"/>
                    <a:pt x="67096" y="38181"/>
                    <a:pt x="68387" y="38181"/>
                  </a:cubicBezTo>
                  <a:cubicBezTo>
                    <a:pt x="69032" y="38787"/>
                    <a:pt x="70322" y="38787"/>
                    <a:pt x="70967" y="38787"/>
                  </a:cubicBezTo>
                  <a:cubicBezTo>
                    <a:pt x="71612" y="38787"/>
                    <a:pt x="72903" y="39393"/>
                    <a:pt x="72903" y="39393"/>
                  </a:cubicBezTo>
                  <a:cubicBezTo>
                    <a:pt x="72903" y="39393"/>
                    <a:pt x="73548" y="39393"/>
                    <a:pt x="74193" y="40000"/>
                  </a:cubicBezTo>
                  <a:cubicBezTo>
                    <a:pt x="74193" y="41212"/>
                    <a:pt x="74838" y="41818"/>
                    <a:pt x="75483" y="41818"/>
                  </a:cubicBezTo>
                  <a:cubicBezTo>
                    <a:pt x="76129" y="41818"/>
                    <a:pt x="77419" y="41818"/>
                    <a:pt x="78064" y="41818"/>
                  </a:cubicBezTo>
                  <a:cubicBezTo>
                    <a:pt x="78709" y="41818"/>
                    <a:pt x="78709" y="41212"/>
                    <a:pt x="79354" y="41212"/>
                  </a:cubicBezTo>
                  <a:cubicBezTo>
                    <a:pt x="80000" y="41818"/>
                    <a:pt x="83870" y="41212"/>
                    <a:pt x="83870" y="41212"/>
                  </a:cubicBezTo>
                  <a:cubicBezTo>
                    <a:pt x="83870" y="41212"/>
                    <a:pt x="83870" y="41212"/>
                    <a:pt x="84516" y="42424"/>
                  </a:cubicBezTo>
                  <a:cubicBezTo>
                    <a:pt x="85806" y="44242"/>
                    <a:pt x="87741" y="44848"/>
                    <a:pt x="87741" y="44848"/>
                  </a:cubicBezTo>
                  <a:cubicBezTo>
                    <a:pt x="87741" y="44848"/>
                    <a:pt x="88387" y="45454"/>
                    <a:pt x="88387" y="44848"/>
                  </a:cubicBezTo>
                  <a:cubicBezTo>
                    <a:pt x="88387" y="44242"/>
                    <a:pt x="89032" y="43636"/>
                    <a:pt x="89032" y="43636"/>
                  </a:cubicBezTo>
                  <a:cubicBezTo>
                    <a:pt x="89032" y="43636"/>
                    <a:pt x="90322" y="41818"/>
                    <a:pt x="90322" y="41212"/>
                  </a:cubicBezTo>
                  <a:cubicBezTo>
                    <a:pt x="90967" y="40606"/>
                    <a:pt x="91612" y="38787"/>
                    <a:pt x="92258" y="38787"/>
                  </a:cubicBezTo>
                  <a:cubicBezTo>
                    <a:pt x="92903" y="38181"/>
                    <a:pt x="94838" y="36969"/>
                    <a:pt x="94838" y="36969"/>
                  </a:cubicBezTo>
                  <a:cubicBezTo>
                    <a:pt x="94838" y="36969"/>
                    <a:pt x="94838" y="36363"/>
                    <a:pt x="96129" y="36969"/>
                  </a:cubicBezTo>
                  <a:cubicBezTo>
                    <a:pt x="96774" y="38181"/>
                    <a:pt x="98709" y="39393"/>
                    <a:pt x="98709" y="39393"/>
                  </a:cubicBezTo>
                  <a:cubicBezTo>
                    <a:pt x="101935" y="39393"/>
                    <a:pt x="101935" y="39393"/>
                    <a:pt x="101935" y="39393"/>
                  </a:cubicBezTo>
                  <a:cubicBezTo>
                    <a:pt x="101935" y="39393"/>
                    <a:pt x="103870" y="40000"/>
                    <a:pt x="103870" y="40606"/>
                  </a:cubicBezTo>
                  <a:cubicBezTo>
                    <a:pt x="103870" y="41212"/>
                    <a:pt x="103225" y="41212"/>
                    <a:pt x="101935" y="41818"/>
                  </a:cubicBezTo>
                  <a:cubicBezTo>
                    <a:pt x="101290" y="41818"/>
                    <a:pt x="99354" y="40000"/>
                    <a:pt x="99354" y="40606"/>
                  </a:cubicBezTo>
                  <a:cubicBezTo>
                    <a:pt x="98709" y="41212"/>
                    <a:pt x="98709" y="42424"/>
                    <a:pt x="98709" y="42424"/>
                  </a:cubicBezTo>
                  <a:cubicBezTo>
                    <a:pt x="96129" y="43636"/>
                    <a:pt x="96129" y="43636"/>
                    <a:pt x="96129" y="43636"/>
                  </a:cubicBezTo>
                  <a:cubicBezTo>
                    <a:pt x="96774" y="44848"/>
                    <a:pt x="96774" y="44848"/>
                    <a:pt x="96774" y="44848"/>
                  </a:cubicBezTo>
                  <a:cubicBezTo>
                    <a:pt x="96774" y="44848"/>
                    <a:pt x="100000" y="46060"/>
                    <a:pt x="100000" y="46666"/>
                  </a:cubicBezTo>
                  <a:cubicBezTo>
                    <a:pt x="100000" y="47272"/>
                    <a:pt x="100000" y="48484"/>
                    <a:pt x="100000" y="48484"/>
                  </a:cubicBezTo>
                  <a:cubicBezTo>
                    <a:pt x="101935" y="49090"/>
                    <a:pt x="101935" y="49090"/>
                    <a:pt x="101935" y="49090"/>
                  </a:cubicBezTo>
                  <a:cubicBezTo>
                    <a:pt x="103225" y="48484"/>
                    <a:pt x="103225" y="48484"/>
                    <a:pt x="103225" y="48484"/>
                  </a:cubicBezTo>
                  <a:cubicBezTo>
                    <a:pt x="103225" y="50909"/>
                    <a:pt x="103225" y="50909"/>
                    <a:pt x="103225" y="50909"/>
                  </a:cubicBezTo>
                  <a:cubicBezTo>
                    <a:pt x="103225" y="53333"/>
                    <a:pt x="103225" y="53333"/>
                    <a:pt x="103225" y="53333"/>
                  </a:cubicBezTo>
                  <a:cubicBezTo>
                    <a:pt x="103225" y="55151"/>
                    <a:pt x="103225" y="55151"/>
                    <a:pt x="103225" y="55151"/>
                  </a:cubicBezTo>
                  <a:cubicBezTo>
                    <a:pt x="103225" y="55151"/>
                    <a:pt x="103870" y="56969"/>
                    <a:pt x="103225" y="56969"/>
                  </a:cubicBezTo>
                  <a:cubicBezTo>
                    <a:pt x="102580" y="56969"/>
                    <a:pt x="100645" y="58181"/>
                    <a:pt x="100645" y="58181"/>
                  </a:cubicBezTo>
                  <a:cubicBezTo>
                    <a:pt x="99354" y="59999"/>
                    <a:pt x="99354" y="59999"/>
                    <a:pt x="99354" y="59999"/>
                  </a:cubicBezTo>
                  <a:cubicBezTo>
                    <a:pt x="99354" y="59999"/>
                    <a:pt x="99354" y="62424"/>
                    <a:pt x="99354" y="63030"/>
                  </a:cubicBezTo>
                  <a:cubicBezTo>
                    <a:pt x="100000" y="64242"/>
                    <a:pt x="99354" y="66060"/>
                    <a:pt x="99354" y="66060"/>
                  </a:cubicBezTo>
                  <a:cubicBezTo>
                    <a:pt x="99354" y="66060"/>
                    <a:pt x="99354" y="67272"/>
                    <a:pt x="100000" y="67878"/>
                  </a:cubicBezTo>
                  <a:cubicBezTo>
                    <a:pt x="100645" y="68484"/>
                    <a:pt x="101290" y="69696"/>
                    <a:pt x="101290" y="69696"/>
                  </a:cubicBezTo>
                  <a:cubicBezTo>
                    <a:pt x="101290" y="69696"/>
                    <a:pt x="101935" y="70303"/>
                    <a:pt x="102580" y="71515"/>
                  </a:cubicBezTo>
                  <a:cubicBezTo>
                    <a:pt x="103225" y="72727"/>
                    <a:pt x="105806" y="75757"/>
                    <a:pt x="105806" y="75757"/>
                  </a:cubicBezTo>
                  <a:cubicBezTo>
                    <a:pt x="105806" y="75757"/>
                    <a:pt x="107741" y="76363"/>
                    <a:pt x="108387" y="76363"/>
                  </a:cubicBezTo>
                  <a:cubicBezTo>
                    <a:pt x="108387" y="76363"/>
                    <a:pt x="110967" y="77575"/>
                    <a:pt x="110967" y="77575"/>
                  </a:cubicBezTo>
                  <a:cubicBezTo>
                    <a:pt x="110967" y="77575"/>
                    <a:pt x="112258" y="77575"/>
                    <a:pt x="112258" y="78181"/>
                  </a:cubicBezTo>
                  <a:cubicBezTo>
                    <a:pt x="112258" y="78181"/>
                    <a:pt x="114838" y="81818"/>
                    <a:pt x="114838" y="81818"/>
                  </a:cubicBezTo>
                  <a:cubicBezTo>
                    <a:pt x="117419" y="82424"/>
                    <a:pt x="117419" y="82424"/>
                    <a:pt x="117419" y="82424"/>
                  </a:cubicBezTo>
                  <a:cubicBezTo>
                    <a:pt x="120000" y="82424"/>
                    <a:pt x="120000" y="82424"/>
                    <a:pt x="120000" y="82424"/>
                  </a:cubicBezTo>
                  <a:cubicBezTo>
                    <a:pt x="120000" y="82424"/>
                    <a:pt x="119354" y="85454"/>
                    <a:pt x="118709" y="86060"/>
                  </a:cubicBezTo>
                  <a:cubicBezTo>
                    <a:pt x="118064" y="86666"/>
                    <a:pt x="116129" y="89090"/>
                    <a:pt x="116129" y="89090"/>
                  </a:cubicBezTo>
                  <a:cubicBezTo>
                    <a:pt x="116129" y="89090"/>
                    <a:pt x="114838" y="90303"/>
                    <a:pt x="114838" y="91515"/>
                  </a:cubicBezTo>
                  <a:cubicBezTo>
                    <a:pt x="115483" y="92121"/>
                    <a:pt x="115483" y="93939"/>
                    <a:pt x="115483" y="93939"/>
                  </a:cubicBezTo>
                  <a:cubicBezTo>
                    <a:pt x="115483" y="93939"/>
                    <a:pt x="114193" y="95151"/>
                    <a:pt x="113548" y="95151"/>
                  </a:cubicBezTo>
                  <a:cubicBezTo>
                    <a:pt x="112903" y="95151"/>
                    <a:pt x="111612" y="95151"/>
                    <a:pt x="110967" y="95757"/>
                  </a:cubicBezTo>
                  <a:cubicBezTo>
                    <a:pt x="110322" y="95757"/>
                    <a:pt x="109677" y="96363"/>
                    <a:pt x="109677" y="96363"/>
                  </a:cubicBezTo>
                  <a:cubicBezTo>
                    <a:pt x="109032" y="96969"/>
                    <a:pt x="107741" y="98181"/>
                    <a:pt x="107741" y="98181"/>
                  </a:cubicBezTo>
                  <a:cubicBezTo>
                    <a:pt x="109032" y="99999"/>
                    <a:pt x="109032" y="99999"/>
                    <a:pt x="109032" y="99999"/>
                  </a:cubicBezTo>
                  <a:cubicBezTo>
                    <a:pt x="109677" y="103030"/>
                    <a:pt x="109677" y="103030"/>
                    <a:pt x="109677" y="103030"/>
                  </a:cubicBezTo>
                  <a:cubicBezTo>
                    <a:pt x="109677" y="106060"/>
                    <a:pt x="109677" y="106060"/>
                    <a:pt x="109677" y="106060"/>
                  </a:cubicBezTo>
                  <a:cubicBezTo>
                    <a:pt x="109677" y="106060"/>
                    <a:pt x="111612" y="106666"/>
                    <a:pt x="111612" y="107272"/>
                  </a:cubicBezTo>
                  <a:cubicBezTo>
                    <a:pt x="112258" y="107272"/>
                    <a:pt x="112903" y="109090"/>
                    <a:pt x="112903" y="109090"/>
                  </a:cubicBezTo>
                  <a:cubicBezTo>
                    <a:pt x="112258" y="110303"/>
                    <a:pt x="112258" y="110303"/>
                    <a:pt x="112258" y="110303"/>
                  </a:cubicBezTo>
                  <a:cubicBezTo>
                    <a:pt x="111612" y="112121"/>
                    <a:pt x="111612" y="112121"/>
                    <a:pt x="111612" y="112121"/>
                  </a:cubicBezTo>
                  <a:cubicBezTo>
                    <a:pt x="111612" y="112121"/>
                    <a:pt x="110967" y="113333"/>
                    <a:pt x="110322" y="113939"/>
                  </a:cubicBezTo>
                  <a:cubicBezTo>
                    <a:pt x="109032" y="113939"/>
                    <a:pt x="107096" y="113939"/>
                    <a:pt x="107096" y="113939"/>
                  </a:cubicBezTo>
                  <a:cubicBezTo>
                    <a:pt x="107096" y="113939"/>
                    <a:pt x="107096" y="113333"/>
                    <a:pt x="105806" y="113939"/>
                  </a:cubicBezTo>
                  <a:cubicBezTo>
                    <a:pt x="104516" y="113939"/>
                    <a:pt x="103225" y="115151"/>
                    <a:pt x="103225" y="115151"/>
                  </a:cubicBezTo>
                  <a:cubicBezTo>
                    <a:pt x="103225" y="115151"/>
                    <a:pt x="103225" y="115151"/>
                    <a:pt x="102580" y="115757"/>
                  </a:cubicBezTo>
                  <a:cubicBezTo>
                    <a:pt x="101290" y="115757"/>
                    <a:pt x="100645" y="115757"/>
                    <a:pt x="100000" y="115757"/>
                  </a:cubicBezTo>
                  <a:cubicBezTo>
                    <a:pt x="99354" y="115757"/>
                    <a:pt x="98064" y="115151"/>
                    <a:pt x="98064" y="115151"/>
                  </a:cubicBezTo>
                  <a:cubicBezTo>
                    <a:pt x="96774" y="116969"/>
                    <a:pt x="96774" y="116969"/>
                    <a:pt x="96774" y="116969"/>
                  </a:cubicBezTo>
                  <a:cubicBezTo>
                    <a:pt x="96774" y="116969"/>
                    <a:pt x="95483" y="117575"/>
                    <a:pt x="94838" y="117575"/>
                  </a:cubicBezTo>
                  <a:cubicBezTo>
                    <a:pt x="94838" y="117575"/>
                    <a:pt x="92903" y="119999"/>
                    <a:pt x="92903" y="119999"/>
                  </a:cubicBezTo>
                  <a:cubicBezTo>
                    <a:pt x="92903" y="119999"/>
                    <a:pt x="92903" y="119999"/>
                    <a:pt x="92258" y="119999"/>
                  </a:cubicBezTo>
                  <a:cubicBezTo>
                    <a:pt x="90967" y="119999"/>
                    <a:pt x="89677" y="119393"/>
                    <a:pt x="89677" y="119393"/>
                  </a:cubicBezTo>
                  <a:cubicBezTo>
                    <a:pt x="87741" y="117575"/>
                    <a:pt x="87741" y="117575"/>
                    <a:pt x="87741" y="117575"/>
                  </a:cubicBezTo>
                  <a:cubicBezTo>
                    <a:pt x="87741" y="117575"/>
                    <a:pt x="88387" y="117575"/>
                    <a:pt x="89677" y="116363"/>
                  </a:cubicBezTo>
                  <a:cubicBezTo>
                    <a:pt x="90322" y="115757"/>
                    <a:pt x="90322" y="115757"/>
                    <a:pt x="90322" y="115151"/>
                  </a:cubicBezTo>
                  <a:cubicBezTo>
                    <a:pt x="89677" y="113939"/>
                    <a:pt x="89032" y="112727"/>
                    <a:pt x="89677" y="112727"/>
                  </a:cubicBezTo>
                  <a:cubicBezTo>
                    <a:pt x="90322" y="112121"/>
                    <a:pt x="90967" y="112727"/>
                    <a:pt x="91612" y="111515"/>
                  </a:cubicBezTo>
                  <a:cubicBezTo>
                    <a:pt x="91612" y="110909"/>
                    <a:pt x="91612" y="110303"/>
                    <a:pt x="91612" y="109090"/>
                  </a:cubicBezTo>
                  <a:cubicBezTo>
                    <a:pt x="91612" y="108484"/>
                    <a:pt x="91612" y="107272"/>
                    <a:pt x="92258" y="107272"/>
                  </a:cubicBezTo>
                  <a:cubicBezTo>
                    <a:pt x="92903" y="106666"/>
                    <a:pt x="92903" y="106060"/>
                    <a:pt x="92903" y="106060"/>
                  </a:cubicBezTo>
                  <a:cubicBezTo>
                    <a:pt x="89677" y="105454"/>
                    <a:pt x="89677" y="105454"/>
                    <a:pt x="89677" y="105454"/>
                  </a:cubicBezTo>
                  <a:cubicBezTo>
                    <a:pt x="87741" y="106060"/>
                    <a:pt x="87741" y="106060"/>
                    <a:pt x="87741" y="106060"/>
                  </a:cubicBezTo>
                  <a:cubicBezTo>
                    <a:pt x="87741" y="106060"/>
                    <a:pt x="87741" y="104848"/>
                    <a:pt x="86451" y="104848"/>
                  </a:cubicBezTo>
                  <a:cubicBezTo>
                    <a:pt x="85161" y="104242"/>
                    <a:pt x="82580" y="104242"/>
                    <a:pt x="82580" y="104242"/>
                  </a:cubicBezTo>
                  <a:cubicBezTo>
                    <a:pt x="81935" y="101818"/>
                    <a:pt x="81935" y="101818"/>
                    <a:pt x="81935" y="101818"/>
                  </a:cubicBezTo>
                  <a:cubicBezTo>
                    <a:pt x="76774" y="100606"/>
                    <a:pt x="76774" y="100606"/>
                    <a:pt x="76774" y="100606"/>
                  </a:cubicBezTo>
                  <a:cubicBezTo>
                    <a:pt x="76774" y="100606"/>
                    <a:pt x="76129" y="98181"/>
                    <a:pt x="75483" y="97575"/>
                  </a:cubicBezTo>
                  <a:cubicBezTo>
                    <a:pt x="74838" y="96969"/>
                    <a:pt x="74838" y="96969"/>
                    <a:pt x="74838" y="96969"/>
                  </a:cubicBezTo>
                  <a:cubicBezTo>
                    <a:pt x="71612" y="94545"/>
                    <a:pt x="71612" y="94545"/>
                    <a:pt x="71612" y="94545"/>
                  </a:cubicBezTo>
                  <a:cubicBezTo>
                    <a:pt x="69677" y="94545"/>
                    <a:pt x="69677" y="94545"/>
                    <a:pt x="69677" y="94545"/>
                  </a:cubicBezTo>
                  <a:cubicBezTo>
                    <a:pt x="69677" y="94545"/>
                    <a:pt x="69032" y="94545"/>
                    <a:pt x="67741" y="93939"/>
                  </a:cubicBezTo>
                  <a:cubicBezTo>
                    <a:pt x="65806" y="93333"/>
                    <a:pt x="65161" y="91515"/>
                    <a:pt x="65161" y="91515"/>
                  </a:cubicBezTo>
                  <a:cubicBezTo>
                    <a:pt x="65161" y="91515"/>
                    <a:pt x="65161" y="90303"/>
                    <a:pt x="63870" y="90909"/>
                  </a:cubicBezTo>
                  <a:cubicBezTo>
                    <a:pt x="62580" y="92121"/>
                    <a:pt x="61290" y="92121"/>
                    <a:pt x="60645" y="92727"/>
                  </a:cubicBezTo>
                  <a:cubicBezTo>
                    <a:pt x="60645" y="92727"/>
                    <a:pt x="60000" y="92727"/>
                    <a:pt x="59354" y="93333"/>
                  </a:cubicBezTo>
                  <a:cubicBezTo>
                    <a:pt x="59354" y="93939"/>
                    <a:pt x="58709" y="93939"/>
                    <a:pt x="60000" y="95151"/>
                  </a:cubicBezTo>
                  <a:cubicBezTo>
                    <a:pt x="60645" y="95757"/>
                    <a:pt x="61290" y="96363"/>
                    <a:pt x="61290" y="96363"/>
                  </a:cubicBezTo>
                  <a:cubicBezTo>
                    <a:pt x="60645" y="99393"/>
                    <a:pt x="60645" y="99393"/>
                    <a:pt x="60645" y="99393"/>
                  </a:cubicBezTo>
                  <a:cubicBezTo>
                    <a:pt x="56774" y="103030"/>
                    <a:pt x="56774" y="103030"/>
                    <a:pt x="56774" y="103030"/>
                  </a:cubicBezTo>
                  <a:cubicBezTo>
                    <a:pt x="57419" y="104848"/>
                    <a:pt x="57419" y="104848"/>
                    <a:pt x="57419" y="104848"/>
                  </a:cubicBezTo>
                  <a:cubicBezTo>
                    <a:pt x="57419" y="104848"/>
                    <a:pt x="58709" y="104848"/>
                    <a:pt x="56774" y="105454"/>
                  </a:cubicBezTo>
                  <a:cubicBezTo>
                    <a:pt x="55483" y="106060"/>
                    <a:pt x="55483" y="106666"/>
                    <a:pt x="54838" y="106666"/>
                  </a:cubicBezTo>
                  <a:cubicBezTo>
                    <a:pt x="54838" y="106060"/>
                    <a:pt x="54193" y="105454"/>
                    <a:pt x="52903" y="104848"/>
                  </a:cubicBezTo>
                  <a:cubicBezTo>
                    <a:pt x="52258" y="104242"/>
                    <a:pt x="52258" y="104242"/>
                    <a:pt x="52258" y="104242"/>
                  </a:cubicBezTo>
                  <a:cubicBezTo>
                    <a:pt x="52258" y="104242"/>
                    <a:pt x="52258" y="104242"/>
                    <a:pt x="51612" y="103636"/>
                  </a:cubicBezTo>
                  <a:cubicBezTo>
                    <a:pt x="51612" y="103636"/>
                    <a:pt x="51612" y="103636"/>
                    <a:pt x="51612" y="103636"/>
                  </a:cubicBezTo>
                  <a:cubicBezTo>
                    <a:pt x="51612" y="103636"/>
                    <a:pt x="51612" y="103030"/>
                    <a:pt x="50322" y="103030"/>
                  </a:cubicBezTo>
                  <a:cubicBezTo>
                    <a:pt x="49677" y="103030"/>
                    <a:pt x="48387" y="101818"/>
                    <a:pt x="48387" y="101818"/>
                  </a:cubicBezTo>
                  <a:cubicBezTo>
                    <a:pt x="46451" y="101818"/>
                    <a:pt x="46451" y="101818"/>
                    <a:pt x="46451" y="101818"/>
                  </a:cubicBezTo>
                  <a:cubicBezTo>
                    <a:pt x="46451" y="101818"/>
                    <a:pt x="44516" y="99999"/>
                    <a:pt x="44516" y="99999"/>
                  </a:cubicBezTo>
                  <a:cubicBezTo>
                    <a:pt x="43870" y="99999"/>
                    <a:pt x="41935" y="99393"/>
                    <a:pt x="41935" y="99393"/>
                  </a:cubicBezTo>
                  <a:cubicBezTo>
                    <a:pt x="41935" y="98181"/>
                    <a:pt x="41935" y="98181"/>
                    <a:pt x="41935" y="98181"/>
                  </a:cubicBezTo>
                  <a:cubicBezTo>
                    <a:pt x="41935" y="98181"/>
                    <a:pt x="41290" y="98181"/>
                    <a:pt x="41290" y="98181"/>
                  </a:cubicBezTo>
                  <a:cubicBezTo>
                    <a:pt x="40645" y="98181"/>
                    <a:pt x="40000" y="98787"/>
                    <a:pt x="40000" y="98787"/>
                  </a:cubicBezTo>
                  <a:cubicBezTo>
                    <a:pt x="38064" y="99393"/>
                    <a:pt x="38064" y="99393"/>
                    <a:pt x="38064" y="99393"/>
                  </a:cubicBezTo>
                  <a:cubicBezTo>
                    <a:pt x="38064" y="99393"/>
                    <a:pt x="36774" y="99393"/>
                    <a:pt x="36774" y="99393"/>
                  </a:cubicBezTo>
                  <a:cubicBezTo>
                    <a:pt x="36129" y="98787"/>
                    <a:pt x="35483" y="97575"/>
                    <a:pt x="35483" y="97575"/>
                  </a:cubicBezTo>
                  <a:cubicBezTo>
                    <a:pt x="35483" y="97575"/>
                    <a:pt x="35483" y="97575"/>
                    <a:pt x="34838" y="97575"/>
                  </a:cubicBezTo>
                  <a:cubicBezTo>
                    <a:pt x="34193" y="98181"/>
                    <a:pt x="35483" y="98787"/>
                    <a:pt x="34193" y="98181"/>
                  </a:cubicBezTo>
                  <a:cubicBezTo>
                    <a:pt x="32258" y="97575"/>
                    <a:pt x="32258" y="97575"/>
                    <a:pt x="32258" y="97575"/>
                  </a:cubicBezTo>
                  <a:cubicBezTo>
                    <a:pt x="30967" y="96363"/>
                    <a:pt x="30967" y="96363"/>
                    <a:pt x="30967" y="96363"/>
                  </a:cubicBezTo>
                  <a:cubicBezTo>
                    <a:pt x="30322" y="96363"/>
                    <a:pt x="30322" y="96363"/>
                    <a:pt x="30322" y="96363"/>
                  </a:cubicBezTo>
                  <a:cubicBezTo>
                    <a:pt x="29677" y="96363"/>
                    <a:pt x="29677" y="96363"/>
                    <a:pt x="29677" y="96363"/>
                  </a:cubicBezTo>
                  <a:cubicBezTo>
                    <a:pt x="29677" y="96363"/>
                    <a:pt x="29032" y="95151"/>
                    <a:pt x="29032" y="95151"/>
                  </a:cubicBezTo>
                  <a:cubicBezTo>
                    <a:pt x="29032" y="95151"/>
                    <a:pt x="29032" y="93939"/>
                    <a:pt x="29032" y="93939"/>
                  </a:cubicBezTo>
                  <a:cubicBezTo>
                    <a:pt x="28387" y="93939"/>
                    <a:pt x="26451" y="93333"/>
                    <a:pt x="26451" y="93333"/>
                  </a:cubicBezTo>
                  <a:cubicBezTo>
                    <a:pt x="25806" y="92121"/>
                    <a:pt x="25806" y="92121"/>
                    <a:pt x="25806" y="92121"/>
                  </a:cubicBezTo>
                  <a:cubicBezTo>
                    <a:pt x="25806" y="92121"/>
                    <a:pt x="25806" y="92121"/>
                    <a:pt x="25806" y="92121"/>
                  </a:cubicBezTo>
                  <a:cubicBezTo>
                    <a:pt x="25161" y="92121"/>
                    <a:pt x="23870" y="91515"/>
                    <a:pt x="23870" y="91515"/>
                  </a:cubicBezTo>
                  <a:cubicBezTo>
                    <a:pt x="23225" y="90909"/>
                    <a:pt x="23225" y="90909"/>
                    <a:pt x="23225" y="90909"/>
                  </a:cubicBezTo>
                  <a:cubicBezTo>
                    <a:pt x="21290" y="90909"/>
                    <a:pt x="21290" y="90909"/>
                    <a:pt x="21290" y="90909"/>
                  </a:cubicBezTo>
                  <a:cubicBezTo>
                    <a:pt x="20645" y="89696"/>
                    <a:pt x="20645" y="89696"/>
                    <a:pt x="20645" y="89696"/>
                  </a:cubicBezTo>
                  <a:cubicBezTo>
                    <a:pt x="20645" y="89696"/>
                    <a:pt x="20000" y="89090"/>
                    <a:pt x="20000" y="89090"/>
                  </a:cubicBezTo>
                  <a:cubicBezTo>
                    <a:pt x="20645" y="89090"/>
                    <a:pt x="20645" y="87878"/>
                    <a:pt x="20645" y="87878"/>
                  </a:cubicBezTo>
                  <a:cubicBezTo>
                    <a:pt x="20000" y="87878"/>
                    <a:pt x="20000" y="87878"/>
                    <a:pt x="20000" y="87878"/>
                  </a:cubicBezTo>
                  <a:cubicBezTo>
                    <a:pt x="20645" y="87272"/>
                    <a:pt x="21935" y="87272"/>
                    <a:pt x="21935" y="87272"/>
                  </a:cubicBezTo>
                  <a:cubicBezTo>
                    <a:pt x="23225" y="85454"/>
                    <a:pt x="23225" y="85454"/>
                    <a:pt x="23225" y="85454"/>
                  </a:cubicBezTo>
                  <a:cubicBezTo>
                    <a:pt x="23225" y="85454"/>
                    <a:pt x="23225" y="85454"/>
                    <a:pt x="23870" y="85454"/>
                  </a:cubicBezTo>
                  <a:cubicBezTo>
                    <a:pt x="25161" y="86060"/>
                    <a:pt x="25806" y="86060"/>
                    <a:pt x="26451" y="86060"/>
                  </a:cubicBezTo>
                  <a:cubicBezTo>
                    <a:pt x="27096" y="86060"/>
                    <a:pt x="27741" y="87272"/>
                    <a:pt x="27741" y="84848"/>
                  </a:cubicBezTo>
                  <a:cubicBezTo>
                    <a:pt x="27741" y="83030"/>
                    <a:pt x="27741" y="82424"/>
                    <a:pt x="27741" y="82424"/>
                  </a:cubicBezTo>
                  <a:cubicBezTo>
                    <a:pt x="24516" y="80000"/>
                    <a:pt x="24516" y="80000"/>
                    <a:pt x="24516" y="80000"/>
                  </a:cubicBezTo>
                  <a:cubicBezTo>
                    <a:pt x="24516" y="80000"/>
                    <a:pt x="24516" y="79393"/>
                    <a:pt x="23870" y="78181"/>
                  </a:cubicBezTo>
                  <a:cubicBezTo>
                    <a:pt x="23225" y="77575"/>
                    <a:pt x="22580" y="76969"/>
                    <a:pt x="22580" y="76969"/>
                  </a:cubicBezTo>
                  <a:cubicBezTo>
                    <a:pt x="21935" y="76969"/>
                    <a:pt x="20645" y="75757"/>
                    <a:pt x="20645" y="75757"/>
                  </a:cubicBezTo>
                  <a:cubicBezTo>
                    <a:pt x="20000" y="75151"/>
                    <a:pt x="19354" y="74545"/>
                    <a:pt x="19354" y="74545"/>
                  </a:cubicBezTo>
                  <a:cubicBezTo>
                    <a:pt x="19354" y="74545"/>
                    <a:pt x="19354" y="73333"/>
                    <a:pt x="19354" y="72727"/>
                  </a:cubicBezTo>
                  <a:cubicBezTo>
                    <a:pt x="20000" y="72727"/>
                    <a:pt x="20000" y="72727"/>
                    <a:pt x="20645" y="72727"/>
                  </a:cubicBezTo>
                  <a:cubicBezTo>
                    <a:pt x="21290" y="73333"/>
                    <a:pt x="21935" y="73333"/>
                    <a:pt x="22580" y="73333"/>
                  </a:cubicBezTo>
                  <a:cubicBezTo>
                    <a:pt x="23225" y="73333"/>
                    <a:pt x="23870" y="73333"/>
                    <a:pt x="24516" y="73333"/>
                  </a:cubicBezTo>
                  <a:cubicBezTo>
                    <a:pt x="24516" y="73333"/>
                    <a:pt x="26451" y="72727"/>
                    <a:pt x="26451" y="72727"/>
                  </a:cubicBezTo>
                  <a:cubicBezTo>
                    <a:pt x="27096" y="72727"/>
                    <a:pt x="27096" y="71515"/>
                    <a:pt x="27741" y="71515"/>
                  </a:cubicBezTo>
                  <a:cubicBezTo>
                    <a:pt x="27741" y="71515"/>
                    <a:pt x="28387" y="70909"/>
                    <a:pt x="27741" y="70303"/>
                  </a:cubicBezTo>
                  <a:cubicBezTo>
                    <a:pt x="27741" y="70303"/>
                    <a:pt x="26451" y="69696"/>
                    <a:pt x="26451" y="69696"/>
                  </a:cubicBezTo>
                  <a:cubicBezTo>
                    <a:pt x="25806" y="69696"/>
                    <a:pt x="25161" y="69090"/>
                    <a:pt x="25161" y="68484"/>
                  </a:cubicBezTo>
                  <a:cubicBezTo>
                    <a:pt x="24516" y="68484"/>
                    <a:pt x="23870" y="67878"/>
                    <a:pt x="23870" y="67272"/>
                  </a:cubicBezTo>
                  <a:cubicBezTo>
                    <a:pt x="23225" y="67272"/>
                    <a:pt x="23225" y="67878"/>
                    <a:pt x="22580" y="67878"/>
                  </a:cubicBezTo>
                  <a:cubicBezTo>
                    <a:pt x="21935" y="67272"/>
                    <a:pt x="21290" y="66666"/>
                    <a:pt x="20645" y="66060"/>
                  </a:cubicBezTo>
                  <a:cubicBezTo>
                    <a:pt x="20645" y="65454"/>
                    <a:pt x="20645" y="65454"/>
                    <a:pt x="20000" y="64848"/>
                  </a:cubicBezTo>
                  <a:cubicBezTo>
                    <a:pt x="19354" y="64848"/>
                    <a:pt x="18709" y="64242"/>
                    <a:pt x="18064" y="64242"/>
                  </a:cubicBezTo>
                  <a:cubicBezTo>
                    <a:pt x="17419" y="64242"/>
                    <a:pt x="17419" y="64848"/>
                    <a:pt x="16129" y="64242"/>
                  </a:cubicBezTo>
                  <a:cubicBezTo>
                    <a:pt x="14838" y="64242"/>
                    <a:pt x="13548" y="63636"/>
                    <a:pt x="13548" y="63030"/>
                  </a:cubicBezTo>
                  <a:cubicBezTo>
                    <a:pt x="14193" y="62424"/>
                    <a:pt x="13548" y="62424"/>
                    <a:pt x="14193" y="61818"/>
                  </a:cubicBezTo>
                  <a:cubicBezTo>
                    <a:pt x="14193" y="61212"/>
                    <a:pt x="14193" y="59999"/>
                    <a:pt x="14193" y="59393"/>
                  </a:cubicBezTo>
                  <a:cubicBezTo>
                    <a:pt x="14193" y="58787"/>
                    <a:pt x="13548" y="59393"/>
                    <a:pt x="13548" y="57575"/>
                  </a:cubicBezTo>
                  <a:cubicBezTo>
                    <a:pt x="12903" y="55757"/>
                    <a:pt x="14193" y="56363"/>
                    <a:pt x="14193" y="56363"/>
                  </a:cubicBezTo>
                  <a:cubicBezTo>
                    <a:pt x="14193" y="56363"/>
                    <a:pt x="14838" y="55151"/>
                    <a:pt x="14838" y="54545"/>
                  </a:cubicBezTo>
                  <a:cubicBezTo>
                    <a:pt x="14838" y="54545"/>
                    <a:pt x="15483" y="52727"/>
                    <a:pt x="15483" y="52727"/>
                  </a:cubicBezTo>
                  <a:cubicBezTo>
                    <a:pt x="17419" y="50303"/>
                    <a:pt x="17419" y="50303"/>
                    <a:pt x="17419" y="50303"/>
                  </a:cubicBezTo>
                  <a:cubicBezTo>
                    <a:pt x="17419" y="48484"/>
                    <a:pt x="17419" y="48484"/>
                    <a:pt x="17419" y="48484"/>
                  </a:cubicBezTo>
                  <a:cubicBezTo>
                    <a:pt x="17419" y="46060"/>
                    <a:pt x="17419" y="46060"/>
                    <a:pt x="17419" y="46060"/>
                  </a:cubicBezTo>
                  <a:cubicBezTo>
                    <a:pt x="17419" y="44242"/>
                    <a:pt x="17419" y="44242"/>
                    <a:pt x="17419" y="44242"/>
                  </a:cubicBezTo>
                  <a:cubicBezTo>
                    <a:pt x="15483" y="43636"/>
                    <a:pt x="15483" y="43636"/>
                    <a:pt x="15483" y="43636"/>
                  </a:cubicBezTo>
                  <a:cubicBezTo>
                    <a:pt x="11612" y="43030"/>
                    <a:pt x="11612" y="43030"/>
                    <a:pt x="11612" y="43030"/>
                  </a:cubicBezTo>
                  <a:cubicBezTo>
                    <a:pt x="11612" y="43030"/>
                    <a:pt x="11612" y="44242"/>
                    <a:pt x="10967" y="44242"/>
                  </a:cubicBezTo>
                  <a:cubicBezTo>
                    <a:pt x="10967" y="44242"/>
                    <a:pt x="10322" y="44848"/>
                    <a:pt x="9677" y="44848"/>
                  </a:cubicBezTo>
                  <a:cubicBezTo>
                    <a:pt x="9032" y="44242"/>
                    <a:pt x="9032" y="44242"/>
                    <a:pt x="9032" y="44242"/>
                  </a:cubicBezTo>
                  <a:cubicBezTo>
                    <a:pt x="10322" y="43030"/>
                    <a:pt x="10322" y="43030"/>
                    <a:pt x="10322" y="43030"/>
                  </a:cubicBezTo>
                  <a:cubicBezTo>
                    <a:pt x="10322" y="40606"/>
                    <a:pt x="10322" y="40606"/>
                    <a:pt x="10322" y="40606"/>
                  </a:cubicBezTo>
                  <a:cubicBezTo>
                    <a:pt x="10322" y="40606"/>
                    <a:pt x="9677" y="39393"/>
                    <a:pt x="9032" y="38181"/>
                  </a:cubicBezTo>
                  <a:cubicBezTo>
                    <a:pt x="8387" y="37575"/>
                    <a:pt x="7741" y="36969"/>
                    <a:pt x="7741" y="36969"/>
                  </a:cubicBezTo>
                  <a:cubicBezTo>
                    <a:pt x="9677" y="35757"/>
                    <a:pt x="9677" y="35757"/>
                    <a:pt x="9677" y="35757"/>
                  </a:cubicBezTo>
                  <a:cubicBezTo>
                    <a:pt x="10322" y="35151"/>
                    <a:pt x="10322" y="35151"/>
                    <a:pt x="10322" y="35151"/>
                  </a:cubicBezTo>
                  <a:cubicBezTo>
                    <a:pt x="10322" y="34545"/>
                    <a:pt x="10322" y="34545"/>
                    <a:pt x="10322" y="34545"/>
                  </a:cubicBezTo>
                  <a:cubicBezTo>
                    <a:pt x="10322" y="34545"/>
                    <a:pt x="11612" y="35757"/>
                    <a:pt x="12903" y="35757"/>
                  </a:cubicBezTo>
                  <a:cubicBezTo>
                    <a:pt x="13548" y="35757"/>
                    <a:pt x="12903" y="35757"/>
                    <a:pt x="14193" y="35151"/>
                  </a:cubicBezTo>
                  <a:cubicBezTo>
                    <a:pt x="15483" y="35151"/>
                    <a:pt x="17419" y="33333"/>
                    <a:pt x="17419" y="33333"/>
                  </a:cubicBezTo>
                  <a:cubicBezTo>
                    <a:pt x="17419" y="33333"/>
                    <a:pt x="16129" y="32121"/>
                    <a:pt x="15483" y="32121"/>
                  </a:cubicBezTo>
                  <a:cubicBezTo>
                    <a:pt x="14838" y="32727"/>
                    <a:pt x="15483" y="32727"/>
                    <a:pt x="13548" y="32727"/>
                  </a:cubicBezTo>
                  <a:cubicBezTo>
                    <a:pt x="11612" y="32121"/>
                    <a:pt x="10967" y="31515"/>
                    <a:pt x="10967" y="31515"/>
                  </a:cubicBezTo>
                  <a:cubicBezTo>
                    <a:pt x="10967" y="31515"/>
                    <a:pt x="10322" y="31515"/>
                    <a:pt x="9677" y="31515"/>
                  </a:cubicBezTo>
                  <a:cubicBezTo>
                    <a:pt x="9032" y="31515"/>
                    <a:pt x="9032" y="31515"/>
                    <a:pt x="8387" y="30909"/>
                  </a:cubicBezTo>
                  <a:cubicBezTo>
                    <a:pt x="7096" y="29696"/>
                    <a:pt x="5806" y="28484"/>
                    <a:pt x="5806" y="28484"/>
                  </a:cubicBezTo>
                  <a:cubicBezTo>
                    <a:pt x="5806" y="28484"/>
                    <a:pt x="4516" y="29090"/>
                    <a:pt x="4516" y="28484"/>
                  </a:cubicBezTo>
                  <a:cubicBezTo>
                    <a:pt x="4516" y="27878"/>
                    <a:pt x="5161" y="27272"/>
                    <a:pt x="5161" y="27272"/>
                  </a:cubicBezTo>
                  <a:cubicBezTo>
                    <a:pt x="4516" y="26060"/>
                    <a:pt x="4516" y="26060"/>
                    <a:pt x="4516" y="26060"/>
                  </a:cubicBezTo>
                  <a:cubicBezTo>
                    <a:pt x="4516" y="26060"/>
                    <a:pt x="5806" y="26060"/>
                    <a:pt x="6451" y="25454"/>
                  </a:cubicBezTo>
                  <a:cubicBezTo>
                    <a:pt x="7096" y="25454"/>
                    <a:pt x="7096" y="23636"/>
                    <a:pt x="6451" y="23636"/>
                  </a:cubicBezTo>
                  <a:cubicBezTo>
                    <a:pt x="5806" y="23636"/>
                    <a:pt x="5161" y="23030"/>
                    <a:pt x="4516" y="23636"/>
                  </a:cubicBezTo>
                  <a:cubicBezTo>
                    <a:pt x="3870" y="23636"/>
                    <a:pt x="3225" y="24242"/>
                    <a:pt x="3225" y="24242"/>
                  </a:cubicBezTo>
                  <a:cubicBezTo>
                    <a:pt x="2580" y="24242"/>
                    <a:pt x="1290" y="23636"/>
                    <a:pt x="1290" y="23030"/>
                  </a:cubicBezTo>
                  <a:cubicBezTo>
                    <a:pt x="1290" y="22424"/>
                    <a:pt x="645" y="22424"/>
                    <a:pt x="1935" y="21818"/>
                  </a:cubicBezTo>
                  <a:cubicBezTo>
                    <a:pt x="2580" y="21818"/>
                    <a:pt x="3225" y="20606"/>
                    <a:pt x="3225" y="20606"/>
                  </a:cubicBezTo>
                  <a:cubicBezTo>
                    <a:pt x="1935" y="18787"/>
                    <a:pt x="1935" y="18787"/>
                    <a:pt x="1935" y="18787"/>
                  </a:cubicBezTo>
                  <a:cubicBezTo>
                    <a:pt x="2580" y="15151"/>
                    <a:pt x="2580" y="15151"/>
                    <a:pt x="2580" y="15151"/>
                  </a:cubicBezTo>
                  <a:cubicBezTo>
                    <a:pt x="0" y="14545"/>
                    <a:pt x="0" y="14545"/>
                    <a:pt x="0" y="14545"/>
                  </a:cubicBezTo>
                  <a:cubicBezTo>
                    <a:pt x="0" y="13333"/>
                    <a:pt x="0" y="13333"/>
                    <a:pt x="0" y="13333"/>
                  </a:cubicBezTo>
                  <a:cubicBezTo>
                    <a:pt x="2580" y="12121"/>
                    <a:pt x="2580" y="12121"/>
                    <a:pt x="2580" y="12121"/>
                  </a:cubicBezTo>
                  <a:cubicBezTo>
                    <a:pt x="5161" y="8484"/>
                    <a:pt x="5161" y="8484"/>
                    <a:pt x="5161" y="8484"/>
                  </a:cubicBezTo>
                  <a:cubicBezTo>
                    <a:pt x="5806" y="9090"/>
                    <a:pt x="5806" y="9090"/>
                    <a:pt x="5806" y="9090"/>
                  </a:cubicBezTo>
                  <a:cubicBezTo>
                    <a:pt x="5806" y="9090"/>
                    <a:pt x="6451" y="9090"/>
                    <a:pt x="7096" y="8484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tx1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defTabSz="457178"/>
              <a:endParaRPr kern="0">
                <a:solidFill>
                  <a:srgbClr val="7F7F7F"/>
                </a:solidFill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17" name="Shape 2024">
              <a:extLst>
                <a:ext uri="{FF2B5EF4-FFF2-40B4-BE49-F238E27FC236}">
                  <a16:creationId xmlns:a16="http://schemas.microsoft.com/office/drawing/2014/main" id="{E89CC622-1B26-4D42-B026-B72C9CB47490}"/>
                </a:ext>
              </a:extLst>
            </p:cNvPr>
            <p:cNvSpPr/>
            <p:nvPr/>
          </p:nvSpPr>
          <p:spPr>
            <a:xfrm>
              <a:off x="4681844" y="3129624"/>
              <a:ext cx="394695" cy="240785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21502" y="82568"/>
                  </a:moveTo>
                  <a:cubicBezTo>
                    <a:pt x="22890" y="83669"/>
                    <a:pt x="22890" y="83669"/>
                    <a:pt x="22890" y="83669"/>
                  </a:cubicBezTo>
                  <a:cubicBezTo>
                    <a:pt x="22890" y="85871"/>
                    <a:pt x="22890" y="85871"/>
                    <a:pt x="22890" y="85871"/>
                  </a:cubicBezTo>
                  <a:cubicBezTo>
                    <a:pt x="22890" y="85871"/>
                    <a:pt x="22890" y="84770"/>
                    <a:pt x="22196" y="86972"/>
                  </a:cubicBezTo>
                  <a:cubicBezTo>
                    <a:pt x="21502" y="88073"/>
                    <a:pt x="21502" y="88073"/>
                    <a:pt x="21502" y="88073"/>
                  </a:cubicBezTo>
                  <a:cubicBezTo>
                    <a:pt x="22196" y="88073"/>
                    <a:pt x="22890" y="89174"/>
                    <a:pt x="22890" y="89174"/>
                  </a:cubicBezTo>
                  <a:cubicBezTo>
                    <a:pt x="22890" y="89174"/>
                    <a:pt x="23583" y="89174"/>
                    <a:pt x="22890" y="90275"/>
                  </a:cubicBezTo>
                  <a:cubicBezTo>
                    <a:pt x="22890" y="92477"/>
                    <a:pt x="22890" y="93577"/>
                    <a:pt x="22890" y="93577"/>
                  </a:cubicBezTo>
                  <a:cubicBezTo>
                    <a:pt x="22890" y="93577"/>
                    <a:pt x="22890" y="94678"/>
                    <a:pt x="22890" y="95779"/>
                  </a:cubicBezTo>
                  <a:cubicBezTo>
                    <a:pt x="22196" y="95779"/>
                    <a:pt x="21502" y="99082"/>
                    <a:pt x="21502" y="99082"/>
                  </a:cubicBezTo>
                  <a:cubicBezTo>
                    <a:pt x="21502" y="99082"/>
                    <a:pt x="21502" y="99082"/>
                    <a:pt x="21502" y="100183"/>
                  </a:cubicBezTo>
                  <a:cubicBezTo>
                    <a:pt x="22196" y="100183"/>
                    <a:pt x="24277" y="100183"/>
                    <a:pt x="24277" y="100183"/>
                  </a:cubicBezTo>
                  <a:cubicBezTo>
                    <a:pt x="24277" y="100183"/>
                    <a:pt x="24277" y="102385"/>
                    <a:pt x="24277" y="103486"/>
                  </a:cubicBezTo>
                  <a:cubicBezTo>
                    <a:pt x="23583" y="103486"/>
                    <a:pt x="22890" y="105688"/>
                    <a:pt x="23583" y="105688"/>
                  </a:cubicBezTo>
                  <a:cubicBezTo>
                    <a:pt x="24277" y="105688"/>
                    <a:pt x="24971" y="106788"/>
                    <a:pt x="24971" y="106788"/>
                  </a:cubicBezTo>
                  <a:cubicBezTo>
                    <a:pt x="24971" y="106788"/>
                    <a:pt x="25664" y="107889"/>
                    <a:pt x="25664" y="107889"/>
                  </a:cubicBezTo>
                  <a:cubicBezTo>
                    <a:pt x="26358" y="107889"/>
                    <a:pt x="27052" y="108990"/>
                    <a:pt x="27052" y="108990"/>
                  </a:cubicBezTo>
                  <a:cubicBezTo>
                    <a:pt x="27052" y="108990"/>
                    <a:pt x="28439" y="111192"/>
                    <a:pt x="28439" y="111192"/>
                  </a:cubicBezTo>
                  <a:cubicBezTo>
                    <a:pt x="28439" y="112293"/>
                    <a:pt x="27745" y="113394"/>
                    <a:pt x="27745" y="113394"/>
                  </a:cubicBezTo>
                  <a:cubicBezTo>
                    <a:pt x="27745" y="113394"/>
                    <a:pt x="29132" y="115596"/>
                    <a:pt x="29132" y="115596"/>
                  </a:cubicBezTo>
                  <a:cubicBezTo>
                    <a:pt x="29132" y="115596"/>
                    <a:pt x="29132" y="116697"/>
                    <a:pt x="29826" y="116697"/>
                  </a:cubicBezTo>
                  <a:cubicBezTo>
                    <a:pt x="30520" y="116697"/>
                    <a:pt x="31213" y="115596"/>
                    <a:pt x="31213" y="115596"/>
                  </a:cubicBezTo>
                  <a:cubicBezTo>
                    <a:pt x="31213" y="115596"/>
                    <a:pt x="32601" y="114495"/>
                    <a:pt x="32601" y="114495"/>
                  </a:cubicBezTo>
                  <a:cubicBezTo>
                    <a:pt x="32601" y="114495"/>
                    <a:pt x="33294" y="113394"/>
                    <a:pt x="33988" y="113394"/>
                  </a:cubicBezTo>
                  <a:cubicBezTo>
                    <a:pt x="34682" y="113394"/>
                    <a:pt x="35375" y="114495"/>
                    <a:pt x="36069" y="114495"/>
                  </a:cubicBezTo>
                  <a:cubicBezTo>
                    <a:pt x="36763" y="114495"/>
                    <a:pt x="38843" y="114495"/>
                    <a:pt x="38843" y="114495"/>
                  </a:cubicBezTo>
                  <a:cubicBezTo>
                    <a:pt x="38843" y="112293"/>
                    <a:pt x="38843" y="112293"/>
                    <a:pt x="38843" y="112293"/>
                  </a:cubicBezTo>
                  <a:cubicBezTo>
                    <a:pt x="38843" y="112293"/>
                    <a:pt x="38843" y="111192"/>
                    <a:pt x="39537" y="111192"/>
                  </a:cubicBezTo>
                  <a:cubicBezTo>
                    <a:pt x="40231" y="111192"/>
                    <a:pt x="40924" y="111192"/>
                    <a:pt x="40924" y="111192"/>
                  </a:cubicBezTo>
                  <a:cubicBezTo>
                    <a:pt x="40924" y="111192"/>
                    <a:pt x="40231" y="110091"/>
                    <a:pt x="40924" y="110091"/>
                  </a:cubicBezTo>
                  <a:cubicBezTo>
                    <a:pt x="40924" y="110091"/>
                    <a:pt x="42312" y="110091"/>
                    <a:pt x="43005" y="111192"/>
                  </a:cubicBezTo>
                  <a:cubicBezTo>
                    <a:pt x="43005" y="111192"/>
                    <a:pt x="44393" y="110091"/>
                    <a:pt x="44393" y="111192"/>
                  </a:cubicBezTo>
                  <a:cubicBezTo>
                    <a:pt x="44393" y="111192"/>
                    <a:pt x="45086" y="112293"/>
                    <a:pt x="45086" y="112293"/>
                  </a:cubicBezTo>
                  <a:cubicBezTo>
                    <a:pt x="45086" y="112293"/>
                    <a:pt x="45780" y="114495"/>
                    <a:pt x="45780" y="113394"/>
                  </a:cubicBezTo>
                  <a:cubicBezTo>
                    <a:pt x="46473" y="113394"/>
                    <a:pt x="46473" y="113394"/>
                    <a:pt x="47167" y="113394"/>
                  </a:cubicBezTo>
                  <a:cubicBezTo>
                    <a:pt x="47167" y="114495"/>
                    <a:pt x="48554" y="114495"/>
                    <a:pt x="49248" y="114495"/>
                  </a:cubicBezTo>
                  <a:cubicBezTo>
                    <a:pt x="49248" y="113394"/>
                    <a:pt x="49248" y="113394"/>
                    <a:pt x="49248" y="113394"/>
                  </a:cubicBezTo>
                  <a:cubicBezTo>
                    <a:pt x="49248" y="112293"/>
                    <a:pt x="48554" y="111192"/>
                    <a:pt x="49942" y="111192"/>
                  </a:cubicBezTo>
                  <a:cubicBezTo>
                    <a:pt x="50635" y="111192"/>
                    <a:pt x="50635" y="110091"/>
                    <a:pt x="51329" y="110091"/>
                  </a:cubicBezTo>
                  <a:cubicBezTo>
                    <a:pt x="52023" y="110091"/>
                    <a:pt x="52716" y="110091"/>
                    <a:pt x="52716" y="110091"/>
                  </a:cubicBezTo>
                  <a:cubicBezTo>
                    <a:pt x="52716" y="110091"/>
                    <a:pt x="52716" y="110091"/>
                    <a:pt x="53410" y="108990"/>
                  </a:cubicBezTo>
                  <a:cubicBezTo>
                    <a:pt x="54104" y="107889"/>
                    <a:pt x="54104" y="106788"/>
                    <a:pt x="54104" y="106788"/>
                  </a:cubicBezTo>
                  <a:cubicBezTo>
                    <a:pt x="54104" y="105688"/>
                    <a:pt x="54104" y="104587"/>
                    <a:pt x="54104" y="104587"/>
                  </a:cubicBezTo>
                  <a:cubicBezTo>
                    <a:pt x="54797" y="103486"/>
                    <a:pt x="54797" y="103486"/>
                    <a:pt x="54797" y="103486"/>
                  </a:cubicBezTo>
                  <a:cubicBezTo>
                    <a:pt x="55491" y="102385"/>
                    <a:pt x="55491" y="102385"/>
                    <a:pt x="55491" y="102385"/>
                  </a:cubicBezTo>
                  <a:cubicBezTo>
                    <a:pt x="55491" y="102385"/>
                    <a:pt x="55491" y="102385"/>
                    <a:pt x="56184" y="100183"/>
                  </a:cubicBezTo>
                  <a:cubicBezTo>
                    <a:pt x="56184" y="99082"/>
                    <a:pt x="56184" y="99082"/>
                    <a:pt x="56184" y="99082"/>
                  </a:cubicBezTo>
                  <a:cubicBezTo>
                    <a:pt x="56878" y="96880"/>
                    <a:pt x="56878" y="96880"/>
                    <a:pt x="56878" y="96880"/>
                  </a:cubicBezTo>
                  <a:cubicBezTo>
                    <a:pt x="56184" y="93577"/>
                    <a:pt x="56184" y="93577"/>
                    <a:pt x="56184" y="93577"/>
                  </a:cubicBezTo>
                  <a:cubicBezTo>
                    <a:pt x="55491" y="92477"/>
                    <a:pt x="55491" y="92477"/>
                    <a:pt x="55491" y="92477"/>
                  </a:cubicBezTo>
                  <a:cubicBezTo>
                    <a:pt x="56184" y="91376"/>
                    <a:pt x="56184" y="91376"/>
                    <a:pt x="56184" y="91376"/>
                  </a:cubicBezTo>
                  <a:cubicBezTo>
                    <a:pt x="56184" y="91376"/>
                    <a:pt x="56878" y="90275"/>
                    <a:pt x="57572" y="90275"/>
                  </a:cubicBezTo>
                  <a:cubicBezTo>
                    <a:pt x="58265" y="90275"/>
                    <a:pt x="58265" y="90275"/>
                    <a:pt x="58265" y="89174"/>
                  </a:cubicBezTo>
                  <a:cubicBezTo>
                    <a:pt x="58959" y="89174"/>
                    <a:pt x="60346" y="86972"/>
                    <a:pt x="60346" y="86972"/>
                  </a:cubicBezTo>
                  <a:cubicBezTo>
                    <a:pt x="60346" y="86972"/>
                    <a:pt x="60346" y="86972"/>
                    <a:pt x="61040" y="86972"/>
                  </a:cubicBezTo>
                  <a:cubicBezTo>
                    <a:pt x="61040" y="85871"/>
                    <a:pt x="61040" y="84770"/>
                    <a:pt x="61040" y="84770"/>
                  </a:cubicBezTo>
                  <a:cubicBezTo>
                    <a:pt x="61040" y="84770"/>
                    <a:pt x="61040" y="83669"/>
                    <a:pt x="61734" y="83669"/>
                  </a:cubicBezTo>
                  <a:cubicBezTo>
                    <a:pt x="62427" y="82568"/>
                    <a:pt x="65202" y="81467"/>
                    <a:pt x="65202" y="81467"/>
                  </a:cubicBezTo>
                  <a:cubicBezTo>
                    <a:pt x="65202" y="81467"/>
                    <a:pt x="64508" y="83669"/>
                    <a:pt x="64508" y="84770"/>
                  </a:cubicBezTo>
                  <a:cubicBezTo>
                    <a:pt x="64508" y="85871"/>
                    <a:pt x="65202" y="88073"/>
                    <a:pt x="65202" y="88073"/>
                  </a:cubicBezTo>
                  <a:cubicBezTo>
                    <a:pt x="65202" y="88073"/>
                    <a:pt x="64508" y="90275"/>
                    <a:pt x="64508" y="90275"/>
                  </a:cubicBezTo>
                  <a:cubicBezTo>
                    <a:pt x="64508" y="91376"/>
                    <a:pt x="64508" y="92477"/>
                    <a:pt x="64508" y="92477"/>
                  </a:cubicBezTo>
                  <a:cubicBezTo>
                    <a:pt x="65202" y="93577"/>
                    <a:pt x="65202" y="93577"/>
                    <a:pt x="65202" y="93577"/>
                  </a:cubicBezTo>
                  <a:cubicBezTo>
                    <a:pt x="65202" y="93577"/>
                    <a:pt x="65202" y="94678"/>
                    <a:pt x="65202" y="94678"/>
                  </a:cubicBezTo>
                  <a:cubicBezTo>
                    <a:pt x="65895" y="94678"/>
                    <a:pt x="66589" y="96880"/>
                    <a:pt x="66589" y="96880"/>
                  </a:cubicBezTo>
                  <a:cubicBezTo>
                    <a:pt x="67283" y="96880"/>
                    <a:pt x="67283" y="96880"/>
                    <a:pt x="67283" y="96880"/>
                  </a:cubicBezTo>
                  <a:cubicBezTo>
                    <a:pt x="67283" y="96880"/>
                    <a:pt x="67976" y="97981"/>
                    <a:pt x="67976" y="99082"/>
                  </a:cubicBezTo>
                  <a:cubicBezTo>
                    <a:pt x="67976" y="99082"/>
                    <a:pt x="68670" y="100183"/>
                    <a:pt x="69364" y="101284"/>
                  </a:cubicBezTo>
                  <a:cubicBezTo>
                    <a:pt x="69364" y="101284"/>
                    <a:pt x="70057" y="101284"/>
                    <a:pt x="70057" y="101284"/>
                  </a:cubicBezTo>
                  <a:cubicBezTo>
                    <a:pt x="70751" y="101284"/>
                    <a:pt x="71445" y="101284"/>
                    <a:pt x="71445" y="101284"/>
                  </a:cubicBezTo>
                  <a:cubicBezTo>
                    <a:pt x="71445" y="102385"/>
                    <a:pt x="72832" y="102385"/>
                    <a:pt x="73526" y="102385"/>
                  </a:cubicBezTo>
                  <a:cubicBezTo>
                    <a:pt x="73526" y="103486"/>
                    <a:pt x="74913" y="102385"/>
                    <a:pt x="74913" y="102385"/>
                  </a:cubicBezTo>
                  <a:cubicBezTo>
                    <a:pt x="75606" y="103486"/>
                    <a:pt x="75606" y="103486"/>
                    <a:pt x="75606" y="103486"/>
                  </a:cubicBezTo>
                  <a:cubicBezTo>
                    <a:pt x="76300" y="103486"/>
                    <a:pt x="76300" y="103486"/>
                    <a:pt x="76300" y="103486"/>
                  </a:cubicBezTo>
                  <a:cubicBezTo>
                    <a:pt x="76300" y="103486"/>
                    <a:pt x="76994" y="103486"/>
                    <a:pt x="76994" y="104587"/>
                  </a:cubicBezTo>
                  <a:cubicBezTo>
                    <a:pt x="76300" y="105688"/>
                    <a:pt x="76300" y="105688"/>
                    <a:pt x="76300" y="105688"/>
                  </a:cubicBezTo>
                  <a:cubicBezTo>
                    <a:pt x="76300" y="105688"/>
                    <a:pt x="76300" y="105688"/>
                    <a:pt x="76300" y="105688"/>
                  </a:cubicBezTo>
                  <a:cubicBezTo>
                    <a:pt x="75606" y="106788"/>
                    <a:pt x="74913" y="108990"/>
                    <a:pt x="74913" y="108990"/>
                  </a:cubicBezTo>
                  <a:cubicBezTo>
                    <a:pt x="76994" y="111192"/>
                    <a:pt x="76994" y="111192"/>
                    <a:pt x="76994" y="111192"/>
                  </a:cubicBezTo>
                  <a:cubicBezTo>
                    <a:pt x="76994" y="111192"/>
                    <a:pt x="77687" y="111192"/>
                    <a:pt x="77687" y="112293"/>
                  </a:cubicBezTo>
                  <a:cubicBezTo>
                    <a:pt x="78381" y="113394"/>
                    <a:pt x="78381" y="114495"/>
                    <a:pt x="78381" y="114495"/>
                  </a:cubicBezTo>
                  <a:cubicBezTo>
                    <a:pt x="78381" y="114495"/>
                    <a:pt x="78381" y="114495"/>
                    <a:pt x="78381" y="114495"/>
                  </a:cubicBezTo>
                  <a:cubicBezTo>
                    <a:pt x="78381" y="115596"/>
                    <a:pt x="78381" y="117798"/>
                    <a:pt x="78381" y="117798"/>
                  </a:cubicBezTo>
                  <a:cubicBezTo>
                    <a:pt x="78381" y="117798"/>
                    <a:pt x="76994" y="118899"/>
                    <a:pt x="78381" y="118899"/>
                  </a:cubicBezTo>
                  <a:cubicBezTo>
                    <a:pt x="79768" y="118899"/>
                    <a:pt x="79768" y="118899"/>
                    <a:pt x="79768" y="118899"/>
                  </a:cubicBezTo>
                  <a:cubicBezTo>
                    <a:pt x="80462" y="118899"/>
                    <a:pt x="81156" y="120000"/>
                    <a:pt x="81156" y="120000"/>
                  </a:cubicBezTo>
                  <a:cubicBezTo>
                    <a:pt x="81849" y="118899"/>
                    <a:pt x="81849" y="118899"/>
                    <a:pt x="81849" y="118899"/>
                  </a:cubicBezTo>
                  <a:cubicBezTo>
                    <a:pt x="81849" y="118899"/>
                    <a:pt x="81156" y="116697"/>
                    <a:pt x="82543" y="115596"/>
                  </a:cubicBezTo>
                  <a:cubicBezTo>
                    <a:pt x="83236" y="114495"/>
                    <a:pt x="83236" y="114495"/>
                    <a:pt x="83236" y="114495"/>
                  </a:cubicBezTo>
                  <a:cubicBezTo>
                    <a:pt x="83236" y="114495"/>
                    <a:pt x="81156" y="113394"/>
                    <a:pt x="81156" y="112293"/>
                  </a:cubicBezTo>
                  <a:cubicBezTo>
                    <a:pt x="81156" y="112293"/>
                    <a:pt x="80462" y="112293"/>
                    <a:pt x="81156" y="111192"/>
                  </a:cubicBezTo>
                  <a:cubicBezTo>
                    <a:pt x="81156" y="110091"/>
                    <a:pt x="80462" y="110091"/>
                    <a:pt x="81156" y="108990"/>
                  </a:cubicBezTo>
                  <a:cubicBezTo>
                    <a:pt x="81156" y="108990"/>
                    <a:pt x="81849" y="108990"/>
                    <a:pt x="81849" y="107889"/>
                  </a:cubicBezTo>
                  <a:cubicBezTo>
                    <a:pt x="81849" y="107889"/>
                    <a:pt x="81156" y="105688"/>
                    <a:pt x="81156" y="105688"/>
                  </a:cubicBezTo>
                  <a:cubicBezTo>
                    <a:pt x="82543" y="104587"/>
                    <a:pt x="82543" y="104587"/>
                    <a:pt x="82543" y="104587"/>
                  </a:cubicBezTo>
                  <a:cubicBezTo>
                    <a:pt x="82543" y="104587"/>
                    <a:pt x="82543" y="103486"/>
                    <a:pt x="82543" y="103486"/>
                  </a:cubicBezTo>
                  <a:cubicBezTo>
                    <a:pt x="82543" y="102385"/>
                    <a:pt x="82543" y="100183"/>
                    <a:pt x="82543" y="100183"/>
                  </a:cubicBezTo>
                  <a:cubicBezTo>
                    <a:pt x="83236" y="100183"/>
                    <a:pt x="83930" y="97981"/>
                    <a:pt x="83930" y="97981"/>
                  </a:cubicBezTo>
                  <a:cubicBezTo>
                    <a:pt x="83930" y="97981"/>
                    <a:pt x="85317" y="97981"/>
                    <a:pt x="85317" y="97981"/>
                  </a:cubicBezTo>
                  <a:cubicBezTo>
                    <a:pt x="85317" y="96880"/>
                    <a:pt x="86011" y="95779"/>
                    <a:pt x="86011" y="95779"/>
                  </a:cubicBezTo>
                  <a:cubicBezTo>
                    <a:pt x="86011" y="95779"/>
                    <a:pt x="86011" y="95779"/>
                    <a:pt x="86705" y="94678"/>
                  </a:cubicBezTo>
                  <a:cubicBezTo>
                    <a:pt x="86705" y="93577"/>
                    <a:pt x="86705" y="92477"/>
                    <a:pt x="86705" y="92477"/>
                  </a:cubicBezTo>
                  <a:cubicBezTo>
                    <a:pt x="86705" y="91376"/>
                    <a:pt x="87398" y="90275"/>
                    <a:pt x="87398" y="90275"/>
                  </a:cubicBezTo>
                  <a:cubicBezTo>
                    <a:pt x="87398" y="89174"/>
                    <a:pt x="87398" y="89174"/>
                    <a:pt x="87398" y="89174"/>
                  </a:cubicBezTo>
                  <a:cubicBezTo>
                    <a:pt x="87398" y="89174"/>
                    <a:pt x="87398" y="88073"/>
                    <a:pt x="87398" y="88073"/>
                  </a:cubicBezTo>
                  <a:cubicBezTo>
                    <a:pt x="87398" y="86972"/>
                    <a:pt x="87398" y="85871"/>
                    <a:pt x="87398" y="85871"/>
                  </a:cubicBezTo>
                  <a:cubicBezTo>
                    <a:pt x="87398" y="83669"/>
                    <a:pt x="87398" y="83669"/>
                    <a:pt x="87398" y="83669"/>
                  </a:cubicBezTo>
                  <a:cubicBezTo>
                    <a:pt x="86705" y="81467"/>
                    <a:pt x="86705" y="81467"/>
                    <a:pt x="86705" y="81467"/>
                  </a:cubicBezTo>
                  <a:cubicBezTo>
                    <a:pt x="86705" y="80366"/>
                    <a:pt x="86705" y="80366"/>
                    <a:pt x="86705" y="80366"/>
                  </a:cubicBezTo>
                  <a:cubicBezTo>
                    <a:pt x="88092" y="78165"/>
                    <a:pt x="88092" y="78165"/>
                    <a:pt x="88092" y="78165"/>
                  </a:cubicBezTo>
                  <a:cubicBezTo>
                    <a:pt x="88092" y="78165"/>
                    <a:pt x="88786" y="77064"/>
                    <a:pt x="88786" y="78165"/>
                  </a:cubicBezTo>
                  <a:cubicBezTo>
                    <a:pt x="89479" y="78165"/>
                    <a:pt x="90173" y="79266"/>
                    <a:pt x="90173" y="79266"/>
                  </a:cubicBezTo>
                  <a:cubicBezTo>
                    <a:pt x="90867" y="79266"/>
                    <a:pt x="90867" y="79266"/>
                    <a:pt x="90867" y="79266"/>
                  </a:cubicBezTo>
                  <a:cubicBezTo>
                    <a:pt x="92254" y="78165"/>
                    <a:pt x="92254" y="78165"/>
                    <a:pt x="92254" y="78165"/>
                  </a:cubicBezTo>
                  <a:cubicBezTo>
                    <a:pt x="92254" y="78165"/>
                    <a:pt x="92947" y="78165"/>
                    <a:pt x="92947" y="79266"/>
                  </a:cubicBezTo>
                  <a:cubicBezTo>
                    <a:pt x="92254" y="79266"/>
                    <a:pt x="91560" y="80366"/>
                    <a:pt x="92254" y="81467"/>
                  </a:cubicBezTo>
                  <a:cubicBezTo>
                    <a:pt x="92254" y="81467"/>
                    <a:pt x="92947" y="82568"/>
                    <a:pt x="92947" y="83669"/>
                  </a:cubicBezTo>
                  <a:cubicBezTo>
                    <a:pt x="92947" y="84770"/>
                    <a:pt x="92947" y="84770"/>
                    <a:pt x="92947" y="86972"/>
                  </a:cubicBezTo>
                  <a:cubicBezTo>
                    <a:pt x="92947" y="88073"/>
                    <a:pt x="94335" y="88073"/>
                    <a:pt x="94335" y="89174"/>
                  </a:cubicBezTo>
                  <a:cubicBezTo>
                    <a:pt x="95028" y="89174"/>
                    <a:pt x="93641" y="90275"/>
                    <a:pt x="95722" y="90275"/>
                  </a:cubicBezTo>
                  <a:cubicBezTo>
                    <a:pt x="97109" y="90275"/>
                    <a:pt x="98497" y="91376"/>
                    <a:pt x="98497" y="90275"/>
                  </a:cubicBezTo>
                  <a:cubicBezTo>
                    <a:pt x="99190" y="90275"/>
                    <a:pt x="99190" y="90275"/>
                    <a:pt x="99190" y="89174"/>
                  </a:cubicBezTo>
                  <a:cubicBezTo>
                    <a:pt x="98497" y="88073"/>
                    <a:pt x="99190" y="86972"/>
                    <a:pt x="99190" y="86972"/>
                  </a:cubicBezTo>
                  <a:cubicBezTo>
                    <a:pt x="99190" y="86972"/>
                    <a:pt x="99884" y="86972"/>
                    <a:pt x="99884" y="86972"/>
                  </a:cubicBezTo>
                  <a:cubicBezTo>
                    <a:pt x="100578" y="86972"/>
                    <a:pt x="100578" y="88073"/>
                    <a:pt x="101271" y="86972"/>
                  </a:cubicBezTo>
                  <a:cubicBezTo>
                    <a:pt x="101271" y="86972"/>
                    <a:pt x="101965" y="85871"/>
                    <a:pt x="101965" y="85871"/>
                  </a:cubicBezTo>
                  <a:cubicBezTo>
                    <a:pt x="103352" y="85871"/>
                    <a:pt x="103352" y="85871"/>
                    <a:pt x="103352" y="85871"/>
                  </a:cubicBezTo>
                  <a:cubicBezTo>
                    <a:pt x="103352" y="85871"/>
                    <a:pt x="102658" y="84770"/>
                    <a:pt x="104046" y="84770"/>
                  </a:cubicBezTo>
                  <a:cubicBezTo>
                    <a:pt x="104739" y="84770"/>
                    <a:pt x="106127" y="84770"/>
                    <a:pt x="106127" y="84770"/>
                  </a:cubicBezTo>
                  <a:cubicBezTo>
                    <a:pt x="106127" y="84770"/>
                    <a:pt x="106127" y="85871"/>
                    <a:pt x="106127" y="86972"/>
                  </a:cubicBezTo>
                  <a:cubicBezTo>
                    <a:pt x="106820" y="88073"/>
                    <a:pt x="106820" y="88073"/>
                    <a:pt x="106820" y="88073"/>
                  </a:cubicBezTo>
                  <a:cubicBezTo>
                    <a:pt x="106820" y="88073"/>
                    <a:pt x="106127" y="88073"/>
                    <a:pt x="106820" y="90275"/>
                  </a:cubicBezTo>
                  <a:cubicBezTo>
                    <a:pt x="107514" y="91376"/>
                    <a:pt x="108208" y="91376"/>
                    <a:pt x="108208" y="92477"/>
                  </a:cubicBezTo>
                  <a:cubicBezTo>
                    <a:pt x="108901" y="92477"/>
                    <a:pt x="108208" y="94678"/>
                    <a:pt x="108208" y="94678"/>
                  </a:cubicBezTo>
                  <a:cubicBezTo>
                    <a:pt x="108208" y="94678"/>
                    <a:pt x="109595" y="94678"/>
                    <a:pt x="109595" y="94678"/>
                  </a:cubicBezTo>
                  <a:cubicBezTo>
                    <a:pt x="109595" y="93577"/>
                    <a:pt x="109595" y="93577"/>
                    <a:pt x="110289" y="93577"/>
                  </a:cubicBezTo>
                  <a:cubicBezTo>
                    <a:pt x="110289" y="93577"/>
                    <a:pt x="110289" y="93577"/>
                    <a:pt x="110289" y="93577"/>
                  </a:cubicBezTo>
                  <a:cubicBezTo>
                    <a:pt x="110289" y="93577"/>
                    <a:pt x="110982" y="92477"/>
                    <a:pt x="110982" y="91376"/>
                  </a:cubicBezTo>
                  <a:cubicBezTo>
                    <a:pt x="110982" y="91376"/>
                    <a:pt x="110982" y="88073"/>
                    <a:pt x="110289" y="88073"/>
                  </a:cubicBezTo>
                  <a:cubicBezTo>
                    <a:pt x="110289" y="88073"/>
                    <a:pt x="109595" y="88073"/>
                    <a:pt x="109595" y="86972"/>
                  </a:cubicBezTo>
                  <a:cubicBezTo>
                    <a:pt x="108901" y="85871"/>
                    <a:pt x="108901" y="85871"/>
                    <a:pt x="109595" y="85871"/>
                  </a:cubicBezTo>
                  <a:cubicBezTo>
                    <a:pt x="109595" y="85871"/>
                    <a:pt x="110289" y="84770"/>
                    <a:pt x="110289" y="84770"/>
                  </a:cubicBezTo>
                  <a:cubicBezTo>
                    <a:pt x="110289" y="84770"/>
                    <a:pt x="110982" y="83669"/>
                    <a:pt x="110289" y="83669"/>
                  </a:cubicBezTo>
                  <a:cubicBezTo>
                    <a:pt x="110289" y="82568"/>
                    <a:pt x="109595" y="81467"/>
                    <a:pt x="109595" y="81467"/>
                  </a:cubicBezTo>
                  <a:cubicBezTo>
                    <a:pt x="109595" y="81467"/>
                    <a:pt x="108901" y="82568"/>
                    <a:pt x="108208" y="81467"/>
                  </a:cubicBezTo>
                  <a:cubicBezTo>
                    <a:pt x="108208" y="81467"/>
                    <a:pt x="108208" y="81467"/>
                    <a:pt x="108208" y="80366"/>
                  </a:cubicBezTo>
                  <a:cubicBezTo>
                    <a:pt x="108208" y="80366"/>
                    <a:pt x="108208" y="78165"/>
                    <a:pt x="108208" y="78165"/>
                  </a:cubicBezTo>
                  <a:cubicBezTo>
                    <a:pt x="107514" y="78165"/>
                    <a:pt x="107514" y="78165"/>
                    <a:pt x="107514" y="78165"/>
                  </a:cubicBezTo>
                  <a:cubicBezTo>
                    <a:pt x="108208" y="75963"/>
                    <a:pt x="108208" y="75963"/>
                    <a:pt x="108208" y="75963"/>
                  </a:cubicBezTo>
                  <a:cubicBezTo>
                    <a:pt x="108208" y="74862"/>
                    <a:pt x="108208" y="74862"/>
                    <a:pt x="108208" y="74862"/>
                  </a:cubicBezTo>
                  <a:cubicBezTo>
                    <a:pt x="108208" y="74862"/>
                    <a:pt x="108208" y="73761"/>
                    <a:pt x="108901" y="73761"/>
                  </a:cubicBezTo>
                  <a:cubicBezTo>
                    <a:pt x="108901" y="72660"/>
                    <a:pt x="108901" y="72660"/>
                    <a:pt x="108901" y="71559"/>
                  </a:cubicBezTo>
                  <a:cubicBezTo>
                    <a:pt x="109595" y="71559"/>
                    <a:pt x="109595" y="70458"/>
                    <a:pt x="109595" y="70458"/>
                  </a:cubicBezTo>
                  <a:cubicBezTo>
                    <a:pt x="110289" y="70458"/>
                    <a:pt x="110982" y="70458"/>
                    <a:pt x="111676" y="70458"/>
                  </a:cubicBezTo>
                  <a:cubicBezTo>
                    <a:pt x="111676" y="70458"/>
                    <a:pt x="111676" y="69357"/>
                    <a:pt x="112369" y="69357"/>
                  </a:cubicBezTo>
                  <a:cubicBezTo>
                    <a:pt x="112369" y="69357"/>
                    <a:pt x="113063" y="70458"/>
                    <a:pt x="113063" y="70458"/>
                  </a:cubicBezTo>
                  <a:cubicBezTo>
                    <a:pt x="113063" y="70458"/>
                    <a:pt x="113063" y="70458"/>
                    <a:pt x="113063" y="71559"/>
                  </a:cubicBezTo>
                  <a:cubicBezTo>
                    <a:pt x="113063" y="71559"/>
                    <a:pt x="115144" y="73761"/>
                    <a:pt x="115144" y="73761"/>
                  </a:cubicBezTo>
                  <a:cubicBezTo>
                    <a:pt x="115144" y="73761"/>
                    <a:pt x="115144" y="73761"/>
                    <a:pt x="115838" y="73761"/>
                  </a:cubicBezTo>
                  <a:cubicBezTo>
                    <a:pt x="115838" y="73761"/>
                    <a:pt x="115144" y="73761"/>
                    <a:pt x="115838" y="73761"/>
                  </a:cubicBezTo>
                  <a:cubicBezTo>
                    <a:pt x="115838" y="74862"/>
                    <a:pt x="117919" y="73761"/>
                    <a:pt x="117919" y="73761"/>
                  </a:cubicBezTo>
                  <a:cubicBezTo>
                    <a:pt x="118612" y="73761"/>
                    <a:pt x="118612" y="73761"/>
                    <a:pt x="118612" y="73761"/>
                  </a:cubicBezTo>
                  <a:cubicBezTo>
                    <a:pt x="118612" y="73761"/>
                    <a:pt x="118612" y="73761"/>
                    <a:pt x="118612" y="72660"/>
                  </a:cubicBezTo>
                  <a:cubicBezTo>
                    <a:pt x="119306" y="72660"/>
                    <a:pt x="119306" y="71559"/>
                    <a:pt x="119306" y="70458"/>
                  </a:cubicBezTo>
                  <a:cubicBezTo>
                    <a:pt x="119306" y="70458"/>
                    <a:pt x="120000" y="70458"/>
                    <a:pt x="119306" y="69357"/>
                  </a:cubicBezTo>
                  <a:cubicBezTo>
                    <a:pt x="117919" y="68256"/>
                    <a:pt x="117225" y="68256"/>
                    <a:pt x="117225" y="68256"/>
                  </a:cubicBezTo>
                  <a:cubicBezTo>
                    <a:pt x="117225" y="68256"/>
                    <a:pt x="115838" y="66055"/>
                    <a:pt x="116531" y="66055"/>
                  </a:cubicBezTo>
                  <a:cubicBezTo>
                    <a:pt x="117225" y="64954"/>
                    <a:pt x="117919" y="63853"/>
                    <a:pt x="117919" y="63853"/>
                  </a:cubicBezTo>
                  <a:cubicBezTo>
                    <a:pt x="117225" y="61651"/>
                    <a:pt x="117225" y="61651"/>
                    <a:pt x="117225" y="61651"/>
                  </a:cubicBezTo>
                  <a:cubicBezTo>
                    <a:pt x="117919" y="60550"/>
                    <a:pt x="117919" y="60550"/>
                    <a:pt x="117919" y="60550"/>
                  </a:cubicBezTo>
                  <a:cubicBezTo>
                    <a:pt x="117225" y="58348"/>
                    <a:pt x="117225" y="58348"/>
                    <a:pt x="117225" y="58348"/>
                  </a:cubicBezTo>
                  <a:cubicBezTo>
                    <a:pt x="117225" y="58348"/>
                    <a:pt x="117919" y="57247"/>
                    <a:pt x="117919" y="57247"/>
                  </a:cubicBezTo>
                  <a:cubicBezTo>
                    <a:pt x="117919" y="56146"/>
                    <a:pt x="118612" y="52844"/>
                    <a:pt x="118612" y="52844"/>
                  </a:cubicBezTo>
                  <a:cubicBezTo>
                    <a:pt x="118612" y="52844"/>
                    <a:pt x="118612" y="51743"/>
                    <a:pt x="118612" y="50642"/>
                  </a:cubicBezTo>
                  <a:cubicBezTo>
                    <a:pt x="118612" y="50642"/>
                    <a:pt x="117919" y="49541"/>
                    <a:pt x="117919" y="49541"/>
                  </a:cubicBezTo>
                  <a:cubicBezTo>
                    <a:pt x="117225" y="48440"/>
                    <a:pt x="117225" y="48440"/>
                    <a:pt x="117225" y="48440"/>
                  </a:cubicBezTo>
                  <a:cubicBezTo>
                    <a:pt x="117225" y="48440"/>
                    <a:pt x="116531" y="46238"/>
                    <a:pt x="116531" y="46238"/>
                  </a:cubicBezTo>
                  <a:cubicBezTo>
                    <a:pt x="115838" y="47339"/>
                    <a:pt x="115144" y="47339"/>
                    <a:pt x="115144" y="47339"/>
                  </a:cubicBezTo>
                  <a:cubicBezTo>
                    <a:pt x="115144" y="47339"/>
                    <a:pt x="115144" y="49541"/>
                    <a:pt x="115144" y="49541"/>
                  </a:cubicBezTo>
                  <a:cubicBezTo>
                    <a:pt x="114450" y="50642"/>
                    <a:pt x="113757" y="50642"/>
                    <a:pt x="113757" y="50642"/>
                  </a:cubicBezTo>
                  <a:cubicBezTo>
                    <a:pt x="113757" y="50642"/>
                    <a:pt x="113757" y="50642"/>
                    <a:pt x="113757" y="50642"/>
                  </a:cubicBezTo>
                  <a:cubicBezTo>
                    <a:pt x="113063" y="50642"/>
                    <a:pt x="113063" y="50642"/>
                    <a:pt x="113063" y="50642"/>
                  </a:cubicBezTo>
                  <a:cubicBezTo>
                    <a:pt x="112369" y="52844"/>
                    <a:pt x="112369" y="52844"/>
                    <a:pt x="112369" y="52844"/>
                  </a:cubicBezTo>
                  <a:cubicBezTo>
                    <a:pt x="111676" y="53944"/>
                    <a:pt x="111676" y="53944"/>
                    <a:pt x="111676" y="53944"/>
                  </a:cubicBezTo>
                  <a:cubicBezTo>
                    <a:pt x="111676" y="53944"/>
                    <a:pt x="110289" y="55045"/>
                    <a:pt x="109595" y="55045"/>
                  </a:cubicBezTo>
                  <a:cubicBezTo>
                    <a:pt x="109595" y="55045"/>
                    <a:pt x="108208" y="55045"/>
                    <a:pt x="108208" y="55045"/>
                  </a:cubicBezTo>
                  <a:cubicBezTo>
                    <a:pt x="107514" y="53944"/>
                    <a:pt x="107514" y="53944"/>
                    <a:pt x="107514" y="53944"/>
                  </a:cubicBezTo>
                  <a:cubicBezTo>
                    <a:pt x="105433" y="52844"/>
                    <a:pt x="105433" y="52844"/>
                    <a:pt x="105433" y="52844"/>
                  </a:cubicBezTo>
                  <a:cubicBezTo>
                    <a:pt x="105433" y="52844"/>
                    <a:pt x="105433" y="52844"/>
                    <a:pt x="105433" y="52844"/>
                  </a:cubicBezTo>
                  <a:cubicBezTo>
                    <a:pt x="104046" y="51743"/>
                    <a:pt x="104046" y="51743"/>
                    <a:pt x="104046" y="51743"/>
                  </a:cubicBezTo>
                  <a:cubicBezTo>
                    <a:pt x="103352" y="50642"/>
                    <a:pt x="103352" y="50642"/>
                    <a:pt x="103352" y="50642"/>
                  </a:cubicBezTo>
                  <a:cubicBezTo>
                    <a:pt x="103352" y="48440"/>
                    <a:pt x="103352" y="48440"/>
                    <a:pt x="103352" y="48440"/>
                  </a:cubicBezTo>
                  <a:cubicBezTo>
                    <a:pt x="101965" y="46238"/>
                    <a:pt x="101965" y="46238"/>
                    <a:pt x="101965" y="46238"/>
                  </a:cubicBezTo>
                  <a:cubicBezTo>
                    <a:pt x="99190" y="45137"/>
                    <a:pt x="99190" y="45137"/>
                    <a:pt x="99190" y="45137"/>
                  </a:cubicBezTo>
                  <a:cubicBezTo>
                    <a:pt x="97109" y="44036"/>
                    <a:pt x="97109" y="44036"/>
                    <a:pt x="97109" y="44036"/>
                  </a:cubicBezTo>
                  <a:cubicBezTo>
                    <a:pt x="95722" y="44036"/>
                    <a:pt x="95722" y="44036"/>
                    <a:pt x="95722" y="44036"/>
                  </a:cubicBezTo>
                  <a:cubicBezTo>
                    <a:pt x="95722" y="44036"/>
                    <a:pt x="92947" y="44036"/>
                    <a:pt x="92947" y="44036"/>
                  </a:cubicBezTo>
                  <a:cubicBezTo>
                    <a:pt x="92947" y="44036"/>
                    <a:pt x="92254" y="44036"/>
                    <a:pt x="92254" y="44036"/>
                  </a:cubicBezTo>
                  <a:cubicBezTo>
                    <a:pt x="92254" y="44036"/>
                    <a:pt x="92254" y="44036"/>
                    <a:pt x="92254" y="44036"/>
                  </a:cubicBezTo>
                  <a:cubicBezTo>
                    <a:pt x="92254" y="44036"/>
                    <a:pt x="92254" y="44036"/>
                    <a:pt x="92254" y="44036"/>
                  </a:cubicBezTo>
                  <a:cubicBezTo>
                    <a:pt x="92254" y="44036"/>
                    <a:pt x="92254" y="44036"/>
                    <a:pt x="92254" y="44036"/>
                  </a:cubicBezTo>
                  <a:cubicBezTo>
                    <a:pt x="92254" y="44036"/>
                    <a:pt x="92254" y="44036"/>
                    <a:pt x="92254" y="44036"/>
                  </a:cubicBezTo>
                  <a:cubicBezTo>
                    <a:pt x="92254" y="44036"/>
                    <a:pt x="92254" y="44036"/>
                    <a:pt x="92254" y="44036"/>
                  </a:cubicBezTo>
                  <a:cubicBezTo>
                    <a:pt x="91560" y="44036"/>
                    <a:pt x="91560" y="44036"/>
                    <a:pt x="91560" y="44036"/>
                  </a:cubicBezTo>
                  <a:cubicBezTo>
                    <a:pt x="92254" y="41834"/>
                    <a:pt x="92254" y="41834"/>
                    <a:pt x="92254" y="41834"/>
                  </a:cubicBezTo>
                  <a:cubicBezTo>
                    <a:pt x="92947" y="41834"/>
                    <a:pt x="92947" y="41834"/>
                    <a:pt x="92947" y="41834"/>
                  </a:cubicBezTo>
                  <a:cubicBezTo>
                    <a:pt x="92947" y="40733"/>
                    <a:pt x="92947" y="40733"/>
                    <a:pt x="92947" y="40733"/>
                  </a:cubicBezTo>
                  <a:cubicBezTo>
                    <a:pt x="92947" y="40733"/>
                    <a:pt x="92254" y="39633"/>
                    <a:pt x="92254" y="39633"/>
                  </a:cubicBezTo>
                  <a:cubicBezTo>
                    <a:pt x="92254" y="39633"/>
                    <a:pt x="92254" y="38532"/>
                    <a:pt x="92254" y="38532"/>
                  </a:cubicBezTo>
                  <a:cubicBezTo>
                    <a:pt x="92254" y="38532"/>
                    <a:pt x="92254" y="38532"/>
                    <a:pt x="92254" y="38532"/>
                  </a:cubicBezTo>
                  <a:cubicBezTo>
                    <a:pt x="92254" y="38532"/>
                    <a:pt x="92254" y="37431"/>
                    <a:pt x="92254" y="37431"/>
                  </a:cubicBezTo>
                  <a:cubicBezTo>
                    <a:pt x="92254" y="37431"/>
                    <a:pt x="92254" y="37431"/>
                    <a:pt x="92254" y="37431"/>
                  </a:cubicBezTo>
                  <a:cubicBezTo>
                    <a:pt x="92254" y="36330"/>
                    <a:pt x="92254" y="36330"/>
                    <a:pt x="92254" y="36330"/>
                  </a:cubicBezTo>
                  <a:cubicBezTo>
                    <a:pt x="92947" y="33027"/>
                    <a:pt x="92947" y="33027"/>
                    <a:pt x="92947" y="33027"/>
                  </a:cubicBezTo>
                  <a:cubicBezTo>
                    <a:pt x="94335" y="30825"/>
                    <a:pt x="94335" y="30825"/>
                    <a:pt x="94335" y="30825"/>
                  </a:cubicBezTo>
                  <a:cubicBezTo>
                    <a:pt x="94335" y="30825"/>
                    <a:pt x="94335" y="28623"/>
                    <a:pt x="95028" y="28623"/>
                  </a:cubicBezTo>
                  <a:cubicBezTo>
                    <a:pt x="95028" y="27522"/>
                    <a:pt x="95028" y="26422"/>
                    <a:pt x="95028" y="26422"/>
                  </a:cubicBezTo>
                  <a:cubicBezTo>
                    <a:pt x="96416" y="25321"/>
                    <a:pt x="96416" y="25321"/>
                    <a:pt x="96416" y="25321"/>
                  </a:cubicBezTo>
                  <a:cubicBezTo>
                    <a:pt x="96416" y="25321"/>
                    <a:pt x="97109" y="24220"/>
                    <a:pt x="97109" y="24220"/>
                  </a:cubicBezTo>
                  <a:cubicBezTo>
                    <a:pt x="97109" y="23119"/>
                    <a:pt x="96416" y="22018"/>
                    <a:pt x="96416" y="22018"/>
                  </a:cubicBezTo>
                  <a:cubicBezTo>
                    <a:pt x="96416" y="20917"/>
                    <a:pt x="97109" y="19816"/>
                    <a:pt x="97109" y="19816"/>
                  </a:cubicBezTo>
                  <a:cubicBezTo>
                    <a:pt x="96416" y="19816"/>
                    <a:pt x="96416" y="18715"/>
                    <a:pt x="95722" y="18715"/>
                  </a:cubicBezTo>
                  <a:cubicBezTo>
                    <a:pt x="95722" y="18715"/>
                    <a:pt x="95028" y="18715"/>
                    <a:pt x="95028" y="17614"/>
                  </a:cubicBezTo>
                  <a:cubicBezTo>
                    <a:pt x="95028" y="17614"/>
                    <a:pt x="94335" y="16513"/>
                    <a:pt x="94335" y="16513"/>
                  </a:cubicBezTo>
                  <a:cubicBezTo>
                    <a:pt x="94335" y="16513"/>
                    <a:pt x="94335" y="14311"/>
                    <a:pt x="93641" y="14311"/>
                  </a:cubicBezTo>
                  <a:cubicBezTo>
                    <a:pt x="93641" y="14311"/>
                    <a:pt x="92947" y="14311"/>
                    <a:pt x="92254" y="13211"/>
                  </a:cubicBezTo>
                  <a:cubicBezTo>
                    <a:pt x="91560" y="13211"/>
                    <a:pt x="90867" y="12110"/>
                    <a:pt x="90867" y="12110"/>
                  </a:cubicBezTo>
                  <a:cubicBezTo>
                    <a:pt x="90173" y="12110"/>
                    <a:pt x="88786" y="9908"/>
                    <a:pt x="88786" y="9908"/>
                  </a:cubicBezTo>
                  <a:cubicBezTo>
                    <a:pt x="88786" y="9908"/>
                    <a:pt x="88786" y="9908"/>
                    <a:pt x="88092" y="9908"/>
                  </a:cubicBezTo>
                  <a:cubicBezTo>
                    <a:pt x="88092" y="9908"/>
                    <a:pt x="87398" y="8807"/>
                    <a:pt x="87398" y="8807"/>
                  </a:cubicBezTo>
                  <a:cubicBezTo>
                    <a:pt x="86705" y="8807"/>
                    <a:pt x="86705" y="8807"/>
                    <a:pt x="86705" y="8807"/>
                  </a:cubicBezTo>
                  <a:cubicBezTo>
                    <a:pt x="86705" y="8807"/>
                    <a:pt x="86705" y="8807"/>
                    <a:pt x="86705" y="8807"/>
                  </a:cubicBezTo>
                  <a:cubicBezTo>
                    <a:pt x="86011" y="8807"/>
                    <a:pt x="86011" y="8807"/>
                    <a:pt x="85317" y="7706"/>
                  </a:cubicBezTo>
                  <a:cubicBezTo>
                    <a:pt x="83930" y="7706"/>
                    <a:pt x="84624" y="7706"/>
                    <a:pt x="83236" y="7706"/>
                  </a:cubicBezTo>
                  <a:cubicBezTo>
                    <a:pt x="82543" y="7706"/>
                    <a:pt x="81849" y="7706"/>
                    <a:pt x="81849" y="7706"/>
                  </a:cubicBezTo>
                  <a:cubicBezTo>
                    <a:pt x="81849" y="7706"/>
                    <a:pt x="81156" y="6605"/>
                    <a:pt x="79768" y="6605"/>
                  </a:cubicBezTo>
                  <a:cubicBezTo>
                    <a:pt x="79075" y="7706"/>
                    <a:pt x="77687" y="8807"/>
                    <a:pt x="76994" y="8807"/>
                  </a:cubicBezTo>
                  <a:cubicBezTo>
                    <a:pt x="76994" y="8807"/>
                    <a:pt x="76300" y="7706"/>
                    <a:pt x="76300" y="7706"/>
                  </a:cubicBezTo>
                  <a:cubicBezTo>
                    <a:pt x="76300" y="7706"/>
                    <a:pt x="76300" y="6605"/>
                    <a:pt x="76300" y="6605"/>
                  </a:cubicBezTo>
                  <a:cubicBezTo>
                    <a:pt x="76300" y="6605"/>
                    <a:pt x="75606" y="5504"/>
                    <a:pt x="74913" y="4403"/>
                  </a:cubicBezTo>
                  <a:cubicBezTo>
                    <a:pt x="74913" y="4403"/>
                    <a:pt x="74219" y="4403"/>
                    <a:pt x="74219" y="4403"/>
                  </a:cubicBezTo>
                  <a:cubicBezTo>
                    <a:pt x="74219" y="4403"/>
                    <a:pt x="74219" y="4403"/>
                    <a:pt x="74219" y="5504"/>
                  </a:cubicBezTo>
                  <a:cubicBezTo>
                    <a:pt x="74219" y="6605"/>
                    <a:pt x="75606" y="6605"/>
                    <a:pt x="74219" y="6605"/>
                  </a:cubicBezTo>
                  <a:cubicBezTo>
                    <a:pt x="73526" y="5504"/>
                    <a:pt x="72832" y="5504"/>
                    <a:pt x="72832" y="5504"/>
                  </a:cubicBezTo>
                  <a:cubicBezTo>
                    <a:pt x="70751" y="6605"/>
                    <a:pt x="70751" y="6605"/>
                    <a:pt x="70751" y="6605"/>
                  </a:cubicBezTo>
                  <a:cubicBezTo>
                    <a:pt x="71445" y="5504"/>
                    <a:pt x="71445" y="5504"/>
                    <a:pt x="71445" y="5504"/>
                  </a:cubicBezTo>
                  <a:cubicBezTo>
                    <a:pt x="71445" y="5504"/>
                    <a:pt x="72138" y="5504"/>
                    <a:pt x="72138" y="5504"/>
                  </a:cubicBezTo>
                  <a:cubicBezTo>
                    <a:pt x="72138" y="4403"/>
                    <a:pt x="72138" y="4403"/>
                    <a:pt x="72138" y="4403"/>
                  </a:cubicBezTo>
                  <a:cubicBezTo>
                    <a:pt x="72138" y="4403"/>
                    <a:pt x="72138" y="3302"/>
                    <a:pt x="72138" y="3302"/>
                  </a:cubicBezTo>
                  <a:cubicBezTo>
                    <a:pt x="72832" y="3302"/>
                    <a:pt x="73526" y="2201"/>
                    <a:pt x="72832" y="2201"/>
                  </a:cubicBezTo>
                  <a:cubicBezTo>
                    <a:pt x="72138" y="2201"/>
                    <a:pt x="71445" y="2201"/>
                    <a:pt x="71445" y="2201"/>
                  </a:cubicBezTo>
                  <a:cubicBezTo>
                    <a:pt x="71445" y="1100"/>
                    <a:pt x="71445" y="1100"/>
                    <a:pt x="71445" y="1100"/>
                  </a:cubicBezTo>
                  <a:cubicBezTo>
                    <a:pt x="71445" y="1100"/>
                    <a:pt x="70751" y="0"/>
                    <a:pt x="70751" y="0"/>
                  </a:cubicBezTo>
                  <a:cubicBezTo>
                    <a:pt x="70751" y="1100"/>
                    <a:pt x="70751" y="2201"/>
                    <a:pt x="70751" y="2201"/>
                  </a:cubicBezTo>
                  <a:cubicBezTo>
                    <a:pt x="70057" y="2201"/>
                    <a:pt x="70057" y="2201"/>
                    <a:pt x="70057" y="1100"/>
                  </a:cubicBezTo>
                  <a:cubicBezTo>
                    <a:pt x="70057" y="0"/>
                    <a:pt x="70057" y="0"/>
                    <a:pt x="70057" y="0"/>
                  </a:cubicBezTo>
                  <a:cubicBezTo>
                    <a:pt x="69364" y="0"/>
                    <a:pt x="68670" y="0"/>
                    <a:pt x="68670" y="0"/>
                  </a:cubicBezTo>
                  <a:cubicBezTo>
                    <a:pt x="68670" y="0"/>
                    <a:pt x="69364" y="1100"/>
                    <a:pt x="67976" y="1100"/>
                  </a:cubicBezTo>
                  <a:cubicBezTo>
                    <a:pt x="67283" y="1100"/>
                    <a:pt x="66589" y="2201"/>
                    <a:pt x="65895" y="2201"/>
                  </a:cubicBezTo>
                  <a:cubicBezTo>
                    <a:pt x="65202" y="3302"/>
                    <a:pt x="65202" y="4403"/>
                    <a:pt x="65202" y="4403"/>
                  </a:cubicBezTo>
                  <a:cubicBezTo>
                    <a:pt x="65202" y="5504"/>
                    <a:pt x="63815" y="5504"/>
                    <a:pt x="63815" y="6605"/>
                  </a:cubicBezTo>
                  <a:cubicBezTo>
                    <a:pt x="64508" y="6605"/>
                    <a:pt x="63815" y="6605"/>
                    <a:pt x="65202" y="7706"/>
                  </a:cubicBezTo>
                  <a:cubicBezTo>
                    <a:pt x="65895" y="7706"/>
                    <a:pt x="65895" y="7706"/>
                    <a:pt x="66589" y="7706"/>
                  </a:cubicBezTo>
                  <a:cubicBezTo>
                    <a:pt x="67283" y="8807"/>
                    <a:pt x="67976" y="7706"/>
                    <a:pt x="67976" y="7706"/>
                  </a:cubicBezTo>
                  <a:cubicBezTo>
                    <a:pt x="67976" y="7706"/>
                    <a:pt x="67976" y="7706"/>
                    <a:pt x="68670" y="8807"/>
                  </a:cubicBezTo>
                  <a:cubicBezTo>
                    <a:pt x="68670" y="8807"/>
                    <a:pt x="69364" y="7706"/>
                    <a:pt x="69364" y="8807"/>
                  </a:cubicBezTo>
                  <a:cubicBezTo>
                    <a:pt x="69364" y="9908"/>
                    <a:pt x="70057" y="11009"/>
                    <a:pt x="69364" y="11009"/>
                  </a:cubicBezTo>
                  <a:cubicBezTo>
                    <a:pt x="68670" y="11009"/>
                    <a:pt x="67976" y="12110"/>
                    <a:pt x="67976" y="11009"/>
                  </a:cubicBezTo>
                  <a:cubicBezTo>
                    <a:pt x="67976" y="11009"/>
                    <a:pt x="67976" y="9908"/>
                    <a:pt x="67283" y="9908"/>
                  </a:cubicBezTo>
                  <a:cubicBezTo>
                    <a:pt x="67283" y="9908"/>
                    <a:pt x="66589" y="9908"/>
                    <a:pt x="66589" y="9908"/>
                  </a:cubicBezTo>
                  <a:cubicBezTo>
                    <a:pt x="65895" y="12110"/>
                    <a:pt x="65895" y="12110"/>
                    <a:pt x="65895" y="12110"/>
                  </a:cubicBezTo>
                  <a:cubicBezTo>
                    <a:pt x="65895" y="12110"/>
                    <a:pt x="65895" y="13211"/>
                    <a:pt x="65202" y="13211"/>
                  </a:cubicBezTo>
                  <a:cubicBezTo>
                    <a:pt x="64508" y="13211"/>
                    <a:pt x="65202" y="13211"/>
                    <a:pt x="63815" y="13211"/>
                  </a:cubicBezTo>
                  <a:cubicBezTo>
                    <a:pt x="62427" y="13211"/>
                    <a:pt x="62427" y="12110"/>
                    <a:pt x="61734" y="12110"/>
                  </a:cubicBezTo>
                  <a:cubicBezTo>
                    <a:pt x="61734" y="12110"/>
                    <a:pt x="61734" y="12110"/>
                    <a:pt x="61040" y="12110"/>
                  </a:cubicBezTo>
                  <a:cubicBezTo>
                    <a:pt x="61040" y="12110"/>
                    <a:pt x="59653" y="9908"/>
                    <a:pt x="58959" y="12110"/>
                  </a:cubicBezTo>
                  <a:cubicBezTo>
                    <a:pt x="58265" y="13211"/>
                    <a:pt x="57572" y="14311"/>
                    <a:pt x="57572" y="14311"/>
                  </a:cubicBezTo>
                  <a:cubicBezTo>
                    <a:pt x="55491" y="14311"/>
                    <a:pt x="55491" y="14311"/>
                    <a:pt x="55491" y="14311"/>
                  </a:cubicBezTo>
                  <a:cubicBezTo>
                    <a:pt x="55491" y="14311"/>
                    <a:pt x="54797" y="14311"/>
                    <a:pt x="54104" y="14311"/>
                  </a:cubicBezTo>
                  <a:cubicBezTo>
                    <a:pt x="53410" y="14311"/>
                    <a:pt x="52716" y="14311"/>
                    <a:pt x="52716" y="14311"/>
                  </a:cubicBezTo>
                  <a:cubicBezTo>
                    <a:pt x="52023" y="15412"/>
                    <a:pt x="51329" y="12110"/>
                    <a:pt x="51329" y="12110"/>
                  </a:cubicBezTo>
                  <a:cubicBezTo>
                    <a:pt x="51329" y="12110"/>
                    <a:pt x="52023" y="9908"/>
                    <a:pt x="49942" y="12110"/>
                  </a:cubicBezTo>
                  <a:cubicBezTo>
                    <a:pt x="47861" y="14311"/>
                    <a:pt x="47167" y="14311"/>
                    <a:pt x="47167" y="14311"/>
                  </a:cubicBezTo>
                  <a:cubicBezTo>
                    <a:pt x="46473" y="14311"/>
                    <a:pt x="45780" y="15412"/>
                    <a:pt x="45780" y="15412"/>
                  </a:cubicBezTo>
                  <a:cubicBezTo>
                    <a:pt x="45086" y="14311"/>
                    <a:pt x="45086" y="14311"/>
                    <a:pt x="45086" y="14311"/>
                  </a:cubicBezTo>
                  <a:cubicBezTo>
                    <a:pt x="45086" y="14311"/>
                    <a:pt x="45086" y="14311"/>
                    <a:pt x="45086" y="14311"/>
                  </a:cubicBezTo>
                  <a:cubicBezTo>
                    <a:pt x="45086" y="14311"/>
                    <a:pt x="45086" y="14311"/>
                    <a:pt x="45086" y="14311"/>
                  </a:cubicBezTo>
                  <a:cubicBezTo>
                    <a:pt x="45780" y="14311"/>
                    <a:pt x="45780" y="13211"/>
                    <a:pt x="45780" y="13211"/>
                  </a:cubicBezTo>
                  <a:cubicBezTo>
                    <a:pt x="45086" y="12110"/>
                    <a:pt x="45086" y="12110"/>
                    <a:pt x="45086" y="12110"/>
                  </a:cubicBezTo>
                  <a:cubicBezTo>
                    <a:pt x="43005" y="13211"/>
                    <a:pt x="43005" y="13211"/>
                    <a:pt x="43005" y="13211"/>
                  </a:cubicBezTo>
                  <a:cubicBezTo>
                    <a:pt x="43005" y="13211"/>
                    <a:pt x="43699" y="13211"/>
                    <a:pt x="43005" y="13211"/>
                  </a:cubicBezTo>
                  <a:cubicBezTo>
                    <a:pt x="43005" y="13211"/>
                    <a:pt x="41618" y="13211"/>
                    <a:pt x="41618" y="13211"/>
                  </a:cubicBezTo>
                  <a:cubicBezTo>
                    <a:pt x="41618" y="15412"/>
                    <a:pt x="41618" y="15412"/>
                    <a:pt x="41618" y="15412"/>
                  </a:cubicBezTo>
                  <a:cubicBezTo>
                    <a:pt x="41618" y="15412"/>
                    <a:pt x="40924" y="15412"/>
                    <a:pt x="40924" y="15412"/>
                  </a:cubicBezTo>
                  <a:cubicBezTo>
                    <a:pt x="40924" y="15412"/>
                    <a:pt x="40924" y="16513"/>
                    <a:pt x="40924" y="16513"/>
                  </a:cubicBezTo>
                  <a:cubicBezTo>
                    <a:pt x="40924" y="16513"/>
                    <a:pt x="40924" y="17614"/>
                    <a:pt x="40924" y="17614"/>
                  </a:cubicBezTo>
                  <a:cubicBezTo>
                    <a:pt x="40924" y="17614"/>
                    <a:pt x="40231" y="17614"/>
                    <a:pt x="40231" y="17614"/>
                  </a:cubicBezTo>
                  <a:cubicBezTo>
                    <a:pt x="40231" y="17614"/>
                    <a:pt x="39537" y="17614"/>
                    <a:pt x="39537" y="17614"/>
                  </a:cubicBezTo>
                  <a:cubicBezTo>
                    <a:pt x="39537" y="17614"/>
                    <a:pt x="38843" y="19816"/>
                    <a:pt x="38843" y="19816"/>
                  </a:cubicBezTo>
                  <a:cubicBezTo>
                    <a:pt x="38843" y="19816"/>
                    <a:pt x="38843" y="20917"/>
                    <a:pt x="38843" y="20917"/>
                  </a:cubicBezTo>
                  <a:cubicBezTo>
                    <a:pt x="38843" y="20917"/>
                    <a:pt x="38843" y="20917"/>
                    <a:pt x="38843" y="22018"/>
                  </a:cubicBezTo>
                  <a:cubicBezTo>
                    <a:pt x="38150" y="22018"/>
                    <a:pt x="37456" y="22018"/>
                    <a:pt x="37456" y="22018"/>
                  </a:cubicBezTo>
                  <a:cubicBezTo>
                    <a:pt x="37456" y="22018"/>
                    <a:pt x="36763" y="22018"/>
                    <a:pt x="36069" y="22018"/>
                  </a:cubicBezTo>
                  <a:cubicBezTo>
                    <a:pt x="36069" y="22018"/>
                    <a:pt x="35375" y="22018"/>
                    <a:pt x="35375" y="22018"/>
                  </a:cubicBezTo>
                  <a:cubicBezTo>
                    <a:pt x="34682" y="22018"/>
                    <a:pt x="34682" y="23119"/>
                    <a:pt x="34682" y="23119"/>
                  </a:cubicBezTo>
                  <a:cubicBezTo>
                    <a:pt x="34682" y="23119"/>
                    <a:pt x="33294" y="22018"/>
                    <a:pt x="33294" y="22018"/>
                  </a:cubicBezTo>
                  <a:cubicBezTo>
                    <a:pt x="32601" y="22018"/>
                    <a:pt x="32601" y="20917"/>
                    <a:pt x="32601" y="19816"/>
                  </a:cubicBezTo>
                  <a:cubicBezTo>
                    <a:pt x="32601" y="19816"/>
                    <a:pt x="31907" y="17614"/>
                    <a:pt x="31907" y="17614"/>
                  </a:cubicBezTo>
                  <a:cubicBezTo>
                    <a:pt x="31213" y="18715"/>
                    <a:pt x="31213" y="18715"/>
                    <a:pt x="31213" y="18715"/>
                  </a:cubicBezTo>
                  <a:cubicBezTo>
                    <a:pt x="29132" y="18715"/>
                    <a:pt x="29132" y="18715"/>
                    <a:pt x="29132" y="18715"/>
                  </a:cubicBezTo>
                  <a:cubicBezTo>
                    <a:pt x="27745" y="17614"/>
                    <a:pt x="27745" y="17614"/>
                    <a:pt x="27745" y="17614"/>
                  </a:cubicBezTo>
                  <a:cubicBezTo>
                    <a:pt x="27745" y="19816"/>
                    <a:pt x="27745" y="19816"/>
                    <a:pt x="27745" y="19816"/>
                  </a:cubicBezTo>
                  <a:cubicBezTo>
                    <a:pt x="27745" y="19816"/>
                    <a:pt x="28439" y="20917"/>
                    <a:pt x="28439" y="20917"/>
                  </a:cubicBezTo>
                  <a:cubicBezTo>
                    <a:pt x="28439" y="20917"/>
                    <a:pt x="27745" y="20917"/>
                    <a:pt x="27745" y="20917"/>
                  </a:cubicBezTo>
                  <a:cubicBezTo>
                    <a:pt x="27052" y="22018"/>
                    <a:pt x="27052" y="22018"/>
                    <a:pt x="27052" y="22018"/>
                  </a:cubicBezTo>
                  <a:cubicBezTo>
                    <a:pt x="26358" y="22018"/>
                    <a:pt x="26358" y="22018"/>
                    <a:pt x="26358" y="22018"/>
                  </a:cubicBezTo>
                  <a:cubicBezTo>
                    <a:pt x="26358" y="22018"/>
                    <a:pt x="25664" y="24220"/>
                    <a:pt x="25664" y="24220"/>
                  </a:cubicBezTo>
                  <a:cubicBezTo>
                    <a:pt x="25664" y="25321"/>
                    <a:pt x="24971" y="25321"/>
                    <a:pt x="24971" y="25321"/>
                  </a:cubicBezTo>
                  <a:cubicBezTo>
                    <a:pt x="24971" y="25321"/>
                    <a:pt x="24277" y="25321"/>
                    <a:pt x="24971" y="26422"/>
                  </a:cubicBezTo>
                  <a:cubicBezTo>
                    <a:pt x="25664" y="26422"/>
                    <a:pt x="26358" y="26422"/>
                    <a:pt x="26358" y="26422"/>
                  </a:cubicBezTo>
                  <a:cubicBezTo>
                    <a:pt x="27052" y="26422"/>
                    <a:pt x="27745" y="26422"/>
                    <a:pt x="27745" y="26422"/>
                  </a:cubicBezTo>
                  <a:cubicBezTo>
                    <a:pt x="27745" y="26422"/>
                    <a:pt x="29132" y="25321"/>
                    <a:pt x="29132" y="25321"/>
                  </a:cubicBezTo>
                  <a:cubicBezTo>
                    <a:pt x="29132" y="26422"/>
                    <a:pt x="29132" y="26422"/>
                    <a:pt x="29132" y="26422"/>
                  </a:cubicBezTo>
                  <a:cubicBezTo>
                    <a:pt x="29132" y="28623"/>
                    <a:pt x="29132" y="28623"/>
                    <a:pt x="29132" y="28623"/>
                  </a:cubicBezTo>
                  <a:cubicBezTo>
                    <a:pt x="28439" y="28623"/>
                    <a:pt x="28439" y="28623"/>
                    <a:pt x="28439" y="28623"/>
                  </a:cubicBezTo>
                  <a:cubicBezTo>
                    <a:pt x="28439" y="28623"/>
                    <a:pt x="28439" y="29724"/>
                    <a:pt x="28439" y="29724"/>
                  </a:cubicBezTo>
                  <a:cubicBezTo>
                    <a:pt x="27745" y="30825"/>
                    <a:pt x="27052" y="30825"/>
                    <a:pt x="27052" y="30825"/>
                  </a:cubicBezTo>
                  <a:cubicBezTo>
                    <a:pt x="26358" y="31926"/>
                    <a:pt x="26358" y="31926"/>
                    <a:pt x="26358" y="33027"/>
                  </a:cubicBezTo>
                  <a:cubicBezTo>
                    <a:pt x="26358" y="34128"/>
                    <a:pt x="25664" y="36330"/>
                    <a:pt x="25664" y="36330"/>
                  </a:cubicBezTo>
                  <a:cubicBezTo>
                    <a:pt x="24277" y="37431"/>
                    <a:pt x="24277" y="37431"/>
                    <a:pt x="24277" y="37431"/>
                  </a:cubicBezTo>
                  <a:cubicBezTo>
                    <a:pt x="22890" y="39633"/>
                    <a:pt x="22890" y="39633"/>
                    <a:pt x="22890" y="39633"/>
                  </a:cubicBezTo>
                  <a:cubicBezTo>
                    <a:pt x="22196" y="39633"/>
                    <a:pt x="22196" y="39633"/>
                    <a:pt x="22196" y="39633"/>
                  </a:cubicBezTo>
                  <a:cubicBezTo>
                    <a:pt x="21502" y="40733"/>
                    <a:pt x="21502" y="40733"/>
                    <a:pt x="21502" y="40733"/>
                  </a:cubicBezTo>
                  <a:cubicBezTo>
                    <a:pt x="21502" y="41834"/>
                    <a:pt x="21502" y="41834"/>
                    <a:pt x="21502" y="41834"/>
                  </a:cubicBezTo>
                  <a:cubicBezTo>
                    <a:pt x="20115" y="42935"/>
                    <a:pt x="20115" y="42935"/>
                    <a:pt x="20115" y="42935"/>
                  </a:cubicBezTo>
                  <a:cubicBezTo>
                    <a:pt x="20115" y="45137"/>
                    <a:pt x="20115" y="45137"/>
                    <a:pt x="20115" y="45137"/>
                  </a:cubicBezTo>
                  <a:cubicBezTo>
                    <a:pt x="19421" y="46238"/>
                    <a:pt x="19421" y="46238"/>
                    <a:pt x="19421" y="46238"/>
                  </a:cubicBezTo>
                  <a:cubicBezTo>
                    <a:pt x="18728" y="46238"/>
                    <a:pt x="18728" y="46238"/>
                    <a:pt x="18728" y="46238"/>
                  </a:cubicBezTo>
                  <a:cubicBezTo>
                    <a:pt x="18034" y="48440"/>
                    <a:pt x="18034" y="48440"/>
                    <a:pt x="18034" y="48440"/>
                  </a:cubicBezTo>
                  <a:cubicBezTo>
                    <a:pt x="18034" y="48440"/>
                    <a:pt x="17341" y="49541"/>
                    <a:pt x="17341" y="49541"/>
                  </a:cubicBezTo>
                  <a:cubicBezTo>
                    <a:pt x="16647" y="49541"/>
                    <a:pt x="15953" y="50642"/>
                    <a:pt x="15953" y="50642"/>
                  </a:cubicBezTo>
                  <a:cubicBezTo>
                    <a:pt x="14566" y="50642"/>
                    <a:pt x="14566" y="50642"/>
                    <a:pt x="14566" y="50642"/>
                  </a:cubicBezTo>
                  <a:cubicBezTo>
                    <a:pt x="14566" y="50642"/>
                    <a:pt x="13872" y="50642"/>
                    <a:pt x="13179" y="51743"/>
                  </a:cubicBezTo>
                  <a:cubicBezTo>
                    <a:pt x="13179" y="52844"/>
                    <a:pt x="13179" y="52844"/>
                    <a:pt x="13179" y="52844"/>
                  </a:cubicBezTo>
                  <a:cubicBezTo>
                    <a:pt x="13179" y="53944"/>
                    <a:pt x="13872" y="55045"/>
                    <a:pt x="13872" y="55045"/>
                  </a:cubicBezTo>
                  <a:cubicBezTo>
                    <a:pt x="13872" y="57247"/>
                    <a:pt x="13872" y="57247"/>
                    <a:pt x="13872" y="57247"/>
                  </a:cubicBezTo>
                  <a:cubicBezTo>
                    <a:pt x="13872" y="57247"/>
                    <a:pt x="13179" y="57247"/>
                    <a:pt x="13179" y="58348"/>
                  </a:cubicBezTo>
                  <a:cubicBezTo>
                    <a:pt x="13179" y="58348"/>
                    <a:pt x="13179" y="59449"/>
                    <a:pt x="13179" y="59449"/>
                  </a:cubicBezTo>
                  <a:cubicBezTo>
                    <a:pt x="13179" y="59449"/>
                    <a:pt x="13179" y="60550"/>
                    <a:pt x="13179" y="60550"/>
                  </a:cubicBezTo>
                  <a:cubicBezTo>
                    <a:pt x="13179" y="60550"/>
                    <a:pt x="13179" y="61651"/>
                    <a:pt x="13179" y="61651"/>
                  </a:cubicBezTo>
                  <a:cubicBezTo>
                    <a:pt x="13179" y="61651"/>
                    <a:pt x="13179" y="62752"/>
                    <a:pt x="12485" y="63853"/>
                  </a:cubicBezTo>
                  <a:cubicBezTo>
                    <a:pt x="12485" y="63853"/>
                    <a:pt x="11791" y="64954"/>
                    <a:pt x="11791" y="64954"/>
                  </a:cubicBezTo>
                  <a:cubicBezTo>
                    <a:pt x="11791" y="64954"/>
                    <a:pt x="10404" y="64954"/>
                    <a:pt x="10404" y="64954"/>
                  </a:cubicBezTo>
                  <a:cubicBezTo>
                    <a:pt x="10404" y="66055"/>
                    <a:pt x="9017" y="66055"/>
                    <a:pt x="9017" y="66055"/>
                  </a:cubicBezTo>
                  <a:cubicBezTo>
                    <a:pt x="7630" y="68256"/>
                    <a:pt x="7630" y="68256"/>
                    <a:pt x="7630" y="68256"/>
                  </a:cubicBezTo>
                  <a:cubicBezTo>
                    <a:pt x="4855" y="72660"/>
                    <a:pt x="4855" y="72660"/>
                    <a:pt x="4855" y="72660"/>
                  </a:cubicBezTo>
                  <a:cubicBezTo>
                    <a:pt x="4855" y="72660"/>
                    <a:pt x="4855" y="73761"/>
                    <a:pt x="4855" y="73761"/>
                  </a:cubicBezTo>
                  <a:cubicBezTo>
                    <a:pt x="4855" y="73761"/>
                    <a:pt x="4855" y="75963"/>
                    <a:pt x="4855" y="75963"/>
                  </a:cubicBezTo>
                  <a:cubicBezTo>
                    <a:pt x="4855" y="77064"/>
                    <a:pt x="4161" y="78165"/>
                    <a:pt x="4161" y="78165"/>
                  </a:cubicBezTo>
                  <a:cubicBezTo>
                    <a:pt x="3468" y="79266"/>
                    <a:pt x="3468" y="79266"/>
                    <a:pt x="3468" y="79266"/>
                  </a:cubicBezTo>
                  <a:cubicBezTo>
                    <a:pt x="3468" y="81467"/>
                    <a:pt x="3468" y="81467"/>
                    <a:pt x="3468" y="81467"/>
                  </a:cubicBezTo>
                  <a:cubicBezTo>
                    <a:pt x="3468" y="82568"/>
                    <a:pt x="3468" y="82568"/>
                    <a:pt x="3468" y="82568"/>
                  </a:cubicBezTo>
                  <a:cubicBezTo>
                    <a:pt x="4161" y="83669"/>
                    <a:pt x="4161" y="83669"/>
                    <a:pt x="4161" y="83669"/>
                  </a:cubicBezTo>
                  <a:cubicBezTo>
                    <a:pt x="4855" y="84770"/>
                    <a:pt x="4855" y="84770"/>
                    <a:pt x="4855" y="84770"/>
                  </a:cubicBezTo>
                  <a:cubicBezTo>
                    <a:pt x="4855" y="88073"/>
                    <a:pt x="4855" y="88073"/>
                    <a:pt x="4855" y="88073"/>
                  </a:cubicBezTo>
                  <a:cubicBezTo>
                    <a:pt x="4161" y="90275"/>
                    <a:pt x="4161" y="90275"/>
                    <a:pt x="4161" y="90275"/>
                  </a:cubicBezTo>
                  <a:cubicBezTo>
                    <a:pt x="4161" y="92477"/>
                    <a:pt x="4161" y="92477"/>
                    <a:pt x="4161" y="92477"/>
                  </a:cubicBezTo>
                  <a:cubicBezTo>
                    <a:pt x="2774" y="92477"/>
                    <a:pt x="2774" y="92477"/>
                    <a:pt x="2774" y="92477"/>
                  </a:cubicBezTo>
                  <a:cubicBezTo>
                    <a:pt x="2774" y="92477"/>
                    <a:pt x="2080" y="93577"/>
                    <a:pt x="1387" y="93577"/>
                  </a:cubicBezTo>
                  <a:cubicBezTo>
                    <a:pt x="1387" y="93577"/>
                    <a:pt x="693" y="94678"/>
                    <a:pt x="693" y="94678"/>
                  </a:cubicBezTo>
                  <a:cubicBezTo>
                    <a:pt x="0" y="95779"/>
                    <a:pt x="0" y="95779"/>
                    <a:pt x="0" y="95779"/>
                  </a:cubicBezTo>
                  <a:cubicBezTo>
                    <a:pt x="693" y="96880"/>
                    <a:pt x="693" y="96880"/>
                    <a:pt x="693" y="96880"/>
                  </a:cubicBezTo>
                  <a:cubicBezTo>
                    <a:pt x="693" y="99082"/>
                    <a:pt x="693" y="99082"/>
                    <a:pt x="693" y="99082"/>
                  </a:cubicBezTo>
                  <a:cubicBezTo>
                    <a:pt x="1387" y="99082"/>
                    <a:pt x="1387" y="99082"/>
                    <a:pt x="1387" y="99082"/>
                  </a:cubicBezTo>
                  <a:cubicBezTo>
                    <a:pt x="2774" y="97981"/>
                    <a:pt x="2774" y="97981"/>
                    <a:pt x="2774" y="97981"/>
                  </a:cubicBezTo>
                  <a:cubicBezTo>
                    <a:pt x="4161" y="99082"/>
                    <a:pt x="4161" y="99082"/>
                    <a:pt x="4161" y="99082"/>
                  </a:cubicBezTo>
                  <a:cubicBezTo>
                    <a:pt x="6242" y="97981"/>
                    <a:pt x="6242" y="97981"/>
                    <a:pt x="6242" y="97981"/>
                  </a:cubicBezTo>
                  <a:cubicBezTo>
                    <a:pt x="6242" y="97981"/>
                    <a:pt x="6242" y="96880"/>
                    <a:pt x="6936" y="95779"/>
                  </a:cubicBezTo>
                  <a:cubicBezTo>
                    <a:pt x="7630" y="94678"/>
                    <a:pt x="8323" y="94678"/>
                    <a:pt x="8323" y="94678"/>
                  </a:cubicBezTo>
                  <a:cubicBezTo>
                    <a:pt x="9017" y="92477"/>
                    <a:pt x="9017" y="92477"/>
                    <a:pt x="9017" y="92477"/>
                  </a:cubicBezTo>
                  <a:cubicBezTo>
                    <a:pt x="8323" y="92477"/>
                    <a:pt x="8323" y="92477"/>
                    <a:pt x="8323" y="92477"/>
                  </a:cubicBezTo>
                  <a:cubicBezTo>
                    <a:pt x="8323" y="90275"/>
                    <a:pt x="8323" y="90275"/>
                    <a:pt x="8323" y="90275"/>
                  </a:cubicBezTo>
                  <a:cubicBezTo>
                    <a:pt x="6936" y="89174"/>
                    <a:pt x="6936" y="89174"/>
                    <a:pt x="6936" y="89174"/>
                  </a:cubicBezTo>
                  <a:cubicBezTo>
                    <a:pt x="6936" y="89174"/>
                    <a:pt x="6936" y="88073"/>
                    <a:pt x="6936" y="88073"/>
                  </a:cubicBezTo>
                  <a:cubicBezTo>
                    <a:pt x="7630" y="86972"/>
                    <a:pt x="8323" y="84770"/>
                    <a:pt x="8323" y="84770"/>
                  </a:cubicBezTo>
                  <a:cubicBezTo>
                    <a:pt x="10404" y="83669"/>
                    <a:pt x="10404" y="83669"/>
                    <a:pt x="10404" y="83669"/>
                  </a:cubicBezTo>
                  <a:cubicBezTo>
                    <a:pt x="12485" y="82568"/>
                    <a:pt x="12485" y="82568"/>
                    <a:pt x="12485" y="82568"/>
                  </a:cubicBezTo>
                  <a:cubicBezTo>
                    <a:pt x="13179" y="81467"/>
                    <a:pt x="13179" y="81467"/>
                    <a:pt x="13179" y="81467"/>
                  </a:cubicBezTo>
                  <a:cubicBezTo>
                    <a:pt x="14566" y="80366"/>
                    <a:pt x="14566" y="80366"/>
                    <a:pt x="14566" y="80366"/>
                  </a:cubicBezTo>
                  <a:cubicBezTo>
                    <a:pt x="14566" y="80366"/>
                    <a:pt x="16647" y="80366"/>
                    <a:pt x="16647" y="80366"/>
                  </a:cubicBezTo>
                  <a:cubicBezTo>
                    <a:pt x="16647" y="80366"/>
                    <a:pt x="19421" y="80366"/>
                    <a:pt x="19421" y="80366"/>
                  </a:cubicBezTo>
                  <a:lnTo>
                    <a:pt x="21502" y="82568"/>
                  </a:lnTo>
                  <a:close/>
                </a:path>
              </a:pathLst>
            </a:custGeom>
            <a:grpFill/>
            <a:ln w="3175" cap="flat" cmpd="sng">
              <a:solidFill>
                <a:schemeClr val="tx1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defTabSz="457178"/>
              <a:endParaRPr kern="0">
                <a:solidFill>
                  <a:srgbClr val="7F7F7F"/>
                </a:solidFill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18" name="Shape 2025">
              <a:extLst>
                <a:ext uri="{FF2B5EF4-FFF2-40B4-BE49-F238E27FC236}">
                  <a16:creationId xmlns:a16="http://schemas.microsoft.com/office/drawing/2014/main" id="{5D89FC02-03E6-4420-89CF-BE1D234DB2D1}"/>
                </a:ext>
              </a:extLst>
            </p:cNvPr>
            <p:cNvSpPr/>
            <p:nvPr/>
          </p:nvSpPr>
          <p:spPr>
            <a:xfrm>
              <a:off x="5753789" y="1798916"/>
              <a:ext cx="494744" cy="296185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506" y="40298"/>
                  </a:moveTo>
                  <a:cubicBezTo>
                    <a:pt x="13271" y="35820"/>
                    <a:pt x="13271" y="35820"/>
                    <a:pt x="13271" y="35820"/>
                  </a:cubicBezTo>
                  <a:cubicBezTo>
                    <a:pt x="13271" y="35820"/>
                    <a:pt x="16589" y="31343"/>
                    <a:pt x="17142" y="31343"/>
                  </a:cubicBezTo>
                  <a:cubicBezTo>
                    <a:pt x="18248" y="30447"/>
                    <a:pt x="19907" y="28656"/>
                    <a:pt x="19907" y="29552"/>
                  </a:cubicBezTo>
                  <a:cubicBezTo>
                    <a:pt x="19907" y="30447"/>
                    <a:pt x="20460" y="36716"/>
                    <a:pt x="20460" y="36716"/>
                  </a:cubicBezTo>
                  <a:cubicBezTo>
                    <a:pt x="23225" y="38507"/>
                    <a:pt x="23225" y="38507"/>
                    <a:pt x="23225" y="38507"/>
                  </a:cubicBezTo>
                  <a:cubicBezTo>
                    <a:pt x="25437" y="41194"/>
                    <a:pt x="25437" y="41194"/>
                    <a:pt x="25437" y="41194"/>
                  </a:cubicBezTo>
                  <a:cubicBezTo>
                    <a:pt x="29861" y="44776"/>
                    <a:pt x="29861" y="44776"/>
                    <a:pt x="29861" y="44776"/>
                  </a:cubicBezTo>
                  <a:cubicBezTo>
                    <a:pt x="30414" y="47462"/>
                    <a:pt x="30414" y="47462"/>
                    <a:pt x="30414" y="47462"/>
                  </a:cubicBezTo>
                  <a:cubicBezTo>
                    <a:pt x="30414" y="47462"/>
                    <a:pt x="29861" y="49253"/>
                    <a:pt x="30967" y="51940"/>
                  </a:cubicBezTo>
                  <a:cubicBezTo>
                    <a:pt x="32626" y="54626"/>
                    <a:pt x="33179" y="54626"/>
                    <a:pt x="33732" y="57313"/>
                  </a:cubicBezTo>
                  <a:cubicBezTo>
                    <a:pt x="34285" y="59104"/>
                    <a:pt x="36497" y="60895"/>
                    <a:pt x="36497" y="60895"/>
                  </a:cubicBezTo>
                  <a:cubicBezTo>
                    <a:pt x="39262" y="61791"/>
                    <a:pt x="39262" y="61791"/>
                    <a:pt x="39262" y="61791"/>
                  </a:cubicBezTo>
                  <a:cubicBezTo>
                    <a:pt x="39262" y="61791"/>
                    <a:pt x="42027" y="63582"/>
                    <a:pt x="42580" y="62686"/>
                  </a:cubicBezTo>
                  <a:cubicBezTo>
                    <a:pt x="43133" y="61791"/>
                    <a:pt x="45898" y="58208"/>
                    <a:pt x="45898" y="57313"/>
                  </a:cubicBezTo>
                  <a:cubicBezTo>
                    <a:pt x="46451" y="56417"/>
                    <a:pt x="48110" y="52835"/>
                    <a:pt x="48663" y="51940"/>
                  </a:cubicBezTo>
                  <a:cubicBezTo>
                    <a:pt x="49216" y="51044"/>
                    <a:pt x="50875" y="44776"/>
                    <a:pt x="50875" y="43880"/>
                  </a:cubicBezTo>
                  <a:cubicBezTo>
                    <a:pt x="50875" y="42089"/>
                    <a:pt x="48663" y="34925"/>
                    <a:pt x="48110" y="33134"/>
                  </a:cubicBezTo>
                  <a:cubicBezTo>
                    <a:pt x="48110" y="31343"/>
                    <a:pt x="47557" y="25970"/>
                    <a:pt x="47557" y="25970"/>
                  </a:cubicBezTo>
                  <a:cubicBezTo>
                    <a:pt x="45345" y="18805"/>
                    <a:pt x="45345" y="18805"/>
                    <a:pt x="45345" y="18805"/>
                  </a:cubicBezTo>
                  <a:cubicBezTo>
                    <a:pt x="45345" y="18805"/>
                    <a:pt x="45345" y="14328"/>
                    <a:pt x="45898" y="14328"/>
                  </a:cubicBezTo>
                  <a:cubicBezTo>
                    <a:pt x="46451" y="13432"/>
                    <a:pt x="49216" y="9850"/>
                    <a:pt x="49216" y="9850"/>
                  </a:cubicBezTo>
                  <a:cubicBezTo>
                    <a:pt x="51981" y="5373"/>
                    <a:pt x="51981" y="5373"/>
                    <a:pt x="51981" y="5373"/>
                  </a:cubicBezTo>
                  <a:cubicBezTo>
                    <a:pt x="54746" y="2686"/>
                    <a:pt x="54746" y="2686"/>
                    <a:pt x="54746" y="2686"/>
                  </a:cubicBezTo>
                  <a:cubicBezTo>
                    <a:pt x="56958" y="0"/>
                    <a:pt x="56958" y="0"/>
                    <a:pt x="56958" y="0"/>
                  </a:cubicBezTo>
                  <a:cubicBezTo>
                    <a:pt x="59723" y="1791"/>
                    <a:pt x="59723" y="1791"/>
                    <a:pt x="59723" y="1791"/>
                  </a:cubicBezTo>
                  <a:cubicBezTo>
                    <a:pt x="61935" y="1791"/>
                    <a:pt x="61935" y="1791"/>
                    <a:pt x="61935" y="1791"/>
                  </a:cubicBezTo>
                  <a:cubicBezTo>
                    <a:pt x="64147" y="3582"/>
                    <a:pt x="64147" y="3582"/>
                    <a:pt x="64147" y="3582"/>
                  </a:cubicBezTo>
                  <a:cubicBezTo>
                    <a:pt x="66912" y="3582"/>
                    <a:pt x="66912" y="3582"/>
                    <a:pt x="66912" y="3582"/>
                  </a:cubicBezTo>
                  <a:cubicBezTo>
                    <a:pt x="69124" y="4477"/>
                    <a:pt x="69124" y="4477"/>
                    <a:pt x="69124" y="4477"/>
                  </a:cubicBezTo>
                  <a:cubicBezTo>
                    <a:pt x="71889" y="6268"/>
                    <a:pt x="71889" y="6268"/>
                    <a:pt x="71889" y="6268"/>
                  </a:cubicBezTo>
                  <a:cubicBezTo>
                    <a:pt x="76866" y="11641"/>
                    <a:pt x="76866" y="11641"/>
                    <a:pt x="76866" y="11641"/>
                  </a:cubicBezTo>
                  <a:cubicBezTo>
                    <a:pt x="78525" y="15223"/>
                    <a:pt x="78525" y="15223"/>
                    <a:pt x="78525" y="15223"/>
                  </a:cubicBezTo>
                  <a:cubicBezTo>
                    <a:pt x="80184" y="16119"/>
                    <a:pt x="80184" y="16119"/>
                    <a:pt x="80184" y="16119"/>
                  </a:cubicBezTo>
                  <a:cubicBezTo>
                    <a:pt x="80184" y="16119"/>
                    <a:pt x="81290" y="17910"/>
                    <a:pt x="82396" y="17014"/>
                  </a:cubicBezTo>
                  <a:cubicBezTo>
                    <a:pt x="82949" y="17014"/>
                    <a:pt x="83502" y="16119"/>
                    <a:pt x="84055" y="15223"/>
                  </a:cubicBezTo>
                  <a:cubicBezTo>
                    <a:pt x="85161" y="14328"/>
                    <a:pt x="85714" y="12537"/>
                    <a:pt x="85714" y="12537"/>
                  </a:cubicBezTo>
                  <a:cubicBezTo>
                    <a:pt x="86820" y="12537"/>
                    <a:pt x="86820" y="12537"/>
                    <a:pt x="86820" y="12537"/>
                  </a:cubicBezTo>
                  <a:cubicBezTo>
                    <a:pt x="87926" y="9850"/>
                    <a:pt x="87926" y="9850"/>
                    <a:pt x="87926" y="9850"/>
                  </a:cubicBezTo>
                  <a:cubicBezTo>
                    <a:pt x="92350" y="11641"/>
                    <a:pt x="92350" y="11641"/>
                    <a:pt x="92350" y="11641"/>
                  </a:cubicBezTo>
                  <a:cubicBezTo>
                    <a:pt x="94562" y="11641"/>
                    <a:pt x="94562" y="11641"/>
                    <a:pt x="94562" y="11641"/>
                  </a:cubicBezTo>
                  <a:cubicBezTo>
                    <a:pt x="97880" y="9850"/>
                    <a:pt x="97880" y="9850"/>
                    <a:pt x="97880" y="9850"/>
                  </a:cubicBezTo>
                  <a:cubicBezTo>
                    <a:pt x="99539" y="12537"/>
                    <a:pt x="99539" y="12537"/>
                    <a:pt x="99539" y="12537"/>
                  </a:cubicBezTo>
                  <a:cubicBezTo>
                    <a:pt x="99539" y="15223"/>
                    <a:pt x="99539" y="15223"/>
                    <a:pt x="99539" y="15223"/>
                  </a:cubicBezTo>
                  <a:cubicBezTo>
                    <a:pt x="101751" y="16119"/>
                    <a:pt x="101751" y="16119"/>
                    <a:pt x="101751" y="16119"/>
                  </a:cubicBezTo>
                  <a:cubicBezTo>
                    <a:pt x="101751" y="16119"/>
                    <a:pt x="103410" y="17910"/>
                    <a:pt x="103963" y="17910"/>
                  </a:cubicBezTo>
                  <a:cubicBezTo>
                    <a:pt x="104516" y="17910"/>
                    <a:pt x="105622" y="18805"/>
                    <a:pt x="105622" y="18805"/>
                  </a:cubicBezTo>
                  <a:cubicBezTo>
                    <a:pt x="106175" y="27761"/>
                    <a:pt x="106175" y="27761"/>
                    <a:pt x="106175" y="27761"/>
                  </a:cubicBezTo>
                  <a:cubicBezTo>
                    <a:pt x="105069" y="30447"/>
                    <a:pt x="105069" y="30447"/>
                    <a:pt x="105069" y="30447"/>
                  </a:cubicBezTo>
                  <a:cubicBezTo>
                    <a:pt x="106175" y="37611"/>
                    <a:pt x="106175" y="37611"/>
                    <a:pt x="106175" y="37611"/>
                  </a:cubicBezTo>
                  <a:cubicBezTo>
                    <a:pt x="106175" y="41194"/>
                    <a:pt x="106175" y="41194"/>
                    <a:pt x="106175" y="41194"/>
                  </a:cubicBezTo>
                  <a:cubicBezTo>
                    <a:pt x="108387" y="38507"/>
                    <a:pt x="108387" y="38507"/>
                    <a:pt x="108387" y="38507"/>
                  </a:cubicBezTo>
                  <a:cubicBezTo>
                    <a:pt x="110599" y="41194"/>
                    <a:pt x="110599" y="41194"/>
                    <a:pt x="110599" y="41194"/>
                  </a:cubicBezTo>
                  <a:cubicBezTo>
                    <a:pt x="109493" y="43880"/>
                    <a:pt x="109493" y="43880"/>
                    <a:pt x="109493" y="43880"/>
                  </a:cubicBezTo>
                  <a:cubicBezTo>
                    <a:pt x="112258" y="47462"/>
                    <a:pt x="112258" y="47462"/>
                    <a:pt x="112258" y="47462"/>
                  </a:cubicBezTo>
                  <a:cubicBezTo>
                    <a:pt x="114470" y="49253"/>
                    <a:pt x="114470" y="49253"/>
                    <a:pt x="114470" y="49253"/>
                  </a:cubicBezTo>
                  <a:cubicBezTo>
                    <a:pt x="113917" y="51940"/>
                    <a:pt x="113917" y="51940"/>
                    <a:pt x="113917" y="51940"/>
                  </a:cubicBezTo>
                  <a:cubicBezTo>
                    <a:pt x="113917" y="51940"/>
                    <a:pt x="114470" y="52835"/>
                    <a:pt x="115023" y="52835"/>
                  </a:cubicBezTo>
                  <a:cubicBezTo>
                    <a:pt x="115576" y="53731"/>
                    <a:pt x="116682" y="54626"/>
                    <a:pt x="116682" y="54626"/>
                  </a:cubicBezTo>
                  <a:cubicBezTo>
                    <a:pt x="116682" y="54626"/>
                    <a:pt x="117235" y="57313"/>
                    <a:pt x="117235" y="59104"/>
                  </a:cubicBezTo>
                  <a:cubicBezTo>
                    <a:pt x="117788" y="60000"/>
                    <a:pt x="120000" y="62686"/>
                    <a:pt x="120000" y="62686"/>
                  </a:cubicBezTo>
                  <a:cubicBezTo>
                    <a:pt x="119447" y="67164"/>
                    <a:pt x="119447" y="67164"/>
                    <a:pt x="119447" y="67164"/>
                  </a:cubicBezTo>
                  <a:cubicBezTo>
                    <a:pt x="119447" y="67164"/>
                    <a:pt x="119447" y="68955"/>
                    <a:pt x="119447" y="69850"/>
                  </a:cubicBezTo>
                  <a:cubicBezTo>
                    <a:pt x="119447" y="70746"/>
                    <a:pt x="119447" y="71641"/>
                    <a:pt x="119447" y="72537"/>
                  </a:cubicBezTo>
                  <a:cubicBezTo>
                    <a:pt x="119447" y="71641"/>
                    <a:pt x="119447" y="71641"/>
                    <a:pt x="119447" y="71641"/>
                  </a:cubicBezTo>
                  <a:cubicBezTo>
                    <a:pt x="116682" y="74328"/>
                    <a:pt x="116682" y="74328"/>
                    <a:pt x="116682" y="74328"/>
                  </a:cubicBezTo>
                  <a:cubicBezTo>
                    <a:pt x="116129" y="80597"/>
                    <a:pt x="116129" y="80597"/>
                    <a:pt x="116129" y="80597"/>
                  </a:cubicBezTo>
                  <a:cubicBezTo>
                    <a:pt x="113364" y="85074"/>
                    <a:pt x="113364" y="85074"/>
                    <a:pt x="113364" y="85074"/>
                  </a:cubicBezTo>
                  <a:cubicBezTo>
                    <a:pt x="114470" y="89552"/>
                    <a:pt x="114470" y="89552"/>
                    <a:pt x="114470" y="89552"/>
                  </a:cubicBezTo>
                  <a:cubicBezTo>
                    <a:pt x="113364" y="92238"/>
                    <a:pt x="113364" y="92238"/>
                    <a:pt x="113364" y="92238"/>
                  </a:cubicBezTo>
                  <a:cubicBezTo>
                    <a:pt x="108940" y="92238"/>
                    <a:pt x="108940" y="92238"/>
                    <a:pt x="108940" y="92238"/>
                  </a:cubicBezTo>
                  <a:cubicBezTo>
                    <a:pt x="108940" y="92238"/>
                    <a:pt x="108387" y="92238"/>
                    <a:pt x="106175" y="92238"/>
                  </a:cubicBezTo>
                  <a:cubicBezTo>
                    <a:pt x="103963" y="92238"/>
                    <a:pt x="104516" y="92238"/>
                    <a:pt x="104516" y="92238"/>
                  </a:cubicBezTo>
                  <a:cubicBezTo>
                    <a:pt x="102857" y="94925"/>
                    <a:pt x="102857" y="94925"/>
                    <a:pt x="102857" y="94925"/>
                  </a:cubicBezTo>
                  <a:cubicBezTo>
                    <a:pt x="102304" y="100298"/>
                    <a:pt x="102304" y="100298"/>
                    <a:pt x="102304" y="100298"/>
                  </a:cubicBezTo>
                  <a:cubicBezTo>
                    <a:pt x="102304" y="100298"/>
                    <a:pt x="101198" y="100298"/>
                    <a:pt x="98986" y="101194"/>
                  </a:cubicBezTo>
                  <a:cubicBezTo>
                    <a:pt x="97880" y="102089"/>
                    <a:pt x="97880" y="102985"/>
                    <a:pt x="97880" y="102985"/>
                  </a:cubicBezTo>
                  <a:cubicBezTo>
                    <a:pt x="97880" y="102985"/>
                    <a:pt x="97880" y="102985"/>
                    <a:pt x="97880" y="102985"/>
                  </a:cubicBezTo>
                  <a:cubicBezTo>
                    <a:pt x="96221" y="102985"/>
                    <a:pt x="96221" y="102985"/>
                    <a:pt x="96221" y="102985"/>
                  </a:cubicBezTo>
                  <a:cubicBezTo>
                    <a:pt x="93456" y="102089"/>
                    <a:pt x="93456" y="102089"/>
                    <a:pt x="93456" y="102089"/>
                  </a:cubicBezTo>
                  <a:cubicBezTo>
                    <a:pt x="91244" y="102089"/>
                    <a:pt x="91244" y="102089"/>
                    <a:pt x="91244" y="102089"/>
                  </a:cubicBezTo>
                  <a:cubicBezTo>
                    <a:pt x="90138" y="98507"/>
                    <a:pt x="90138" y="98507"/>
                    <a:pt x="90138" y="98507"/>
                  </a:cubicBezTo>
                  <a:cubicBezTo>
                    <a:pt x="88479" y="97611"/>
                    <a:pt x="88479" y="97611"/>
                    <a:pt x="88479" y="97611"/>
                  </a:cubicBezTo>
                  <a:cubicBezTo>
                    <a:pt x="86820" y="94029"/>
                    <a:pt x="86820" y="94029"/>
                    <a:pt x="86820" y="94029"/>
                  </a:cubicBezTo>
                  <a:cubicBezTo>
                    <a:pt x="84608" y="93134"/>
                    <a:pt x="84608" y="93134"/>
                    <a:pt x="84608" y="93134"/>
                  </a:cubicBezTo>
                  <a:cubicBezTo>
                    <a:pt x="83502" y="90447"/>
                    <a:pt x="83502" y="90447"/>
                    <a:pt x="83502" y="90447"/>
                  </a:cubicBezTo>
                  <a:cubicBezTo>
                    <a:pt x="80737" y="90447"/>
                    <a:pt x="80737" y="90447"/>
                    <a:pt x="80737" y="90447"/>
                  </a:cubicBezTo>
                  <a:cubicBezTo>
                    <a:pt x="79078" y="88656"/>
                    <a:pt x="79078" y="88656"/>
                    <a:pt x="79078" y="88656"/>
                  </a:cubicBezTo>
                  <a:cubicBezTo>
                    <a:pt x="78525" y="86865"/>
                    <a:pt x="78525" y="86865"/>
                    <a:pt x="78525" y="86865"/>
                  </a:cubicBezTo>
                  <a:cubicBezTo>
                    <a:pt x="76866" y="86865"/>
                    <a:pt x="76866" y="86865"/>
                    <a:pt x="76866" y="86865"/>
                  </a:cubicBezTo>
                  <a:cubicBezTo>
                    <a:pt x="74654" y="87761"/>
                    <a:pt x="74654" y="87761"/>
                    <a:pt x="74654" y="87761"/>
                  </a:cubicBezTo>
                  <a:cubicBezTo>
                    <a:pt x="70783" y="89552"/>
                    <a:pt x="70783" y="89552"/>
                    <a:pt x="70783" y="89552"/>
                  </a:cubicBezTo>
                  <a:cubicBezTo>
                    <a:pt x="68571" y="86865"/>
                    <a:pt x="68571" y="86865"/>
                    <a:pt x="68571" y="86865"/>
                  </a:cubicBezTo>
                  <a:cubicBezTo>
                    <a:pt x="68018" y="85970"/>
                    <a:pt x="68018" y="85970"/>
                    <a:pt x="68018" y="85970"/>
                  </a:cubicBezTo>
                  <a:cubicBezTo>
                    <a:pt x="65806" y="83283"/>
                    <a:pt x="65806" y="83283"/>
                    <a:pt x="65806" y="83283"/>
                  </a:cubicBezTo>
                  <a:cubicBezTo>
                    <a:pt x="64700" y="77910"/>
                    <a:pt x="64700" y="77910"/>
                    <a:pt x="64700" y="77910"/>
                  </a:cubicBezTo>
                  <a:cubicBezTo>
                    <a:pt x="64700" y="77910"/>
                    <a:pt x="62488" y="80597"/>
                    <a:pt x="61935" y="80597"/>
                  </a:cubicBezTo>
                  <a:cubicBezTo>
                    <a:pt x="61935" y="80597"/>
                    <a:pt x="60276" y="85074"/>
                    <a:pt x="60276" y="85074"/>
                  </a:cubicBezTo>
                  <a:cubicBezTo>
                    <a:pt x="59723" y="88656"/>
                    <a:pt x="59723" y="88656"/>
                    <a:pt x="59723" y="88656"/>
                  </a:cubicBezTo>
                  <a:cubicBezTo>
                    <a:pt x="56405" y="86865"/>
                    <a:pt x="56405" y="86865"/>
                    <a:pt x="56405" y="86865"/>
                  </a:cubicBezTo>
                  <a:cubicBezTo>
                    <a:pt x="56405" y="86865"/>
                    <a:pt x="54746" y="90447"/>
                    <a:pt x="54746" y="91343"/>
                  </a:cubicBezTo>
                  <a:cubicBezTo>
                    <a:pt x="54193" y="91343"/>
                    <a:pt x="51981" y="89552"/>
                    <a:pt x="51981" y="89552"/>
                  </a:cubicBezTo>
                  <a:cubicBezTo>
                    <a:pt x="48663" y="89552"/>
                    <a:pt x="48663" y="89552"/>
                    <a:pt x="48663" y="89552"/>
                  </a:cubicBezTo>
                  <a:cubicBezTo>
                    <a:pt x="48663" y="89552"/>
                    <a:pt x="45345" y="89552"/>
                    <a:pt x="44792" y="88656"/>
                  </a:cubicBezTo>
                  <a:cubicBezTo>
                    <a:pt x="44239" y="88656"/>
                    <a:pt x="44239" y="89552"/>
                    <a:pt x="44239" y="89552"/>
                  </a:cubicBezTo>
                  <a:cubicBezTo>
                    <a:pt x="41474" y="90447"/>
                    <a:pt x="41474" y="90447"/>
                    <a:pt x="41474" y="90447"/>
                  </a:cubicBezTo>
                  <a:cubicBezTo>
                    <a:pt x="38156" y="91343"/>
                    <a:pt x="38156" y="91343"/>
                    <a:pt x="38156" y="91343"/>
                  </a:cubicBezTo>
                  <a:cubicBezTo>
                    <a:pt x="38156" y="91343"/>
                    <a:pt x="37603" y="94925"/>
                    <a:pt x="37050" y="95820"/>
                  </a:cubicBezTo>
                  <a:cubicBezTo>
                    <a:pt x="36497" y="95820"/>
                    <a:pt x="34838" y="93134"/>
                    <a:pt x="34285" y="92238"/>
                  </a:cubicBezTo>
                  <a:cubicBezTo>
                    <a:pt x="34285" y="91343"/>
                    <a:pt x="32626" y="90447"/>
                    <a:pt x="32626" y="90447"/>
                  </a:cubicBezTo>
                  <a:cubicBezTo>
                    <a:pt x="30414" y="93134"/>
                    <a:pt x="30414" y="93134"/>
                    <a:pt x="30414" y="93134"/>
                  </a:cubicBezTo>
                  <a:cubicBezTo>
                    <a:pt x="30414" y="93134"/>
                    <a:pt x="26543" y="94029"/>
                    <a:pt x="25990" y="94029"/>
                  </a:cubicBezTo>
                  <a:cubicBezTo>
                    <a:pt x="25437" y="94029"/>
                    <a:pt x="22672" y="95820"/>
                    <a:pt x="22672" y="95820"/>
                  </a:cubicBezTo>
                  <a:cubicBezTo>
                    <a:pt x="18801" y="94925"/>
                    <a:pt x="18801" y="94925"/>
                    <a:pt x="18801" y="94925"/>
                  </a:cubicBezTo>
                  <a:cubicBezTo>
                    <a:pt x="17142" y="97611"/>
                    <a:pt x="17142" y="97611"/>
                    <a:pt x="17142" y="97611"/>
                  </a:cubicBezTo>
                  <a:cubicBezTo>
                    <a:pt x="13824" y="101194"/>
                    <a:pt x="13824" y="101194"/>
                    <a:pt x="13824" y="101194"/>
                  </a:cubicBezTo>
                  <a:cubicBezTo>
                    <a:pt x="11612" y="101194"/>
                    <a:pt x="11612" y="101194"/>
                    <a:pt x="11612" y="101194"/>
                  </a:cubicBezTo>
                  <a:cubicBezTo>
                    <a:pt x="10506" y="105671"/>
                    <a:pt x="10506" y="105671"/>
                    <a:pt x="10506" y="105671"/>
                  </a:cubicBezTo>
                  <a:cubicBezTo>
                    <a:pt x="8294" y="107462"/>
                    <a:pt x="8294" y="107462"/>
                    <a:pt x="8294" y="107462"/>
                  </a:cubicBezTo>
                  <a:cubicBezTo>
                    <a:pt x="7741" y="109253"/>
                    <a:pt x="7741" y="109253"/>
                    <a:pt x="7741" y="109253"/>
                  </a:cubicBezTo>
                  <a:cubicBezTo>
                    <a:pt x="7188" y="114626"/>
                    <a:pt x="7188" y="114626"/>
                    <a:pt x="7188" y="114626"/>
                  </a:cubicBezTo>
                  <a:cubicBezTo>
                    <a:pt x="7188" y="114626"/>
                    <a:pt x="5529" y="115522"/>
                    <a:pt x="4423" y="115522"/>
                  </a:cubicBezTo>
                  <a:cubicBezTo>
                    <a:pt x="3870" y="116417"/>
                    <a:pt x="4976" y="117313"/>
                    <a:pt x="4976" y="117313"/>
                  </a:cubicBezTo>
                  <a:cubicBezTo>
                    <a:pt x="4423" y="120000"/>
                    <a:pt x="4423" y="120000"/>
                    <a:pt x="4423" y="120000"/>
                  </a:cubicBezTo>
                  <a:cubicBezTo>
                    <a:pt x="4423" y="120000"/>
                    <a:pt x="3870" y="119104"/>
                    <a:pt x="3870" y="119104"/>
                  </a:cubicBezTo>
                  <a:cubicBezTo>
                    <a:pt x="3870" y="119104"/>
                    <a:pt x="3317" y="116417"/>
                    <a:pt x="2764" y="114626"/>
                  </a:cubicBezTo>
                  <a:cubicBezTo>
                    <a:pt x="1658" y="112835"/>
                    <a:pt x="552" y="104776"/>
                    <a:pt x="552" y="104776"/>
                  </a:cubicBezTo>
                  <a:cubicBezTo>
                    <a:pt x="1658" y="101194"/>
                    <a:pt x="1658" y="101194"/>
                    <a:pt x="1658" y="101194"/>
                  </a:cubicBezTo>
                  <a:cubicBezTo>
                    <a:pt x="1658" y="101194"/>
                    <a:pt x="1658" y="97611"/>
                    <a:pt x="1658" y="96716"/>
                  </a:cubicBezTo>
                  <a:cubicBezTo>
                    <a:pt x="1105" y="94925"/>
                    <a:pt x="552" y="86865"/>
                    <a:pt x="552" y="86865"/>
                  </a:cubicBezTo>
                  <a:cubicBezTo>
                    <a:pt x="552" y="86865"/>
                    <a:pt x="0" y="83283"/>
                    <a:pt x="0" y="82388"/>
                  </a:cubicBezTo>
                  <a:cubicBezTo>
                    <a:pt x="0" y="81492"/>
                    <a:pt x="3870" y="74328"/>
                    <a:pt x="3870" y="74328"/>
                  </a:cubicBezTo>
                  <a:cubicBezTo>
                    <a:pt x="3870" y="73432"/>
                    <a:pt x="4423" y="66268"/>
                    <a:pt x="4423" y="66268"/>
                  </a:cubicBezTo>
                  <a:cubicBezTo>
                    <a:pt x="3317" y="60895"/>
                    <a:pt x="3317" y="60895"/>
                    <a:pt x="3317" y="60895"/>
                  </a:cubicBezTo>
                  <a:cubicBezTo>
                    <a:pt x="4423" y="53731"/>
                    <a:pt x="4423" y="53731"/>
                    <a:pt x="4423" y="53731"/>
                  </a:cubicBezTo>
                  <a:cubicBezTo>
                    <a:pt x="5529" y="45671"/>
                    <a:pt x="5529" y="45671"/>
                    <a:pt x="5529" y="45671"/>
                  </a:cubicBezTo>
                  <a:cubicBezTo>
                    <a:pt x="5529" y="45671"/>
                    <a:pt x="6082" y="42089"/>
                    <a:pt x="6635" y="42089"/>
                  </a:cubicBezTo>
                  <a:cubicBezTo>
                    <a:pt x="7188" y="41194"/>
                    <a:pt x="10506" y="40298"/>
                    <a:pt x="10506" y="4029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 cmpd="sng">
              <a:solidFill>
                <a:schemeClr val="tx1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defTabSz="457178"/>
              <a:endParaRPr kern="0">
                <a:solidFill>
                  <a:srgbClr val="7F7F7F"/>
                </a:solidFill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19" name="Shape 2026">
              <a:extLst>
                <a:ext uri="{FF2B5EF4-FFF2-40B4-BE49-F238E27FC236}">
                  <a16:creationId xmlns:a16="http://schemas.microsoft.com/office/drawing/2014/main" id="{893445D1-8CD5-4A67-8BC1-C1F36F33FCE6}"/>
                </a:ext>
              </a:extLst>
            </p:cNvPr>
            <p:cNvSpPr/>
            <p:nvPr/>
          </p:nvSpPr>
          <p:spPr>
            <a:xfrm>
              <a:off x="5535001" y="3399175"/>
              <a:ext cx="359513" cy="307905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0126" y="71654"/>
                  </a:moveTo>
                  <a:cubicBezTo>
                    <a:pt x="110886" y="71654"/>
                    <a:pt x="110886" y="71654"/>
                    <a:pt x="110886" y="71654"/>
                  </a:cubicBezTo>
                  <a:cubicBezTo>
                    <a:pt x="110886" y="71654"/>
                    <a:pt x="110886" y="71654"/>
                    <a:pt x="110886" y="71654"/>
                  </a:cubicBezTo>
                  <a:cubicBezTo>
                    <a:pt x="110126" y="71654"/>
                    <a:pt x="110126" y="71654"/>
                    <a:pt x="110126" y="71654"/>
                  </a:cubicBezTo>
                  <a:close/>
                  <a:moveTo>
                    <a:pt x="100253" y="7769"/>
                  </a:moveTo>
                  <a:cubicBezTo>
                    <a:pt x="100253" y="7769"/>
                    <a:pt x="100253" y="7769"/>
                    <a:pt x="100253" y="7769"/>
                  </a:cubicBezTo>
                  <a:cubicBezTo>
                    <a:pt x="104810" y="8633"/>
                    <a:pt x="104810" y="8633"/>
                    <a:pt x="104810" y="8633"/>
                  </a:cubicBezTo>
                  <a:cubicBezTo>
                    <a:pt x="107088" y="9496"/>
                    <a:pt x="107088" y="9496"/>
                    <a:pt x="107088" y="9496"/>
                  </a:cubicBezTo>
                  <a:cubicBezTo>
                    <a:pt x="107088" y="12086"/>
                    <a:pt x="107088" y="12086"/>
                    <a:pt x="107088" y="12086"/>
                  </a:cubicBezTo>
                  <a:cubicBezTo>
                    <a:pt x="107088" y="15539"/>
                    <a:pt x="107088" y="15539"/>
                    <a:pt x="107088" y="15539"/>
                  </a:cubicBezTo>
                  <a:cubicBezTo>
                    <a:pt x="107088" y="18129"/>
                    <a:pt x="107088" y="18129"/>
                    <a:pt x="107088" y="18129"/>
                  </a:cubicBezTo>
                  <a:cubicBezTo>
                    <a:pt x="104810" y="21582"/>
                    <a:pt x="104810" y="21582"/>
                    <a:pt x="104810" y="21582"/>
                  </a:cubicBezTo>
                  <a:cubicBezTo>
                    <a:pt x="104810" y="21582"/>
                    <a:pt x="104050" y="24172"/>
                    <a:pt x="104050" y="24172"/>
                  </a:cubicBezTo>
                  <a:cubicBezTo>
                    <a:pt x="104050" y="25035"/>
                    <a:pt x="103291" y="26762"/>
                    <a:pt x="103291" y="26762"/>
                  </a:cubicBezTo>
                  <a:cubicBezTo>
                    <a:pt x="103291" y="26762"/>
                    <a:pt x="101772" y="25899"/>
                    <a:pt x="102531" y="28489"/>
                  </a:cubicBezTo>
                  <a:cubicBezTo>
                    <a:pt x="102531" y="31079"/>
                    <a:pt x="103291" y="30215"/>
                    <a:pt x="103291" y="31079"/>
                  </a:cubicBezTo>
                  <a:cubicBezTo>
                    <a:pt x="103291" y="31942"/>
                    <a:pt x="103291" y="33669"/>
                    <a:pt x="103291" y="34532"/>
                  </a:cubicBezTo>
                  <a:cubicBezTo>
                    <a:pt x="102531" y="35395"/>
                    <a:pt x="103291" y="35395"/>
                    <a:pt x="102531" y="36258"/>
                  </a:cubicBezTo>
                  <a:cubicBezTo>
                    <a:pt x="102531" y="37122"/>
                    <a:pt x="104050" y="37985"/>
                    <a:pt x="105569" y="37985"/>
                  </a:cubicBezTo>
                  <a:cubicBezTo>
                    <a:pt x="107088" y="38848"/>
                    <a:pt x="107088" y="37985"/>
                    <a:pt x="107848" y="37985"/>
                  </a:cubicBezTo>
                  <a:cubicBezTo>
                    <a:pt x="108607" y="37985"/>
                    <a:pt x="109367" y="38848"/>
                    <a:pt x="110126" y="38848"/>
                  </a:cubicBezTo>
                  <a:cubicBezTo>
                    <a:pt x="110886" y="39712"/>
                    <a:pt x="110886" y="39712"/>
                    <a:pt x="110886" y="40575"/>
                  </a:cubicBezTo>
                  <a:cubicBezTo>
                    <a:pt x="111645" y="41438"/>
                    <a:pt x="112405" y="42302"/>
                    <a:pt x="113164" y="43165"/>
                  </a:cubicBezTo>
                  <a:cubicBezTo>
                    <a:pt x="113924" y="43165"/>
                    <a:pt x="113924" y="42302"/>
                    <a:pt x="114683" y="42302"/>
                  </a:cubicBezTo>
                  <a:cubicBezTo>
                    <a:pt x="114683" y="43165"/>
                    <a:pt x="115443" y="44028"/>
                    <a:pt x="116202" y="44028"/>
                  </a:cubicBezTo>
                  <a:cubicBezTo>
                    <a:pt x="116202" y="44892"/>
                    <a:pt x="116962" y="45755"/>
                    <a:pt x="117721" y="45755"/>
                  </a:cubicBezTo>
                  <a:cubicBezTo>
                    <a:pt x="117721" y="45755"/>
                    <a:pt x="119240" y="46618"/>
                    <a:pt x="119240" y="46618"/>
                  </a:cubicBezTo>
                  <a:cubicBezTo>
                    <a:pt x="120000" y="47482"/>
                    <a:pt x="119240" y="48345"/>
                    <a:pt x="119240" y="48345"/>
                  </a:cubicBezTo>
                  <a:cubicBezTo>
                    <a:pt x="118481" y="48345"/>
                    <a:pt x="118481" y="50071"/>
                    <a:pt x="117721" y="50071"/>
                  </a:cubicBezTo>
                  <a:cubicBezTo>
                    <a:pt x="117721" y="50071"/>
                    <a:pt x="115443" y="50935"/>
                    <a:pt x="115443" y="50935"/>
                  </a:cubicBezTo>
                  <a:cubicBezTo>
                    <a:pt x="114683" y="50935"/>
                    <a:pt x="113924" y="50935"/>
                    <a:pt x="113164" y="50935"/>
                  </a:cubicBezTo>
                  <a:cubicBezTo>
                    <a:pt x="112405" y="50935"/>
                    <a:pt x="111645" y="50935"/>
                    <a:pt x="110886" y="50071"/>
                  </a:cubicBezTo>
                  <a:cubicBezTo>
                    <a:pt x="110126" y="50071"/>
                    <a:pt x="110126" y="50071"/>
                    <a:pt x="109367" y="50071"/>
                  </a:cubicBezTo>
                  <a:cubicBezTo>
                    <a:pt x="109367" y="50935"/>
                    <a:pt x="109367" y="52661"/>
                    <a:pt x="109367" y="52661"/>
                  </a:cubicBezTo>
                  <a:cubicBezTo>
                    <a:pt x="109367" y="52661"/>
                    <a:pt x="110126" y="53525"/>
                    <a:pt x="110886" y="54388"/>
                  </a:cubicBezTo>
                  <a:cubicBezTo>
                    <a:pt x="110886" y="54388"/>
                    <a:pt x="112405" y="56115"/>
                    <a:pt x="113164" y="56115"/>
                  </a:cubicBezTo>
                  <a:cubicBezTo>
                    <a:pt x="113164" y="56115"/>
                    <a:pt x="113924" y="56978"/>
                    <a:pt x="114683" y="57841"/>
                  </a:cubicBezTo>
                  <a:cubicBezTo>
                    <a:pt x="115443" y="59568"/>
                    <a:pt x="115443" y="60431"/>
                    <a:pt x="115443" y="60431"/>
                  </a:cubicBezTo>
                  <a:cubicBezTo>
                    <a:pt x="119240" y="63884"/>
                    <a:pt x="119240" y="63884"/>
                    <a:pt x="119240" y="63884"/>
                  </a:cubicBezTo>
                  <a:cubicBezTo>
                    <a:pt x="119240" y="63884"/>
                    <a:pt x="119240" y="64748"/>
                    <a:pt x="119240" y="67338"/>
                  </a:cubicBezTo>
                  <a:cubicBezTo>
                    <a:pt x="119240" y="70791"/>
                    <a:pt x="118481" y="69064"/>
                    <a:pt x="117721" y="69064"/>
                  </a:cubicBezTo>
                  <a:cubicBezTo>
                    <a:pt x="116962" y="69064"/>
                    <a:pt x="116202" y="69064"/>
                    <a:pt x="114683" y="68201"/>
                  </a:cubicBezTo>
                  <a:cubicBezTo>
                    <a:pt x="113924" y="68201"/>
                    <a:pt x="113924" y="68201"/>
                    <a:pt x="113924" y="68201"/>
                  </a:cubicBezTo>
                  <a:cubicBezTo>
                    <a:pt x="112405" y="70791"/>
                    <a:pt x="112405" y="70791"/>
                    <a:pt x="112405" y="70791"/>
                  </a:cubicBezTo>
                  <a:cubicBezTo>
                    <a:pt x="112405" y="70791"/>
                    <a:pt x="110886" y="70791"/>
                    <a:pt x="110126" y="71654"/>
                  </a:cubicBezTo>
                  <a:cubicBezTo>
                    <a:pt x="109367" y="71654"/>
                    <a:pt x="109367" y="71654"/>
                    <a:pt x="109367" y="71654"/>
                  </a:cubicBezTo>
                  <a:cubicBezTo>
                    <a:pt x="109367" y="71654"/>
                    <a:pt x="107848" y="72517"/>
                    <a:pt x="107848" y="72517"/>
                  </a:cubicBezTo>
                  <a:cubicBezTo>
                    <a:pt x="107848" y="72517"/>
                    <a:pt x="107088" y="73381"/>
                    <a:pt x="107088" y="73381"/>
                  </a:cubicBezTo>
                  <a:cubicBezTo>
                    <a:pt x="106329" y="73381"/>
                    <a:pt x="106329" y="73381"/>
                    <a:pt x="106329" y="73381"/>
                  </a:cubicBezTo>
                  <a:cubicBezTo>
                    <a:pt x="105569" y="72517"/>
                    <a:pt x="105569" y="72517"/>
                    <a:pt x="105569" y="72517"/>
                  </a:cubicBezTo>
                  <a:cubicBezTo>
                    <a:pt x="104810" y="71654"/>
                    <a:pt x="104810" y="71654"/>
                    <a:pt x="104810" y="71654"/>
                  </a:cubicBezTo>
                  <a:cubicBezTo>
                    <a:pt x="103291" y="73381"/>
                    <a:pt x="103291" y="73381"/>
                    <a:pt x="103291" y="73381"/>
                  </a:cubicBezTo>
                  <a:cubicBezTo>
                    <a:pt x="102531" y="74244"/>
                    <a:pt x="102531" y="74244"/>
                    <a:pt x="102531" y="74244"/>
                  </a:cubicBezTo>
                  <a:cubicBezTo>
                    <a:pt x="102531" y="74244"/>
                    <a:pt x="102531" y="75107"/>
                    <a:pt x="102531" y="75107"/>
                  </a:cubicBezTo>
                  <a:cubicBezTo>
                    <a:pt x="102531" y="75107"/>
                    <a:pt x="104050" y="75107"/>
                    <a:pt x="104050" y="75107"/>
                  </a:cubicBezTo>
                  <a:cubicBezTo>
                    <a:pt x="104050" y="76834"/>
                    <a:pt x="104050" y="76834"/>
                    <a:pt x="104050" y="76834"/>
                  </a:cubicBezTo>
                  <a:cubicBezTo>
                    <a:pt x="104050" y="76834"/>
                    <a:pt x="104050" y="76834"/>
                    <a:pt x="104810" y="76834"/>
                  </a:cubicBezTo>
                  <a:cubicBezTo>
                    <a:pt x="104810" y="76834"/>
                    <a:pt x="105569" y="77697"/>
                    <a:pt x="105569" y="77697"/>
                  </a:cubicBezTo>
                  <a:cubicBezTo>
                    <a:pt x="106329" y="78561"/>
                    <a:pt x="106329" y="78561"/>
                    <a:pt x="106329" y="78561"/>
                  </a:cubicBezTo>
                  <a:cubicBezTo>
                    <a:pt x="106329" y="80287"/>
                    <a:pt x="106329" y="80287"/>
                    <a:pt x="106329" y="80287"/>
                  </a:cubicBezTo>
                  <a:cubicBezTo>
                    <a:pt x="107848" y="81151"/>
                    <a:pt x="107848" y="81151"/>
                    <a:pt x="107848" y="81151"/>
                  </a:cubicBezTo>
                  <a:cubicBezTo>
                    <a:pt x="107848" y="82877"/>
                    <a:pt x="107848" y="82877"/>
                    <a:pt x="107848" y="82877"/>
                  </a:cubicBezTo>
                  <a:cubicBezTo>
                    <a:pt x="107088" y="83741"/>
                    <a:pt x="107088" y="83741"/>
                    <a:pt x="107088" y="83741"/>
                  </a:cubicBezTo>
                  <a:cubicBezTo>
                    <a:pt x="106329" y="84604"/>
                    <a:pt x="106329" y="84604"/>
                    <a:pt x="106329" y="84604"/>
                  </a:cubicBezTo>
                  <a:cubicBezTo>
                    <a:pt x="104810" y="84604"/>
                    <a:pt x="104810" y="84604"/>
                    <a:pt x="104810" y="84604"/>
                  </a:cubicBezTo>
                  <a:cubicBezTo>
                    <a:pt x="104810" y="83741"/>
                    <a:pt x="104810" y="83741"/>
                    <a:pt x="104810" y="83741"/>
                  </a:cubicBezTo>
                  <a:cubicBezTo>
                    <a:pt x="104050" y="82014"/>
                    <a:pt x="104050" y="82014"/>
                    <a:pt x="104050" y="82014"/>
                  </a:cubicBezTo>
                  <a:cubicBezTo>
                    <a:pt x="103291" y="81151"/>
                    <a:pt x="103291" y="81151"/>
                    <a:pt x="103291" y="81151"/>
                  </a:cubicBezTo>
                  <a:cubicBezTo>
                    <a:pt x="101012" y="82014"/>
                    <a:pt x="101012" y="82014"/>
                    <a:pt x="101012" y="82014"/>
                  </a:cubicBezTo>
                  <a:cubicBezTo>
                    <a:pt x="101012" y="83741"/>
                    <a:pt x="101012" y="83741"/>
                    <a:pt x="101012" y="83741"/>
                  </a:cubicBezTo>
                  <a:cubicBezTo>
                    <a:pt x="97215" y="87194"/>
                    <a:pt x="97215" y="87194"/>
                    <a:pt x="97215" y="87194"/>
                  </a:cubicBezTo>
                  <a:cubicBezTo>
                    <a:pt x="97974" y="88920"/>
                    <a:pt x="97974" y="88920"/>
                    <a:pt x="97974" y="88920"/>
                  </a:cubicBezTo>
                  <a:cubicBezTo>
                    <a:pt x="96455" y="90647"/>
                    <a:pt x="96455" y="90647"/>
                    <a:pt x="96455" y="90647"/>
                  </a:cubicBezTo>
                  <a:cubicBezTo>
                    <a:pt x="96455" y="93237"/>
                    <a:pt x="96455" y="93237"/>
                    <a:pt x="96455" y="93237"/>
                  </a:cubicBezTo>
                  <a:cubicBezTo>
                    <a:pt x="97215" y="95827"/>
                    <a:pt x="97215" y="95827"/>
                    <a:pt x="97215" y="95827"/>
                  </a:cubicBezTo>
                  <a:cubicBezTo>
                    <a:pt x="97215" y="97553"/>
                    <a:pt x="97215" y="97553"/>
                    <a:pt x="97215" y="97553"/>
                  </a:cubicBezTo>
                  <a:cubicBezTo>
                    <a:pt x="94177" y="98417"/>
                    <a:pt x="94177" y="98417"/>
                    <a:pt x="94177" y="98417"/>
                  </a:cubicBezTo>
                  <a:cubicBezTo>
                    <a:pt x="91898" y="99280"/>
                    <a:pt x="91898" y="99280"/>
                    <a:pt x="91898" y="99280"/>
                  </a:cubicBezTo>
                  <a:cubicBezTo>
                    <a:pt x="91898" y="101870"/>
                    <a:pt x="91898" y="101870"/>
                    <a:pt x="91898" y="101870"/>
                  </a:cubicBezTo>
                  <a:cubicBezTo>
                    <a:pt x="91898" y="102733"/>
                    <a:pt x="91898" y="102733"/>
                    <a:pt x="91898" y="102733"/>
                  </a:cubicBezTo>
                  <a:cubicBezTo>
                    <a:pt x="94177" y="106187"/>
                    <a:pt x="94177" y="106187"/>
                    <a:pt x="94177" y="106187"/>
                  </a:cubicBezTo>
                  <a:cubicBezTo>
                    <a:pt x="93417" y="107050"/>
                    <a:pt x="93417" y="107050"/>
                    <a:pt x="93417" y="107050"/>
                  </a:cubicBezTo>
                  <a:cubicBezTo>
                    <a:pt x="92658" y="107913"/>
                    <a:pt x="92658" y="107913"/>
                    <a:pt x="92658" y="107913"/>
                  </a:cubicBezTo>
                  <a:cubicBezTo>
                    <a:pt x="94936" y="111366"/>
                    <a:pt x="94936" y="111366"/>
                    <a:pt x="94936" y="111366"/>
                  </a:cubicBezTo>
                  <a:cubicBezTo>
                    <a:pt x="95696" y="112230"/>
                    <a:pt x="95696" y="112230"/>
                    <a:pt x="95696" y="112230"/>
                  </a:cubicBezTo>
                  <a:cubicBezTo>
                    <a:pt x="97215" y="112230"/>
                    <a:pt x="97215" y="112230"/>
                    <a:pt x="97215" y="112230"/>
                  </a:cubicBezTo>
                  <a:cubicBezTo>
                    <a:pt x="97215" y="113956"/>
                    <a:pt x="97215" y="113956"/>
                    <a:pt x="97215" y="113956"/>
                  </a:cubicBezTo>
                  <a:cubicBezTo>
                    <a:pt x="97215" y="114820"/>
                    <a:pt x="97215" y="114820"/>
                    <a:pt x="97215" y="114820"/>
                  </a:cubicBezTo>
                  <a:cubicBezTo>
                    <a:pt x="97215" y="116546"/>
                    <a:pt x="97215" y="116546"/>
                    <a:pt x="97215" y="116546"/>
                  </a:cubicBezTo>
                  <a:cubicBezTo>
                    <a:pt x="95696" y="118273"/>
                    <a:pt x="95696" y="118273"/>
                    <a:pt x="95696" y="118273"/>
                  </a:cubicBezTo>
                  <a:cubicBezTo>
                    <a:pt x="96455" y="120000"/>
                    <a:pt x="96455" y="120000"/>
                    <a:pt x="96455" y="120000"/>
                  </a:cubicBezTo>
                  <a:cubicBezTo>
                    <a:pt x="94936" y="119136"/>
                    <a:pt x="94936" y="119136"/>
                    <a:pt x="94936" y="119136"/>
                  </a:cubicBezTo>
                  <a:cubicBezTo>
                    <a:pt x="94177" y="120000"/>
                    <a:pt x="94177" y="120000"/>
                    <a:pt x="94177" y="120000"/>
                  </a:cubicBezTo>
                  <a:cubicBezTo>
                    <a:pt x="94177" y="120000"/>
                    <a:pt x="94177" y="120000"/>
                    <a:pt x="94177" y="120000"/>
                  </a:cubicBezTo>
                  <a:cubicBezTo>
                    <a:pt x="91898" y="119136"/>
                    <a:pt x="91898" y="119136"/>
                    <a:pt x="91898" y="119136"/>
                  </a:cubicBezTo>
                  <a:cubicBezTo>
                    <a:pt x="91898" y="119136"/>
                    <a:pt x="90379" y="120000"/>
                    <a:pt x="89620" y="120000"/>
                  </a:cubicBezTo>
                  <a:cubicBezTo>
                    <a:pt x="89620" y="120000"/>
                    <a:pt x="88860" y="120000"/>
                    <a:pt x="88860" y="120000"/>
                  </a:cubicBezTo>
                  <a:cubicBezTo>
                    <a:pt x="88860" y="120000"/>
                    <a:pt x="87341" y="119136"/>
                    <a:pt x="86582" y="119136"/>
                  </a:cubicBezTo>
                  <a:cubicBezTo>
                    <a:pt x="86582" y="119136"/>
                    <a:pt x="86582" y="119136"/>
                    <a:pt x="86582" y="119136"/>
                  </a:cubicBezTo>
                  <a:cubicBezTo>
                    <a:pt x="86582" y="119136"/>
                    <a:pt x="86582" y="119136"/>
                    <a:pt x="86582" y="119136"/>
                  </a:cubicBezTo>
                  <a:cubicBezTo>
                    <a:pt x="86582" y="119136"/>
                    <a:pt x="86582" y="119136"/>
                    <a:pt x="86582" y="119136"/>
                  </a:cubicBezTo>
                  <a:cubicBezTo>
                    <a:pt x="86582" y="119136"/>
                    <a:pt x="86582" y="119136"/>
                    <a:pt x="86582" y="119136"/>
                  </a:cubicBezTo>
                  <a:cubicBezTo>
                    <a:pt x="86582" y="119136"/>
                    <a:pt x="86582" y="119136"/>
                    <a:pt x="86582" y="119136"/>
                  </a:cubicBezTo>
                  <a:cubicBezTo>
                    <a:pt x="86582" y="118273"/>
                    <a:pt x="86582" y="118273"/>
                    <a:pt x="86582" y="118273"/>
                  </a:cubicBezTo>
                  <a:cubicBezTo>
                    <a:pt x="86582" y="118273"/>
                    <a:pt x="86582" y="118273"/>
                    <a:pt x="86582" y="118273"/>
                  </a:cubicBezTo>
                  <a:cubicBezTo>
                    <a:pt x="86582" y="118273"/>
                    <a:pt x="86582" y="118273"/>
                    <a:pt x="86582" y="118273"/>
                  </a:cubicBezTo>
                  <a:cubicBezTo>
                    <a:pt x="86582" y="118273"/>
                    <a:pt x="86582" y="118273"/>
                    <a:pt x="86582" y="118273"/>
                  </a:cubicBezTo>
                  <a:cubicBezTo>
                    <a:pt x="85822" y="118273"/>
                    <a:pt x="85822" y="118273"/>
                    <a:pt x="85822" y="118273"/>
                  </a:cubicBezTo>
                  <a:cubicBezTo>
                    <a:pt x="85822" y="118273"/>
                    <a:pt x="85822" y="118273"/>
                    <a:pt x="85822" y="118273"/>
                  </a:cubicBezTo>
                  <a:cubicBezTo>
                    <a:pt x="85822" y="118273"/>
                    <a:pt x="85822" y="118273"/>
                    <a:pt x="85822" y="118273"/>
                  </a:cubicBezTo>
                  <a:cubicBezTo>
                    <a:pt x="85822" y="118273"/>
                    <a:pt x="85822" y="118273"/>
                    <a:pt x="85822" y="118273"/>
                  </a:cubicBezTo>
                  <a:cubicBezTo>
                    <a:pt x="85822" y="118273"/>
                    <a:pt x="85822" y="118273"/>
                    <a:pt x="85822" y="118273"/>
                  </a:cubicBezTo>
                  <a:cubicBezTo>
                    <a:pt x="85822" y="118273"/>
                    <a:pt x="85822" y="118273"/>
                    <a:pt x="85822" y="118273"/>
                  </a:cubicBezTo>
                  <a:cubicBezTo>
                    <a:pt x="85822" y="118273"/>
                    <a:pt x="85822" y="118273"/>
                    <a:pt x="85822" y="118273"/>
                  </a:cubicBezTo>
                  <a:cubicBezTo>
                    <a:pt x="85822" y="118273"/>
                    <a:pt x="85822" y="118273"/>
                    <a:pt x="85822" y="118273"/>
                  </a:cubicBezTo>
                  <a:cubicBezTo>
                    <a:pt x="85822" y="118273"/>
                    <a:pt x="85822" y="118273"/>
                    <a:pt x="85822" y="118273"/>
                  </a:cubicBezTo>
                  <a:cubicBezTo>
                    <a:pt x="85822" y="118273"/>
                    <a:pt x="85822" y="118273"/>
                    <a:pt x="85822" y="118273"/>
                  </a:cubicBezTo>
                  <a:cubicBezTo>
                    <a:pt x="85822" y="118273"/>
                    <a:pt x="85822" y="118273"/>
                    <a:pt x="85822" y="118273"/>
                  </a:cubicBezTo>
                  <a:cubicBezTo>
                    <a:pt x="85822" y="118273"/>
                    <a:pt x="85822" y="118273"/>
                    <a:pt x="85822" y="118273"/>
                  </a:cubicBezTo>
                  <a:cubicBezTo>
                    <a:pt x="85822" y="118273"/>
                    <a:pt x="85822" y="118273"/>
                    <a:pt x="85822" y="118273"/>
                  </a:cubicBezTo>
                  <a:cubicBezTo>
                    <a:pt x="85063" y="118273"/>
                    <a:pt x="85063" y="118273"/>
                    <a:pt x="85063" y="118273"/>
                  </a:cubicBezTo>
                  <a:cubicBezTo>
                    <a:pt x="85063" y="118273"/>
                    <a:pt x="85063" y="118273"/>
                    <a:pt x="85063" y="118273"/>
                  </a:cubicBezTo>
                  <a:cubicBezTo>
                    <a:pt x="85063" y="118273"/>
                    <a:pt x="85063" y="118273"/>
                    <a:pt x="85063" y="118273"/>
                  </a:cubicBezTo>
                  <a:cubicBezTo>
                    <a:pt x="85063" y="118273"/>
                    <a:pt x="85063" y="118273"/>
                    <a:pt x="85063" y="118273"/>
                  </a:cubicBezTo>
                  <a:cubicBezTo>
                    <a:pt x="85063" y="118273"/>
                    <a:pt x="85063" y="118273"/>
                    <a:pt x="85063" y="118273"/>
                  </a:cubicBezTo>
                  <a:cubicBezTo>
                    <a:pt x="85063" y="118273"/>
                    <a:pt x="85063" y="118273"/>
                    <a:pt x="85063" y="118273"/>
                  </a:cubicBezTo>
                  <a:cubicBezTo>
                    <a:pt x="85063" y="118273"/>
                    <a:pt x="85063" y="118273"/>
                    <a:pt x="85063" y="118273"/>
                  </a:cubicBezTo>
                  <a:cubicBezTo>
                    <a:pt x="85063" y="118273"/>
                    <a:pt x="85063" y="118273"/>
                    <a:pt x="85063" y="118273"/>
                  </a:cubicBezTo>
                  <a:cubicBezTo>
                    <a:pt x="85063" y="118273"/>
                    <a:pt x="85063" y="118273"/>
                    <a:pt x="85063" y="118273"/>
                  </a:cubicBezTo>
                  <a:cubicBezTo>
                    <a:pt x="80506" y="115683"/>
                    <a:pt x="80506" y="115683"/>
                    <a:pt x="80506" y="115683"/>
                  </a:cubicBezTo>
                  <a:cubicBezTo>
                    <a:pt x="76708" y="113093"/>
                    <a:pt x="76708" y="113093"/>
                    <a:pt x="76708" y="113093"/>
                  </a:cubicBezTo>
                  <a:cubicBezTo>
                    <a:pt x="75189" y="111366"/>
                    <a:pt x="75189" y="111366"/>
                    <a:pt x="75189" y="111366"/>
                  </a:cubicBezTo>
                  <a:cubicBezTo>
                    <a:pt x="74430" y="107913"/>
                    <a:pt x="74430" y="107913"/>
                    <a:pt x="74430" y="107913"/>
                  </a:cubicBezTo>
                  <a:cubicBezTo>
                    <a:pt x="70632" y="107050"/>
                    <a:pt x="70632" y="107050"/>
                    <a:pt x="70632" y="107050"/>
                  </a:cubicBezTo>
                  <a:cubicBezTo>
                    <a:pt x="70632" y="104460"/>
                    <a:pt x="66075" y="108776"/>
                    <a:pt x="67594" y="103597"/>
                  </a:cubicBezTo>
                  <a:cubicBezTo>
                    <a:pt x="67594" y="103597"/>
                    <a:pt x="67594" y="102733"/>
                    <a:pt x="67594" y="102733"/>
                  </a:cubicBezTo>
                  <a:cubicBezTo>
                    <a:pt x="67594" y="102733"/>
                    <a:pt x="67594" y="102733"/>
                    <a:pt x="67594" y="102733"/>
                  </a:cubicBezTo>
                  <a:cubicBezTo>
                    <a:pt x="67594" y="101870"/>
                    <a:pt x="66075" y="100143"/>
                    <a:pt x="66075" y="100143"/>
                  </a:cubicBezTo>
                  <a:cubicBezTo>
                    <a:pt x="61518" y="97553"/>
                    <a:pt x="60759" y="94964"/>
                    <a:pt x="58481" y="94100"/>
                  </a:cubicBezTo>
                  <a:cubicBezTo>
                    <a:pt x="57721" y="94100"/>
                    <a:pt x="57721" y="94100"/>
                    <a:pt x="57721" y="94100"/>
                  </a:cubicBezTo>
                  <a:cubicBezTo>
                    <a:pt x="54683" y="90647"/>
                    <a:pt x="54683" y="90647"/>
                    <a:pt x="54683" y="90647"/>
                  </a:cubicBezTo>
                  <a:cubicBezTo>
                    <a:pt x="53164" y="89784"/>
                    <a:pt x="53164" y="89784"/>
                    <a:pt x="53164" y="89784"/>
                  </a:cubicBezTo>
                  <a:cubicBezTo>
                    <a:pt x="51645" y="88057"/>
                    <a:pt x="51645" y="88057"/>
                    <a:pt x="51645" y="88057"/>
                  </a:cubicBezTo>
                  <a:cubicBezTo>
                    <a:pt x="51645" y="86330"/>
                    <a:pt x="51645" y="86330"/>
                    <a:pt x="51645" y="86330"/>
                  </a:cubicBezTo>
                  <a:cubicBezTo>
                    <a:pt x="50886" y="82877"/>
                    <a:pt x="50886" y="82877"/>
                    <a:pt x="50886" y="82877"/>
                  </a:cubicBezTo>
                  <a:cubicBezTo>
                    <a:pt x="50886" y="82877"/>
                    <a:pt x="50886" y="82877"/>
                    <a:pt x="50886" y="82877"/>
                  </a:cubicBezTo>
                  <a:cubicBezTo>
                    <a:pt x="50886" y="82877"/>
                    <a:pt x="47848" y="82014"/>
                    <a:pt x="46329" y="81151"/>
                  </a:cubicBezTo>
                  <a:cubicBezTo>
                    <a:pt x="44810" y="80287"/>
                    <a:pt x="44810" y="80287"/>
                    <a:pt x="44810" y="80287"/>
                  </a:cubicBezTo>
                  <a:cubicBezTo>
                    <a:pt x="43291" y="77697"/>
                    <a:pt x="43291" y="77697"/>
                    <a:pt x="43291" y="77697"/>
                  </a:cubicBezTo>
                  <a:cubicBezTo>
                    <a:pt x="42531" y="76834"/>
                    <a:pt x="42531" y="76834"/>
                    <a:pt x="42531" y="76834"/>
                  </a:cubicBezTo>
                  <a:cubicBezTo>
                    <a:pt x="40253" y="74244"/>
                    <a:pt x="40253" y="74244"/>
                    <a:pt x="40253" y="74244"/>
                  </a:cubicBezTo>
                  <a:cubicBezTo>
                    <a:pt x="39493" y="74244"/>
                    <a:pt x="39493" y="74244"/>
                    <a:pt x="39493" y="74244"/>
                  </a:cubicBezTo>
                  <a:cubicBezTo>
                    <a:pt x="35696" y="72517"/>
                    <a:pt x="35696" y="72517"/>
                    <a:pt x="35696" y="72517"/>
                  </a:cubicBezTo>
                  <a:cubicBezTo>
                    <a:pt x="34936" y="70791"/>
                    <a:pt x="34936" y="70791"/>
                    <a:pt x="34936" y="70791"/>
                  </a:cubicBezTo>
                  <a:cubicBezTo>
                    <a:pt x="33417" y="69928"/>
                    <a:pt x="33417" y="69928"/>
                    <a:pt x="33417" y="69928"/>
                  </a:cubicBezTo>
                  <a:cubicBezTo>
                    <a:pt x="32658" y="68201"/>
                    <a:pt x="32658" y="68201"/>
                    <a:pt x="32658" y="68201"/>
                  </a:cubicBezTo>
                  <a:cubicBezTo>
                    <a:pt x="30379" y="67338"/>
                    <a:pt x="30379" y="67338"/>
                    <a:pt x="30379" y="67338"/>
                  </a:cubicBezTo>
                  <a:cubicBezTo>
                    <a:pt x="29620" y="65611"/>
                    <a:pt x="29620" y="65611"/>
                    <a:pt x="29620" y="65611"/>
                  </a:cubicBezTo>
                  <a:cubicBezTo>
                    <a:pt x="28860" y="64748"/>
                    <a:pt x="28860" y="64748"/>
                    <a:pt x="28860" y="64748"/>
                  </a:cubicBezTo>
                  <a:cubicBezTo>
                    <a:pt x="26582" y="61294"/>
                    <a:pt x="26582" y="61294"/>
                    <a:pt x="26582" y="61294"/>
                  </a:cubicBezTo>
                  <a:cubicBezTo>
                    <a:pt x="24303" y="59568"/>
                    <a:pt x="24303" y="59568"/>
                    <a:pt x="24303" y="59568"/>
                  </a:cubicBezTo>
                  <a:cubicBezTo>
                    <a:pt x="23544" y="58705"/>
                    <a:pt x="23544" y="58705"/>
                    <a:pt x="23544" y="58705"/>
                  </a:cubicBezTo>
                  <a:cubicBezTo>
                    <a:pt x="22784" y="57841"/>
                    <a:pt x="22784" y="57841"/>
                    <a:pt x="22784" y="57841"/>
                  </a:cubicBezTo>
                  <a:cubicBezTo>
                    <a:pt x="21265" y="55251"/>
                    <a:pt x="21265" y="55251"/>
                    <a:pt x="21265" y="55251"/>
                  </a:cubicBezTo>
                  <a:cubicBezTo>
                    <a:pt x="18987" y="52661"/>
                    <a:pt x="18987" y="52661"/>
                    <a:pt x="18987" y="52661"/>
                  </a:cubicBezTo>
                  <a:cubicBezTo>
                    <a:pt x="17468" y="50935"/>
                    <a:pt x="17468" y="50935"/>
                    <a:pt x="17468" y="50935"/>
                  </a:cubicBezTo>
                  <a:cubicBezTo>
                    <a:pt x="15949" y="48345"/>
                    <a:pt x="15949" y="48345"/>
                    <a:pt x="15949" y="48345"/>
                  </a:cubicBezTo>
                  <a:cubicBezTo>
                    <a:pt x="17468" y="46618"/>
                    <a:pt x="17468" y="46618"/>
                    <a:pt x="17468" y="46618"/>
                  </a:cubicBezTo>
                  <a:cubicBezTo>
                    <a:pt x="16708" y="45755"/>
                    <a:pt x="15949" y="45755"/>
                    <a:pt x="15949" y="44892"/>
                  </a:cubicBezTo>
                  <a:cubicBezTo>
                    <a:pt x="15189" y="44892"/>
                    <a:pt x="13670" y="44028"/>
                    <a:pt x="14430" y="43165"/>
                  </a:cubicBezTo>
                  <a:cubicBezTo>
                    <a:pt x="14430" y="42302"/>
                    <a:pt x="13670" y="41438"/>
                    <a:pt x="13670" y="39712"/>
                  </a:cubicBezTo>
                  <a:cubicBezTo>
                    <a:pt x="13670" y="38848"/>
                    <a:pt x="13670" y="37985"/>
                    <a:pt x="12911" y="37985"/>
                  </a:cubicBezTo>
                  <a:cubicBezTo>
                    <a:pt x="12151" y="37122"/>
                    <a:pt x="12151" y="37122"/>
                    <a:pt x="12151" y="37122"/>
                  </a:cubicBezTo>
                  <a:cubicBezTo>
                    <a:pt x="11392" y="37122"/>
                    <a:pt x="10632" y="37122"/>
                    <a:pt x="10632" y="37122"/>
                  </a:cubicBezTo>
                  <a:cubicBezTo>
                    <a:pt x="9873" y="37122"/>
                    <a:pt x="9873" y="37122"/>
                    <a:pt x="9873" y="37122"/>
                  </a:cubicBezTo>
                  <a:cubicBezTo>
                    <a:pt x="9873" y="37122"/>
                    <a:pt x="10632" y="35395"/>
                    <a:pt x="10632" y="33669"/>
                  </a:cubicBezTo>
                  <a:cubicBezTo>
                    <a:pt x="7594" y="32805"/>
                    <a:pt x="7594" y="32805"/>
                    <a:pt x="7594" y="32805"/>
                  </a:cubicBezTo>
                  <a:cubicBezTo>
                    <a:pt x="7594" y="32805"/>
                    <a:pt x="7594" y="30215"/>
                    <a:pt x="6075" y="29352"/>
                  </a:cubicBezTo>
                  <a:cubicBezTo>
                    <a:pt x="4556" y="29352"/>
                    <a:pt x="4556" y="29352"/>
                    <a:pt x="4556" y="29352"/>
                  </a:cubicBezTo>
                  <a:cubicBezTo>
                    <a:pt x="3797" y="30215"/>
                    <a:pt x="3797" y="31079"/>
                    <a:pt x="3797" y="31079"/>
                  </a:cubicBezTo>
                  <a:cubicBezTo>
                    <a:pt x="759" y="27625"/>
                    <a:pt x="759" y="27625"/>
                    <a:pt x="759" y="27625"/>
                  </a:cubicBezTo>
                  <a:cubicBezTo>
                    <a:pt x="759" y="27625"/>
                    <a:pt x="759" y="26762"/>
                    <a:pt x="1518" y="25035"/>
                  </a:cubicBezTo>
                  <a:cubicBezTo>
                    <a:pt x="3037" y="23309"/>
                    <a:pt x="1518" y="22446"/>
                    <a:pt x="1518" y="22446"/>
                  </a:cubicBezTo>
                  <a:cubicBezTo>
                    <a:pt x="759" y="19856"/>
                    <a:pt x="759" y="19856"/>
                    <a:pt x="759" y="19856"/>
                  </a:cubicBezTo>
                  <a:cubicBezTo>
                    <a:pt x="1518" y="18129"/>
                    <a:pt x="1518" y="18129"/>
                    <a:pt x="1518" y="18129"/>
                  </a:cubicBezTo>
                  <a:cubicBezTo>
                    <a:pt x="759" y="17266"/>
                    <a:pt x="759" y="17266"/>
                    <a:pt x="759" y="17266"/>
                  </a:cubicBezTo>
                  <a:cubicBezTo>
                    <a:pt x="0" y="16402"/>
                    <a:pt x="0" y="16402"/>
                    <a:pt x="0" y="16402"/>
                  </a:cubicBezTo>
                  <a:cubicBezTo>
                    <a:pt x="0" y="16402"/>
                    <a:pt x="0" y="16402"/>
                    <a:pt x="0" y="16402"/>
                  </a:cubicBezTo>
                  <a:cubicBezTo>
                    <a:pt x="0" y="16402"/>
                    <a:pt x="0" y="16402"/>
                    <a:pt x="0" y="16402"/>
                  </a:cubicBezTo>
                  <a:cubicBezTo>
                    <a:pt x="1518" y="12949"/>
                    <a:pt x="1518" y="12949"/>
                    <a:pt x="1518" y="12949"/>
                  </a:cubicBezTo>
                  <a:cubicBezTo>
                    <a:pt x="1518" y="12949"/>
                    <a:pt x="759" y="11223"/>
                    <a:pt x="759" y="9496"/>
                  </a:cubicBezTo>
                  <a:cubicBezTo>
                    <a:pt x="759" y="9496"/>
                    <a:pt x="1518" y="8633"/>
                    <a:pt x="1518" y="8633"/>
                  </a:cubicBezTo>
                  <a:cubicBezTo>
                    <a:pt x="1518" y="8633"/>
                    <a:pt x="1518" y="8633"/>
                    <a:pt x="1518" y="8633"/>
                  </a:cubicBezTo>
                  <a:cubicBezTo>
                    <a:pt x="1518" y="7769"/>
                    <a:pt x="1518" y="7769"/>
                    <a:pt x="1518" y="7769"/>
                  </a:cubicBezTo>
                  <a:cubicBezTo>
                    <a:pt x="1518" y="7769"/>
                    <a:pt x="1518" y="7769"/>
                    <a:pt x="1518" y="7769"/>
                  </a:cubicBezTo>
                  <a:cubicBezTo>
                    <a:pt x="2278" y="7769"/>
                    <a:pt x="2278" y="7769"/>
                    <a:pt x="2278" y="7769"/>
                  </a:cubicBezTo>
                  <a:cubicBezTo>
                    <a:pt x="2278" y="7769"/>
                    <a:pt x="2278" y="7769"/>
                    <a:pt x="2278" y="7769"/>
                  </a:cubicBezTo>
                  <a:cubicBezTo>
                    <a:pt x="2278" y="6906"/>
                    <a:pt x="6075" y="6043"/>
                    <a:pt x="6075" y="6043"/>
                  </a:cubicBezTo>
                  <a:cubicBezTo>
                    <a:pt x="7594" y="5179"/>
                    <a:pt x="7594" y="5179"/>
                    <a:pt x="7594" y="5179"/>
                  </a:cubicBezTo>
                  <a:cubicBezTo>
                    <a:pt x="10632" y="9496"/>
                    <a:pt x="10632" y="9496"/>
                    <a:pt x="10632" y="9496"/>
                  </a:cubicBezTo>
                  <a:cubicBezTo>
                    <a:pt x="13670" y="12949"/>
                    <a:pt x="13670" y="12949"/>
                    <a:pt x="13670" y="12949"/>
                  </a:cubicBezTo>
                  <a:cubicBezTo>
                    <a:pt x="15949" y="14676"/>
                    <a:pt x="15949" y="14676"/>
                    <a:pt x="15949" y="14676"/>
                  </a:cubicBezTo>
                  <a:cubicBezTo>
                    <a:pt x="15949" y="14676"/>
                    <a:pt x="16708" y="13812"/>
                    <a:pt x="17468" y="13812"/>
                  </a:cubicBezTo>
                  <a:cubicBezTo>
                    <a:pt x="17468" y="12949"/>
                    <a:pt x="17468" y="11223"/>
                    <a:pt x="17468" y="11223"/>
                  </a:cubicBezTo>
                  <a:cubicBezTo>
                    <a:pt x="18987" y="9496"/>
                    <a:pt x="18987" y="9496"/>
                    <a:pt x="18987" y="9496"/>
                  </a:cubicBezTo>
                  <a:cubicBezTo>
                    <a:pt x="19746" y="7769"/>
                    <a:pt x="19746" y="7769"/>
                    <a:pt x="19746" y="7769"/>
                  </a:cubicBezTo>
                  <a:cubicBezTo>
                    <a:pt x="19746" y="6043"/>
                    <a:pt x="19746" y="6043"/>
                    <a:pt x="19746" y="6043"/>
                  </a:cubicBezTo>
                  <a:cubicBezTo>
                    <a:pt x="21265" y="5179"/>
                    <a:pt x="21265" y="5179"/>
                    <a:pt x="21265" y="5179"/>
                  </a:cubicBezTo>
                  <a:cubicBezTo>
                    <a:pt x="23544" y="4316"/>
                    <a:pt x="23544" y="4316"/>
                    <a:pt x="23544" y="4316"/>
                  </a:cubicBezTo>
                  <a:cubicBezTo>
                    <a:pt x="26582" y="3453"/>
                    <a:pt x="26582" y="3453"/>
                    <a:pt x="26582" y="3453"/>
                  </a:cubicBezTo>
                  <a:cubicBezTo>
                    <a:pt x="26582" y="3453"/>
                    <a:pt x="28860" y="4316"/>
                    <a:pt x="29620" y="4316"/>
                  </a:cubicBezTo>
                  <a:cubicBezTo>
                    <a:pt x="29620" y="4316"/>
                    <a:pt x="30379" y="4316"/>
                    <a:pt x="30379" y="4316"/>
                  </a:cubicBezTo>
                  <a:cubicBezTo>
                    <a:pt x="31898" y="1726"/>
                    <a:pt x="31898" y="1726"/>
                    <a:pt x="31898" y="1726"/>
                  </a:cubicBezTo>
                  <a:cubicBezTo>
                    <a:pt x="31898" y="1726"/>
                    <a:pt x="31898" y="1726"/>
                    <a:pt x="31898" y="1726"/>
                  </a:cubicBezTo>
                  <a:cubicBezTo>
                    <a:pt x="32658" y="0"/>
                    <a:pt x="32658" y="0"/>
                    <a:pt x="32658" y="0"/>
                  </a:cubicBezTo>
                  <a:cubicBezTo>
                    <a:pt x="36455" y="1726"/>
                    <a:pt x="36455" y="1726"/>
                    <a:pt x="36455" y="1726"/>
                  </a:cubicBezTo>
                  <a:cubicBezTo>
                    <a:pt x="37974" y="3453"/>
                    <a:pt x="37974" y="3453"/>
                    <a:pt x="37974" y="3453"/>
                  </a:cubicBezTo>
                  <a:cubicBezTo>
                    <a:pt x="41772" y="4316"/>
                    <a:pt x="41772" y="4316"/>
                    <a:pt x="41772" y="4316"/>
                  </a:cubicBezTo>
                  <a:cubicBezTo>
                    <a:pt x="41772" y="4316"/>
                    <a:pt x="41772" y="4316"/>
                    <a:pt x="41772" y="4316"/>
                  </a:cubicBezTo>
                  <a:cubicBezTo>
                    <a:pt x="43291" y="4316"/>
                    <a:pt x="43291" y="4316"/>
                    <a:pt x="43291" y="4316"/>
                  </a:cubicBezTo>
                  <a:cubicBezTo>
                    <a:pt x="43291" y="3453"/>
                    <a:pt x="43291" y="3453"/>
                    <a:pt x="43291" y="3453"/>
                  </a:cubicBezTo>
                  <a:cubicBezTo>
                    <a:pt x="46329" y="3453"/>
                    <a:pt x="46329" y="3453"/>
                    <a:pt x="46329" y="3453"/>
                  </a:cubicBezTo>
                  <a:cubicBezTo>
                    <a:pt x="50126" y="4316"/>
                    <a:pt x="50126" y="4316"/>
                    <a:pt x="50126" y="4316"/>
                  </a:cubicBezTo>
                  <a:cubicBezTo>
                    <a:pt x="52405" y="4316"/>
                    <a:pt x="52405" y="4316"/>
                    <a:pt x="52405" y="4316"/>
                  </a:cubicBezTo>
                  <a:cubicBezTo>
                    <a:pt x="56202" y="4316"/>
                    <a:pt x="56202" y="4316"/>
                    <a:pt x="56202" y="4316"/>
                  </a:cubicBezTo>
                  <a:cubicBezTo>
                    <a:pt x="58481" y="5179"/>
                    <a:pt x="58481" y="5179"/>
                    <a:pt x="58481" y="5179"/>
                  </a:cubicBezTo>
                  <a:cubicBezTo>
                    <a:pt x="60000" y="6043"/>
                    <a:pt x="60000" y="6043"/>
                    <a:pt x="60000" y="6043"/>
                  </a:cubicBezTo>
                  <a:cubicBezTo>
                    <a:pt x="60000" y="6043"/>
                    <a:pt x="60000" y="6043"/>
                    <a:pt x="60759" y="5179"/>
                  </a:cubicBezTo>
                  <a:cubicBezTo>
                    <a:pt x="60759" y="5179"/>
                    <a:pt x="63037" y="5179"/>
                    <a:pt x="63037" y="5179"/>
                  </a:cubicBezTo>
                  <a:cubicBezTo>
                    <a:pt x="63797" y="2589"/>
                    <a:pt x="63797" y="2589"/>
                    <a:pt x="63797" y="2589"/>
                  </a:cubicBezTo>
                  <a:cubicBezTo>
                    <a:pt x="64556" y="4316"/>
                    <a:pt x="64556" y="4316"/>
                    <a:pt x="64556" y="4316"/>
                  </a:cubicBezTo>
                  <a:cubicBezTo>
                    <a:pt x="65316" y="4316"/>
                    <a:pt x="66835" y="4316"/>
                    <a:pt x="66835" y="4316"/>
                  </a:cubicBezTo>
                  <a:cubicBezTo>
                    <a:pt x="67594" y="1726"/>
                    <a:pt x="67594" y="1726"/>
                    <a:pt x="67594" y="1726"/>
                  </a:cubicBezTo>
                  <a:cubicBezTo>
                    <a:pt x="68354" y="2589"/>
                    <a:pt x="68354" y="2589"/>
                    <a:pt x="68354" y="2589"/>
                  </a:cubicBezTo>
                  <a:cubicBezTo>
                    <a:pt x="69113" y="2589"/>
                    <a:pt x="69113" y="2589"/>
                    <a:pt x="69873" y="2589"/>
                  </a:cubicBezTo>
                  <a:cubicBezTo>
                    <a:pt x="70632" y="2589"/>
                    <a:pt x="71392" y="1726"/>
                    <a:pt x="71392" y="1726"/>
                  </a:cubicBezTo>
                  <a:cubicBezTo>
                    <a:pt x="71392" y="1726"/>
                    <a:pt x="72151" y="2589"/>
                    <a:pt x="72151" y="2589"/>
                  </a:cubicBezTo>
                  <a:cubicBezTo>
                    <a:pt x="72151" y="2589"/>
                    <a:pt x="72911" y="1726"/>
                    <a:pt x="73670" y="1726"/>
                  </a:cubicBezTo>
                  <a:cubicBezTo>
                    <a:pt x="73670" y="1726"/>
                    <a:pt x="73670" y="1726"/>
                    <a:pt x="73670" y="1726"/>
                  </a:cubicBezTo>
                  <a:cubicBezTo>
                    <a:pt x="73670" y="1726"/>
                    <a:pt x="73670" y="1726"/>
                    <a:pt x="73670" y="1726"/>
                  </a:cubicBezTo>
                  <a:cubicBezTo>
                    <a:pt x="74430" y="1726"/>
                    <a:pt x="74430" y="1726"/>
                    <a:pt x="74430" y="1726"/>
                  </a:cubicBezTo>
                  <a:cubicBezTo>
                    <a:pt x="74430" y="1726"/>
                    <a:pt x="74430" y="1726"/>
                    <a:pt x="74430" y="1726"/>
                  </a:cubicBezTo>
                  <a:cubicBezTo>
                    <a:pt x="74430" y="1726"/>
                    <a:pt x="74430" y="1726"/>
                    <a:pt x="74430" y="1726"/>
                  </a:cubicBezTo>
                  <a:cubicBezTo>
                    <a:pt x="74430" y="1726"/>
                    <a:pt x="74430" y="1726"/>
                    <a:pt x="74430" y="1726"/>
                  </a:cubicBezTo>
                  <a:cubicBezTo>
                    <a:pt x="74430" y="1726"/>
                    <a:pt x="74430" y="1726"/>
                    <a:pt x="74430" y="1726"/>
                  </a:cubicBezTo>
                  <a:cubicBezTo>
                    <a:pt x="74430" y="1726"/>
                    <a:pt x="74430" y="1726"/>
                    <a:pt x="74430" y="1726"/>
                  </a:cubicBezTo>
                  <a:cubicBezTo>
                    <a:pt x="74430" y="1726"/>
                    <a:pt x="74430" y="1726"/>
                    <a:pt x="74430" y="1726"/>
                  </a:cubicBezTo>
                  <a:cubicBezTo>
                    <a:pt x="74430" y="1726"/>
                    <a:pt x="74430" y="1726"/>
                    <a:pt x="74430" y="1726"/>
                  </a:cubicBezTo>
                  <a:cubicBezTo>
                    <a:pt x="74430" y="1726"/>
                    <a:pt x="74430" y="1726"/>
                    <a:pt x="74430" y="1726"/>
                  </a:cubicBezTo>
                  <a:cubicBezTo>
                    <a:pt x="74430" y="1726"/>
                    <a:pt x="74430" y="1726"/>
                    <a:pt x="74430" y="1726"/>
                  </a:cubicBezTo>
                  <a:cubicBezTo>
                    <a:pt x="74430" y="1726"/>
                    <a:pt x="74430" y="1726"/>
                    <a:pt x="74430" y="1726"/>
                  </a:cubicBezTo>
                  <a:cubicBezTo>
                    <a:pt x="74430" y="1726"/>
                    <a:pt x="74430" y="1726"/>
                    <a:pt x="74430" y="1726"/>
                  </a:cubicBezTo>
                  <a:cubicBezTo>
                    <a:pt x="74430" y="1726"/>
                    <a:pt x="74430" y="1726"/>
                    <a:pt x="74430" y="1726"/>
                  </a:cubicBezTo>
                  <a:cubicBezTo>
                    <a:pt x="74430" y="1726"/>
                    <a:pt x="74430" y="1726"/>
                    <a:pt x="74430" y="1726"/>
                  </a:cubicBezTo>
                  <a:cubicBezTo>
                    <a:pt x="75189" y="1726"/>
                    <a:pt x="75189" y="1726"/>
                    <a:pt x="75189" y="1726"/>
                  </a:cubicBezTo>
                  <a:cubicBezTo>
                    <a:pt x="75189" y="1726"/>
                    <a:pt x="75189" y="1726"/>
                    <a:pt x="75189" y="1726"/>
                  </a:cubicBezTo>
                  <a:cubicBezTo>
                    <a:pt x="75189" y="1726"/>
                    <a:pt x="75189" y="1726"/>
                    <a:pt x="75189" y="1726"/>
                  </a:cubicBezTo>
                  <a:cubicBezTo>
                    <a:pt x="75189" y="1726"/>
                    <a:pt x="75189" y="1726"/>
                    <a:pt x="75189" y="1726"/>
                  </a:cubicBezTo>
                  <a:cubicBezTo>
                    <a:pt x="75189" y="1726"/>
                    <a:pt x="75189" y="1726"/>
                    <a:pt x="75189" y="1726"/>
                  </a:cubicBezTo>
                  <a:cubicBezTo>
                    <a:pt x="75189" y="1726"/>
                    <a:pt x="75189" y="1726"/>
                    <a:pt x="75189" y="1726"/>
                  </a:cubicBezTo>
                  <a:cubicBezTo>
                    <a:pt x="75189" y="1726"/>
                    <a:pt x="75189" y="1726"/>
                    <a:pt x="75189" y="1726"/>
                  </a:cubicBezTo>
                  <a:cubicBezTo>
                    <a:pt x="75189" y="1726"/>
                    <a:pt x="75189" y="1726"/>
                    <a:pt x="75189" y="1726"/>
                  </a:cubicBezTo>
                  <a:cubicBezTo>
                    <a:pt x="75189" y="1726"/>
                    <a:pt x="75189" y="1726"/>
                    <a:pt x="75189" y="1726"/>
                  </a:cubicBezTo>
                  <a:cubicBezTo>
                    <a:pt x="75189" y="1726"/>
                    <a:pt x="75189" y="1726"/>
                    <a:pt x="75189" y="1726"/>
                  </a:cubicBezTo>
                  <a:cubicBezTo>
                    <a:pt x="75189" y="1726"/>
                    <a:pt x="75189" y="1726"/>
                    <a:pt x="75189" y="1726"/>
                  </a:cubicBezTo>
                  <a:cubicBezTo>
                    <a:pt x="75189" y="1726"/>
                    <a:pt x="75189" y="1726"/>
                    <a:pt x="75189" y="1726"/>
                  </a:cubicBezTo>
                  <a:cubicBezTo>
                    <a:pt x="75189" y="1726"/>
                    <a:pt x="75189" y="1726"/>
                    <a:pt x="75189" y="1726"/>
                  </a:cubicBezTo>
                  <a:cubicBezTo>
                    <a:pt x="75189" y="1726"/>
                    <a:pt x="75189" y="1726"/>
                    <a:pt x="75189" y="1726"/>
                  </a:cubicBezTo>
                  <a:cubicBezTo>
                    <a:pt x="75189" y="1726"/>
                    <a:pt x="75189" y="1726"/>
                    <a:pt x="75189" y="1726"/>
                  </a:cubicBezTo>
                  <a:cubicBezTo>
                    <a:pt x="75189" y="1726"/>
                    <a:pt x="75189" y="1726"/>
                    <a:pt x="75189" y="1726"/>
                  </a:cubicBezTo>
                  <a:cubicBezTo>
                    <a:pt x="75189" y="863"/>
                    <a:pt x="75189" y="863"/>
                    <a:pt x="75189" y="863"/>
                  </a:cubicBezTo>
                  <a:cubicBezTo>
                    <a:pt x="75189" y="863"/>
                    <a:pt x="75189" y="863"/>
                    <a:pt x="75189" y="863"/>
                  </a:cubicBezTo>
                  <a:cubicBezTo>
                    <a:pt x="75189" y="863"/>
                    <a:pt x="75189" y="863"/>
                    <a:pt x="75189" y="863"/>
                  </a:cubicBezTo>
                  <a:cubicBezTo>
                    <a:pt x="75189" y="863"/>
                    <a:pt x="75189" y="863"/>
                    <a:pt x="75189" y="863"/>
                  </a:cubicBezTo>
                  <a:cubicBezTo>
                    <a:pt x="75189" y="863"/>
                    <a:pt x="75189" y="863"/>
                    <a:pt x="75189" y="863"/>
                  </a:cubicBezTo>
                  <a:cubicBezTo>
                    <a:pt x="75949" y="863"/>
                    <a:pt x="75949" y="863"/>
                    <a:pt x="75949" y="863"/>
                  </a:cubicBezTo>
                  <a:cubicBezTo>
                    <a:pt x="75949" y="863"/>
                    <a:pt x="75949" y="863"/>
                    <a:pt x="75949" y="863"/>
                  </a:cubicBezTo>
                  <a:cubicBezTo>
                    <a:pt x="75949" y="863"/>
                    <a:pt x="75949" y="863"/>
                    <a:pt x="75949" y="863"/>
                  </a:cubicBezTo>
                  <a:cubicBezTo>
                    <a:pt x="75949" y="863"/>
                    <a:pt x="75949" y="863"/>
                    <a:pt x="75949" y="863"/>
                  </a:cubicBezTo>
                  <a:cubicBezTo>
                    <a:pt x="75949" y="863"/>
                    <a:pt x="75949" y="863"/>
                    <a:pt x="75949" y="863"/>
                  </a:cubicBezTo>
                  <a:cubicBezTo>
                    <a:pt x="75949" y="863"/>
                    <a:pt x="75949" y="863"/>
                    <a:pt x="75949" y="863"/>
                  </a:cubicBezTo>
                  <a:cubicBezTo>
                    <a:pt x="75949" y="863"/>
                    <a:pt x="75949" y="863"/>
                    <a:pt x="75949" y="863"/>
                  </a:cubicBezTo>
                  <a:cubicBezTo>
                    <a:pt x="75949" y="863"/>
                    <a:pt x="75949" y="863"/>
                    <a:pt x="75949" y="863"/>
                  </a:cubicBezTo>
                  <a:cubicBezTo>
                    <a:pt x="75949" y="863"/>
                    <a:pt x="75949" y="863"/>
                    <a:pt x="75949" y="863"/>
                  </a:cubicBezTo>
                  <a:cubicBezTo>
                    <a:pt x="75949" y="863"/>
                    <a:pt x="75949" y="863"/>
                    <a:pt x="75949" y="863"/>
                  </a:cubicBezTo>
                  <a:cubicBezTo>
                    <a:pt x="75949" y="863"/>
                    <a:pt x="75949" y="863"/>
                    <a:pt x="75949" y="863"/>
                  </a:cubicBezTo>
                  <a:cubicBezTo>
                    <a:pt x="75949" y="863"/>
                    <a:pt x="75949" y="863"/>
                    <a:pt x="75949" y="863"/>
                  </a:cubicBezTo>
                  <a:cubicBezTo>
                    <a:pt x="75949" y="863"/>
                    <a:pt x="75949" y="863"/>
                    <a:pt x="75949" y="863"/>
                  </a:cubicBezTo>
                  <a:cubicBezTo>
                    <a:pt x="75949" y="863"/>
                    <a:pt x="75949" y="863"/>
                    <a:pt x="75949" y="863"/>
                  </a:cubicBezTo>
                  <a:cubicBezTo>
                    <a:pt x="75949" y="863"/>
                    <a:pt x="75949" y="863"/>
                    <a:pt x="75949" y="863"/>
                  </a:cubicBezTo>
                  <a:cubicBezTo>
                    <a:pt x="75949" y="863"/>
                    <a:pt x="75949" y="863"/>
                    <a:pt x="75949" y="863"/>
                  </a:cubicBezTo>
                  <a:cubicBezTo>
                    <a:pt x="75949" y="863"/>
                    <a:pt x="75949" y="863"/>
                    <a:pt x="75949" y="863"/>
                  </a:cubicBezTo>
                  <a:cubicBezTo>
                    <a:pt x="75949" y="863"/>
                    <a:pt x="75949" y="863"/>
                    <a:pt x="75949" y="863"/>
                  </a:cubicBezTo>
                  <a:cubicBezTo>
                    <a:pt x="75949" y="863"/>
                    <a:pt x="75949" y="863"/>
                    <a:pt x="75949" y="863"/>
                  </a:cubicBezTo>
                  <a:cubicBezTo>
                    <a:pt x="75949" y="863"/>
                    <a:pt x="75949" y="863"/>
                    <a:pt x="75949" y="863"/>
                  </a:cubicBezTo>
                  <a:cubicBezTo>
                    <a:pt x="75949" y="863"/>
                    <a:pt x="75949" y="863"/>
                    <a:pt x="75949" y="863"/>
                  </a:cubicBezTo>
                  <a:cubicBezTo>
                    <a:pt x="75949" y="863"/>
                    <a:pt x="75949" y="863"/>
                    <a:pt x="75949" y="863"/>
                  </a:cubicBezTo>
                  <a:cubicBezTo>
                    <a:pt x="75949" y="863"/>
                    <a:pt x="75949" y="863"/>
                    <a:pt x="75949" y="863"/>
                  </a:cubicBezTo>
                  <a:cubicBezTo>
                    <a:pt x="75949" y="863"/>
                    <a:pt x="75949" y="863"/>
                    <a:pt x="75949" y="863"/>
                  </a:cubicBezTo>
                  <a:cubicBezTo>
                    <a:pt x="75949" y="863"/>
                    <a:pt x="75949" y="863"/>
                    <a:pt x="75949" y="863"/>
                  </a:cubicBezTo>
                  <a:cubicBezTo>
                    <a:pt x="75949" y="863"/>
                    <a:pt x="75949" y="863"/>
                    <a:pt x="75949" y="863"/>
                  </a:cubicBezTo>
                  <a:cubicBezTo>
                    <a:pt x="75949" y="863"/>
                    <a:pt x="75949" y="863"/>
                    <a:pt x="75949" y="863"/>
                  </a:cubicBezTo>
                  <a:cubicBezTo>
                    <a:pt x="75949" y="863"/>
                    <a:pt x="75949" y="863"/>
                    <a:pt x="75949" y="863"/>
                  </a:cubicBezTo>
                  <a:cubicBezTo>
                    <a:pt x="75949" y="863"/>
                    <a:pt x="75949" y="863"/>
                    <a:pt x="75949" y="863"/>
                  </a:cubicBezTo>
                  <a:cubicBezTo>
                    <a:pt x="75949" y="863"/>
                    <a:pt x="76708" y="2589"/>
                    <a:pt x="78227" y="3453"/>
                  </a:cubicBezTo>
                  <a:cubicBezTo>
                    <a:pt x="78227" y="3453"/>
                    <a:pt x="78227" y="3453"/>
                    <a:pt x="78227" y="3453"/>
                  </a:cubicBezTo>
                  <a:cubicBezTo>
                    <a:pt x="79746" y="3453"/>
                    <a:pt x="79746" y="3453"/>
                    <a:pt x="79746" y="3453"/>
                  </a:cubicBezTo>
                  <a:cubicBezTo>
                    <a:pt x="79746" y="3453"/>
                    <a:pt x="79746" y="3453"/>
                    <a:pt x="79746" y="3453"/>
                  </a:cubicBezTo>
                  <a:cubicBezTo>
                    <a:pt x="79746" y="3453"/>
                    <a:pt x="80506" y="2589"/>
                    <a:pt x="81265" y="2589"/>
                  </a:cubicBezTo>
                  <a:cubicBezTo>
                    <a:pt x="82784" y="2589"/>
                    <a:pt x="83544" y="2589"/>
                    <a:pt x="84303" y="2589"/>
                  </a:cubicBezTo>
                  <a:cubicBezTo>
                    <a:pt x="85822" y="2589"/>
                    <a:pt x="86582" y="4316"/>
                    <a:pt x="86582" y="4316"/>
                  </a:cubicBezTo>
                  <a:cubicBezTo>
                    <a:pt x="88860" y="6906"/>
                    <a:pt x="88860" y="6906"/>
                    <a:pt x="88860" y="6906"/>
                  </a:cubicBezTo>
                  <a:cubicBezTo>
                    <a:pt x="88860" y="6906"/>
                    <a:pt x="89620" y="8633"/>
                    <a:pt x="89620" y="9496"/>
                  </a:cubicBezTo>
                  <a:cubicBezTo>
                    <a:pt x="90379" y="10359"/>
                    <a:pt x="90379" y="11223"/>
                    <a:pt x="90379" y="11223"/>
                  </a:cubicBezTo>
                  <a:cubicBezTo>
                    <a:pt x="90379" y="11223"/>
                    <a:pt x="90379" y="11223"/>
                    <a:pt x="90379" y="11223"/>
                  </a:cubicBezTo>
                  <a:cubicBezTo>
                    <a:pt x="91139" y="11223"/>
                    <a:pt x="96455" y="13812"/>
                    <a:pt x="97215" y="13812"/>
                  </a:cubicBezTo>
                  <a:cubicBezTo>
                    <a:pt x="97215" y="13812"/>
                    <a:pt x="97974" y="13812"/>
                    <a:pt x="97974" y="13812"/>
                  </a:cubicBezTo>
                  <a:cubicBezTo>
                    <a:pt x="97974" y="12086"/>
                    <a:pt x="97215" y="11223"/>
                    <a:pt x="98734" y="10359"/>
                  </a:cubicBezTo>
                  <a:cubicBezTo>
                    <a:pt x="99493" y="10359"/>
                    <a:pt x="100253" y="12086"/>
                    <a:pt x="100253" y="10359"/>
                  </a:cubicBezTo>
                  <a:cubicBezTo>
                    <a:pt x="100253" y="8633"/>
                    <a:pt x="101012" y="9496"/>
                    <a:pt x="100253" y="7769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tx1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defTabSz="457178"/>
              <a:endParaRPr kern="0">
                <a:solidFill>
                  <a:srgbClr val="7F7F7F"/>
                </a:solidFill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20" name="Shape 2027">
              <a:extLst>
                <a:ext uri="{FF2B5EF4-FFF2-40B4-BE49-F238E27FC236}">
                  <a16:creationId xmlns:a16="http://schemas.microsoft.com/office/drawing/2014/main" id="{1C9F29ED-3383-4587-A2E7-4F2EF6A93724}"/>
                </a:ext>
              </a:extLst>
            </p:cNvPr>
            <p:cNvSpPr/>
            <p:nvPr/>
          </p:nvSpPr>
          <p:spPr>
            <a:xfrm>
              <a:off x="4877542" y="1947009"/>
              <a:ext cx="322132" cy="369699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32340" y="23712"/>
                  </a:moveTo>
                  <a:cubicBezTo>
                    <a:pt x="37446" y="21556"/>
                    <a:pt x="37446" y="21556"/>
                    <a:pt x="37446" y="21556"/>
                  </a:cubicBezTo>
                  <a:cubicBezTo>
                    <a:pt x="40000" y="17245"/>
                    <a:pt x="40000" y="17245"/>
                    <a:pt x="40000" y="17245"/>
                  </a:cubicBezTo>
                  <a:cubicBezTo>
                    <a:pt x="43404" y="12215"/>
                    <a:pt x="43404" y="12215"/>
                    <a:pt x="43404" y="12215"/>
                  </a:cubicBezTo>
                  <a:cubicBezTo>
                    <a:pt x="45106" y="10059"/>
                    <a:pt x="45106" y="10059"/>
                    <a:pt x="45106" y="10059"/>
                  </a:cubicBezTo>
                  <a:cubicBezTo>
                    <a:pt x="46808" y="6467"/>
                    <a:pt x="46808" y="6467"/>
                    <a:pt x="46808" y="6467"/>
                  </a:cubicBezTo>
                  <a:cubicBezTo>
                    <a:pt x="51914" y="5029"/>
                    <a:pt x="51914" y="5029"/>
                    <a:pt x="51914" y="5029"/>
                  </a:cubicBezTo>
                  <a:cubicBezTo>
                    <a:pt x="51914" y="5029"/>
                    <a:pt x="55319" y="4311"/>
                    <a:pt x="56170" y="4311"/>
                  </a:cubicBezTo>
                  <a:cubicBezTo>
                    <a:pt x="57021" y="3592"/>
                    <a:pt x="62127" y="0"/>
                    <a:pt x="62127" y="0"/>
                  </a:cubicBezTo>
                  <a:cubicBezTo>
                    <a:pt x="62978" y="0"/>
                    <a:pt x="62978" y="0"/>
                    <a:pt x="62978" y="0"/>
                  </a:cubicBezTo>
                  <a:cubicBezTo>
                    <a:pt x="60425" y="3592"/>
                    <a:pt x="60425" y="3592"/>
                    <a:pt x="60425" y="3592"/>
                  </a:cubicBezTo>
                  <a:cubicBezTo>
                    <a:pt x="60425" y="5748"/>
                    <a:pt x="60425" y="5748"/>
                    <a:pt x="60425" y="5748"/>
                  </a:cubicBezTo>
                  <a:cubicBezTo>
                    <a:pt x="60425" y="7185"/>
                    <a:pt x="60425" y="7185"/>
                    <a:pt x="60425" y="7185"/>
                  </a:cubicBezTo>
                  <a:cubicBezTo>
                    <a:pt x="61276" y="10059"/>
                    <a:pt x="61276" y="10059"/>
                    <a:pt x="61276" y="10059"/>
                  </a:cubicBezTo>
                  <a:cubicBezTo>
                    <a:pt x="62127" y="10778"/>
                    <a:pt x="62127" y="10778"/>
                    <a:pt x="62127" y="10778"/>
                  </a:cubicBezTo>
                  <a:cubicBezTo>
                    <a:pt x="62127" y="13652"/>
                    <a:pt x="62127" y="13652"/>
                    <a:pt x="62127" y="13652"/>
                  </a:cubicBezTo>
                  <a:cubicBezTo>
                    <a:pt x="62127" y="16526"/>
                    <a:pt x="62127" y="16526"/>
                    <a:pt x="62127" y="16526"/>
                  </a:cubicBezTo>
                  <a:cubicBezTo>
                    <a:pt x="62127" y="16526"/>
                    <a:pt x="64680" y="17964"/>
                    <a:pt x="63829" y="18682"/>
                  </a:cubicBezTo>
                  <a:cubicBezTo>
                    <a:pt x="62127" y="19401"/>
                    <a:pt x="60425" y="21556"/>
                    <a:pt x="60425" y="21556"/>
                  </a:cubicBezTo>
                  <a:cubicBezTo>
                    <a:pt x="59574" y="25868"/>
                    <a:pt x="59574" y="25868"/>
                    <a:pt x="59574" y="25868"/>
                  </a:cubicBezTo>
                  <a:cubicBezTo>
                    <a:pt x="56170" y="29461"/>
                    <a:pt x="56170" y="29461"/>
                    <a:pt x="56170" y="29461"/>
                  </a:cubicBezTo>
                  <a:cubicBezTo>
                    <a:pt x="57021" y="33772"/>
                    <a:pt x="57021" y="33772"/>
                    <a:pt x="57021" y="33772"/>
                  </a:cubicBezTo>
                  <a:cubicBezTo>
                    <a:pt x="57872" y="37365"/>
                    <a:pt x="57872" y="37365"/>
                    <a:pt x="57872" y="37365"/>
                  </a:cubicBezTo>
                  <a:cubicBezTo>
                    <a:pt x="57021" y="40239"/>
                    <a:pt x="57021" y="40239"/>
                    <a:pt x="57021" y="40239"/>
                  </a:cubicBezTo>
                  <a:cubicBezTo>
                    <a:pt x="59574" y="42395"/>
                    <a:pt x="59574" y="42395"/>
                    <a:pt x="59574" y="42395"/>
                  </a:cubicBezTo>
                  <a:cubicBezTo>
                    <a:pt x="58723" y="43832"/>
                    <a:pt x="58723" y="43832"/>
                    <a:pt x="58723" y="43832"/>
                  </a:cubicBezTo>
                  <a:cubicBezTo>
                    <a:pt x="59574" y="45988"/>
                    <a:pt x="59574" y="45988"/>
                    <a:pt x="59574" y="45988"/>
                  </a:cubicBezTo>
                  <a:cubicBezTo>
                    <a:pt x="62127" y="47425"/>
                    <a:pt x="62127" y="47425"/>
                    <a:pt x="62127" y="47425"/>
                  </a:cubicBezTo>
                  <a:cubicBezTo>
                    <a:pt x="62127" y="47425"/>
                    <a:pt x="63829" y="47425"/>
                    <a:pt x="64680" y="47425"/>
                  </a:cubicBezTo>
                  <a:cubicBezTo>
                    <a:pt x="65531" y="47425"/>
                    <a:pt x="68085" y="46706"/>
                    <a:pt x="68936" y="46706"/>
                  </a:cubicBezTo>
                  <a:cubicBezTo>
                    <a:pt x="69787" y="46706"/>
                    <a:pt x="71489" y="47425"/>
                    <a:pt x="71489" y="47425"/>
                  </a:cubicBezTo>
                  <a:cubicBezTo>
                    <a:pt x="74042" y="50299"/>
                    <a:pt x="74042" y="50299"/>
                    <a:pt x="74042" y="50299"/>
                  </a:cubicBezTo>
                  <a:cubicBezTo>
                    <a:pt x="74042" y="52455"/>
                    <a:pt x="74042" y="52455"/>
                    <a:pt x="74042" y="52455"/>
                  </a:cubicBezTo>
                  <a:cubicBezTo>
                    <a:pt x="74042" y="52455"/>
                    <a:pt x="73191" y="53892"/>
                    <a:pt x="73191" y="54610"/>
                  </a:cubicBezTo>
                  <a:cubicBezTo>
                    <a:pt x="72340" y="55329"/>
                    <a:pt x="71489" y="56766"/>
                    <a:pt x="71489" y="56766"/>
                  </a:cubicBezTo>
                  <a:cubicBezTo>
                    <a:pt x="69787" y="58203"/>
                    <a:pt x="69787" y="58203"/>
                    <a:pt x="69787" y="58203"/>
                  </a:cubicBezTo>
                  <a:cubicBezTo>
                    <a:pt x="68936" y="60359"/>
                    <a:pt x="68936" y="60359"/>
                    <a:pt x="68936" y="60359"/>
                  </a:cubicBezTo>
                  <a:cubicBezTo>
                    <a:pt x="68085" y="61796"/>
                    <a:pt x="68085" y="61796"/>
                    <a:pt x="68085" y="61796"/>
                  </a:cubicBezTo>
                  <a:cubicBezTo>
                    <a:pt x="68085" y="61796"/>
                    <a:pt x="68085" y="61796"/>
                    <a:pt x="68085" y="61796"/>
                  </a:cubicBezTo>
                  <a:cubicBezTo>
                    <a:pt x="66382" y="60359"/>
                    <a:pt x="66382" y="60359"/>
                    <a:pt x="66382" y="60359"/>
                  </a:cubicBezTo>
                  <a:cubicBezTo>
                    <a:pt x="66382" y="60359"/>
                    <a:pt x="66382" y="58203"/>
                    <a:pt x="65531" y="58922"/>
                  </a:cubicBezTo>
                  <a:cubicBezTo>
                    <a:pt x="64680" y="58922"/>
                    <a:pt x="63829" y="60359"/>
                    <a:pt x="63829" y="60359"/>
                  </a:cubicBezTo>
                  <a:cubicBezTo>
                    <a:pt x="64680" y="61796"/>
                    <a:pt x="64680" y="61796"/>
                    <a:pt x="64680" y="61796"/>
                  </a:cubicBezTo>
                  <a:cubicBezTo>
                    <a:pt x="64680" y="61796"/>
                    <a:pt x="65531" y="63952"/>
                    <a:pt x="64680" y="63952"/>
                  </a:cubicBezTo>
                  <a:cubicBezTo>
                    <a:pt x="63829" y="63952"/>
                    <a:pt x="62978" y="63952"/>
                    <a:pt x="62978" y="63952"/>
                  </a:cubicBezTo>
                  <a:cubicBezTo>
                    <a:pt x="62127" y="61077"/>
                    <a:pt x="62127" y="61077"/>
                    <a:pt x="62127" y="61077"/>
                  </a:cubicBezTo>
                  <a:cubicBezTo>
                    <a:pt x="59574" y="60359"/>
                    <a:pt x="59574" y="60359"/>
                    <a:pt x="59574" y="60359"/>
                  </a:cubicBezTo>
                  <a:cubicBezTo>
                    <a:pt x="61276" y="57485"/>
                    <a:pt x="61276" y="57485"/>
                    <a:pt x="61276" y="57485"/>
                  </a:cubicBezTo>
                  <a:cubicBezTo>
                    <a:pt x="59574" y="56766"/>
                    <a:pt x="59574" y="56766"/>
                    <a:pt x="59574" y="56766"/>
                  </a:cubicBezTo>
                  <a:cubicBezTo>
                    <a:pt x="59574" y="56766"/>
                    <a:pt x="58723" y="56766"/>
                    <a:pt x="57872" y="57485"/>
                  </a:cubicBezTo>
                  <a:cubicBezTo>
                    <a:pt x="57872" y="58203"/>
                    <a:pt x="57021" y="61077"/>
                    <a:pt x="57021" y="61077"/>
                  </a:cubicBezTo>
                  <a:cubicBezTo>
                    <a:pt x="56170" y="63952"/>
                    <a:pt x="56170" y="63952"/>
                    <a:pt x="56170" y="63952"/>
                  </a:cubicBezTo>
                  <a:cubicBezTo>
                    <a:pt x="56170" y="63952"/>
                    <a:pt x="57021" y="64670"/>
                    <a:pt x="57021" y="65389"/>
                  </a:cubicBezTo>
                  <a:cubicBezTo>
                    <a:pt x="57021" y="66107"/>
                    <a:pt x="56170" y="66826"/>
                    <a:pt x="56170" y="66826"/>
                  </a:cubicBezTo>
                  <a:cubicBezTo>
                    <a:pt x="56170" y="66826"/>
                    <a:pt x="56170" y="67544"/>
                    <a:pt x="56170" y="68263"/>
                  </a:cubicBezTo>
                  <a:cubicBezTo>
                    <a:pt x="56170" y="68263"/>
                    <a:pt x="57021" y="69700"/>
                    <a:pt x="57021" y="70419"/>
                  </a:cubicBezTo>
                  <a:cubicBezTo>
                    <a:pt x="57021" y="70419"/>
                    <a:pt x="57021" y="71137"/>
                    <a:pt x="56170" y="71137"/>
                  </a:cubicBezTo>
                  <a:cubicBezTo>
                    <a:pt x="56170" y="71856"/>
                    <a:pt x="56170" y="71856"/>
                    <a:pt x="56170" y="72574"/>
                  </a:cubicBezTo>
                  <a:cubicBezTo>
                    <a:pt x="55319" y="72574"/>
                    <a:pt x="54468" y="73293"/>
                    <a:pt x="54468" y="73293"/>
                  </a:cubicBezTo>
                  <a:cubicBezTo>
                    <a:pt x="54468" y="73293"/>
                    <a:pt x="52765" y="74011"/>
                    <a:pt x="52765" y="74011"/>
                  </a:cubicBezTo>
                  <a:cubicBezTo>
                    <a:pt x="52765" y="74011"/>
                    <a:pt x="51914" y="73293"/>
                    <a:pt x="51063" y="73293"/>
                  </a:cubicBezTo>
                  <a:cubicBezTo>
                    <a:pt x="50212" y="73293"/>
                    <a:pt x="50212" y="72574"/>
                    <a:pt x="49361" y="73293"/>
                  </a:cubicBezTo>
                  <a:cubicBezTo>
                    <a:pt x="48510" y="74011"/>
                    <a:pt x="48510" y="74011"/>
                    <a:pt x="48510" y="74011"/>
                  </a:cubicBezTo>
                  <a:cubicBezTo>
                    <a:pt x="49361" y="74730"/>
                    <a:pt x="49361" y="74730"/>
                    <a:pt x="49361" y="74730"/>
                  </a:cubicBezTo>
                  <a:cubicBezTo>
                    <a:pt x="51063" y="74730"/>
                    <a:pt x="51063" y="74730"/>
                    <a:pt x="51063" y="74730"/>
                  </a:cubicBezTo>
                  <a:cubicBezTo>
                    <a:pt x="51063" y="76167"/>
                    <a:pt x="51063" y="76167"/>
                    <a:pt x="51063" y="76167"/>
                  </a:cubicBezTo>
                  <a:cubicBezTo>
                    <a:pt x="51063" y="76167"/>
                    <a:pt x="51914" y="76167"/>
                    <a:pt x="51914" y="76886"/>
                  </a:cubicBezTo>
                  <a:cubicBezTo>
                    <a:pt x="51063" y="77604"/>
                    <a:pt x="50212" y="78323"/>
                    <a:pt x="50212" y="78323"/>
                  </a:cubicBezTo>
                  <a:cubicBezTo>
                    <a:pt x="48510" y="79760"/>
                    <a:pt x="48510" y="79760"/>
                    <a:pt x="48510" y="79760"/>
                  </a:cubicBezTo>
                  <a:cubicBezTo>
                    <a:pt x="46808" y="80479"/>
                    <a:pt x="46808" y="80479"/>
                    <a:pt x="46808" y="80479"/>
                  </a:cubicBezTo>
                  <a:cubicBezTo>
                    <a:pt x="46808" y="80479"/>
                    <a:pt x="45106" y="79760"/>
                    <a:pt x="45106" y="80479"/>
                  </a:cubicBezTo>
                  <a:cubicBezTo>
                    <a:pt x="44255" y="80479"/>
                    <a:pt x="43404" y="80479"/>
                    <a:pt x="43404" y="80479"/>
                  </a:cubicBezTo>
                  <a:cubicBezTo>
                    <a:pt x="43404" y="81197"/>
                    <a:pt x="45106" y="82634"/>
                    <a:pt x="45106" y="82634"/>
                  </a:cubicBezTo>
                  <a:cubicBezTo>
                    <a:pt x="41702" y="79760"/>
                    <a:pt x="41702" y="79760"/>
                    <a:pt x="41702" y="79760"/>
                  </a:cubicBezTo>
                  <a:cubicBezTo>
                    <a:pt x="40000" y="79760"/>
                    <a:pt x="40000" y="79760"/>
                    <a:pt x="40000" y="79760"/>
                  </a:cubicBezTo>
                  <a:cubicBezTo>
                    <a:pt x="42553" y="81197"/>
                    <a:pt x="42553" y="81197"/>
                    <a:pt x="42553" y="81197"/>
                  </a:cubicBezTo>
                  <a:cubicBezTo>
                    <a:pt x="43404" y="82634"/>
                    <a:pt x="43404" y="82634"/>
                    <a:pt x="43404" y="82634"/>
                  </a:cubicBezTo>
                  <a:cubicBezTo>
                    <a:pt x="45106" y="83353"/>
                    <a:pt x="45106" y="83353"/>
                    <a:pt x="45106" y="83353"/>
                  </a:cubicBezTo>
                  <a:cubicBezTo>
                    <a:pt x="44255" y="84071"/>
                    <a:pt x="44255" y="84071"/>
                    <a:pt x="44255" y="84071"/>
                  </a:cubicBezTo>
                  <a:cubicBezTo>
                    <a:pt x="43404" y="84790"/>
                    <a:pt x="43404" y="84790"/>
                    <a:pt x="43404" y="84790"/>
                  </a:cubicBezTo>
                  <a:cubicBezTo>
                    <a:pt x="41702" y="86227"/>
                    <a:pt x="41702" y="86227"/>
                    <a:pt x="41702" y="86227"/>
                  </a:cubicBezTo>
                  <a:cubicBezTo>
                    <a:pt x="41702" y="86227"/>
                    <a:pt x="40851" y="86946"/>
                    <a:pt x="40000" y="86946"/>
                  </a:cubicBezTo>
                  <a:cubicBezTo>
                    <a:pt x="40000" y="86946"/>
                    <a:pt x="37446" y="86946"/>
                    <a:pt x="37446" y="86946"/>
                  </a:cubicBezTo>
                  <a:cubicBezTo>
                    <a:pt x="38297" y="87664"/>
                    <a:pt x="38297" y="87664"/>
                    <a:pt x="38297" y="87664"/>
                  </a:cubicBezTo>
                  <a:cubicBezTo>
                    <a:pt x="40000" y="88383"/>
                    <a:pt x="40000" y="88383"/>
                    <a:pt x="40000" y="88383"/>
                  </a:cubicBezTo>
                  <a:cubicBezTo>
                    <a:pt x="40000" y="88383"/>
                    <a:pt x="40851" y="87664"/>
                    <a:pt x="40851" y="88383"/>
                  </a:cubicBezTo>
                  <a:cubicBezTo>
                    <a:pt x="40000" y="88383"/>
                    <a:pt x="40000" y="88383"/>
                    <a:pt x="40000" y="89101"/>
                  </a:cubicBezTo>
                  <a:cubicBezTo>
                    <a:pt x="40000" y="90538"/>
                    <a:pt x="40000" y="92694"/>
                    <a:pt x="40000" y="92694"/>
                  </a:cubicBezTo>
                  <a:cubicBezTo>
                    <a:pt x="41702" y="94850"/>
                    <a:pt x="41702" y="94850"/>
                    <a:pt x="41702" y="94850"/>
                  </a:cubicBezTo>
                  <a:cubicBezTo>
                    <a:pt x="42553" y="95568"/>
                    <a:pt x="42553" y="95568"/>
                    <a:pt x="42553" y="95568"/>
                  </a:cubicBezTo>
                  <a:cubicBezTo>
                    <a:pt x="42553" y="95568"/>
                    <a:pt x="42553" y="95568"/>
                    <a:pt x="42553" y="96287"/>
                  </a:cubicBezTo>
                  <a:cubicBezTo>
                    <a:pt x="42553" y="96287"/>
                    <a:pt x="42553" y="97005"/>
                    <a:pt x="42553" y="97005"/>
                  </a:cubicBezTo>
                  <a:cubicBezTo>
                    <a:pt x="42553" y="98443"/>
                    <a:pt x="42553" y="98443"/>
                    <a:pt x="42553" y="98443"/>
                  </a:cubicBezTo>
                  <a:cubicBezTo>
                    <a:pt x="42553" y="98443"/>
                    <a:pt x="41702" y="99161"/>
                    <a:pt x="40851" y="99161"/>
                  </a:cubicBezTo>
                  <a:cubicBezTo>
                    <a:pt x="40851" y="99161"/>
                    <a:pt x="37446" y="99880"/>
                    <a:pt x="37446" y="99880"/>
                  </a:cubicBezTo>
                  <a:cubicBezTo>
                    <a:pt x="36595" y="101317"/>
                    <a:pt x="36595" y="101317"/>
                    <a:pt x="36595" y="101317"/>
                  </a:cubicBezTo>
                  <a:cubicBezTo>
                    <a:pt x="38297" y="102035"/>
                    <a:pt x="38297" y="102035"/>
                    <a:pt x="38297" y="102035"/>
                  </a:cubicBezTo>
                  <a:cubicBezTo>
                    <a:pt x="38297" y="102035"/>
                    <a:pt x="38297" y="103473"/>
                    <a:pt x="38297" y="103473"/>
                  </a:cubicBezTo>
                  <a:cubicBezTo>
                    <a:pt x="38297" y="104191"/>
                    <a:pt x="37446" y="104910"/>
                    <a:pt x="37446" y="104910"/>
                  </a:cubicBezTo>
                  <a:cubicBezTo>
                    <a:pt x="39148" y="104910"/>
                    <a:pt x="39148" y="104910"/>
                    <a:pt x="39148" y="104910"/>
                  </a:cubicBezTo>
                  <a:cubicBezTo>
                    <a:pt x="41702" y="105628"/>
                    <a:pt x="41702" y="105628"/>
                    <a:pt x="41702" y="105628"/>
                  </a:cubicBezTo>
                  <a:cubicBezTo>
                    <a:pt x="45106" y="109221"/>
                    <a:pt x="45106" y="109221"/>
                    <a:pt x="45106" y="109221"/>
                  </a:cubicBezTo>
                  <a:cubicBezTo>
                    <a:pt x="44255" y="112095"/>
                    <a:pt x="44255" y="112095"/>
                    <a:pt x="44255" y="112095"/>
                  </a:cubicBezTo>
                  <a:cubicBezTo>
                    <a:pt x="42553" y="113532"/>
                    <a:pt x="42553" y="113532"/>
                    <a:pt x="42553" y="113532"/>
                  </a:cubicBezTo>
                  <a:cubicBezTo>
                    <a:pt x="40851" y="110658"/>
                    <a:pt x="40851" y="110658"/>
                    <a:pt x="40851" y="110658"/>
                  </a:cubicBezTo>
                  <a:cubicBezTo>
                    <a:pt x="40851" y="110658"/>
                    <a:pt x="40000" y="110658"/>
                    <a:pt x="40000" y="111377"/>
                  </a:cubicBezTo>
                  <a:cubicBezTo>
                    <a:pt x="39148" y="111377"/>
                    <a:pt x="36595" y="112814"/>
                    <a:pt x="36595" y="112814"/>
                  </a:cubicBezTo>
                  <a:cubicBezTo>
                    <a:pt x="36595" y="112814"/>
                    <a:pt x="34893" y="113532"/>
                    <a:pt x="34042" y="113532"/>
                  </a:cubicBezTo>
                  <a:cubicBezTo>
                    <a:pt x="34042" y="113532"/>
                    <a:pt x="33191" y="113532"/>
                    <a:pt x="33191" y="113532"/>
                  </a:cubicBezTo>
                  <a:cubicBezTo>
                    <a:pt x="30638" y="112814"/>
                    <a:pt x="30638" y="112814"/>
                    <a:pt x="30638" y="112814"/>
                  </a:cubicBezTo>
                  <a:cubicBezTo>
                    <a:pt x="27234" y="111377"/>
                    <a:pt x="27234" y="111377"/>
                    <a:pt x="27234" y="111377"/>
                  </a:cubicBezTo>
                  <a:cubicBezTo>
                    <a:pt x="27234" y="111377"/>
                    <a:pt x="25531" y="110658"/>
                    <a:pt x="24680" y="110658"/>
                  </a:cubicBezTo>
                  <a:cubicBezTo>
                    <a:pt x="23829" y="110658"/>
                    <a:pt x="19574" y="109221"/>
                    <a:pt x="19574" y="109221"/>
                  </a:cubicBezTo>
                  <a:cubicBezTo>
                    <a:pt x="17872" y="109940"/>
                    <a:pt x="17872" y="109940"/>
                    <a:pt x="17872" y="109940"/>
                  </a:cubicBezTo>
                  <a:cubicBezTo>
                    <a:pt x="15319" y="109940"/>
                    <a:pt x="15319" y="109940"/>
                    <a:pt x="15319" y="109940"/>
                  </a:cubicBezTo>
                  <a:cubicBezTo>
                    <a:pt x="13617" y="109221"/>
                    <a:pt x="13617" y="109221"/>
                    <a:pt x="13617" y="109221"/>
                  </a:cubicBezTo>
                  <a:cubicBezTo>
                    <a:pt x="11914" y="107065"/>
                    <a:pt x="11914" y="107065"/>
                    <a:pt x="11914" y="107065"/>
                  </a:cubicBezTo>
                  <a:cubicBezTo>
                    <a:pt x="11914" y="107065"/>
                    <a:pt x="11063" y="105628"/>
                    <a:pt x="11063" y="105628"/>
                  </a:cubicBezTo>
                  <a:cubicBezTo>
                    <a:pt x="11063" y="105628"/>
                    <a:pt x="13617" y="104191"/>
                    <a:pt x="13617" y="104191"/>
                  </a:cubicBezTo>
                  <a:cubicBezTo>
                    <a:pt x="14468" y="104191"/>
                    <a:pt x="14468" y="103473"/>
                    <a:pt x="14468" y="103473"/>
                  </a:cubicBezTo>
                  <a:cubicBezTo>
                    <a:pt x="14468" y="100598"/>
                    <a:pt x="14468" y="100598"/>
                    <a:pt x="14468" y="100598"/>
                  </a:cubicBezTo>
                  <a:cubicBezTo>
                    <a:pt x="14468" y="100598"/>
                    <a:pt x="14468" y="99161"/>
                    <a:pt x="14468" y="99161"/>
                  </a:cubicBezTo>
                  <a:cubicBezTo>
                    <a:pt x="14468" y="98443"/>
                    <a:pt x="15319" y="97724"/>
                    <a:pt x="15319" y="97724"/>
                  </a:cubicBezTo>
                  <a:cubicBezTo>
                    <a:pt x="15319" y="97724"/>
                    <a:pt x="15319" y="95568"/>
                    <a:pt x="14468" y="94850"/>
                  </a:cubicBezTo>
                  <a:cubicBezTo>
                    <a:pt x="14468" y="93413"/>
                    <a:pt x="14468" y="91976"/>
                    <a:pt x="14468" y="91976"/>
                  </a:cubicBezTo>
                  <a:cubicBezTo>
                    <a:pt x="12765" y="89820"/>
                    <a:pt x="12765" y="89820"/>
                    <a:pt x="12765" y="89820"/>
                  </a:cubicBezTo>
                  <a:cubicBezTo>
                    <a:pt x="12765" y="89820"/>
                    <a:pt x="11914" y="89820"/>
                    <a:pt x="10212" y="89101"/>
                  </a:cubicBezTo>
                  <a:cubicBezTo>
                    <a:pt x="8510" y="88383"/>
                    <a:pt x="5957" y="87664"/>
                    <a:pt x="5957" y="87664"/>
                  </a:cubicBezTo>
                  <a:cubicBezTo>
                    <a:pt x="5957" y="85508"/>
                    <a:pt x="5957" y="85508"/>
                    <a:pt x="5957" y="85508"/>
                  </a:cubicBezTo>
                  <a:cubicBezTo>
                    <a:pt x="5106" y="84790"/>
                    <a:pt x="5106" y="84790"/>
                    <a:pt x="5106" y="84790"/>
                  </a:cubicBezTo>
                  <a:cubicBezTo>
                    <a:pt x="5106" y="84790"/>
                    <a:pt x="3404" y="84790"/>
                    <a:pt x="3404" y="85508"/>
                  </a:cubicBezTo>
                  <a:cubicBezTo>
                    <a:pt x="3404" y="85508"/>
                    <a:pt x="3404" y="86227"/>
                    <a:pt x="3404" y="86227"/>
                  </a:cubicBezTo>
                  <a:cubicBezTo>
                    <a:pt x="1702" y="85508"/>
                    <a:pt x="1702" y="85508"/>
                    <a:pt x="1702" y="85508"/>
                  </a:cubicBezTo>
                  <a:cubicBezTo>
                    <a:pt x="1702" y="85508"/>
                    <a:pt x="0" y="83353"/>
                    <a:pt x="0" y="82634"/>
                  </a:cubicBezTo>
                  <a:cubicBezTo>
                    <a:pt x="851" y="82634"/>
                    <a:pt x="1702" y="81916"/>
                    <a:pt x="1702" y="81197"/>
                  </a:cubicBezTo>
                  <a:cubicBezTo>
                    <a:pt x="2553" y="80479"/>
                    <a:pt x="3404" y="79041"/>
                    <a:pt x="3404" y="78323"/>
                  </a:cubicBezTo>
                  <a:cubicBezTo>
                    <a:pt x="3404" y="78323"/>
                    <a:pt x="3404" y="75449"/>
                    <a:pt x="3404" y="75449"/>
                  </a:cubicBezTo>
                  <a:cubicBezTo>
                    <a:pt x="3404" y="75449"/>
                    <a:pt x="2553" y="74730"/>
                    <a:pt x="3404" y="74730"/>
                  </a:cubicBezTo>
                  <a:cubicBezTo>
                    <a:pt x="4255" y="74730"/>
                    <a:pt x="3404" y="74730"/>
                    <a:pt x="4255" y="74730"/>
                  </a:cubicBezTo>
                  <a:cubicBezTo>
                    <a:pt x="5106" y="74011"/>
                    <a:pt x="7659" y="72574"/>
                    <a:pt x="7659" y="72574"/>
                  </a:cubicBezTo>
                  <a:cubicBezTo>
                    <a:pt x="7659" y="71137"/>
                    <a:pt x="7659" y="71137"/>
                    <a:pt x="7659" y="71137"/>
                  </a:cubicBezTo>
                  <a:cubicBezTo>
                    <a:pt x="7659" y="71137"/>
                    <a:pt x="6808" y="69700"/>
                    <a:pt x="6808" y="68982"/>
                  </a:cubicBezTo>
                  <a:cubicBezTo>
                    <a:pt x="6808" y="68982"/>
                    <a:pt x="6808" y="68982"/>
                    <a:pt x="6808" y="68263"/>
                  </a:cubicBezTo>
                  <a:cubicBezTo>
                    <a:pt x="6808" y="66826"/>
                    <a:pt x="3404" y="63952"/>
                    <a:pt x="3404" y="63952"/>
                  </a:cubicBezTo>
                  <a:cubicBezTo>
                    <a:pt x="1702" y="63952"/>
                    <a:pt x="1702" y="63952"/>
                    <a:pt x="1702" y="63952"/>
                  </a:cubicBezTo>
                  <a:cubicBezTo>
                    <a:pt x="1702" y="63952"/>
                    <a:pt x="1702" y="63233"/>
                    <a:pt x="1702" y="62514"/>
                  </a:cubicBezTo>
                  <a:cubicBezTo>
                    <a:pt x="1702" y="62514"/>
                    <a:pt x="1702" y="60359"/>
                    <a:pt x="1702" y="60359"/>
                  </a:cubicBezTo>
                  <a:cubicBezTo>
                    <a:pt x="2553" y="57485"/>
                    <a:pt x="2553" y="57485"/>
                    <a:pt x="2553" y="57485"/>
                  </a:cubicBezTo>
                  <a:cubicBezTo>
                    <a:pt x="1702" y="52455"/>
                    <a:pt x="1702" y="52455"/>
                    <a:pt x="1702" y="52455"/>
                  </a:cubicBezTo>
                  <a:cubicBezTo>
                    <a:pt x="1702" y="48862"/>
                    <a:pt x="1702" y="48862"/>
                    <a:pt x="1702" y="48862"/>
                  </a:cubicBezTo>
                  <a:cubicBezTo>
                    <a:pt x="1702" y="48862"/>
                    <a:pt x="1702" y="45988"/>
                    <a:pt x="1702" y="45269"/>
                  </a:cubicBezTo>
                  <a:cubicBezTo>
                    <a:pt x="1702" y="45269"/>
                    <a:pt x="3404" y="42395"/>
                    <a:pt x="3404" y="42395"/>
                  </a:cubicBezTo>
                  <a:cubicBezTo>
                    <a:pt x="4255" y="40958"/>
                    <a:pt x="4255" y="40958"/>
                    <a:pt x="4255" y="40958"/>
                  </a:cubicBezTo>
                  <a:cubicBezTo>
                    <a:pt x="5106" y="43113"/>
                    <a:pt x="5106" y="43113"/>
                    <a:pt x="5106" y="43113"/>
                  </a:cubicBezTo>
                  <a:cubicBezTo>
                    <a:pt x="5106" y="43113"/>
                    <a:pt x="4255" y="43832"/>
                    <a:pt x="5106" y="44550"/>
                  </a:cubicBezTo>
                  <a:cubicBezTo>
                    <a:pt x="5957" y="44550"/>
                    <a:pt x="6808" y="44550"/>
                    <a:pt x="7659" y="44550"/>
                  </a:cubicBezTo>
                  <a:cubicBezTo>
                    <a:pt x="7659" y="44550"/>
                    <a:pt x="8510" y="45269"/>
                    <a:pt x="8510" y="45269"/>
                  </a:cubicBezTo>
                  <a:cubicBezTo>
                    <a:pt x="11063" y="46706"/>
                    <a:pt x="11063" y="46706"/>
                    <a:pt x="11063" y="46706"/>
                  </a:cubicBezTo>
                  <a:cubicBezTo>
                    <a:pt x="12765" y="48143"/>
                    <a:pt x="12765" y="48143"/>
                    <a:pt x="12765" y="48143"/>
                  </a:cubicBezTo>
                  <a:cubicBezTo>
                    <a:pt x="14468" y="48862"/>
                    <a:pt x="14468" y="48862"/>
                    <a:pt x="14468" y="48862"/>
                  </a:cubicBezTo>
                  <a:cubicBezTo>
                    <a:pt x="16170" y="48862"/>
                    <a:pt x="16170" y="48862"/>
                    <a:pt x="16170" y="48862"/>
                  </a:cubicBezTo>
                  <a:cubicBezTo>
                    <a:pt x="17021" y="48143"/>
                    <a:pt x="17021" y="48143"/>
                    <a:pt x="17021" y="48143"/>
                  </a:cubicBezTo>
                  <a:cubicBezTo>
                    <a:pt x="17021" y="48143"/>
                    <a:pt x="17021" y="47425"/>
                    <a:pt x="17021" y="47425"/>
                  </a:cubicBezTo>
                  <a:cubicBezTo>
                    <a:pt x="17021" y="47425"/>
                    <a:pt x="16170" y="45988"/>
                    <a:pt x="16170" y="45988"/>
                  </a:cubicBezTo>
                  <a:cubicBezTo>
                    <a:pt x="16170" y="45269"/>
                    <a:pt x="15319" y="44550"/>
                    <a:pt x="15319" y="44550"/>
                  </a:cubicBezTo>
                  <a:cubicBezTo>
                    <a:pt x="17872" y="43113"/>
                    <a:pt x="17872" y="43113"/>
                    <a:pt x="17872" y="43113"/>
                  </a:cubicBezTo>
                  <a:cubicBezTo>
                    <a:pt x="18723" y="41676"/>
                    <a:pt x="18723" y="41676"/>
                    <a:pt x="18723" y="41676"/>
                  </a:cubicBezTo>
                  <a:cubicBezTo>
                    <a:pt x="18723" y="41676"/>
                    <a:pt x="18723" y="40958"/>
                    <a:pt x="17872" y="40958"/>
                  </a:cubicBezTo>
                  <a:cubicBezTo>
                    <a:pt x="17021" y="40958"/>
                    <a:pt x="15319" y="40958"/>
                    <a:pt x="15319" y="40958"/>
                  </a:cubicBezTo>
                  <a:cubicBezTo>
                    <a:pt x="15319" y="40958"/>
                    <a:pt x="14468" y="40239"/>
                    <a:pt x="14468" y="40239"/>
                  </a:cubicBezTo>
                  <a:cubicBezTo>
                    <a:pt x="14468" y="40239"/>
                    <a:pt x="13617" y="38802"/>
                    <a:pt x="13617" y="38802"/>
                  </a:cubicBezTo>
                  <a:cubicBezTo>
                    <a:pt x="13617" y="38802"/>
                    <a:pt x="13617" y="37365"/>
                    <a:pt x="14468" y="37365"/>
                  </a:cubicBezTo>
                  <a:cubicBezTo>
                    <a:pt x="14468" y="36646"/>
                    <a:pt x="15319" y="34491"/>
                    <a:pt x="15319" y="34491"/>
                  </a:cubicBezTo>
                  <a:cubicBezTo>
                    <a:pt x="15319" y="34491"/>
                    <a:pt x="14468" y="33053"/>
                    <a:pt x="16170" y="33053"/>
                  </a:cubicBezTo>
                  <a:cubicBezTo>
                    <a:pt x="17872" y="33053"/>
                    <a:pt x="18723" y="33053"/>
                    <a:pt x="18723" y="33053"/>
                  </a:cubicBezTo>
                  <a:cubicBezTo>
                    <a:pt x="18723" y="33053"/>
                    <a:pt x="19574" y="31616"/>
                    <a:pt x="20425" y="31616"/>
                  </a:cubicBezTo>
                  <a:cubicBezTo>
                    <a:pt x="20425" y="31616"/>
                    <a:pt x="21276" y="30898"/>
                    <a:pt x="21276" y="31616"/>
                  </a:cubicBezTo>
                  <a:cubicBezTo>
                    <a:pt x="22127" y="31616"/>
                    <a:pt x="21276" y="33772"/>
                    <a:pt x="21276" y="33772"/>
                  </a:cubicBezTo>
                  <a:cubicBezTo>
                    <a:pt x="19574" y="35209"/>
                    <a:pt x="19574" y="35209"/>
                    <a:pt x="19574" y="35209"/>
                  </a:cubicBezTo>
                  <a:cubicBezTo>
                    <a:pt x="19574" y="35209"/>
                    <a:pt x="20425" y="35928"/>
                    <a:pt x="20425" y="36646"/>
                  </a:cubicBezTo>
                  <a:cubicBezTo>
                    <a:pt x="20425" y="37365"/>
                    <a:pt x="20425" y="38083"/>
                    <a:pt x="20425" y="38083"/>
                  </a:cubicBezTo>
                  <a:cubicBezTo>
                    <a:pt x="18723" y="40239"/>
                    <a:pt x="18723" y="40239"/>
                    <a:pt x="18723" y="40239"/>
                  </a:cubicBezTo>
                  <a:cubicBezTo>
                    <a:pt x="18723" y="40239"/>
                    <a:pt x="19574" y="40239"/>
                    <a:pt x="19574" y="40239"/>
                  </a:cubicBezTo>
                  <a:cubicBezTo>
                    <a:pt x="19574" y="40958"/>
                    <a:pt x="19574" y="41676"/>
                    <a:pt x="19574" y="41676"/>
                  </a:cubicBezTo>
                  <a:cubicBezTo>
                    <a:pt x="22127" y="40958"/>
                    <a:pt x="22127" y="40958"/>
                    <a:pt x="22127" y="40958"/>
                  </a:cubicBezTo>
                  <a:cubicBezTo>
                    <a:pt x="22127" y="40958"/>
                    <a:pt x="21276" y="40239"/>
                    <a:pt x="21276" y="40239"/>
                  </a:cubicBezTo>
                  <a:cubicBezTo>
                    <a:pt x="21276" y="40239"/>
                    <a:pt x="20425" y="39520"/>
                    <a:pt x="21276" y="38802"/>
                  </a:cubicBezTo>
                  <a:cubicBezTo>
                    <a:pt x="22127" y="38083"/>
                    <a:pt x="22127" y="37365"/>
                    <a:pt x="22978" y="37365"/>
                  </a:cubicBezTo>
                  <a:cubicBezTo>
                    <a:pt x="22978" y="36646"/>
                    <a:pt x="22978" y="36646"/>
                    <a:pt x="24680" y="36646"/>
                  </a:cubicBezTo>
                  <a:cubicBezTo>
                    <a:pt x="25531" y="36646"/>
                    <a:pt x="27234" y="38083"/>
                    <a:pt x="27234" y="38083"/>
                  </a:cubicBezTo>
                  <a:cubicBezTo>
                    <a:pt x="27234" y="38083"/>
                    <a:pt x="28085" y="38802"/>
                    <a:pt x="27234" y="38802"/>
                  </a:cubicBezTo>
                  <a:cubicBezTo>
                    <a:pt x="27234" y="39520"/>
                    <a:pt x="26382" y="40239"/>
                    <a:pt x="26382" y="40239"/>
                  </a:cubicBezTo>
                  <a:cubicBezTo>
                    <a:pt x="28085" y="42395"/>
                    <a:pt x="28085" y="42395"/>
                    <a:pt x="28085" y="42395"/>
                  </a:cubicBezTo>
                  <a:cubicBezTo>
                    <a:pt x="28085" y="42395"/>
                    <a:pt x="27234" y="42395"/>
                    <a:pt x="26382" y="43113"/>
                  </a:cubicBezTo>
                  <a:cubicBezTo>
                    <a:pt x="26382" y="43113"/>
                    <a:pt x="26382" y="43832"/>
                    <a:pt x="26382" y="43832"/>
                  </a:cubicBezTo>
                  <a:cubicBezTo>
                    <a:pt x="26382" y="44550"/>
                    <a:pt x="23829" y="45269"/>
                    <a:pt x="26382" y="45269"/>
                  </a:cubicBezTo>
                  <a:cubicBezTo>
                    <a:pt x="28085" y="45269"/>
                    <a:pt x="28085" y="45269"/>
                    <a:pt x="28085" y="44550"/>
                  </a:cubicBezTo>
                  <a:cubicBezTo>
                    <a:pt x="28085" y="44550"/>
                    <a:pt x="28085" y="43113"/>
                    <a:pt x="28085" y="43113"/>
                  </a:cubicBezTo>
                  <a:cubicBezTo>
                    <a:pt x="28085" y="43113"/>
                    <a:pt x="28936" y="43113"/>
                    <a:pt x="28936" y="43113"/>
                  </a:cubicBezTo>
                  <a:cubicBezTo>
                    <a:pt x="29787" y="43113"/>
                    <a:pt x="30638" y="43113"/>
                    <a:pt x="30638" y="43113"/>
                  </a:cubicBezTo>
                  <a:cubicBezTo>
                    <a:pt x="31489" y="43832"/>
                    <a:pt x="31489" y="43832"/>
                    <a:pt x="31489" y="43832"/>
                  </a:cubicBezTo>
                  <a:cubicBezTo>
                    <a:pt x="31489" y="43832"/>
                    <a:pt x="31489" y="44550"/>
                    <a:pt x="31489" y="45269"/>
                  </a:cubicBezTo>
                  <a:cubicBezTo>
                    <a:pt x="31489" y="45269"/>
                    <a:pt x="31489" y="45988"/>
                    <a:pt x="31489" y="45988"/>
                  </a:cubicBezTo>
                  <a:cubicBezTo>
                    <a:pt x="31489" y="45988"/>
                    <a:pt x="33191" y="47425"/>
                    <a:pt x="33191" y="46706"/>
                  </a:cubicBezTo>
                  <a:cubicBezTo>
                    <a:pt x="33191" y="45988"/>
                    <a:pt x="34042" y="46706"/>
                    <a:pt x="33191" y="45269"/>
                  </a:cubicBezTo>
                  <a:cubicBezTo>
                    <a:pt x="32340" y="44550"/>
                    <a:pt x="32340" y="43113"/>
                    <a:pt x="32340" y="43113"/>
                  </a:cubicBezTo>
                  <a:cubicBezTo>
                    <a:pt x="32340" y="43113"/>
                    <a:pt x="32340" y="43113"/>
                    <a:pt x="32340" y="42395"/>
                  </a:cubicBezTo>
                  <a:cubicBezTo>
                    <a:pt x="32340" y="42395"/>
                    <a:pt x="32340" y="41676"/>
                    <a:pt x="32340" y="41676"/>
                  </a:cubicBezTo>
                  <a:cubicBezTo>
                    <a:pt x="31489" y="40958"/>
                    <a:pt x="30638" y="40958"/>
                    <a:pt x="30638" y="40239"/>
                  </a:cubicBezTo>
                  <a:cubicBezTo>
                    <a:pt x="30638" y="40239"/>
                    <a:pt x="28085" y="38083"/>
                    <a:pt x="28085" y="38083"/>
                  </a:cubicBezTo>
                  <a:cubicBezTo>
                    <a:pt x="28085" y="38083"/>
                    <a:pt x="28085" y="37365"/>
                    <a:pt x="28085" y="36646"/>
                  </a:cubicBezTo>
                  <a:cubicBezTo>
                    <a:pt x="28085" y="35209"/>
                    <a:pt x="28085" y="34491"/>
                    <a:pt x="28085" y="33772"/>
                  </a:cubicBezTo>
                  <a:cubicBezTo>
                    <a:pt x="28085" y="33772"/>
                    <a:pt x="28936" y="32335"/>
                    <a:pt x="28936" y="32335"/>
                  </a:cubicBezTo>
                  <a:cubicBezTo>
                    <a:pt x="28936" y="32335"/>
                    <a:pt x="28936" y="30898"/>
                    <a:pt x="29787" y="30179"/>
                  </a:cubicBezTo>
                  <a:cubicBezTo>
                    <a:pt x="30638" y="30179"/>
                    <a:pt x="29787" y="29461"/>
                    <a:pt x="30638" y="29461"/>
                  </a:cubicBezTo>
                  <a:cubicBezTo>
                    <a:pt x="32340" y="28742"/>
                    <a:pt x="31489" y="28742"/>
                    <a:pt x="33191" y="28742"/>
                  </a:cubicBezTo>
                  <a:cubicBezTo>
                    <a:pt x="34042" y="28742"/>
                    <a:pt x="35744" y="29461"/>
                    <a:pt x="36595" y="29461"/>
                  </a:cubicBezTo>
                  <a:cubicBezTo>
                    <a:pt x="36595" y="29461"/>
                    <a:pt x="39148" y="30179"/>
                    <a:pt x="39148" y="30179"/>
                  </a:cubicBezTo>
                  <a:cubicBezTo>
                    <a:pt x="39148" y="30179"/>
                    <a:pt x="39148" y="29461"/>
                    <a:pt x="39148" y="29461"/>
                  </a:cubicBezTo>
                  <a:cubicBezTo>
                    <a:pt x="40000" y="29461"/>
                    <a:pt x="40000" y="28023"/>
                    <a:pt x="40000" y="28742"/>
                  </a:cubicBezTo>
                  <a:cubicBezTo>
                    <a:pt x="40851" y="28742"/>
                    <a:pt x="40851" y="29461"/>
                    <a:pt x="41702" y="28742"/>
                  </a:cubicBezTo>
                  <a:cubicBezTo>
                    <a:pt x="42553" y="28023"/>
                    <a:pt x="42553" y="27305"/>
                    <a:pt x="42553" y="27305"/>
                  </a:cubicBezTo>
                  <a:cubicBezTo>
                    <a:pt x="42553" y="27305"/>
                    <a:pt x="43404" y="27305"/>
                    <a:pt x="44255" y="26586"/>
                  </a:cubicBezTo>
                  <a:cubicBezTo>
                    <a:pt x="44255" y="26586"/>
                    <a:pt x="43404" y="25868"/>
                    <a:pt x="42553" y="25868"/>
                  </a:cubicBezTo>
                  <a:cubicBezTo>
                    <a:pt x="42553" y="25868"/>
                    <a:pt x="40851" y="25868"/>
                    <a:pt x="40000" y="26586"/>
                  </a:cubicBezTo>
                  <a:cubicBezTo>
                    <a:pt x="39148" y="26586"/>
                    <a:pt x="40000" y="26586"/>
                    <a:pt x="38297" y="26586"/>
                  </a:cubicBezTo>
                  <a:cubicBezTo>
                    <a:pt x="37446" y="27305"/>
                    <a:pt x="37446" y="27305"/>
                    <a:pt x="35744" y="27305"/>
                  </a:cubicBezTo>
                  <a:cubicBezTo>
                    <a:pt x="34042" y="27305"/>
                    <a:pt x="34042" y="27305"/>
                    <a:pt x="33191" y="28023"/>
                  </a:cubicBezTo>
                  <a:cubicBezTo>
                    <a:pt x="32340" y="28742"/>
                    <a:pt x="31489" y="28742"/>
                    <a:pt x="31489" y="28742"/>
                  </a:cubicBezTo>
                  <a:cubicBezTo>
                    <a:pt x="30638" y="28742"/>
                    <a:pt x="30638" y="28742"/>
                    <a:pt x="30638" y="28742"/>
                  </a:cubicBezTo>
                  <a:cubicBezTo>
                    <a:pt x="30638" y="28742"/>
                    <a:pt x="29787" y="28742"/>
                    <a:pt x="28936" y="28742"/>
                  </a:cubicBezTo>
                  <a:cubicBezTo>
                    <a:pt x="28936" y="28742"/>
                    <a:pt x="28085" y="28023"/>
                    <a:pt x="28085" y="28023"/>
                  </a:cubicBezTo>
                  <a:cubicBezTo>
                    <a:pt x="28085" y="28023"/>
                    <a:pt x="28085" y="28023"/>
                    <a:pt x="27234" y="28023"/>
                  </a:cubicBezTo>
                  <a:cubicBezTo>
                    <a:pt x="26382" y="28023"/>
                    <a:pt x="25531" y="28742"/>
                    <a:pt x="25531" y="28742"/>
                  </a:cubicBezTo>
                  <a:cubicBezTo>
                    <a:pt x="23829" y="28742"/>
                    <a:pt x="23829" y="28742"/>
                    <a:pt x="23829" y="28742"/>
                  </a:cubicBezTo>
                  <a:cubicBezTo>
                    <a:pt x="23829" y="28742"/>
                    <a:pt x="22978" y="28742"/>
                    <a:pt x="22127" y="28742"/>
                  </a:cubicBezTo>
                  <a:cubicBezTo>
                    <a:pt x="22127" y="29461"/>
                    <a:pt x="20425" y="29461"/>
                    <a:pt x="20425" y="29461"/>
                  </a:cubicBezTo>
                  <a:cubicBezTo>
                    <a:pt x="20425" y="29461"/>
                    <a:pt x="20425" y="29461"/>
                    <a:pt x="19574" y="29461"/>
                  </a:cubicBezTo>
                  <a:cubicBezTo>
                    <a:pt x="19574" y="30179"/>
                    <a:pt x="20425" y="30179"/>
                    <a:pt x="19574" y="30898"/>
                  </a:cubicBezTo>
                  <a:cubicBezTo>
                    <a:pt x="18723" y="30898"/>
                    <a:pt x="17021" y="30898"/>
                    <a:pt x="17021" y="30898"/>
                  </a:cubicBezTo>
                  <a:cubicBezTo>
                    <a:pt x="16170" y="31616"/>
                    <a:pt x="16170" y="31616"/>
                    <a:pt x="16170" y="31616"/>
                  </a:cubicBezTo>
                  <a:cubicBezTo>
                    <a:pt x="15319" y="33053"/>
                    <a:pt x="15319" y="33053"/>
                    <a:pt x="15319" y="33053"/>
                  </a:cubicBezTo>
                  <a:cubicBezTo>
                    <a:pt x="14468" y="33053"/>
                    <a:pt x="14468" y="33053"/>
                    <a:pt x="14468" y="33053"/>
                  </a:cubicBezTo>
                  <a:cubicBezTo>
                    <a:pt x="13617" y="35209"/>
                    <a:pt x="13617" y="35209"/>
                    <a:pt x="13617" y="35209"/>
                  </a:cubicBezTo>
                  <a:cubicBezTo>
                    <a:pt x="13617" y="35928"/>
                    <a:pt x="13617" y="35928"/>
                    <a:pt x="13617" y="35928"/>
                  </a:cubicBezTo>
                  <a:cubicBezTo>
                    <a:pt x="11914" y="37365"/>
                    <a:pt x="11914" y="37365"/>
                    <a:pt x="11914" y="37365"/>
                  </a:cubicBezTo>
                  <a:cubicBezTo>
                    <a:pt x="11063" y="38083"/>
                    <a:pt x="11063" y="38083"/>
                    <a:pt x="11063" y="38083"/>
                  </a:cubicBezTo>
                  <a:cubicBezTo>
                    <a:pt x="11063" y="38083"/>
                    <a:pt x="11063" y="38083"/>
                    <a:pt x="11914" y="38802"/>
                  </a:cubicBezTo>
                  <a:cubicBezTo>
                    <a:pt x="11914" y="38802"/>
                    <a:pt x="11914" y="39520"/>
                    <a:pt x="11914" y="39520"/>
                  </a:cubicBezTo>
                  <a:cubicBezTo>
                    <a:pt x="11063" y="40239"/>
                    <a:pt x="11063" y="40239"/>
                    <a:pt x="11063" y="40239"/>
                  </a:cubicBezTo>
                  <a:cubicBezTo>
                    <a:pt x="11914" y="41676"/>
                    <a:pt x="11914" y="41676"/>
                    <a:pt x="11914" y="41676"/>
                  </a:cubicBezTo>
                  <a:cubicBezTo>
                    <a:pt x="13617" y="40958"/>
                    <a:pt x="13617" y="40958"/>
                    <a:pt x="13617" y="40958"/>
                  </a:cubicBezTo>
                  <a:cubicBezTo>
                    <a:pt x="14468" y="42395"/>
                    <a:pt x="14468" y="42395"/>
                    <a:pt x="14468" y="42395"/>
                  </a:cubicBezTo>
                  <a:cubicBezTo>
                    <a:pt x="13617" y="43832"/>
                    <a:pt x="13617" y="43832"/>
                    <a:pt x="13617" y="43832"/>
                  </a:cubicBezTo>
                  <a:cubicBezTo>
                    <a:pt x="13617" y="43832"/>
                    <a:pt x="12765" y="44550"/>
                    <a:pt x="11914" y="44550"/>
                  </a:cubicBezTo>
                  <a:cubicBezTo>
                    <a:pt x="11914" y="44550"/>
                    <a:pt x="11063" y="43832"/>
                    <a:pt x="11063" y="43832"/>
                  </a:cubicBezTo>
                  <a:cubicBezTo>
                    <a:pt x="10212" y="42395"/>
                    <a:pt x="10212" y="42395"/>
                    <a:pt x="10212" y="42395"/>
                  </a:cubicBezTo>
                  <a:cubicBezTo>
                    <a:pt x="10212" y="41676"/>
                    <a:pt x="10212" y="41676"/>
                    <a:pt x="10212" y="41676"/>
                  </a:cubicBezTo>
                  <a:cubicBezTo>
                    <a:pt x="10212" y="40958"/>
                    <a:pt x="10212" y="40958"/>
                    <a:pt x="10212" y="40958"/>
                  </a:cubicBezTo>
                  <a:cubicBezTo>
                    <a:pt x="7659" y="41676"/>
                    <a:pt x="7659" y="41676"/>
                    <a:pt x="7659" y="41676"/>
                  </a:cubicBezTo>
                  <a:cubicBezTo>
                    <a:pt x="7659" y="40958"/>
                    <a:pt x="7659" y="40958"/>
                    <a:pt x="7659" y="40958"/>
                  </a:cubicBezTo>
                  <a:cubicBezTo>
                    <a:pt x="7659" y="40958"/>
                    <a:pt x="6808" y="40239"/>
                    <a:pt x="6808" y="40239"/>
                  </a:cubicBezTo>
                  <a:cubicBezTo>
                    <a:pt x="6808" y="39520"/>
                    <a:pt x="5957" y="38802"/>
                    <a:pt x="5957" y="38802"/>
                  </a:cubicBezTo>
                  <a:cubicBezTo>
                    <a:pt x="4255" y="36646"/>
                    <a:pt x="4255" y="36646"/>
                    <a:pt x="4255" y="36646"/>
                  </a:cubicBezTo>
                  <a:cubicBezTo>
                    <a:pt x="4255" y="36646"/>
                    <a:pt x="4255" y="36646"/>
                    <a:pt x="5106" y="36646"/>
                  </a:cubicBezTo>
                  <a:cubicBezTo>
                    <a:pt x="5106" y="35928"/>
                    <a:pt x="5106" y="35928"/>
                    <a:pt x="5957" y="35209"/>
                  </a:cubicBezTo>
                  <a:cubicBezTo>
                    <a:pt x="5957" y="34491"/>
                    <a:pt x="7659" y="33053"/>
                    <a:pt x="7659" y="33053"/>
                  </a:cubicBezTo>
                  <a:cubicBezTo>
                    <a:pt x="8510" y="30898"/>
                    <a:pt x="8510" y="30898"/>
                    <a:pt x="8510" y="30898"/>
                  </a:cubicBezTo>
                  <a:cubicBezTo>
                    <a:pt x="10212" y="29461"/>
                    <a:pt x="10212" y="29461"/>
                    <a:pt x="10212" y="29461"/>
                  </a:cubicBezTo>
                  <a:cubicBezTo>
                    <a:pt x="11063" y="28023"/>
                    <a:pt x="11063" y="28023"/>
                    <a:pt x="11063" y="28023"/>
                  </a:cubicBezTo>
                  <a:cubicBezTo>
                    <a:pt x="12765" y="25868"/>
                    <a:pt x="12765" y="25868"/>
                    <a:pt x="12765" y="25868"/>
                  </a:cubicBezTo>
                  <a:cubicBezTo>
                    <a:pt x="14468" y="24431"/>
                    <a:pt x="14468" y="24431"/>
                    <a:pt x="14468" y="24431"/>
                  </a:cubicBezTo>
                  <a:cubicBezTo>
                    <a:pt x="17021" y="24431"/>
                    <a:pt x="17021" y="24431"/>
                    <a:pt x="17021" y="24431"/>
                  </a:cubicBezTo>
                  <a:cubicBezTo>
                    <a:pt x="17021" y="24431"/>
                    <a:pt x="18723" y="25149"/>
                    <a:pt x="18723" y="25149"/>
                  </a:cubicBezTo>
                  <a:cubicBezTo>
                    <a:pt x="19574" y="24431"/>
                    <a:pt x="20425" y="23712"/>
                    <a:pt x="20425" y="23712"/>
                  </a:cubicBezTo>
                  <a:cubicBezTo>
                    <a:pt x="23829" y="22994"/>
                    <a:pt x="23829" y="22994"/>
                    <a:pt x="23829" y="22994"/>
                  </a:cubicBezTo>
                  <a:cubicBezTo>
                    <a:pt x="24680" y="22994"/>
                    <a:pt x="24680" y="22994"/>
                    <a:pt x="24680" y="22994"/>
                  </a:cubicBezTo>
                  <a:cubicBezTo>
                    <a:pt x="27234" y="23712"/>
                    <a:pt x="27234" y="23712"/>
                    <a:pt x="27234" y="23712"/>
                  </a:cubicBezTo>
                  <a:cubicBezTo>
                    <a:pt x="28936" y="23712"/>
                    <a:pt x="28936" y="23712"/>
                    <a:pt x="28936" y="23712"/>
                  </a:cubicBezTo>
                  <a:cubicBezTo>
                    <a:pt x="32340" y="23712"/>
                    <a:pt x="32340" y="23712"/>
                    <a:pt x="32340" y="23712"/>
                  </a:cubicBezTo>
                  <a:close/>
                  <a:moveTo>
                    <a:pt x="13617" y="99880"/>
                  </a:moveTo>
                  <a:cubicBezTo>
                    <a:pt x="13617" y="99880"/>
                    <a:pt x="13617" y="99880"/>
                    <a:pt x="13617" y="99880"/>
                  </a:cubicBezTo>
                  <a:cubicBezTo>
                    <a:pt x="13617" y="99880"/>
                    <a:pt x="11914" y="99161"/>
                    <a:pt x="11914" y="99161"/>
                  </a:cubicBezTo>
                  <a:cubicBezTo>
                    <a:pt x="11914" y="99880"/>
                    <a:pt x="11063" y="100598"/>
                    <a:pt x="11063" y="100598"/>
                  </a:cubicBezTo>
                  <a:cubicBezTo>
                    <a:pt x="10212" y="102754"/>
                    <a:pt x="10212" y="102754"/>
                    <a:pt x="10212" y="102754"/>
                  </a:cubicBezTo>
                  <a:cubicBezTo>
                    <a:pt x="9361" y="103473"/>
                    <a:pt x="9361" y="103473"/>
                    <a:pt x="9361" y="103473"/>
                  </a:cubicBezTo>
                  <a:cubicBezTo>
                    <a:pt x="9361" y="104910"/>
                    <a:pt x="9361" y="104910"/>
                    <a:pt x="9361" y="104910"/>
                  </a:cubicBezTo>
                  <a:cubicBezTo>
                    <a:pt x="6808" y="105628"/>
                    <a:pt x="6808" y="105628"/>
                    <a:pt x="6808" y="105628"/>
                  </a:cubicBezTo>
                  <a:cubicBezTo>
                    <a:pt x="6808" y="105628"/>
                    <a:pt x="6808" y="106347"/>
                    <a:pt x="7659" y="106347"/>
                  </a:cubicBezTo>
                  <a:cubicBezTo>
                    <a:pt x="8510" y="106347"/>
                    <a:pt x="9361" y="106347"/>
                    <a:pt x="9361" y="106347"/>
                  </a:cubicBezTo>
                  <a:cubicBezTo>
                    <a:pt x="9361" y="105628"/>
                    <a:pt x="10212" y="104910"/>
                    <a:pt x="10212" y="104910"/>
                  </a:cubicBezTo>
                  <a:cubicBezTo>
                    <a:pt x="10212" y="104910"/>
                    <a:pt x="11063" y="104191"/>
                    <a:pt x="11063" y="104191"/>
                  </a:cubicBezTo>
                  <a:cubicBezTo>
                    <a:pt x="11914" y="104191"/>
                    <a:pt x="13617" y="104191"/>
                    <a:pt x="13617" y="103473"/>
                  </a:cubicBezTo>
                  <a:cubicBezTo>
                    <a:pt x="13617" y="102754"/>
                    <a:pt x="13617" y="102035"/>
                    <a:pt x="13617" y="102035"/>
                  </a:cubicBezTo>
                  <a:cubicBezTo>
                    <a:pt x="13617" y="101317"/>
                    <a:pt x="13617" y="101317"/>
                    <a:pt x="13617" y="101317"/>
                  </a:cubicBezTo>
                  <a:cubicBezTo>
                    <a:pt x="13617" y="99880"/>
                    <a:pt x="13617" y="99880"/>
                    <a:pt x="13617" y="99880"/>
                  </a:cubicBezTo>
                  <a:close/>
                  <a:moveTo>
                    <a:pt x="57872" y="80479"/>
                  </a:moveTo>
                  <a:cubicBezTo>
                    <a:pt x="57872" y="80479"/>
                    <a:pt x="57872" y="80479"/>
                    <a:pt x="57872" y="80479"/>
                  </a:cubicBezTo>
                  <a:cubicBezTo>
                    <a:pt x="57872" y="80479"/>
                    <a:pt x="57872" y="80479"/>
                    <a:pt x="57872" y="80479"/>
                  </a:cubicBezTo>
                  <a:cubicBezTo>
                    <a:pt x="57872" y="80479"/>
                    <a:pt x="58723" y="79760"/>
                    <a:pt x="58723" y="79760"/>
                  </a:cubicBezTo>
                  <a:cubicBezTo>
                    <a:pt x="58723" y="79041"/>
                    <a:pt x="57872" y="78323"/>
                    <a:pt x="57872" y="78323"/>
                  </a:cubicBezTo>
                  <a:cubicBezTo>
                    <a:pt x="57872" y="77604"/>
                    <a:pt x="58723" y="77604"/>
                    <a:pt x="58723" y="77604"/>
                  </a:cubicBezTo>
                  <a:cubicBezTo>
                    <a:pt x="58723" y="77604"/>
                    <a:pt x="58723" y="76886"/>
                    <a:pt x="58723" y="76886"/>
                  </a:cubicBezTo>
                  <a:cubicBezTo>
                    <a:pt x="58723" y="76886"/>
                    <a:pt x="57872" y="76886"/>
                    <a:pt x="57872" y="76886"/>
                  </a:cubicBezTo>
                  <a:cubicBezTo>
                    <a:pt x="57021" y="76886"/>
                    <a:pt x="57021" y="77604"/>
                    <a:pt x="57021" y="77604"/>
                  </a:cubicBezTo>
                  <a:cubicBezTo>
                    <a:pt x="57021" y="77604"/>
                    <a:pt x="57021" y="78323"/>
                    <a:pt x="57021" y="78323"/>
                  </a:cubicBezTo>
                  <a:cubicBezTo>
                    <a:pt x="57021" y="78323"/>
                    <a:pt x="57021" y="79041"/>
                    <a:pt x="57021" y="79041"/>
                  </a:cubicBezTo>
                  <a:cubicBezTo>
                    <a:pt x="57021" y="79041"/>
                    <a:pt x="57872" y="80479"/>
                    <a:pt x="57872" y="80479"/>
                  </a:cubicBezTo>
                  <a:close/>
                  <a:moveTo>
                    <a:pt x="80851" y="99880"/>
                  </a:moveTo>
                  <a:cubicBezTo>
                    <a:pt x="80851" y="99880"/>
                    <a:pt x="80851" y="99880"/>
                    <a:pt x="80851" y="99880"/>
                  </a:cubicBezTo>
                  <a:cubicBezTo>
                    <a:pt x="81702" y="99161"/>
                    <a:pt x="81702" y="99161"/>
                    <a:pt x="81702" y="99161"/>
                  </a:cubicBezTo>
                  <a:cubicBezTo>
                    <a:pt x="82553" y="99880"/>
                    <a:pt x="82553" y="99880"/>
                    <a:pt x="82553" y="99880"/>
                  </a:cubicBezTo>
                  <a:cubicBezTo>
                    <a:pt x="82553" y="99880"/>
                    <a:pt x="81702" y="100598"/>
                    <a:pt x="81702" y="100598"/>
                  </a:cubicBezTo>
                  <a:cubicBezTo>
                    <a:pt x="81702" y="100598"/>
                    <a:pt x="80851" y="99880"/>
                    <a:pt x="80851" y="99880"/>
                  </a:cubicBezTo>
                  <a:cubicBezTo>
                    <a:pt x="80851" y="99880"/>
                    <a:pt x="80851" y="99880"/>
                    <a:pt x="80851" y="99880"/>
                  </a:cubicBezTo>
                  <a:close/>
                  <a:moveTo>
                    <a:pt x="90212" y="109221"/>
                  </a:moveTo>
                  <a:cubicBezTo>
                    <a:pt x="90212" y="109221"/>
                    <a:pt x="90212" y="109221"/>
                    <a:pt x="90212" y="109221"/>
                  </a:cubicBezTo>
                  <a:cubicBezTo>
                    <a:pt x="91063" y="109221"/>
                    <a:pt x="91063" y="109221"/>
                    <a:pt x="91063" y="109221"/>
                  </a:cubicBezTo>
                  <a:cubicBezTo>
                    <a:pt x="91063" y="109940"/>
                    <a:pt x="91063" y="109940"/>
                    <a:pt x="91063" y="109940"/>
                  </a:cubicBezTo>
                  <a:cubicBezTo>
                    <a:pt x="90212" y="110658"/>
                    <a:pt x="90212" y="110658"/>
                    <a:pt x="90212" y="110658"/>
                  </a:cubicBezTo>
                  <a:cubicBezTo>
                    <a:pt x="90212" y="109940"/>
                    <a:pt x="90212" y="109940"/>
                    <a:pt x="90212" y="109940"/>
                  </a:cubicBezTo>
                  <a:cubicBezTo>
                    <a:pt x="90212" y="109221"/>
                    <a:pt x="90212" y="109221"/>
                    <a:pt x="90212" y="109221"/>
                  </a:cubicBezTo>
                  <a:close/>
                  <a:moveTo>
                    <a:pt x="87659" y="107784"/>
                  </a:moveTo>
                  <a:cubicBezTo>
                    <a:pt x="87659" y="107784"/>
                    <a:pt x="87659" y="107784"/>
                    <a:pt x="87659" y="107784"/>
                  </a:cubicBezTo>
                  <a:cubicBezTo>
                    <a:pt x="86808" y="107065"/>
                    <a:pt x="86808" y="107065"/>
                    <a:pt x="86808" y="107065"/>
                  </a:cubicBezTo>
                  <a:cubicBezTo>
                    <a:pt x="88510" y="107065"/>
                    <a:pt x="88510" y="107065"/>
                    <a:pt x="88510" y="107065"/>
                  </a:cubicBezTo>
                  <a:cubicBezTo>
                    <a:pt x="88510" y="107065"/>
                    <a:pt x="88510" y="107065"/>
                    <a:pt x="89361" y="107065"/>
                  </a:cubicBezTo>
                  <a:cubicBezTo>
                    <a:pt x="89361" y="107065"/>
                    <a:pt x="90212" y="107784"/>
                    <a:pt x="90212" y="107784"/>
                  </a:cubicBezTo>
                  <a:cubicBezTo>
                    <a:pt x="90212" y="107784"/>
                    <a:pt x="90212" y="107784"/>
                    <a:pt x="90212" y="107784"/>
                  </a:cubicBezTo>
                  <a:cubicBezTo>
                    <a:pt x="89361" y="107784"/>
                    <a:pt x="89361" y="108502"/>
                    <a:pt x="89361" y="108502"/>
                  </a:cubicBezTo>
                  <a:cubicBezTo>
                    <a:pt x="88510" y="108502"/>
                    <a:pt x="87659" y="107784"/>
                    <a:pt x="87659" y="107784"/>
                  </a:cubicBezTo>
                  <a:close/>
                  <a:moveTo>
                    <a:pt x="91914" y="107784"/>
                  </a:moveTo>
                  <a:cubicBezTo>
                    <a:pt x="91914" y="107784"/>
                    <a:pt x="91914" y="107784"/>
                    <a:pt x="91914" y="107784"/>
                  </a:cubicBezTo>
                  <a:cubicBezTo>
                    <a:pt x="91063" y="106347"/>
                    <a:pt x="91063" y="106347"/>
                    <a:pt x="91063" y="106347"/>
                  </a:cubicBezTo>
                  <a:cubicBezTo>
                    <a:pt x="91914" y="105628"/>
                    <a:pt x="91914" y="105628"/>
                    <a:pt x="91914" y="105628"/>
                  </a:cubicBezTo>
                  <a:cubicBezTo>
                    <a:pt x="91914" y="105628"/>
                    <a:pt x="92765" y="106347"/>
                    <a:pt x="92765" y="106347"/>
                  </a:cubicBezTo>
                  <a:cubicBezTo>
                    <a:pt x="92765" y="106347"/>
                    <a:pt x="91914" y="107065"/>
                    <a:pt x="91914" y="107065"/>
                  </a:cubicBezTo>
                  <a:cubicBezTo>
                    <a:pt x="91914" y="107784"/>
                    <a:pt x="91914" y="107784"/>
                    <a:pt x="91914" y="107784"/>
                  </a:cubicBezTo>
                  <a:close/>
                  <a:moveTo>
                    <a:pt x="109787" y="103473"/>
                  </a:moveTo>
                  <a:cubicBezTo>
                    <a:pt x="109787" y="103473"/>
                    <a:pt x="109787" y="103473"/>
                    <a:pt x="109787" y="103473"/>
                  </a:cubicBezTo>
                  <a:cubicBezTo>
                    <a:pt x="108936" y="102754"/>
                    <a:pt x="108936" y="102754"/>
                    <a:pt x="108936" y="102754"/>
                  </a:cubicBezTo>
                  <a:cubicBezTo>
                    <a:pt x="108936" y="102754"/>
                    <a:pt x="109787" y="102035"/>
                    <a:pt x="109787" y="102035"/>
                  </a:cubicBezTo>
                  <a:cubicBezTo>
                    <a:pt x="110638" y="102035"/>
                    <a:pt x="111489" y="102035"/>
                    <a:pt x="111489" y="102035"/>
                  </a:cubicBezTo>
                  <a:cubicBezTo>
                    <a:pt x="109787" y="103473"/>
                    <a:pt x="109787" y="103473"/>
                    <a:pt x="109787" y="103473"/>
                  </a:cubicBezTo>
                  <a:close/>
                  <a:moveTo>
                    <a:pt x="108085" y="104191"/>
                  </a:moveTo>
                  <a:cubicBezTo>
                    <a:pt x="108085" y="104191"/>
                    <a:pt x="108085" y="104191"/>
                    <a:pt x="108085" y="104191"/>
                  </a:cubicBezTo>
                  <a:cubicBezTo>
                    <a:pt x="108085" y="102035"/>
                    <a:pt x="108085" y="102035"/>
                    <a:pt x="108085" y="102035"/>
                  </a:cubicBezTo>
                  <a:cubicBezTo>
                    <a:pt x="108936" y="101317"/>
                    <a:pt x="108936" y="101317"/>
                    <a:pt x="108936" y="101317"/>
                  </a:cubicBezTo>
                  <a:cubicBezTo>
                    <a:pt x="108085" y="100598"/>
                    <a:pt x="108085" y="100598"/>
                    <a:pt x="108085" y="100598"/>
                  </a:cubicBezTo>
                  <a:cubicBezTo>
                    <a:pt x="107234" y="100598"/>
                    <a:pt x="107234" y="100598"/>
                    <a:pt x="107234" y="100598"/>
                  </a:cubicBezTo>
                  <a:cubicBezTo>
                    <a:pt x="107234" y="100598"/>
                    <a:pt x="106382" y="99161"/>
                    <a:pt x="106382" y="99161"/>
                  </a:cubicBezTo>
                  <a:cubicBezTo>
                    <a:pt x="106382" y="99161"/>
                    <a:pt x="105531" y="99161"/>
                    <a:pt x="105531" y="99161"/>
                  </a:cubicBezTo>
                  <a:cubicBezTo>
                    <a:pt x="105531" y="99161"/>
                    <a:pt x="104680" y="99161"/>
                    <a:pt x="104680" y="99161"/>
                  </a:cubicBezTo>
                  <a:cubicBezTo>
                    <a:pt x="104680" y="99161"/>
                    <a:pt x="105531" y="98443"/>
                    <a:pt x="105531" y="98443"/>
                  </a:cubicBezTo>
                  <a:cubicBezTo>
                    <a:pt x="105531" y="98443"/>
                    <a:pt x="105531" y="98443"/>
                    <a:pt x="106382" y="98443"/>
                  </a:cubicBezTo>
                  <a:cubicBezTo>
                    <a:pt x="107234" y="97724"/>
                    <a:pt x="107234" y="97724"/>
                    <a:pt x="107234" y="97724"/>
                  </a:cubicBezTo>
                  <a:cubicBezTo>
                    <a:pt x="107234" y="97724"/>
                    <a:pt x="108936" y="95568"/>
                    <a:pt x="110638" y="95568"/>
                  </a:cubicBezTo>
                  <a:cubicBezTo>
                    <a:pt x="111489" y="95568"/>
                    <a:pt x="113191" y="95568"/>
                    <a:pt x="113191" y="95568"/>
                  </a:cubicBezTo>
                  <a:cubicBezTo>
                    <a:pt x="114893" y="94131"/>
                    <a:pt x="114893" y="94131"/>
                    <a:pt x="114893" y="94131"/>
                  </a:cubicBezTo>
                  <a:cubicBezTo>
                    <a:pt x="114893" y="94131"/>
                    <a:pt x="114893" y="93413"/>
                    <a:pt x="114893" y="93413"/>
                  </a:cubicBezTo>
                  <a:cubicBezTo>
                    <a:pt x="115744" y="93413"/>
                    <a:pt x="114893" y="91976"/>
                    <a:pt x="114893" y="91976"/>
                  </a:cubicBezTo>
                  <a:cubicBezTo>
                    <a:pt x="114893" y="90538"/>
                    <a:pt x="114893" y="90538"/>
                    <a:pt x="114893" y="90538"/>
                  </a:cubicBezTo>
                  <a:cubicBezTo>
                    <a:pt x="114893" y="90538"/>
                    <a:pt x="112340" y="89101"/>
                    <a:pt x="112340" y="89101"/>
                  </a:cubicBezTo>
                  <a:cubicBezTo>
                    <a:pt x="112340" y="89101"/>
                    <a:pt x="108936" y="87664"/>
                    <a:pt x="108936" y="87664"/>
                  </a:cubicBezTo>
                  <a:cubicBezTo>
                    <a:pt x="108936" y="87664"/>
                    <a:pt x="108936" y="86227"/>
                    <a:pt x="108085" y="86227"/>
                  </a:cubicBezTo>
                  <a:cubicBezTo>
                    <a:pt x="108085" y="86227"/>
                    <a:pt x="108936" y="84790"/>
                    <a:pt x="108936" y="84790"/>
                  </a:cubicBezTo>
                  <a:cubicBezTo>
                    <a:pt x="108936" y="84790"/>
                    <a:pt x="110638" y="82634"/>
                    <a:pt x="112340" y="81916"/>
                  </a:cubicBezTo>
                  <a:cubicBezTo>
                    <a:pt x="113191" y="81197"/>
                    <a:pt x="114042" y="81197"/>
                    <a:pt x="114042" y="81197"/>
                  </a:cubicBezTo>
                  <a:cubicBezTo>
                    <a:pt x="114893" y="81197"/>
                    <a:pt x="115744" y="81916"/>
                    <a:pt x="116595" y="82634"/>
                  </a:cubicBezTo>
                  <a:cubicBezTo>
                    <a:pt x="116595" y="82634"/>
                    <a:pt x="117446" y="82634"/>
                    <a:pt x="118297" y="82634"/>
                  </a:cubicBezTo>
                  <a:cubicBezTo>
                    <a:pt x="119148" y="82634"/>
                    <a:pt x="120000" y="82634"/>
                    <a:pt x="120000" y="82634"/>
                  </a:cubicBezTo>
                  <a:cubicBezTo>
                    <a:pt x="120000" y="82634"/>
                    <a:pt x="120000" y="81197"/>
                    <a:pt x="120000" y="80479"/>
                  </a:cubicBezTo>
                  <a:cubicBezTo>
                    <a:pt x="120000" y="79760"/>
                    <a:pt x="120000" y="80479"/>
                    <a:pt x="119148" y="79760"/>
                  </a:cubicBezTo>
                  <a:cubicBezTo>
                    <a:pt x="119148" y="79760"/>
                    <a:pt x="118297" y="79041"/>
                    <a:pt x="118297" y="79041"/>
                  </a:cubicBezTo>
                  <a:cubicBezTo>
                    <a:pt x="118297" y="79041"/>
                    <a:pt x="118297" y="78323"/>
                    <a:pt x="118297" y="78323"/>
                  </a:cubicBezTo>
                  <a:cubicBezTo>
                    <a:pt x="118297" y="78323"/>
                    <a:pt x="118297" y="77604"/>
                    <a:pt x="118297" y="76886"/>
                  </a:cubicBezTo>
                  <a:cubicBezTo>
                    <a:pt x="118297" y="76886"/>
                    <a:pt x="118297" y="74730"/>
                    <a:pt x="118297" y="74730"/>
                  </a:cubicBezTo>
                  <a:cubicBezTo>
                    <a:pt x="118297" y="74011"/>
                    <a:pt x="117446" y="72574"/>
                    <a:pt x="117446" y="72574"/>
                  </a:cubicBezTo>
                  <a:cubicBezTo>
                    <a:pt x="117446" y="71856"/>
                    <a:pt x="116595" y="71137"/>
                    <a:pt x="116595" y="71137"/>
                  </a:cubicBezTo>
                  <a:cubicBezTo>
                    <a:pt x="115744" y="69700"/>
                    <a:pt x="115744" y="69700"/>
                    <a:pt x="115744" y="69700"/>
                  </a:cubicBezTo>
                  <a:cubicBezTo>
                    <a:pt x="115744" y="69700"/>
                    <a:pt x="115744" y="69700"/>
                    <a:pt x="115744" y="68982"/>
                  </a:cubicBezTo>
                  <a:cubicBezTo>
                    <a:pt x="115744" y="67544"/>
                    <a:pt x="116595" y="66107"/>
                    <a:pt x="116595" y="66107"/>
                  </a:cubicBezTo>
                  <a:cubicBezTo>
                    <a:pt x="117446" y="65389"/>
                    <a:pt x="117446" y="63952"/>
                    <a:pt x="117446" y="63952"/>
                  </a:cubicBezTo>
                  <a:cubicBezTo>
                    <a:pt x="116595" y="63233"/>
                    <a:pt x="116595" y="63233"/>
                    <a:pt x="116595" y="63233"/>
                  </a:cubicBezTo>
                  <a:cubicBezTo>
                    <a:pt x="116595" y="63233"/>
                    <a:pt x="113191" y="62514"/>
                    <a:pt x="113191" y="62514"/>
                  </a:cubicBezTo>
                  <a:cubicBezTo>
                    <a:pt x="113191" y="62514"/>
                    <a:pt x="112340" y="61796"/>
                    <a:pt x="112340" y="61796"/>
                  </a:cubicBezTo>
                  <a:cubicBezTo>
                    <a:pt x="112340" y="61077"/>
                    <a:pt x="111489" y="61077"/>
                    <a:pt x="111489" y="61077"/>
                  </a:cubicBezTo>
                  <a:cubicBezTo>
                    <a:pt x="111489" y="61077"/>
                    <a:pt x="108085" y="61796"/>
                    <a:pt x="108085" y="61796"/>
                  </a:cubicBezTo>
                  <a:cubicBezTo>
                    <a:pt x="108085" y="61796"/>
                    <a:pt x="106382" y="62514"/>
                    <a:pt x="105531" y="63233"/>
                  </a:cubicBezTo>
                  <a:cubicBezTo>
                    <a:pt x="103829" y="63233"/>
                    <a:pt x="103829" y="63233"/>
                    <a:pt x="102978" y="63952"/>
                  </a:cubicBezTo>
                  <a:cubicBezTo>
                    <a:pt x="101276" y="64670"/>
                    <a:pt x="101276" y="65389"/>
                    <a:pt x="100425" y="66107"/>
                  </a:cubicBezTo>
                  <a:cubicBezTo>
                    <a:pt x="99574" y="66107"/>
                    <a:pt x="98723" y="67544"/>
                    <a:pt x="98723" y="67544"/>
                  </a:cubicBezTo>
                  <a:cubicBezTo>
                    <a:pt x="97872" y="68263"/>
                    <a:pt x="97872" y="68263"/>
                    <a:pt x="98723" y="68982"/>
                  </a:cubicBezTo>
                  <a:cubicBezTo>
                    <a:pt x="98723" y="69700"/>
                    <a:pt x="99574" y="68982"/>
                    <a:pt x="99574" y="68982"/>
                  </a:cubicBezTo>
                  <a:cubicBezTo>
                    <a:pt x="99574" y="68982"/>
                    <a:pt x="100425" y="68982"/>
                    <a:pt x="101276" y="68982"/>
                  </a:cubicBezTo>
                  <a:cubicBezTo>
                    <a:pt x="102127" y="68982"/>
                    <a:pt x="102127" y="69700"/>
                    <a:pt x="101276" y="69700"/>
                  </a:cubicBezTo>
                  <a:cubicBezTo>
                    <a:pt x="101276" y="69700"/>
                    <a:pt x="101276" y="70419"/>
                    <a:pt x="101276" y="70419"/>
                  </a:cubicBezTo>
                  <a:cubicBezTo>
                    <a:pt x="101276" y="70419"/>
                    <a:pt x="101276" y="70419"/>
                    <a:pt x="100425" y="71137"/>
                  </a:cubicBezTo>
                  <a:cubicBezTo>
                    <a:pt x="100425" y="71137"/>
                    <a:pt x="100425" y="71856"/>
                    <a:pt x="100425" y="72574"/>
                  </a:cubicBezTo>
                  <a:cubicBezTo>
                    <a:pt x="100425" y="73293"/>
                    <a:pt x="99574" y="73293"/>
                    <a:pt x="99574" y="73293"/>
                  </a:cubicBezTo>
                  <a:cubicBezTo>
                    <a:pt x="98723" y="74011"/>
                    <a:pt x="98723" y="74011"/>
                    <a:pt x="97872" y="74730"/>
                  </a:cubicBezTo>
                  <a:cubicBezTo>
                    <a:pt x="97021" y="74730"/>
                    <a:pt x="97021" y="75449"/>
                    <a:pt x="97021" y="75449"/>
                  </a:cubicBezTo>
                  <a:cubicBezTo>
                    <a:pt x="97021" y="76167"/>
                    <a:pt x="97021" y="76167"/>
                    <a:pt x="97872" y="76886"/>
                  </a:cubicBezTo>
                  <a:cubicBezTo>
                    <a:pt x="97872" y="77604"/>
                    <a:pt x="97872" y="77604"/>
                    <a:pt x="97872" y="77604"/>
                  </a:cubicBezTo>
                  <a:cubicBezTo>
                    <a:pt x="97872" y="78323"/>
                    <a:pt x="97021" y="79041"/>
                    <a:pt x="97021" y="78323"/>
                  </a:cubicBezTo>
                  <a:cubicBezTo>
                    <a:pt x="97021" y="78323"/>
                    <a:pt x="97021" y="77604"/>
                    <a:pt x="97021" y="77604"/>
                  </a:cubicBezTo>
                  <a:cubicBezTo>
                    <a:pt x="94468" y="77604"/>
                    <a:pt x="94468" y="77604"/>
                    <a:pt x="94468" y="77604"/>
                  </a:cubicBezTo>
                  <a:cubicBezTo>
                    <a:pt x="94468" y="77604"/>
                    <a:pt x="94468" y="77604"/>
                    <a:pt x="93617" y="77604"/>
                  </a:cubicBezTo>
                  <a:cubicBezTo>
                    <a:pt x="93617" y="77604"/>
                    <a:pt x="95319" y="76167"/>
                    <a:pt x="95319" y="76167"/>
                  </a:cubicBezTo>
                  <a:cubicBezTo>
                    <a:pt x="96170" y="75449"/>
                    <a:pt x="96170" y="75449"/>
                    <a:pt x="96170" y="75449"/>
                  </a:cubicBezTo>
                  <a:cubicBezTo>
                    <a:pt x="96170" y="74730"/>
                    <a:pt x="96170" y="74730"/>
                    <a:pt x="96170" y="74730"/>
                  </a:cubicBezTo>
                  <a:cubicBezTo>
                    <a:pt x="93617" y="74730"/>
                    <a:pt x="93617" y="74730"/>
                    <a:pt x="93617" y="74730"/>
                  </a:cubicBezTo>
                  <a:cubicBezTo>
                    <a:pt x="92765" y="74730"/>
                    <a:pt x="92765" y="74730"/>
                    <a:pt x="92765" y="74730"/>
                  </a:cubicBezTo>
                  <a:cubicBezTo>
                    <a:pt x="93617" y="74011"/>
                    <a:pt x="93617" y="74011"/>
                    <a:pt x="93617" y="74011"/>
                  </a:cubicBezTo>
                  <a:cubicBezTo>
                    <a:pt x="93617" y="72574"/>
                    <a:pt x="93617" y="72574"/>
                    <a:pt x="93617" y="72574"/>
                  </a:cubicBezTo>
                  <a:cubicBezTo>
                    <a:pt x="94468" y="71137"/>
                    <a:pt x="94468" y="71137"/>
                    <a:pt x="94468" y="71137"/>
                  </a:cubicBezTo>
                  <a:cubicBezTo>
                    <a:pt x="94468" y="71137"/>
                    <a:pt x="94468" y="69700"/>
                    <a:pt x="95319" y="69700"/>
                  </a:cubicBezTo>
                  <a:cubicBezTo>
                    <a:pt x="95319" y="69700"/>
                    <a:pt x="96170" y="68982"/>
                    <a:pt x="96170" y="68263"/>
                  </a:cubicBezTo>
                  <a:cubicBezTo>
                    <a:pt x="97021" y="68263"/>
                    <a:pt x="96170" y="67544"/>
                    <a:pt x="96170" y="67544"/>
                  </a:cubicBezTo>
                  <a:cubicBezTo>
                    <a:pt x="94468" y="67544"/>
                    <a:pt x="94468" y="67544"/>
                    <a:pt x="94468" y="67544"/>
                  </a:cubicBezTo>
                  <a:cubicBezTo>
                    <a:pt x="92765" y="68263"/>
                    <a:pt x="92765" y="68263"/>
                    <a:pt x="92765" y="68263"/>
                  </a:cubicBezTo>
                  <a:cubicBezTo>
                    <a:pt x="92765" y="68263"/>
                    <a:pt x="90212" y="68982"/>
                    <a:pt x="89361" y="68982"/>
                  </a:cubicBezTo>
                  <a:cubicBezTo>
                    <a:pt x="88510" y="68982"/>
                    <a:pt x="89361" y="68982"/>
                    <a:pt x="88510" y="68982"/>
                  </a:cubicBezTo>
                  <a:cubicBezTo>
                    <a:pt x="88510" y="68263"/>
                    <a:pt x="87659" y="68263"/>
                    <a:pt x="87659" y="68263"/>
                  </a:cubicBezTo>
                  <a:cubicBezTo>
                    <a:pt x="87659" y="68263"/>
                    <a:pt x="85957" y="68263"/>
                    <a:pt x="85957" y="68263"/>
                  </a:cubicBezTo>
                  <a:cubicBezTo>
                    <a:pt x="85106" y="68263"/>
                    <a:pt x="85106" y="68982"/>
                    <a:pt x="85106" y="68982"/>
                  </a:cubicBezTo>
                  <a:cubicBezTo>
                    <a:pt x="85106" y="68982"/>
                    <a:pt x="87659" y="69700"/>
                    <a:pt x="88510" y="70419"/>
                  </a:cubicBezTo>
                  <a:cubicBezTo>
                    <a:pt x="88510" y="70419"/>
                    <a:pt x="89361" y="70419"/>
                    <a:pt x="89361" y="70419"/>
                  </a:cubicBezTo>
                  <a:cubicBezTo>
                    <a:pt x="89361" y="71137"/>
                    <a:pt x="89361" y="71137"/>
                    <a:pt x="89361" y="71137"/>
                  </a:cubicBezTo>
                  <a:cubicBezTo>
                    <a:pt x="89361" y="71137"/>
                    <a:pt x="88510" y="72574"/>
                    <a:pt x="87659" y="72574"/>
                  </a:cubicBezTo>
                  <a:cubicBezTo>
                    <a:pt x="87659" y="73293"/>
                    <a:pt x="86808" y="73293"/>
                    <a:pt x="86808" y="73293"/>
                  </a:cubicBezTo>
                  <a:cubicBezTo>
                    <a:pt x="85106" y="74011"/>
                    <a:pt x="85106" y="74011"/>
                    <a:pt x="85106" y="74011"/>
                  </a:cubicBezTo>
                  <a:cubicBezTo>
                    <a:pt x="85106" y="74011"/>
                    <a:pt x="85957" y="75449"/>
                    <a:pt x="85957" y="75449"/>
                  </a:cubicBezTo>
                  <a:cubicBezTo>
                    <a:pt x="85957" y="75449"/>
                    <a:pt x="85957" y="76886"/>
                    <a:pt x="85957" y="76886"/>
                  </a:cubicBezTo>
                  <a:cubicBezTo>
                    <a:pt x="84255" y="76167"/>
                    <a:pt x="84255" y="76167"/>
                    <a:pt x="84255" y="76167"/>
                  </a:cubicBezTo>
                  <a:cubicBezTo>
                    <a:pt x="81702" y="77604"/>
                    <a:pt x="81702" y="77604"/>
                    <a:pt x="81702" y="77604"/>
                  </a:cubicBezTo>
                  <a:cubicBezTo>
                    <a:pt x="81702" y="77604"/>
                    <a:pt x="80851" y="77604"/>
                    <a:pt x="80851" y="77604"/>
                  </a:cubicBezTo>
                  <a:cubicBezTo>
                    <a:pt x="80000" y="77604"/>
                    <a:pt x="80000" y="76886"/>
                    <a:pt x="80000" y="76886"/>
                  </a:cubicBezTo>
                  <a:cubicBezTo>
                    <a:pt x="79148" y="78323"/>
                    <a:pt x="79148" y="78323"/>
                    <a:pt x="79148" y="78323"/>
                  </a:cubicBezTo>
                  <a:cubicBezTo>
                    <a:pt x="79148" y="78323"/>
                    <a:pt x="75744" y="77604"/>
                    <a:pt x="74893" y="77604"/>
                  </a:cubicBezTo>
                  <a:cubicBezTo>
                    <a:pt x="74893" y="77604"/>
                    <a:pt x="74893" y="79041"/>
                    <a:pt x="74893" y="79041"/>
                  </a:cubicBezTo>
                  <a:cubicBezTo>
                    <a:pt x="76595" y="79760"/>
                    <a:pt x="76595" y="79760"/>
                    <a:pt x="76595" y="79760"/>
                  </a:cubicBezTo>
                  <a:cubicBezTo>
                    <a:pt x="74893" y="80479"/>
                    <a:pt x="74893" y="80479"/>
                    <a:pt x="74893" y="80479"/>
                  </a:cubicBezTo>
                  <a:cubicBezTo>
                    <a:pt x="78297" y="81916"/>
                    <a:pt x="78297" y="81916"/>
                    <a:pt x="78297" y="81916"/>
                  </a:cubicBezTo>
                  <a:cubicBezTo>
                    <a:pt x="79148" y="82634"/>
                    <a:pt x="79148" y="82634"/>
                    <a:pt x="79148" y="82634"/>
                  </a:cubicBezTo>
                  <a:cubicBezTo>
                    <a:pt x="80000" y="84790"/>
                    <a:pt x="80000" y="84790"/>
                    <a:pt x="80000" y="84790"/>
                  </a:cubicBezTo>
                  <a:cubicBezTo>
                    <a:pt x="79148" y="85508"/>
                    <a:pt x="79148" y="85508"/>
                    <a:pt x="79148" y="85508"/>
                  </a:cubicBezTo>
                  <a:cubicBezTo>
                    <a:pt x="80851" y="86946"/>
                    <a:pt x="80851" y="86946"/>
                    <a:pt x="80851" y="86946"/>
                  </a:cubicBezTo>
                  <a:cubicBezTo>
                    <a:pt x="80851" y="86946"/>
                    <a:pt x="80851" y="87664"/>
                    <a:pt x="81702" y="88383"/>
                  </a:cubicBezTo>
                  <a:cubicBezTo>
                    <a:pt x="81702" y="88383"/>
                    <a:pt x="81702" y="89820"/>
                    <a:pt x="81702" y="89820"/>
                  </a:cubicBezTo>
                  <a:cubicBezTo>
                    <a:pt x="81702" y="91257"/>
                    <a:pt x="81702" y="91257"/>
                    <a:pt x="81702" y="91257"/>
                  </a:cubicBezTo>
                  <a:cubicBezTo>
                    <a:pt x="81702" y="91976"/>
                    <a:pt x="81702" y="91976"/>
                    <a:pt x="81702" y="91976"/>
                  </a:cubicBezTo>
                  <a:cubicBezTo>
                    <a:pt x="81702" y="91976"/>
                    <a:pt x="80000" y="92694"/>
                    <a:pt x="80000" y="93413"/>
                  </a:cubicBezTo>
                  <a:cubicBezTo>
                    <a:pt x="80000" y="93413"/>
                    <a:pt x="80851" y="93413"/>
                    <a:pt x="80851" y="93413"/>
                  </a:cubicBezTo>
                  <a:cubicBezTo>
                    <a:pt x="82553" y="94850"/>
                    <a:pt x="82553" y="94850"/>
                    <a:pt x="82553" y="94850"/>
                  </a:cubicBezTo>
                  <a:cubicBezTo>
                    <a:pt x="83404" y="96287"/>
                    <a:pt x="83404" y="96287"/>
                    <a:pt x="83404" y="96287"/>
                  </a:cubicBezTo>
                  <a:cubicBezTo>
                    <a:pt x="83404" y="96287"/>
                    <a:pt x="82553" y="97005"/>
                    <a:pt x="82553" y="97724"/>
                  </a:cubicBezTo>
                  <a:cubicBezTo>
                    <a:pt x="82553" y="97724"/>
                    <a:pt x="84255" y="98443"/>
                    <a:pt x="84255" y="98443"/>
                  </a:cubicBezTo>
                  <a:cubicBezTo>
                    <a:pt x="87659" y="98443"/>
                    <a:pt x="87659" y="98443"/>
                    <a:pt x="87659" y="98443"/>
                  </a:cubicBezTo>
                  <a:cubicBezTo>
                    <a:pt x="89361" y="98443"/>
                    <a:pt x="89361" y="98443"/>
                    <a:pt x="89361" y="98443"/>
                  </a:cubicBezTo>
                  <a:cubicBezTo>
                    <a:pt x="89361" y="98443"/>
                    <a:pt x="91914" y="98443"/>
                    <a:pt x="92765" y="98443"/>
                  </a:cubicBezTo>
                  <a:cubicBezTo>
                    <a:pt x="92765" y="98443"/>
                    <a:pt x="95319" y="97724"/>
                    <a:pt x="95319" y="97724"/>
                  </a:cubicBezTo>
                  <a:cubicBezTo>
                    <a:pt x="95319" y="97724"/>
                    <a:pt x="97021" y="99161"/>
                    <a:pt x="97872" y="99161"/>
                  </a:cubicBezTo>
                  <a:cubicBezTo>
                    <a:pt x="98723" y="99880"/>
                    <a:pt x="97872" y="100598"/>
                    <a:pt x="97872" y="100598"/>
                  </a:cubicBezTo>
                  <a:cubicBezTo>
                    <a:pt x="97872" y="101317"/>
                    <a:pt x="97021" y="101317"/>
                    <a:pt x="97021" y="101317"/>
                  </a:cubicBezTo>
                  <a:cubicBezTo>
                    <a:pt x="97021" y="101317"/>
                    <a:pt x="97872" y="103473"/>
                    <a:pt x="97872" y="103473"/>
                  </a:cubicBezTo>
                  <a:cubicBezTo>
                    <a:pt x="98723" y="104191"/>
                    <a:pt x="98723" y="103473"/>
                    <a:pt x="98723" y="103473"/>
                  </a:cubicBezTo>
                  <a:cubicBezTo>
                    <a:pt x="98723" y="103473"/>
                    <a:pt x="99574" y="104191"/>
                    <a:pt x="100425" y="104910"/>
                  </a:cubicBezTo>
                  <a:cubicBezTo>
                    <a:pt x="100425" y="105628"/>
                    <a:pt x="101276" y="105628"/>
                    <a:pt x="101276" y="105628"/>
                  </a:cubicBezTo>
                  <a:cubicBezTo>
                    <a:pt x="102127" y="105628"/>
                    <a:pt x="102127" y="105628"/>
                    <a:pt x="102127" y="105628"/>
                  </a:cubicBezTo>
                  <a:cubicBezTo>
                    <a:pt x="102127" y="105628"/>
                    <a:pt x="102978" y="105628"/>
                    <a:pt x="102978" y="106347"/>
                  </a:cubicBezTo>
                  <a:cubicBezTo>
                    <a:pt x="103829" y="106347"/>
                    <a:pt x="104680" y="106347"/>
                    <a:pt x="105531" y="106347"/>
                  </a:cubicBezTo>
                  <a:cubicBezTo>
                    <a:pt x="105531" y="106347"/>
                    <a:pt x="106382" y="106347"/>
                    <a:pt x="106382" y="105628"/>
                  </a:cubicBezTo>
                  <a:cubicBezTo>
                    <a:pt x="106382" y="105628"/>
                    <a:pt x="107234" y="105628"/>
                    <a:pt x="108085" y="105628"/>
                  </a:cubicBezTo>
                  <a:cubicBezTo>
                    <a:pt x="108085" y="104910"/>
                    <a:pt x="108085" y="104191"/>
                    <a:pt x="108085" y="104191"/>
                  </a:cubicBezTo>
                  <a:cubicBezTo>
                    <a:pt x="108085" y="104191"/>
                    <a:pt x="108085" y="104191"/>
                    <a:pt x="108085" y="104191"/>
                  </a:cubicBezTo>
                  <a:close/>
                  <a:moveTo>
                    <a:pt x="108085" y="107784"/>
                  </a:moveTo>
                  <a:cubicBezTo>
                    <a:pt x="108085" y="107784"/>
                    <a:pt x="108085" y="107784"/>
                    <a:pt x="108085" y="107784"/>
                  </a:cubicBezTo>
                  <a:cubicBezTo>
                    <a:pt x="107234" y="108502"/>
                    <a:pt x="107234" y="108502"/>
                    <a:pt x="107234" y="108502"/>
                  </a:cubicBezTo>
                  <a:cubicBezTo>
                    <a:pt x="108085" y="108502"/>
                    <a:pt x="108085" y="108502"/>
                    <a:pt x="108085" y="108502"/>
                  </a:cubicBezTo>
                  <a:cubicBezTo>
                    <a:pt x="108085" y="108502"/>
                    <a:pt x="109787" y="109221"/>
                    <a:pt x="109787" y="109221"/>
                  </a:cubicBezTo>
                  <a:cubicBezTo>
                    <a:pt x="110638" y="109221"/>
                    <a:pt x="110638" y="109221"/>
                    <a:pt x="110638" y="109221"/>
                  </a:cubicBezTo>
                  <a:cubicBezTo>
                    <a:pt x="111489" y="108502"/>
                    <a:pt x="111489" y="108502"/>
                    <a:pt x="111489" y="108502"/>
                  </a:cubicBezTo>
                  <a:cubicBezTo>
                    <a:pt x="112340" y="107065"/>
                    <a:pt x="112340" y="107065"/>
                    <a:pt x="112340" y="107065"/>
                  </a:cubicBezTo>
                  <a:cubicBezTo>
                    <a:pt x="114893" y="106347"/>
                    <a:pt x="114893" y="106347"/>
                    <a:pt x="114893" y="106347"/>
                  </a:cubicBezTo>
                  <a:cubicBezTo>
                    <a:pt x="114893" y="106347"/>
                    <a:pt x="117446" y="106347"/>
                    <a:pt x="117446" y="106347"/>
                  </a:cubicBezTo>
                  <a:cubicBezTo>
                    <a:pt x="117446" y="106347"/>
                    <a:pt x="118297" y="105628"/>
                    <a:pt x="118297" y="105628"/>
                  </a:cubicBezTo>
                  <a:cubicBezTo>
                    <a:pt x="118297" y="104910"/>
                    <a:pt x="118297" y="104910"/>
                    <a:pt x="118297" y="104910"/>
                  </a:cubicBezTo>
                  <a:cubicBezTo>
                    <a:pt x="116595" y="103473"/>
                    <a:pt x="116595" y="103473"/>
                    <a:pt x="116595" y="103473"/>
                  </a:cubicBezTo>
                  <a:cubicBezTo>
                    <a:pt x="114893" y="103473"/>
                    <a:pt x="114893" y="103473"/>
                    <a:pt x="114893" y="103473"/>
                  </a:cubicBezTo>
                  <a:cubicBezTo>
                    <a:pt x="114893" y="103473"/>
                    <a:pt x="113191" y="103473"/>
                    <a:pt x="112340" y="103473"/>
                  </a:cubicBezTo>
                  <a:cubicBezTo>
                    <a:pt x="112340" y="103473"/>
                    <a:pt x="111489" y="103473"/>
                    <a:pt x="111489" y="103473"/>
                  </a:cubicBezTo>
                  <a:cubicBezTo>
                    <a:pt x="111489" y="103473"/>
                    <a:pt x="111489" y="104191"/>
                    <a:pt x="111489" y="104910"/>
                  </a:cubicBezTo>
                  <a:cubicBezTo>
                    <a:pt x="110638" y="105628"/>
                    <a:pt x="110638" y="105628"/>
                    <a:pt x="109787" y="105628"/>
                  </a:cubicBezTo>
                  <a:cubicBezTo>
                    <a:pt x="109787" y="105628"/>
                    <a:pt x="108936" y="105628"/>
                    <a:pt x="108936" y="105628"/>
                  </a:cubicBezTo>
                  <a:cubicBezTo>
                    <a:pt x="108085" y="107784"/>
                    <a:pt x="108085" y="107784"/>
                    <a:pt x="108085" y="107784"/>
                  </a:cubicBezTo>
                  <a:close/>
                  <a:moveTo>
                    <a:pt x="98723" y="116407"/>
                  </a:moveTo>
                  <a:cubicBezTo>
                    <a:pt x="98723" y="116407"/>
                    <a:pt x="98723" y="116407"/>
                    <a:pt x="98723" y="116407"/>
                  </a:cubicBezTo>
                  <a:cubicBezTo>
                    <a:pt x="99574" y="116407"/>
                    <a:pt x="99574" y="116407"/>
                    <a:pt x="99574" y="116407"/>
                  </a:cubicBezTo>
                  <a:cubicBezTo>
                    <a:pt x="100425" y="115688"/>
                    <a:pt x="100425" y="115688"/>
                    <a:pt x="100425" y="115688"/>
                  </a:cubicBezTo>
                  <a:cubicBezTo>
                    <a:pt x="99574" y="114251"/>
                    <a:pt x="99574" y="114251"/>
                    <a:pt x="99574" y="114251"/>
                  </a:cubicBezTo>
                  <a:cubicBezTo>
                    <a:pt x="98723" y="113532"/>
                    <a:pt x="98723" y="113532"/>
                    <a:pt x="98723" y="113532"/>
                  </a:cubicBezTo>
                  <a:cubicBezTo>
                    <a:pt x="97872" y="111377"/>
                    <a:pt x="97872" y="111377"/>
                    <a:pt x="97872" y="111377"/>
                  </a:cubicBezTo>
                  <a:cubicBezTo>
                    <a:pt x="96170" y="109940"/>
                    <a:pt x="96170" y="109940"/>
                    <a:pt x="96170" y="109940"/>
                  </a:cubicBezTo>
                  <a:cubicBezTo>
                    <a:pt x="95319" y="109221"/>
                    <a:pt x="95319" y="109221"/>
                    <a:pt x="95319" y="109221"/>
                  </a:cubicBezTo>
                  <a:cubicBezTo>
                    <a:pt x="94468" y="110658"/>
                    <a:pt x="94468" y="110658"/>
                    <a:pt x="94468" y="110658"/>
                  </a:cubicBezTo>
                  <a:cubicBezTo>
                    <a:pt x="93617" y="111377"/>
                    <a:pt x="93617" y="111377"/>
                    <a:pt x="93617" y="111377"/>
                  </a:cubicBezTo>
                  <a:cubicBezTo>
                    <a:pt x="92765" y="112095"/>
                    <a:pt x="92765" y="112095"/>
                    <a:pt x="92765" y="112095"/>
                  </a:cubicBezTo>
                  <a:cubicBezTo>
                    <a:pt x="92765" y="112095"/>
                    <a:pt x="90212" y="111377"/>
                    <a:pt x="89361" y="110658"/>
                  </a:cubicBezTo>
                  <a:cubicBezTo>
                    <a:pt x="87659" y="109940"/>
                    <a:pt x="87659" y="109940"/>
                    <a:pt x="87659" y="109940"/>
                  </a:cubicBezTo>
                  <a:cubicBezTo>
                    <a:pt x="87659" y="109940"/>
                    <a:pt x="86808" y="109940"/>
                    <a:pt x="85957" y="109221"/>
                  </a:cubicBezTo>
                  <a:cubicBezTo>
                    <a:pt x="85957" y="109221"/>
                    <a:pt x="85106" y="108502"/>
                    <a:pt x="85106" y="108502"/>
                  </a:cubicBezTo>
                  <a:cubicBezTo>
                    <a:pt x="85106" y="108502"/>
                    <a:pt x="85106" y="107784"/>
                    <a:pt x="84255" y="107784"/>
                  </a:cubicBezTo>
                  <a:cubicBezTo>
                    <a:pt x="84255" y="107065"/>
                    <a:pt x="83404" y="107784"/>
                    <a:pt x="82553" y="107784"/>
                  </a:cubicBezTo>
                  <a:cubicBezTo>
                    <a:pt x="80851" y="107784"/>
                    <a:pt x="80851" y="107784"/>
                    <a:pt x="80000" y="107784"/>
                  </a:cubicBezTo>
                  <a:cubicBezTo>
                    <a:pt x="80000" y="108502"/>
                    <a:pt x="79148" y="108502"/>
                    <a:pt x="79148" y="108502"/>
                  </a:cubicBezTo>
                  <a:cubicBezTo>
                    <a:pt x="78297" y="109221"/>
                    <a:pt x="79148" y="110658"/>
                    <a:pt x="79148" y="110658"/>
                  </a:cubicBezTo>
                  <a:cubicBezTo>
                    <a:pt x="79148" y="111377"/>
                    <a:pt x="79148" y="111377"/>
                    <a:pt x="79148" y="111377"/>
                  </a:cubicBezTo>
                  <a:cubicBezTo>
                    <a:pt x="80000" y="112814"/>
                    <a:pt x="80000" y="112814"/>
                    <a:pt x="80000" y="112814"/>
                  </a:cubicBezTo>
                  <a:cubicBezTo>
                    <a:pt x="78297" y="112814"/>
                    <a:pt x="78297" y="112814"/>
                    <a:pt x="78297" y="112814"/>
                  </a:cubicBezTo>
                  <a:cubicBezTo>
                    <a:pt x="77446" y="112814"/>
                    <a:pt x="77446" y="112814"/>
                    <a:pt x="77446" y="112814"/>
                  </a:cubicBezTo>
                  <a:cubicBezTo>
                    <a:pt x="78297" y="114251"/>
                    <a:pt x="78297" y="114251"/>
                    <a:pt x="78297" y="114251"/>
                  </a:cubicBezTo>
                  <a:cubicBezTo>
                    <a:pt x="78297" y="114251"/>
                    <a:pt x="78297" y="114970"/>
                    <a:pt x="79148" y="115688"/>
                  </a:cubicBezTo>
                  <a:cubicBezTo>
                    <a:pt x="79148" y="115688"/>
                    <a:pt x="80000" y="116407"/>
                    <a:pt x="80000" y="116407"/>
                  </a:cubicBezTo>
                  <a:cubicBezTo>
                    <a:pt x="80000" y="116407"/>
                    <a:pt x="84255" y="117125"/>
                    <a:pt x="84255" y="117125"/>
                  </a:cubicBezTo>
                  <a:cubicBezTo>
                    <a:pt x="85106" y="117125"/>
                    <a:pt x="85106" y="117125"/>
                    <a:pt x="85106" y="117125"/>
                  </a:cubicBezTo>
                  <a:cubicBezTo>
                    <a:pt x="85106" y="117125"/>
                    <a:pt x="86808" y="117844"/>
                    <a:pt x="88510" y="118562"/>
                  </a:cubicBezTo>
                  <a:cubicBezTo>
                    <a:pt x="89361" y="119281"/>
                    <a:pt x="90212" y="120000"/>
                    <a:pt x="90212" y="120000"/>
                  </a:cubicBezTo>
                  <a:cubicBezTo>
                    <a:pt x="90212" y="120000"/>
                    <a:pt x="91914" y="120000"/>
                    <a:pt x="91914" y="120000"/>
                  </a:cubicBezTo>
                  <a:cubicBezTo>
                    <a:pt x="92765" y="119281"/>
                    <a:pt x="92765" y="119281"/>
                    <a:pt x="92765" y="119281"/>
                  </a:cubicBezTo>
                  <a:cubicBezTo>
                    <a:pt x="95319" y="118562"/>
                    <a:pt x="95319" y="118562"/>
                    <a:pt x="95319" y="118562"/>
                  </a:cubicBezTo>
                  <a:cubicBezTo>
                    <a:pt x="97021" y="118562"/>
                    <a:pt x="97021" y="118562"/>
                    <a:pt x="97021" y="118562"/>
                  </a:cubicBezTo>
                  <a:cubicBezTo>
                    <a:pt x="99574" y="119281"/>
                    <a:pt x="99574" y="119281"/>
                    <a:pt x="99574" y="119281"/>
                  </a:cubicBezTo>
                  <a:cubicBezTo>
                    <a:pt x="100425" y="119281"/>
                    <a:pt x="100425" y="119281"/>
                    <a:pt x="100425" y="119281"/>
                  </a:cubicBezTo>
                  <a:cubicBezTo>
                    <a:pt x="100425" y="117844"/>
                    <a:pt x="100425" y="117844"/>
                    <a:pt x="100425" y="117844"/>
                  </a:cubicBezTo>
                  <a:cubicBezTo>
                    <a:pt x="100425" y="117125"/>
                    <a:pt x="100425" y="117125"/>
                    <a:pt x="100425" y="117125"/>
                  </a:cubicBezTo>
                  <a:cubicBezTo>
                    <a:pt x="98723" y="116407"/>
                    <a:pt x="98723" y="116407"/>
                    <a:pt x="98723" y="116407"/>
                  </a:cubicBezTo>
                  <a:close/>
                  <a:moveTo>
                    <a:pt x="65531" y="86946"/>
                  </a:moveTo>
                  <a:cubicBezTo>
                    <a:pt x="65531" y="86946"/>
                    <a:pt x="65531" y="86946"/>
                    <a:pt x="65531" y="86946"/>
                  </a:cubicBezTo>
                  <a:cubicBezTo>
                    <a:pt x="63829" y="86227"/>
                    <a:pt x="63829" y="86227"/>
                    <a:pt x="63829" y="86227"/>
                  </a:cubicBezTo>
                  <a:cubicBezTo>
                    <a:pt x="62127" y="84071"/>
                    <a:pt x="62127" y="84071"/>
                    <a:pt x="62127" y="84071"/>
                  </a:cubicBezTo>
                  <a:cubicBezTo>
                    <a:pt x="59574" y="83353"/>
                    <a:pt x="59574" y="83353"/>
                    <a:pt x="59574" y="83353"/>
                  </a:cubicBezTo>
                  <a:cubicBezTo>
                    <a:pt x="59574" y="83353"/>
                    <a:pt x="58723" y="81197"/>
                    <a:pt x="58723" y="81197"/>
                  </a:cubicBezTo>
                  <a:cubicBezTo>
                    <a:pt x="57872" y="80479"/>
                    <a:pt x="57872" y="81197"/>
                    <a:pt x="57872" y="81197"/>
                  </a:cubicBezTo>
                  <a:cubicBezTo>
                    <a:pt x="57872" y="81197"/>
                    <a:pt x="57872" y="82634"/>
                    <a:pt x="57021" y="83353"/>
                  </a:cubicBezTo>
                  <a:cubicBezTo>
                    <a:pt x="56170" y="83353"/>
                    <a:pt x="55319" y="83353"/>
                    <a:pt x="55319" y="83353"/>
                  </a:cubicBezTo>
                  <a:cubicBezTo>
                    <a:pt x="53617" y="84790"/>
                    <a:pt x="53617" y="84790"/>
                    <a:pt x="53617" y="84790"/>
                  </a:cubicBezTo>
                  <a:cubicBezTo>
                    <a:pt x="53617" y="84790"/>
                    <a:pt x="51063" y="85508"/>
                    <a:pt x="50212" y="85508"/>
                  </a:cubicBezTo>
                  <a:cubicBezTo>
                    <a:pt x="50212" y="85508"/>
                    <a:pt x="49361" y="86227"/>
                    <a:pt x="49361" y="86227"/>
                  </a:cubicBezTo>
                  <a:cubicBezTo>
                    <a:pt x="44255" y="85508"/>
                    <a:pt x="44255" y="85508"/>
                    <a:pt x="44255" y="85508"/>
                  </a:cubicBezTo>
                  <a:cubicBezTo>
                    <a:pt x="42553" y="86946"/>
                    <a:pt x="42553" y="86946"/>
                    <a:pt x="42553" y="86946"/>
                  </a:cubicBezTo>
                  <a:cubicBezTo>
                    <a:pt x="42553" y="87664"/>
                    <a:pt x="42553" y="87664"/>
                    <a:pt x="42553" y="87664"/>
                  </a:cubicBezTo>
                  <a:cubicBezTo>
                    <a:pt x="43404" y="89101"/>
                    <a:pt x="43404" y="89101"/>
                    <a:pt x="43404" y="89101"/>
                  </a:cubicBezTo>
                  <a:cubicBezTo>
                    <a:pt x="44255" y="89820"/>
                    <a:pt x="44255" y="89820"/>
                    <a:pt x="44255" y="89820"/>
                  </a:cubicBezTo>
                  <a:cubicBezTo>
                    <a:pt x="45106" y="89820"/>
                    <a:pt x="45106" y="89820"/>
                    <a:pt x="45106" y="89820"/>
                  </a:cubicBezTo>
                  <a:cubicBezTo>
                    <a:pt x="45106" y="91257"/>
                    <a:pt x="45106" y="91257"/>
                    <a:pt x="45106" y="91257"/>
                  </a:cubicBezTo>
                  <a:cubicBezTo>
                    <a:pt x="45957" y="92694"/>
                    <a:pt x="45957" y="92694"/>
                    <a:pt x="45957" y="92694"/>
                  </a:cubicBezTo>
                  <a:cubicBezTo>
                    <a:pt x="45957" y="92694"/>
                    <a:pt x="46808" y="93413"/>
                    <a:pt x="47659" y="94850"/>
                  </a:cubicBezTo>
                  <a:cubicBezTo>
                    <a:pt x="48510" y="96287"/>
                    <a:pt x="47659" y="97005"/>
                    <a:pt x="47659" y="97005"/>
                  </a:cubicBezTo>
                  <a:cubicBezTo>
                    <a:pt x="50212" y="99161"/>
                    <a:pt x="50212" y="99161"/>
                    <a:pt x="50212" y="99161"/>
                  </a:cubicBezTo>
                  <a:cubicBezTo>
                    <a:pt x="51914" y="99880"/>
                    <a:pt x="51914" y="99880"/>
                    <a:pt x="51914" y="99880"/>
                  </a:cubicBezTo>
                  <a:cubicBezTo>
                    <a:pt x="51914" y="99880"/>
                    <a:pt x="52765" y="100598"/>
                    <a:pt x="53617" y="100598"/>
                  </a:cubicBezTo>
                  <a:cubicBezTo>
                    <a:pt x="53617" y="100598"/>
                    <a:pt x="53617" y="101317"/>
                    <a:pt x="53617" y="101317"/>
                  </a:cubicBezTo>
                  <a:cubicBezTo>
                    <a:pt x="53617" y="102754"/>
                    <a:pt x="53617" y="102754"/>
                    <a:pt x="53617" y="102754"/>
                  </a:cubicBezTo>
                  <a:cubicBezTo>
                    <a:pt x="54468" y="104191"/>
                    <a:pt x="54468" y="104191"/>
                    <a:pt x="54468" y="104191"/>
                  </a:cubicBezTo>
                  <a:cubicBezTo>
                    <a:pt x="55319" y="103473"/>
                    <a:pt x="55319" y="103473"/>
                    <a:pt x="55319" y="103473"/>
                  </a:cubicBezTo>
                  <a:cubicBezTo>
                    <a:pt x="56170" y="102754"/>
                    <a:pt x="56170" y="102754"/>
                    <a:pt x="56170" y="102754"/>
                  </a:cubicBezTo>
                  <a:cubicBezTo>
                    <a:pt x="60425" y="104191"/>
                    <a:pt x="60425" y="104191"/>
                    <a:pt x="60425" y="104191"/>
                  </a:cubicBezTo>
                  <a:cubicBezTo>
                    <a:pt x="60425" y="104191"/>
                    <a:pt x="63829" y="105628"/>
                    <a:pt x="64680" y="105628"/>
                  </a:cubicBezTo>
                  <a:cubicBezTo>
                    <a:pt x="64680" y="105628"/>
                    <a:pt x="66382" y="104191"/>
                    <a:pt x="66382" y="104191"/>
                  </a:cubicBezTo>
                  <a:cubicBezTo>
                    <a:pt x="67234" y="103473"/>
                    <a:pt x="69787" y="103473"/>
                    <a:pt x="69787" y="103473"/>
                  </a:cubicBezTo>
                  <a:cubicBezTo>
                    <a:pt x="70638" y="103473"/>
                    <a:pt x="70638" y="102754"/>
                    <a:pt x="70638" y="102754"/>
                  </a:cubicBezTo>
                  <a:cubicBezTo>
                    <a:pt x="70638" y="102035"/>
                    <a:pt x="71489" y="101317"/>
                    <a:pt x="71489" y="100598"/>
                  </a:cubicBezTo>
                  <a:cubicBezTo>
                    <a:pt x="71489" y="99880"/>
                    <a:pt x="72340" y="99161"/>
                    <a:pt x="72340" y="99161"/>
                  </a:cubicBezTo>
                  <a:cubicBezTo>
                    <a:pt x="72340" y="97724"/>
                    <a:pt x="72340" y="97724"/>
                    <a:pt x="72340" y="97724"/>
                  </a:cubicBezTo>
                  <a:cubicBezTo>
                    <a:pt x="71489" y="95568"/>
                    <a:pt x="71489" y="95568"/>
                    <a:pt x="71489" y="95568"/>
                  </a:cubicBezTo>
                  <a:cubicBezTo>
                    <a:pt x="72340" y="92694"/>
                    <a:pt x="72340" y="92694"/>
                    <a:pt x="72340" y="92694"/>
                  </a:cubicBezTo>
                  <a:cubicBezTo>
                    <a:pt x="70638" y="91257"/>
                    <a:pt x="70638" y="91257"/>
                    <a:pt x="70638" y="91257"/>
                  </a:cubicBezTo>
                  <a:cubicBezTo>
                    <a:pt x="69787" y="90538"/>
                    <a:pt x="69787" y="90538"/>
                    <a:pt x="69787" y="90538"/>
                  </a:cubicBezTo>
                  <a:cubicBezTo>
                    <a:pt x="69787" y="89820"/>
                    <a:pt x="69787" y="89820"/>
                    <a:pt x="69787" y="89820"/>
                  </a:cubicBezTo>
                  <a:cubicBezTo>
                    <a:pt x="69787" y="89101"/>
                    <a:pt x="69787" y="89101"/>
                    <a:pt x="69787" y="89101"/>
                  </a:cubicBezTo>
                  <a:cubicBezTo>
                    <a:pt x="71489" y="88383"/>
                    <a:pt x="71489" y="88383"/>
                    <a:pt x="71489" y="88383"/>
                  </a:cubicBezTo>
                  <a:cubicBezTo>
                    <a:pt x="71489" y="86227"/>
                    <a:pt x="71489" y="86227"/>
                    <a:pt x="71489" y="86227"/>
                  </a:cubicBezTo>
                  <a:cubicBezTo>
                    <a:pt x="74042" y="84790"/>
                    <a:pt x="74042" y="84790"/>
                    <a:pt x="74042" y="84790"/>
                  </a:cubicBezTo>
                  <a:cubicBezTo>
                    <a:pt x="74893" y="82634"/>
                    <a:pt x="74893" y="82634"/>
                    <a:pt x="74893" y="82634"/>
                  </a:cubicBezTo>
                  <a:cubicBezTo>
                    <a:pt x="74893" y="82634"/>
                    <a:pt x="71489" y="81916"/>
                    <a:pt x="70638" y="81916"/>
                  </a:cubicBezTo>
                  <a:cubicBezTo>
                    <a:pt x="68936" y="81916"/>
                    <a:pt x="69787" y="81916"/>
                    <a:pt x="69787" y="81197"/>
                  </a:cubicBezTo>
                  <a:cubicBezTo>
                    <a:pt x="69787" y="81197"/>
                    <a:pt x="68936" y="80479"/>
                    <a:pt x="68936" y="80479"/>
                  </a:cubicBezTo>
                  <a:cubicBezTo>
                    <a:pt x="68936" y="80479"/>
                    <a:pt x="67234" y="81197"/>
                    <a:pt x="67234" y="81197"/>
                  </a:cubicBezTo>
                  <a:cubicBezTo>
                    <a:pt x="66382" y="81197"/>
                    <a:pt x="66382" y="79760"/>
                    <a:pt x="66382" y="79760"/>
                  </a:cubicBezTo>
                  <a:cubicBezTo>
                    <a:pt x="66382" y="79760"/>
                    <a:pt x="64680" y="80479"/>
                    <a:pt x="64680" y="80479"/>
                  </a:cubicBezTo>
                  <a:cubicBezTo>
                    <a:pt x="63829" y="80479"/>
                    <a:pt x="62127" y="80479"/>
                    <a:pt x="62127" y="80479"/>
                  </a:cubicBezTo>
                  <a:cubicBezTo>
                    <a:pt x="62127" y="80479"/>
                    <a:pt x="62127" y="81197"/>
                    <a:pt x="62127" y="81197"/>
                  </a:cubicBezTo>
                  <a:cubicBezTo>
                    <a:pt x="61276" y="81916"/>
                    <a:pt x="62127" y="82634"/>
                    <a:pt x="62978" y="82634"/>
                  </a:cubicBezTo>
                  <a:cubicBezTo>
                    <a:pt x="62978" y="83353"/>
                    <a:pt x="63829" y="84790"/>
                    <a:pt x="63829" y="84790"/>
                  </a:cubicBezTo>
                  <a:cubicBezTo>
                    <a:pt x="64680" y="86227"/>
                    <a:pt x="64680" y="86227"/>
                    <a:pt x="64680" y="86227"/>
                  </a:cubicBezTo>
                  <a:cubicBezTo>
                    <a:pt x="65531" y="86946"/>
                    <a:pt x="65531" y="86946"/>
                    <a:pt x="65531" y="86946"/>
                  </a:cubicBezTo>
                  <a:close/>
                  <a:moveTo>
                    <a:pt x="63829" y="76886"/>
                  </a:moveTo>
                  <a:cubicBezTo>
                    <a:pt x="63829" y="76886"/>
                    <a:pt x="63829" y="76886"/>
                    <a:pt x="63829" y="76886"/>
                  </a:cubicBezTo>
                  <a:cubicBezTo>
                    <a:pt x="65531" y="76886"/>
                    <a:pt x="65531" y="76886"/>
                    <a:pt x="65531" y="76886"/>
                  </a:cubicBezTo>
                  <a:cubicBezTo>
                    <a:pt x="66382" y="75449"/>
                    <a:pt x="66382" y="75449"/>
                    <a:pt x="66382" y="75449"/>
                  </a:cubicBezTo>
                  <a:cubicBezTo>
                    <a:pt x="66382" y="75449"/>
                    <a:pt x="67234" y="74730"/>
                    <a:pt x="67234" y="74011"/>
                  </a:cubicBezTo>
                  <a:cubicBezTo>
                    <a:pt x="67234" y="74011"/>
                    <a:pt x="67234" y="73293"/>
                    <a:pt x="67234" y="73293"/>
                  </a:cubicBezTo>
                  <a:cubicBezTo>
                    <a:pt x="67234" y="71856"/>
                    <a:pt x="67234" y="71856"/>
                    <a:pt x="67234" y="71856"/>
                  </a:cubicBezTo>
                  <a:cubicBezTo>
                    <a:pt x="66382" y="71137"/>
                    <a:pt x="66382" y="71137"/>
                    <a:pt x="66382" y="71137"/>
                  </a:cubicBezTo>
                  <a:cubicBezTo>
                    <a:pt x="65531" y="69700"/>
                    <a:pt x="65531" y="69700"/>
                    <a:pt x="65531" y="69700"/>
                  </a:cubicBezTo>
                  <a:cubicBezTo>
                    <a:pt x="64680" y="67544"/>
                    <a:pt x="64680" y="67544"/>
                    <a:pt x="64680" y="67544"/>
                  </a:cubicBezTo>
                  <a:cubicBezTo>
                    <a:pt x="62978" y="67544"/>
                    <a:pt x="62978" y="67544"/>
                    <a:pt x="62978" y="67544"/>
                  </a:cubicBezTo>
                  <a:cubicBezTo>
                    <a:pt x="62978" y="67544"/>
                    <a:pt x="62978" y="68982"/>
                    <a:pt x="62978" y="68982"/>
                  </a:cubicBezTo>
                  <a:cubicBezTo>
                    <a:pt x="62978" y="69700"/>
                    <a:pt x="63829" y="70419"/>
                    <a:pt x="63829" y="70419"/>
                  </a:cubicBezTo>
                  <a:cubicBezTo>
                    <a:pt x="64680" y="71137"/>
                    <a:pt x="64680" y="71137"/>
                    <a:pt x="64680" y="71137"/>
                  </a:cubicBezTo>
                  <a:cubicBezTo>
                    <a:pt x="64680" y="71856"/>
                    <a:pt x="64680" y="71856"/>
                    <a:pt x="64680" y="71856"/>
                  </a:cubicBezTo>
                  <a:cubicBezTo>
                    <a:pt x="63829" y="72574"/>
                    <a:pt x="63829" y="72574"/>
                    <a:pt x="63829" y="72574"/>
                  </a:cubicBezTo>
                  <a:cubicBezTo>
                    <a:pt x="62978" y="74011"/>
                    <a:pt x="62978" y="74011"/>
                    <a:pt x="62978" y="74011"/>
                  </a:cubicBezTo>
                  <a:cubicBezTo>
                    <a:pt x="63829" y="75449"/>
                    <a:pt x="63829" y="75449"/>
                    <a:pt x="63829" y="75449"/>
                  </a:cubicBezTo>
                  <a:cubicBezTo>
                    <a:pt x="63829" y="76886"/>
                    <a:pt x="63829" y="76886"/>
                    <a:pt x="63829" y="76886"/>
                  </a:cubicBezTo>
                  <a:close/>
                  <a:moveTo>
                    <a:pt x="68085" y="112814"/>
                  </a:moveTo>
                  <a:cubicBezTo>
                    <a:pt x="68085" y="112814"/>
                    <a:pt x="68085" y="112814"/>
                    <a:pt x="68085" y="112814"/>
                  </a:cubicBezTo>
                  <a:cubicBezTo>
                    <a:pt x="68936" y="114970"/>
                    <a:pt x="68936" y="114970"/>
                    <a:pt x="68936" y="114970"/>
                  </a:cubicBezTo>
                  <a:cubicBezTo>
                    <a:pt x="69787" y="116407"/>
                    <a:pt x="69787" y="116407"/>
                    <a:pt x="69787" y="116407"/>
                  </a:cubicBezTo>
                  <a:cubicBezTo>
                    <a:pt x="69787" y="116407"/>
                    <a:pt x="71489" y="117125"/>
                    <a:pt x="71489" y="116407"/>
                  </a:cubicBezTo>
                  <a:cubicBezTo>
                    <a:pt x="71489" y="115688"/>
                    <a:pt x="70638" y="114970"/>
                    <a:pt x="71489" y="114251"/>
                  </a:cubicBezTo>
                  <a:cubicBezTo>
                    <a:pt x="71489" y="113532"/>
                    <a:pt x="72340" y="112095"/>
                    <a:pt x="72340" y="111377"/>
                  </a:cubicBezTo>
                  <a:cubicBezTo>
                    <a:pt x="72340" y="110658"/>
                    <a:pt x="73191" y="109940"/>
                    <a:pt x="73191" y="109221"/>
                  </a:cubicBezTo>
                  <a:cubicBezTo>
                    <a:pt x="74042" y="108502"/>
                    <a:pt x="74893" y="107065"/>
                    <a:pt x="74893" y="106347"/>
                  </a:cubicBezTo>
                  <a:cubicBezTo>
                    <a:pt x="74893" y="106347"/>
                    <a:pt x="75744" y="104910"/>
                    <a:pt x="75744" y="104191"/>
                  </a:cubicBezTo>
                  <a:cubicBezTo>
                    <a:pt x="75744" y="104191"/>
                    <a:pt x="75744" y="102035"/>
                    <a:pt x="75744" y="102035"/>
                  </a:cubicBezTo>
                  <a:cubicBezTo>
                    <a:pt x="75744" y="102035"/>
                    <a:pt x="74893" y="99880"/>
                    <a:pt x="74893" y="99880"/>
                  </a:cubicBezTo>
                  <a:cubicBezTo>
                    <a:pt x="74042" y="101317"/>
                    <a:pt x="74042" y="101317"/>
                    <a:pt x="74042" y="101317"/>
                  </a:cubicBezTo>
                  <a:cubicBezTo>
                    <a:pt x="74042" y="102754"/>
                    <a:pt x="74042" y="102754"/>
                    <a:pt x="74042" y="102754"/>
                  </a:cubicBezTo>
                  <a:cubicBezTo>
                    <a:pt x="72340" y="105628"/>
                    <a:pt x="72340" y="105628"/>
                    <a:pt x="72340" y="105628"/>
                  </a:cubicBezTo>
                  <a:cubicBezTo>
                    <a:pt x="71489" y="107065"/>
                    <a:pt x="71489" y="107065"/>
                    <a:pt x="71489" y="107065"/>
                  </a:cubicBezTo>
                  <a:cubicBezTo>
                    <a:pt x="69787" y="108502"/>
                    <a:pt x="69787" y="108502"/>
                    <a:pt x="69787" y="108502"/>
                  </a:cubicBezTo>
                  <a:cubicBezTo>
                    <a:pt x="69787" y="109221"/>
                    <a:pt x="69787" y="109221"/>
                    <a:pt x="69787" y="109221"/>
                  </a:cubicBezTo>
                  <a:cubicBezTo>
                    <a:pt x="69787" y="110658"/>
                    <a:pt x="69787" y="110658"/>
                    <a:pt x="69787" y="110658"/>
                  </a:cubicBezTo>
                  <a:cubicBezTo>
                    <a:pt x="68936" y="111377"/>
                    <a:pt x="68936" y="111377"/>
                    <a:pt x="68936" y="111377"/>
                  </a:cubicBezTo>
                  <a:cubicBezTo>
                    <a:pt x="68936" y="112095"/>
                    <a:pt x="68936" y="112095"/>
                    <a:pt x="68936" y="112095"/>
                  </a:cubicBezTo>
                  <a:cubicBezTo>
                    <a:pt x="68085" y="112814"/>
                    <a:pt x="68085" y="112814"/>
                    <a:pt x="68085" y="112814"/>
                  </a:cubicBezTo>
                  <a:close/>
                  <a:moveTo>
                    <a:pt x="63829" y="106347"/>
                  </a:moveTo>
                  <a:cubicBezTo>
                    <a:pt x="63829" y="106347"/>
                    <a:pt x="63829" y="106347"/>
                    <a:pt x="63829" y="106347"/>
                  </a:cubicBezTo>
                  <a:cubicBezTo>
                    <a:pt x="64680" y="107065"/>
                    <a:pt x="64680" y="107065"/>
                    <a:pt x="64680" y="107065"/>
                  </a:cubicBezTo>
                  <a:cubicBezTo>
                    <a:pt x="64680" y="107065"/>
                    <a:pt x="65531" y="109221"/>
                    <a:pt x="66382" y="109221"/>
                  </a:cubicBezTo>
                  <a:cubicBezTo>
                    <a:pt x="66382" y="109221"/>
                    <a:pt x="68936" y="107065"/>
                    <a:pt x="68936" y="107065"/>
                  </a:cubicBezTo>
                  <a:cubicBezTo>
                    <a:pt x="68936" y="105628"/>
                    <a:pt x="68936" y="105628"/>
                    <a:pt x="68936" y="105628"/>
                  </a:cubicBezTo>
                  <a:cubicBezTo>
                    <a:pt x="69787" y="104191"/>
                    <a:pt x="69787" y="104191"/>
                    <a:pt x="69787" y="104191"/>
                  </a:cubicBezTo>
                  <a:cubicBezTo>
                    <a:pt x="67234" y="104910"/>
                    <a:pt x="67234" y="104910"/>
                    <a:pt x="67234" y="104910"/>
                  </a:cubicBezTo>
                  <a:cubicBezTo>
                    <a:pt x="65531" y="106347"/>
                    <a:pt x="65531" y="106347"/>
                    <a:pt x="65531" y="106347"/>
                  </a:cubicBezTo>
                  <a:cubicBezTo>
                    <a:pt x="63829" y="106347"/>
                    <a:pt x="63829" y="106347"/>
                    <a:pt x="63829" y="106347"/>
                  </a:cubicBezTo>
                  <a:close/>
                  <a:moveTo>
                    <a:pt x="56170" y="107784"/>
                  </a:moveTo>
                  <a:cubicBezTo>
                    <a:pt x="56170" y="107784"/>
                    <a:pt x="56170" y="107784"/>
                    <a:pt x="56170" y="107784"/>
                  </a:cubicBezTo>
                  <a:cubicBezTo>
                    <a:pt x="56170" y="107784"/>
                    <a:pt x="57021" y="109940"/>
                    <a:pt x="57021" y="109940"/>
                  </a:cubicBezTo>
                  <a:cubicBezTo>
                    <a:pt x="57872" y="109940"/>
                    <a:pt x="58723" y="110658"/>
                    <a:pt x="58723" y="110658"/>
                  </a:cubicBezTo>
                  <a:cubicBezTo>
                    <a:pt x="60425" y="112095"/>
                    <a:pt x="60425" y="112095"/>
                    <a:pt x="60425" y="112095"/>
                  </a:cubicBezTo>
                  <a:cubicBezTo>
                    <a:pt x="60425" y="112095"/>
                    <a:pt x="60425" y="112814"/>
                    <a:pt x="61276" y="112814"/>
                  </a:cubicBezTo>
                  <a:cubicBezTo>
                    <a:pt x="61276" y="112814"/>
                    <a:pt x="62978" y="112095"/>
                    <a:pt x="62978" y="112095"/>
                  </a:cubicBezTo>
                  <a:cubicBezTo>
                    <a:pt x="63829" y="110658"/>
                    <a:pt x="63829" y="110658"/>
                    <a:pt x="63829" y="110658"/>
                  </a:cubicBezTo>
                  <a:cubicBezTo>
                    <a:pt x="63829" y="110658"/>
                    <a:pt x="62127" y="110658"/>
                    <a:pt x="62127" y="110658"/>
                  </a:cubicBezTo>
                  <a:cubicBezTo>
                    <a:pt x="61276" y="110658"/>
                    <a:pt x="60425" y="109221"/>
                    <a:pt x="60425" y="109221"/>
                  </a:cubicBezTo>
                  <a:cubicBezTo>
                    <a:pt x="60425" y="109221"/>
                    <a:pt x="59574" y="109221"/>
                    <a:pt x="59574" y="109221"/>
                  </a:cubicBezTo>
                  <a:cubicBezTo>
                    <a:pt x="58723" y="109221"/>
                    <a:pt x="57021" y="107784"/>
                    <a:pt x="57021" y="107784"/>
                  </a:cubicBezTo>
                  <a:cubicBezTo>
                    <a:pt x="56170" y="107784"/>
                    <a:pt x="56170" y="107784"/>
                    <a:pt x="56170" y="107784"/>
                  </a:cubicBezTo>
                  <a:close/>
                  <a:moveTo>
                    <a:pt x="42553" y="105628"/>
                  </a:moveTo>
                  <a:cubicBezTo>
                    <a:pt x="42553" y="105628"/>
                    <a:pt x="42553" y="105628"/>
                    <a:pt x="42553" y="105628"/>
                  </a:cubicBezTo>
                  <a:cubicBezTo>
                    <a:pt x="44255" y="106347"/>
                    <a:pt x="44255" y="106347"/>
                    <a:pt x="44255" y="106347"/>
                  </a:cubicBezTo>
                  <a:cubicBezTo>
                    <a:pt x="45106" y="107065"/>
                    <a:pt x="45106" y="107065"/>
                    <a:pt x="45106" y="107065"/>
                  </a:cubicBezTo>
                  <a:cubicBezTo>
                    <a:pt x="46808" y="107784"/>
                    <a:pt x="46808" y="107784"/>
                    <a:pt x="46808" y="107784"/>
                  </a:cubicBezTo>
                  <a:cubicBezTo>
                    <a:pt x="45106" y="109221"/>
                    <a:pt x="45106" y="109221"/>
                    <a:pt x="45106" y="109221"/>
                  </a:cubicBezTo>
                  <a:cubicBezTo>
                    <a:pt x="45106" y="109221"/>
                    <a:pt x="45957" y="110658"/>
                    <a:pt x="46808" y="109940"/>
                  </a:cubicBezTo>
                  <a:cubicBezTo>
                    <a:pt x="47659" y="109940"/>
                    <a:pt x="47659" y="109940"/>
                    <a:pt x="47659" y="109940"/>
                  </a:cubicBezTo>
                  <a:cubicBezTo>
                    <a:pt x="47659" y="109940"/>
                    <a:pt x="49361" y="110658"/>
                    <a:pt x="49361" y="110658"/>
                  </a:cubicBezTo>
                  <a:cubicBezTo>
                    <a:pt x="50212" y="111377"/>
                    <a:pt x="51063" y="111377"/>
                    <a:pt x="51914" y="111377"/>
                  </a:cubicBezTo>
                  <a:cubicBezTo>
                    <a:pt x="52765" y="111377"/>
                    <a:pt x="52765" y="110658"/>
                    <a:pt x="52765" y="110658"/>
                  </a:cubicBezTo>
                  <a:cubicBezTo>
                    <a:pt x="52765" y="109940"/>
                    <a:pt x="52765" y="109221"/>
                    <a:pt x="52765" y="109221"/>
                  </a:cubicBezTo>
                  <a:cubicBezTo>
                    <a:pt x="51914" y="107784"/>
                    <a:pt x="51914" y="107784"/>
                    <a:pt x="51914" y="107784"/>
                  </a:cubicBezTo>
                  <a:cubicBezTo>
                    <a:pt x="51063" y="106347"/>
                    <a:pt x="51063" y="106347"/>
                    <a:pt x="51063" y="106347"/>
                  </a:cubicBezTo>
                  <a:cubicBezTo>
                    <a:pt x="47659" y="105628"/>
                    <a:pt x="47659" y="105628"/>
                    <a:pt x="47659" y="105628"/>
                  </a:cubicBezTo>
                  <a:cubicBezTo>
                    <a:pt x="45957" y="104191"/>
                    <a:pt x="45957" y="104191"/>
                    <a:pt x="45957" y="104191"/>
                  </a:cubicBezTo>
                  <a:cubicBezTo>
                    <a:pt x="43404" y="103473"/>
                    <a:pt x="43404" y="103473"/>
                    <a:pt x="43404" y="103473"/>
                  </a:cubicBezTo>
                  <a:cubicBezTo>
                    <a:pt x="42553" y="103473"/>
                    <a:pt x="42553" y="103473"/>
                    <a:pt x="42553" y="103473"/>
                  </a:cubicBezTo>
                  <a:cubicBezTo>
                    <a:pt x="42553" y="105628"/>
                    <a:pt x="42553" y="105628"/>
                    <a:pt x="42553" y="105628"/>
                  </a:cubicBezTo>
                  <a:close/>
                  <a:moveTo>
                    <a:pt x="70638" y="17964"/>
                  </a:moveTo>
                  <a:cubicBezTo>
                    <a:pt x="70638" y="17964"/>
                    <a:pt x="70638" y="17964"/>
                    <a:pt x="70638" y="17964"/>
                  </a:cubicBezTo>
                  <a:cubicBezTo>
                    <a:pt x="70638" y="18682"/>
                    <a:pt x="70638" y="18682"/>
                    <a:pt x="70638" y="18682"/>
                  </a:cubicBezTo>
                  <a:cubicBezTo>
                    <a:pt x="70638" y="18682"/>
                    <a:pt x="71489" y="18682"/>
                    <a:pt x="71489" y="18682"/>
                  </a:cubicBezTo>
                  <a:cubicBezTo>
                    <a:pt x="71489" y="18682"/>
                    <a:pt x="72340" y="18682"/>
                    <a:pt x="72340" y="18682"/>
                  </a:cubicBezTo>
                  <a:cubicBezTo>
                    <a:pt x="72340" y="18682"/>
                    <a:pt x="74042" y="19401"/>
                    <a:pt x="74042" y="19401"/>
                  </a:cubicBezTo>
                  <a:cubicBezTo>
                    <a:pt x="74042" y="20119"/>
                    <a:pt x="74893" y="19401"/>
                    <a:pt x="74893" y="19401"/>
                  </a:cubicBezTo>
                  <a:cubicBezTo>
                    <a:pt x="75744" y="19401"/>
                    <a:pt x="75744" y="18682"/>
                    <a:pt x="75744" y="17964"/>
                  </a:cubicBezTo>
                  <a:cubicBezTo>
                    <a:pt x="75744" y="17964"/>
                    <a:pt x="76595" y="17245"/>
                    <a:pt x="76595" y="17245"/>
                  </a:cubicBezTo>
                  <a:cubicBezTo>
                    <a:pt x="76595" y="17245"/>
                    <a:pt x="79148" y="15808"/>
                    <a:pt x="79148" y="15808"/>
                  </a:cubicBezTo>
                  <a:cubicBezTo>
                    <a:pt x="79148" y="15089"/>
                    <a:pt x="77446" y="15089"/>
                    <a:pt x="77446" y="15089"/>
                  </a:cubicBezTo>
                  <a:cubicBezTo>
                    <a:pt x="77446" y="15089"/>
                    <a:pt x="74893" y="15808"/>
                    <a:pt x="74893" y="15808"/>
                  </a:cubicBezTo>
                  <a:cubicBezTo>
                    <a:pt x="74893" y="15808"/>
                    <a:pt x="72340" y="16526"/>
                    <a:pt x="72340" y="16526"/>
                  </a:cubicBezTo>
                  <a:lnTo>
                    <a:pt x="70638" y="17964"/>
                  </a:lnTo>
                  <a:close/>
                </a:path>
              </a:pathLst>
            </a:custGeom>
            <a:solidFill>
              <a:srgbClr val="E4032D"/>
            </a:solidFill>
            <a:ln w="3175" cap="flat" cmpd="sng">
              <a:solidFill>
                <a:schemeClr val="tx1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defTabSz="457178"/>
              <a:endParaRPr kern="0" dirty="0">
                <a:solidFill>
                  <a:srgbClr val="7F7F7F"/>
                </a:solidFill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21" name="Shape 2028">
              <a:extLst>
                <a:ext uri="{FF2B5EF4-FFF2-40B4-BE49-F238E27FC236}">
                  <a16:creationId xmlns:a16="http://schemas.microsoft.com/office/drawing/2014/main" id="{1C10B073-B170-4B6F-9E68-5A1D8B596196}"/>
                </a:ext>
              </a:extLst>
            </p:cNvPr>
            <p:cNvSpPr/>
            <p:nvPr/>
          </p:nvSpPr>
          <p:spPr>
            <a:xfrm>
              <a:off x="4518028" y="2422185"/>
              <a:ext cx="310038" cy="35158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63529" y="26415"/>
                  </a:moveTo>
                  <a:cubicBezTo>
                    <a:pt x="62647" y="24905"/>
                    <a:pt x="62647" y="24905"/>
                    <a:pt x="62647" y="24905"/>
                  </a:cubicBezTo>
                  <a:cubicBezTo>
                    <a:pt x="60882" y="24905"/>
                    <a:pt x="60882" y="24905"/>
                    <a:pt x="60882" y="24905"/>
                  </a:cubicBezTo>
                  <a:cubicBezTo>
                    <a:pt x="58235" y="26415"/>
                    <a:pt x="58235" y="26415"/>
                    <a:pt x="58235" y="26415"/>
                  </a:cubicBezTo>
                  <a:cubicBezTo>
                    <a:pt x="58235" y="24905"/>
                    <a:pt x="58235" y="24905"/>
                    <a:pt x="58235" y="24905"/>
                  </a:cubicBezTo>
                  <a:cubicBezTo>
                    <a:pt x="61764" y="23396"/>
                    <a:pt x="61764" y="23396"/>
                    <a:pt x="61764" y="23396"/>
                  </a:cubicBezTo>
                  <a:cubicBezTo>
                    <a:pt x="63529" y="22641"/>
                    <a:pt x="63529" y="22641"/>
                    <a:pt x="63529" y="22641"/>
                  </a:cubicBezTo>
                  <a:cubicBezTo>
                    <a:pt x="64411" y="21132"/>
                    <a:pt x="64411" y="21132"/>
                    <a:pt x="64411" y="21132"/>
                  </a:cubicBezTo>
                  <a:cubicBezTo>
                    <a:pt x="66176" y="18867"/>
                    <a:pt x="66176" y="18867"/>
                    <a:pt x="66176" y="18867"/>
                  </a:cubicBezTo>
                  <a:cubicBezTo>
                    <a:pt x="66176" y="18867"/>
                    <a:pt x="67941" y="17358"/>
                    <a:pt x="68823" y="16603"/>
                  </a:cubicBezTo>
                  <a:cubicBezTo>
                    <a:pt x="69705" y="16603"/>
                    <a:pt x="73235" y="15094"/>
                    <a:pt x="73235" y="15094"/>
                  </a:cubicBezTo>
                  <a:cubicBezTo>
                    <a:pt x="73235" y="15094"/>
                    <a:pt x="76764" y="13584"/>
                    <a:pt x="77647" y="13584"/>
                  </a:cubicBezTo>
                  <a:cubicBezTo>
                    <a:pt x="78529" y="13584"/>
                    <a:pt x="84705" y="12830"/>
                    <a:pt x="84705" y="12830"/>
                  </a:cubicBezTo>
                  <a:cubicBezTo>
                    <a:pt x="90882" y="14339"/>
                    <a:pt x="90882" y="14339"/>
                    <a:pt x="90882" y="14339"/>
                  </a:cubicBezTo>
                  <a:cubicBezTo>
                    <a:pt x="90882" y="14339"/>
                    <a:pt x="92647" y="12830"/>
                    <a:pt x="94411" y="12830"/>
                  </a:cubicBezTo>
                  <a:cubicBezTo>
                    <a:pt x="94411" y="12830"/>
                    <a:pt x="96176" y="13584"/>
                    <a:pt x="97058" y="13584"/>
                  </a:cubicBezTo>
                  <a:cubicBezTo>
                    <a:pt x="97941" y="13584"/>
                    <a:pt x="99705" y="12830"/>
                    <a:pt x="99705" y="12830"/>
                  </a:cubicBezTo>
                  <a:cubicBezTo>
                    <a:pt x="103235" y="12830"/>
                    <a:pt x="103235" y="12830"/>
                    <a:pt x="103235" y="12830"/>
                  </a:cubicBezTo>
                  <a:cubicBezTo>
                    <a:pt x="105882" y="15849"/>
                    <a:pt x="105882" y="15849"/>
                    <a:pt x="105882" y="15849"/>
                  </a:cubicBezTo>
                  <a:cubicBezTo>
                    <a:pt x="106764" y="18867"/>
                    <a:pt x="106764" y="18867"/>
                    <a:pt x="106764" y="18867"/>
                  </a:cubicBezTo>
                  <a:cubicBezTo>
                    <a:pt x="111176" y="19622"/>
                    <a:pt x="111176" y="19622"/>
                    <a:pt x="111176" y="19622"/>
                  </a:cubicBezTo>
                  <a:cubicBezTo>
                    <a:pt x="111176" y="19622"/>
                    <a:pt x="110294" y="21132"/>
                    <a:pt x="110294" y="21886"/>
                  </a:cubicBezTo>
                  <a:cubicBezTo>
                    <a:pt x="111176" y="21886"/>
                    <a:pt x="113823" y="22641"/>
                    <a:pt x="113823" y="22641"/>
                  </a:cubicBezTo>
                  <a:cubicBezTo>
                    <a:pt x="113823" y="23396"/>
                    <a:pt x="113823" y="23396"/>
                    <a:pt x="113823" y="23396"/>
                  </a:cubicBezTo>
                  <a:cubicBezTo>
                    <a:pt x="113823" y="23396"/>
                    <a:pt x="113823" y="26415"/>
                    <a:pt x="113823" y="27169"/>
                  </a:cubicBezTo>
                  <a:cubicBezTo>
                    <a:pt x="113823" y="27924"/>
                    <a:pt x="113823" y="32452"/>
                    <a:pt x="113823" y="32452"/>
                  </a:cubicBezTo>
                  <a:cubicBezTo>
                    <a:pt x="113823" y="32452"/>
                    <a:pt x="111176" y="36981"/>
                    <a:pt x="110294" y="36981"/>
                  </a:cubicBezTo>
                  <a:cubicBezTo>
                    <a:pt x="109411" y="37735"/>
                    <a:pt x="110294" y="40754"/>
                    <a:pt x="110294" y="40754"/>
                  </a:cubicBezTo>
                  <a:cubicBezTo>
                    <a:pt x="109411" y="44528"/>
                    <a:pt x="109411" y="44528"/>
                    <a:pt x="109411" y="44528"/>
                  </a:cubicBezTo>
                  <a:cubicBezTo>
                    <a:pt x="109411" y="44528"/>
                    <a:pt x="109411" y="47547"/>
                    <a:pt x="108529" y="46792"/>
                  </a:cubicBezTo>
                  <a:cubicBezTo>
                    <a:pt x="107647" y="46792"/>
                    <a:pt x="103235" y="45283"/>
                    <a:pt x="103235" y="45283"/>
                  </a:cubicBezTo>
                  <a:cubicBezTo>
                    <a:pt x="99705" y="46037"/>
                    <a:pt x="99705" y="46037"/>
                    <a:pt x="99705" y="46037"/>
                  </a:cubicBezTo>
                  <a:cubicBezTo>
                    <a:pt x="99705" y="48301"/>
                    <a:pt x="99705" y="48301"/>
                    <a:pt x="99705" y="48301"/>
                  </a:cubicBezTo>
                  <a:cubicBezTo>
                    <a:pt x="101470" y="49056"/>
                    <a:pt x="101470" y="49056"/>
                    <a:pt x="101470" y="49056"/>
                  </a:cubicBezTo>
                  <a:cubicBezTo>
                    <a:pt x="98823" y="49056"/>
                    <a:pt x="98823" y="49056"/>
                    <a:pt x="98823" y="49056"/>
                  </a:cubicBezTo>
                  <a:cubicBezTo>
                    <a:pt x="98823" y="50566"/>
                    <a:pt x="98823" y="50566"/>
                    <a:pt x="98823" y="50566"/>
                  </a:cubicBezTo>
                  <a:cubicBezTo>
                    <a:pt x="98823" y="50566"/>
                    <a:pt x="99705" y="52075"/>
                    <a:pt x="100588" y="52830"/>
                  </a:cubicBezTo>
                  <a:cubicBezTo>
                    <a:pt x="100588" y="53584"/>
                    <a:pt x="103235" y="53584"/>
                    <a:pt x="103235" y="53584"/>
                  </a:cubicBezTo>
                  <a:cubicBezTo>
                    <a:pt x="105000" y="55094"/>
                    <a:pt x="105000" y="55094"/>
                    <a:pt x="105000" y="55094"/>
                  </a:cubicBezTo>
                  <a:cubicBezTo>
                    <a:pt x="107647" y="54339"/>
                    <a:pt x="107647" y="54339"/>
                    <a:pt x="107647" y="54339"/>
                  </a:cubicBezTo>
                  <a:cubicBezTo>
                    <a:pt x="109411" y="57358"/>
                    <a:pt x="109411" y="57358"/>
                    <a:pt x="109411" y="57358"/>
                  </a:cubicBezTo>
                  <a:cubicBezTo>
                    <a:pt x="108529" y="58867"/>
                    <a:pt x="108529" y="58867"/>
                    <a:pt x="108529" y="58867"/>
                  </a:cubicBezTo>
                  <a:cubicBezTo>
                    <a:pt x="108529" y="58867"/>
                    <a:pt x="108529" y="60377"/>
                    <a:pt x="108529" y="61132"/>
                  </a:cubicBezTo>
                  <a:cubicBezTo>
                    <a:pt x="108529" y="61886"/>
                    <a:pt x="109411" y="62641"/>
                    <a:pt x="108529" y="62641"/>
                  </a:cubicBezTo>
                  <a:cubicBezTo>
                    <a:pt x="108529" y="62641"/>
                    <a:pt x="106764" y="63396"/>
                    <a:pt x="106764" y="63396"/>
                  </a:cubicBezTo>
                  <a:cubicBezTo>
                    <a:pt x="105882" y="64905"/>
                    <a:pt x="105882" y="64905"/>
                    <a:pt x="105882" y="64905"/>
                  </a:cubicBezTo>
                  <a:cubicBezTo>
                    <a:pt x="105882" y="64905"/>
                    <a:pt x="104117" y="65660"/>
                    <a:pt x="103235" y="65660"/>
                  </a:cubicBezTo>
                  <a:cubicBezTo>
                    <a:pt x="102352" y="66415"/>
                    <a:pt x="102352" y="66415"/>
                    <a:pt x="102352" y="67169"/>
                  </a:cubicBezTo>
                  <a:cubicBezTo>
                    <a:pt x="102352" y="67169"/>
                    <a:pt x="98823" y="66415"/>
                    <a:pt x="98823" y="66415"/>
                  </a:cubicBezTo>
                  <a:cubicBezTo>
                    <a:pt x="98823" y="68679"/>
                    <a:pt x="98823" y="68679"/>
                    <a:pt x="98823" y="68679"/>
                  </a:cubicBezTo>
                  <a:cubicBezTo>
                    <a:pt x="97058" y="68679"/>
                    <a:pt x="97058" y="68679"/>
                    <a:pt x="97058" y="68679"/>
                  </a:cubicBezTo>
                  <a:cubicBezTo>
                    <a:pt x="98823" y="70943"/>
                    <a:pt x="98823" y="70943"/>
                    <a:pt x="98823" y="70943"/>
                  </a:cubicBezTo>
                  <a:cubicBezTo>
                    <a:pt x="101470" y="72452"/>
                    <a:pt x="101470" y="72452"/>
                    <a:pt x="101470" y="72452"/>
                  </a:cubicBezTo>
                  <a:cubicBezTo>
                    <a:pt x="100588" y="73207"/>
                    <a:pt x="100588" y="73207"/>
                    <a:pt x="100588" y="73207"/>
                  </a:cubicBezTo>
                  <a:cubicBezTo>
                    <a:pt x="98823" y="73962"/>
                    <a:pt x="98823" y="73962"/>
                    <a:pt x="98823" y="73962"/>
                  </a:cubicBezTo>
                  <a:cubicBezTo>
                    <a:pt x="97941" y="75471"/>
                    <a:pt x="97941" y="75471"/>
                    <a:pt x="97941" y="75471"/>
                  </a:cubicBezTo>
                  <a:cubicBezTo>
                    <a:pt x="95294" y="75471"/>
                    <a:pt x="95294" y="75471"/>
                    <a:pt x="95294" y="75471"/>
                  </a:cubicBezTo>
                  <a:cubicBezTo>
                    <a:pt x="92647" y="76226"/>
                    <a:pt x="92647" y="76226"/>
                    <a:pt x="92647" y="76226"/>
                  </a:cubicBezTo>
                  <a:cubicBezTo>
                    <a:pt x="91764" y="76226"/>
                    <a:pt x="91764" y="76226"/>
                    <a:pt x="91764" y="76226"/>
                  </a:cubicBezTo>
                  <a:cubicBezTo>
                    <a:pt x="89117" y="76226"/>
                    <a:pt x="89117" y="76226"/>
                    <a:pt x="89117" y="76226"/>
                  </a:cubicBezTo>
                  <a:cubicBezTo>
                    <a:pt x="88235" y="77735"/>
                    <a:pt x="88235" y="77735"/>
                    <a:pt x="88235" y="77735"/>
                  </a:cubicBezTo>
                  <a:cubicBezTo>
                    <a:pt x="87352" y="76226"/>
                    <a:pt x="87352" y="76226"/>
                    <a:pt x="87352" y="76226"/>
                  </a:cubicBezTo>
                  <a:cubicBezTo>
                    <a:pt x="84705" y="75471"/>
                    <a:pt x="84705" y="75471"/>
                    <a:pt x="84705" y="75471"/>
                  </a:cubicBezTo>
                  <a:cubicBezTo>
                    <a:pt x="82941" y="73962"/>
                    <a:pt x="82941" y="73962"/>
                    <a:pt x="82941" y="73962"/>
                  </a:cubicBezTo>
                  <a:cubicBezTo>
                    <a:pt x="80294" y="74716"/>
                    <a:pt x="80294" y="74716"/>
                    <a:pt x="80294" y="74716"/>
                  </a:cubicBezTo>
                  <a:cubicBezTo>
                    <a:pt x="82941" y="76226"/>
                    <a:pt x="82941" y="76226"/>
                    <a:pt x="82941" y="76226"/>
                  </a:cubicBezTo>
                  <a:cubicBezTo>
                    <a:pt x="81176" y="76226"/>
                    <a:pt x="81176" y="76226"/>
                    <a:pt x="81176" y="76226"/>
                  </a:cubicBezTo>
                  <a:cubicBezTo>
                    <a:pt x="76764" y="75471"/>
                    <a:pt x="76764" y="75471"/>
                    <a:pt x="76764" y="75471"/>
                  </a:cubicBezTo>
                  <a:cubicBezTo>
                    <a:pt x="76764" y="77735"/>
                    <a:pt x="76764" y="77735"/>
                    <a:pt x="76764" y="77735"/>
                  </a:cubicBezTo>
                  <a:cubicBezTo>
                    <a:pt x="76764" y="79245"/>
                    <a:pt x="76764" y="79245"/>
                    <a:pt x="76764" y="79245"/>
                  </a:cubicBezTo>
                  <a:cubicBezTo>
                    <a:pt x="76764" y="79245"/>
                    <a:pt x="75882" y="80000"/>
                    <a:pt x="76764" y="80000"/>
                  </a:cubicBezTo>
                  <a:cubicBezTo>
                    <a:pt x="77647" y="80000"/>
                    <a:pt x="79411" y="81509"/>
                    <a:pt x="79411" y="81509"/>
                  </a:cubicBezTo>
                  <a:cubicBezTo>
                    <a:pt x="79411" y="83018"/>
                    <a:pt x="79411" y="83018"/>
                    <a:pt x="79411" y="83018"/>
                  </a:cubicBezTo>
                  <a:cubicBezTo>
                    <a:pt x="80294" y="84528"/>
                    <a:pt x="80294" y="84528"/>
                    <a:pt x="80294" y="84528"/>
                  </a:cubicBezTo>
                  <a:cubicBezTo>
                    <a:pt x="80294" y="85283"/>
                    <a:pt x="80294" y="85283"/>
                    <a:pt x="80294" y="85283"/>
                  </a:cubicBezTo>
                  <a:cubicBezTo>
                    <a:pt x="82058" y="87547"/>
                    <a:pt x="82058" y="87547"/>
                    <a:pt x="82058" y="87547"/>
                  </a:cubicBezTo>
                  <a:cubicBezTo>
                    <a:pt x="82058" y="89811"/>
                    <a:pt x="82058" y="89811"/>
                    <a:pt x="82058" y="89811"/>
                  </a:cubicBezTo>
                  <a:cubicBezTo>
                    <a:pt x="83823" y="92075"/>
                    <a:pt x="83823" y="92075"/>
                    <a:pt x="83823" y="92075"/>
                  </a:cubicBezTo>
                  <a:cubicBezTo>
                    <a:pt x="82941" y="94339"/>
                    <a:pt x="82941" y="94339"/>
                    <a:pt x="82941" y="94339"/>
                  </a:cubicBezTo>
                  <a:cubicBezTo>
                    <a:pt x="82941" y="94339"/>
                    <a:pt x="83823" y="95849"/>
                    <a:pt x="82941" y="96603"/>
                  </a:cubicBezTo>
                  <a:cubicBezTo>
                    <a:pt x="82941" y="96603"/>
                    <a:pt x="81176" y="98113"/>
                    <a:pt x="81176" y="98113"/>
                  </a:cubicBezTo>
                  <a:cubicBezTo>
                    <a:pt x="80294" y="99622"/>
                    <a:pt x="80294" y="99622"/>
                    <a:pt x="80294" y="99622"/>
                  </a:cubicBezTo>
                  <a:cubicBezTo>
                    <a:pt x="78529" y="100377"/>
                    <a:pt x="78529" y="100377"/>
                    <a:pt x="78529" y="100377"/>
                  </a:cubicBezTo>
                  <a:cubicBezTo>
                    <a:pt x="78529" y="101886"/>
                    <a:pt x="78529" y="101886"/>
                    <a:pt x="78529" y="101886"/>
                  </a:cubicBezTo>
                  <a:cubicBezTo>
                    <a:pt x="78529" y="101886"/>
                    <a:pt x="78529" y="104150"/>
                    <a:pt x="79411" y="104150"/>
                  </a:cubicBezTo>
                  <a:cubicBezTo>
                    <a:pt x="79411" y="104150"/>
                    <a:pt x="81176" y="102641"/>
                    <a:pt x="81176" y="102641"/>
                  </a:cubicBezTo>
                  <a:cubicBezTo>
                    <a:pt x="81176" y="102641"/>
                    <a:pt x="82941" y="104150"/>
                    <a:pt x="82058" y="104905"/>
                  </a:cubicBezTo>
                  <a:cubicBezTo>
                    <a:pt x="82058" y="104905"/>
                    <a:pt x="78529" y="104905"/>
                    <a:pt x="78529" y="104905"/>
                  </a:cubicBezTo>
                  <a:cubicBezTo>
                    <a:pt x="76764" y="104905"/>
                    <a:pt x="76764" y="104905"/>
                    <a:pt x="76764" y="104905"/>
                  </a:cubicBezTo>
                  <a:cubicBezTo>
                    <a:pt x="76764" y="104905"/>
                    <a:pt x="75882" y="106415"/>
                    <a:pt x="75000" y="106415"/>
                  </a:cubicBezTo>
                  <a:cubicBezTo>
                    <a:pt x="75000" y="107169"/>
                    <a:pt x="75000" y="107924"/>
                    <a:pt x="75000" y="107924"/>
                  </a:cubicBezTo>
                  <a:cubicBezTo>
                    <a:pt x="73235" y="106415"/>
                    <a:pt x="73235" y="106415"/>
                    <a:pt x="73235" y="106415"/>
                  </a:cubicBezTo>
                  <a:cubicBezTo>
                    <a:pt x="72352" y="107169"/>
                    <a:pt x="72352" y="107169"/>
                    <a:pt x="72352" y="107169"/>
                  </a:cubicBezTo>
                  <a:cubicBezTo>
                    <a:pt x="73235" y="108679"/>
                    <a:pt x="73235" y="108679"/>
                    <a:pt x="73235" y="108679"/>
                  </a:cubicBezTo>
                  <a:cubicBezTo>
                    <a:pt x="73235" y="110188"/>
                    <a:pt x="73235" y="110188"/>
                    <a:pt x="73235" y="110188"/>
                  </a:cubicBezTo>
                  <a:cubicBezTo>
                    <a:pt x="73235" y="110188"/>
                    <a:pt x="75000" y="110188"/>
                    <a:pt x="75000" y="110188"/>
                  </a:cubicBezTo>
                  <a:cubicBezTo>
                    <a:pt x="75000" y="110188"/>
                    <a:pt x="76764" y="110943"/>
                    <a:pt x="76764" y="110943"/>
                  </a:cubicBezTo>
                  <a:cubicBezTo>
                    <a:pt x="76764" y="110943"/>
                    <a:pt x="75882" y="111698"/>
                    <a:pt x="76764" y="111698"/>
                  </a:cubicBezTo>
                  <a:cubicBezTo>
                    <a:pt x="76764" y="112452"/>
                    <a:pt x="76764" y="112452"/>
                    <a:pt x="77647" y="112452"/>
                  </a:cubicBezTo>
                  <a:cubicBezTo>
                    <a:pt x="78529" y="113207"/>
                    <a:pt x="78529" y="113207"/>
                    <a:pt x="78529" y="113207"/>
                  </a:cubicBezTo>
                  <a:cubicBezTo>
                    <a:pt x="78529" y="113207"/>
                    <a:pt x="78529" y="114716"/>
                    <a:pt x="78529" y="115471"/>
                  </a:cubicBezTo>
                  <a:cubicBezTo>
                    <a:pt x="77647" y="115471"/>
                    <a:pt x="77647" y="116226"/>
                    <a:pt x="77647" y="116226"/>
                  </a:cubicBezTo>
                  <a:cubicBezTo>
                    <a:pt x="76764" y="116226"/>
                    <a:pt x="76764" y="116226"/>
                    <a:pt x="76764" y="116226"/>
                  </a:cubicBezTo>
                  <a:cubicBezTo>
                    <a:pt x="75882" y="116981"/>
                    <a:pt x="75882" y="117735"/>
                    <a:pt x="75882" y="117735"/>
                  </a:cubicBezTo>
                  <a:cubicBezTo>
                    <a:pt x="75882" y="117735"/>
                    <a:pt x="75000" y="117735"/>
                    <a:pt x="75000" y="117735"/>
                  </a:cubicBezTo>
                  <a:cubicBezTo>
                    <a:pt x="75000" y="118490"/>
                    <a:pt x="75882" y="119245"/>
                    <a:pt x="75882" y="120000"/>
                  </a:cubicBezTo>
                  <a:cubicBezTo>
                    <a:pt x="75882" y="120000"/>
                    <a:pt x="75882" y="120000"/>
                    <a:pt x="75000" y="120000"/>
                  </a:cubicBezTo>
                  <a:cubicBezTo>
                    <a:pt x="75000" y="120000"/>
                    <a:pt x="75000" y="120000"/>
                    <a:pt x="75000" y="120000"/>
                  </a:cubicBezTo>
                  <a:cubicBezTo>
                    <a:pt x="75000" y="120000"/>
                    <a:pt x="73235" y="118490"/>
                    <a:pt x="73235" y="118490"/>
                  </a:cubicBezTo>
                  <a:cubicBezTo>
                    <a:pt x="72352" y="118490"/>
                    <a:pt x="71470" y="119245"/>
                    <a:pt x="69705" y="119245"/>
                  </a:cubicBezTo>
                  <a:cubicBezTo>
                    <a:pt x="68823" y="118490"/>
                    <a:pt x="68823" y="118490"/>
                    <a:pt x="68823" y="118490"/>
                  </a:cubicBezTo>
                  <a:cubicBezTo>
                    <a:pt x="65294" y="119245"/>
                    <a:pt x="65294" y="119245"/>
                    <a:pt x="65294" y="119245"/>
                  </a:cubicBezTo>
                  <a:cubicBezTo>
                    <a:pt x="65294" y="117735"/>
                    <a:pt x="65294" y="117735"/>
                    <a:pt x="65294" y="117735"/>
                  </a:cubicBezTo>
                  <a:cubicBezTo>
                    <a:pt x="64411" y="116226"/>
                    <a:pt x="64411" y="116226"/>
                    <a:pt x="64411" y="116226"/>
                  </a:cubicBezTo>
                  <a:cubicBezTo>
                    <a:pt x="64411" y="116226"/>
                    <a:pt x="64411" y="114716"/>
                    <a:pt x="64411" y="113962"/>
                  </a:cubicBezTo>
                  <a:cubicBezTo>
                    <a:pt x="64411" y="113962"/>
                    <a:pt x="65294" y="113207"/>
                    <a:pt x="65294" y="113207"/>
                  </a:cubicBezTo>
                  <a:cubicBezTo>
                    <a:pt x="66176" y="113207"/>
                    <a:pt x="67058" y="111698"/>
                    <a:pt x="67058" y="111698"/>
                  </a:cubicBezTo>
                  <a:cubicBezTo>
                    <a:pt x="67058" y="111698"/>
                    <a:pt x="67941" y="110188"/>
                    <a:pt x="68823" y="109433"/>
                  </a:cubicBezTo>
                  <a:cubicBezTo>
                    <a:pt x="68823" y="109433"/>
                    <a:pt x="69705" y="107169"/>
                    <a:pt x="69705" y="107169"/>
                  </a:cubicBezTo>
                  <a:cubicBezTo>
                    <a:pt x="69705" y="106415"/>
                    <a:pt x="70588" y="105660"/>
                    <a:pt x="70588" y="105660"/>
                  </a:cubicBezTo>
                  <a:cubicBezTo>
                    <a:pt x="70588" y="105660"/>
                    <a:pt x="72352" y="104150"/>
                    <a:pt x="72352" y="103396"/>
                  </a:cubicBezTo>
                  <a:cubicBezTo>
                    <a:pt x="72352" y="102641"/>
                    <a:pt x="71470" y="102641"/>
                    <a:pt x="70588" y="102641"/>
                  </a:cubicBezTo>
                  <a:cubicBezTo>
                    <a:pt x="70588" y="102641"/>
                    <a:pt x="67941" y="101886"/>
                    <a:pt x="67058" y="101132"/>
                  </a:cubicBezTo>
                  <a:cubicBezTo>
                    <a:pt x="66176" y="101132"/>
                    <a:pt x="64411" y="100377"/>
                    <a:pt x="62647" y="100377"/>
                  </a:cubicBezTo>
                  <a:cubicBezTo>
                    <a:pt x="60882" y="99622"/>
                    <a:pt x="61764" y="99622"/>
                    <a:pt x="62647" y="98113"/>
                  </a:cubicBezTo>
                  <a:cubicBezTo>
                    <a:pt x="62647" y="97358"/>
                    <a:pt x="60882" y="97358"/>
                    <a:pt x="60882" y="96603"/>
                  </a:cubicBezTo>
                  <a:cubicBezTo>
                    <a:pt x="60882" y="96603"/>
                    <a:pt x="60000" y="97358"/>
                    <a:pt x="59117" y="98113"/>
                  </a:cubicBezTo>
                  <a:cubicBezTo>
                    <a:pt x="58235" y="98113"/>
                    <a:pt x="57352" y="97358"/>
                    <a:pt x="56470" y="97358"/>
                  </a:cubicBezTo>
                  <a:cubicBezTo>
                    <a:pt x="56470" y="97358"/>
                    <a:pt x="53823" y="97358"/>
                    <a:pt x="53823" y="97358"/>
                  </a:cubicBezTo>
                  <a:cubicBezTo>
                    <a:pt x="53823" y="97358"/>
                    <a:pt x="53823" y="96603"/>
                    <a:pt x="53823" y="95849"/>
                  </a:cubicBezTo>
                  <a:cubicBezTo>
                    <a:pt x="53823" y="95094"/>
                    <a:pt x="52941" y="95094"/>
                    <a:pt x="52941" y="95094"/>
                  </a:cubicBezTo>
                  <a:cubicBezTo>
                    <a:pt x="52941" y="95094"/>
                    <a:pt x="51176" y="95094"/>
                    <a:pt x="51176" y="94339"/>
                  </a:cubicBezTo>
                  <a:cubicBezTo>
                    <a:pt x="50294" y="94339"/>
                    <a:pt x="51176" y="94339"/>
                    <a:pt x="51176" y="93584"/>
                  </a:cubicBezTo>
                  <a:cubicBezTo>
                    <a:pt x="51176" y="92830"/>
                    <a:pt x="51176" y="93584"/>
                    <a:pt x="50294" y="93584"/>
                  </a:cubicBezTo>
                  <a:cubicBezTo>
                    <a:pt x="49411" y="93584"/>
                    <a:pt x="49411" y="91320"/>
                    <a:pt x="49411" y="91320"/>
                  </a:cubicBezTo>
                  <a:cubicBezTo>
                    <a:pt x="49411" y="91320"/>
                    <a:pt x="48529" y="89811"/>
                    <a:pt x="48529" y="89056"/>
                  </a:cubicBezTo>
                  <a:cubicBezTo>
                    <a:pt x="47647" y="87547"/>
                    <a:pt x="47647" y="89056"/>
                    <a:pt x="47647" y="89056"/>
                  </a:cubicBezTo>
                  <a:cubicBezTo>
                    <a:pt x="45882" y="91320"/>
                    <a:pt x="45882" y="91320"/>
                    <a:pt x="45882" y="91320"/>
                  </a:cubicBezTo>
                  <a:cubicBezTo>
                    <a:pt x="45882" y="91320"/>
                    <a:pt x="45000" y="91320"/>
                    <a:pt x="42352" y="90566"/>
                  </a:cubicBezTo>
                  <a:cubicBezTo>
                    <a:pt x="40588" y="89811"/>
                    <a:pt x="41470" y="89811"/>
                    <a:pt x="41470" y="89811"/>
                  </a:cubicBezTo>
                  <a:cubicBezTo>
                    <a:pt x="43235" y="88301"/>
                    <a:pt x="43235" y="88301"/>
                    <a:pt x="43235" y="88301"/>
                  </a:cubicBezTo>
                  <a:cubicBezTo>
                    <a:pt x="43235" y="88301"/>
                    <a:pt x="41470" y="87547"/>
                    <a:pt x="40588" y="87547"/>
                  </a:cubicBezTo>
                  <a:cubicBezTo>
                    <a:pt x="39705" y="86792"/>
                    <a:pt x="39705" y="86792"/>
                    <a:pt x="38823" y="88301"/>
                  </a:cubicBezTo>
                  <a:cubicBezTo>
                    <a:pt x="37941" y="89056"/>
                    <a:pt x="37941" y="89056"/>
                    <a:pt x="37058" y="89811"/>
                  </a:cubicBezTo>
                  <a:cubicBezTo>
                    <a:pt x="36176" y="90566"/>
                    <a:pt x="36176" y="90566"/>
                    <a:pt x="34411" y="90566"/>
                  </a:cubicBezTo>
                  <a:cubicBezTo>
                    <a:pt x="33529" y="90566"/>
                    <a:pt x="33529" y="89811"/>
                    <a:pt x="32647" y="89811"/>
                  </a:cubicBezTo>
                  <a:cubicBezTo>
                    <a:pt x="32647" y="89056"/>
                    <a:pt x="32647" y="89056"/>
                    <a:pt x="31764" y="88301"/>
                  </a:cubicBezTo>
                  <a:cubicBezTo>
                    <a:pt x="31764" y="87547"/>
                    <a:pt x="30882" y="87547"/>
                    <a:pt x="30882" y="87547"/>
                  </a:cubicBezTo>
                  <a:cubicBezTo>
                    <a:pt x="30882" y="87547"/>
                    <a:pt x="29117" y="88301"/>
                    <a:pt x="29117" y="89056"/>
                  </a:cubicBezTo>
                  <a:cubicBezTo>
                    <a:pt x="28235" y="89056"/>
                    <a:pt x="29117" y="89811"/>
                    <a:pt x="29117" y="90566"/>
                  </a:cubicBezTo>
                  <a:cubicBezTo>
                    <a:pt x="30000" y="91320"/>
                    <a:pt x="29117" y="92075"/>
                    <a:pt x="29117" y="92075"/>
                  </a:cubicBezTo>
                  <a:cubicBezTo>
                    <a:pt x="29117" y="92075"/>
                    <a:pt x="27352" y="92075"/>
                    <a:pt x="26470" y="92075"/>
                  </a:cubicBezTo>
                  <a:cubicBezTo>
                    <a:pt x="25588" y="92075"/>
                    <a:pt x="24705" y="92075"/>
                    <a:pt x="23823" y="91320"/>
                  </a:cubicBezTo>
                  <a:cubicBezTo>
                    <a:pt x="22058" y="90566"/>
                    <a:pt x="22941" y="92075"/>
                    <a:pt x="22941" y="92830"/>
                  </a:cubicBezTo>
                  <a:cubicBezTo>
                    <a:pt x="22941" y="92830"/>
                    <a:pt x="21176" y="94339"/>
                    <a:pt x="21176" y="94339"/>
                  </a:cubicBezTo>
                  <a:cubicBezTo>
                    <a:pt x="21176" y="94339"/>
                    <a:pt x="21176" y="94339"/>
                    <a:pt x="21176" y="94339"/>
                  </a:cubicBezTo>
                  <a:cubicBezTo>
                    <a:pt x="19411" y="94339"/>
                    <a:pt x="17647" y="93584"/>
                    <a:pt x="17647" y="93584"/>
                  </a:cubicBezTo>
                  <a:cubicBezTo>
                    <a:pt x="16764" y="94339"/>
                    <a:pt x="16764" y="94339"/>
                    <a:pt x="16764" y="94339"/>
                  </a:cubicBezTo>
                  <a:cubicBezTo>
                    <a:pt x="14117" y="93584"/>
                    <a:pt x="14117" y="93584"/>
                    <a:pt x="14117" y="93584"/>
                  </a:cubicBezTo>
                  <a:cubicBezTo>
                    <a:pt x="13235" y="93584"/>
                    <a:pt x="13235" y="93584"/>
                    <a:pt x="13235" y="93584"/>
                  </a:cubicBezTo>
                  <a:cubicBezTo>
                    <a:pt x="12352" y="91320"/>
                    <a:pt x="12352" y="91320"/>
                    <a:pt x="12352" y="91320"/>
                  </a:cubicBezTo>
                  <a:cubicBezTo>
                    <a:pt x="11470" y="91320"/>
                    <a:pt x="11470" y="91320"/>
                    <a:pt x="11470" y="91320"/>
                  </a:cubicBezTo>
                  <a:cubicBezTo>
                    <a:pt x="7941" y="89811"/>
                    <a:pt x="7941" y="89811"/>
                    <a:pt x="7941" y="89811"/>
                  </a:cubicBezTo>
                  <a:cubicBezTo>
                    <a:pt x="7058" y="89056"/>
                    <a:pt x="7058" y="89056"/>
                    <a:pt x="7058" y="89056"/>
                  </a:cubicBezTo>
                  <a:cubicBezTo>
                    <a:pt x="5294" y="89811"/>
                    <a:pt x="5294" y="89811"/>
                    <a:pt x="5294" y="89811"/>
                  </a:cubicBezTo>
                  <a:cubicBezTo>
                    <a:pt x="4411" y="90566"/>
                    <a:pt x="4411" y="90566"/>
                    <a:pt x="4411" y="90566"/>
                  </a:cubicBezTo>
                  <a:cubicBezTo>
                    <a:pt x="4411" y="90566"/>
                    <a:pt x="2647" y="91320"/>
                    <a:pt x="1764" y="91320"/>
                  </a:cubicBezTo>
                  <a:cubicBezTo>
                    <a:pt x="1764" y="90566"/>
                    <a:pt x="0" y="87547"/>
                    <a:pt x="0" y="87547"/>
                  </a:cubicBezTo>
                  <a:cubicBezTo>
                    <a:pt x="882" y="85283"/>
                    <a:pt x="882" y="85283"/>
                    <a:pt x="882" y="85283"/>
                  </a:cubicBezTo>
                  <a:cubicBezTo>
                    <a:pt x="882" y="85283"/>
                    <a:pt x="3529" y="84528"/>
                    <a:pt x="3529" y="84528"/>
                  </a:cubicBezTo>
                  <a:cubicBezTo>
                    <a:pt x="3529" y="84528"/>
                    <a:pt x="5294" y="84528"/>
                    <a:pt x="5294" y="84528"/>
                  </a:cubicBezTo>
                  <a:cubicBezTo>
                    <a:pt x="5294" y="84528"/>
                    <a:pt x="6176" y="84528"/>
                    <a:pt x="6176" y="85283"/>
                  </a:cubicBezTo>
                  <a:cubicBezTo>
                    <a:pt x="7058" y="85283"/>
                    <a:pt x="8823" y="86792"/>
                    <a:pt x="9705" y="86792"/>
                  </a:cubicBezTo>
                  <a:cubicBezTo>
                    <a:pt x="9705" y="86792"/>
                    <a:pt x="11470" y="87547"/>
                    <a:pt x="11470" y="87547"/>
                  </a:cubicBezTo>
                  <a:cubicBezTo>
                    <a:pt x="12352" y="87547"/>
                    <a:pt x="14117" y="88301"/>
                    <a:pt x="14117" y="88301"/>
                  </a:cubicBezTo>
                  <a:cubicBezTo>
                    <a:pt x="14117" y="88301"/>
                    <a:pt x="15882" y="88301"/>
                    <a:pt x="15882" y="88301"/>
                  </a:cubicBezTo>
                  <a:cubicBezTo>
                    <a:pt x="15882" y="88301"/>
                    <a:pt x="17647" y="87547"/>
                    <a:pt x="17647" y="87547"/>
                  </a:cubicBezTo>
                  <a:cubicBezTo>
                    <a:pt x="17647" y="87547"/>
                    <a:pt x="17647" y="87547"/>
                    <a:pt x="17647" y="87547"/>
                  </a:cubicBezTo>
                  <a:cubicBezTo>
                    <a:pt x="18529" y="86792"/>
                    <a:pt x="18529" y="86037"/>
                    <a:pt x="18529" y="86037"/>
                  </a:cubicBezTo>
                  <a:cubicBezTo>
                    <a:pt x="18529" y="86037"/>
                    <a:pt x="19411" y="86037"/>
                    <a:pt x="19411" y="86037"/>
                  </a:cubicBezTo>
                  <a:cubicBezTo>
                    <a:pt x="19411" y="86792"/>
                    <a:pt x="20294" y="87547"/>
                    <a:pt x="20294" y="87547"/>
                  </a:cubicBezTo>
                  <a:cubicBezTo>
                    <a:pt x="20294" y="87547"/>
                    <a:pt x="21176" y="88301"/>
                    <a:pt x="21176" y="88301"/>
                  </a:cubicBezTo>
                  <a:cubicBezTo>
                    <a:pt x="22058" y="89056"/>
                    <a:pt x="22941" y="89056"/>
                    <a:pt x="22941" y="89056"/>
                  </a:cubicBezTo>
                  <a:cubicBezTo>
                    <a:pt x="22941" y="89056"/>
                    <a:pt x="23823" y="88301"/>
                    <a:pt x="23823" y="88301"/>
                  </a:cubicBezTo>
                  <a:cubicBezTo>
                    <a:pt x="23823" y="88301"/>
                    <a:pt x="24705" y="89056"/>
                    <a:pt x="24705" y="88301"/>
                  </a:cubicBezTo>
                  <a:cubicBezTo>
                    <a:pt x="24705" y="88301"/>
                    <a:pt x="25588" y="88301"/>
                    <a:pt x="25588" y="88301"/>
                  </a:cubicBezTo>
                  <a:cubicBezTo>
                    <a:pt x="25588" y="88301"/>
                    <a:pt x="26470" y="87547"/>
                    <a:pt x="25588" y="87547"/>
                  </a:cubicBezTo>
                  <a:cubicBezTo>
                    <a:pt x="25588" y="87547"/>
                    <a:pt x="25588" y="86792"/>
                    <a:pt x="25588" y="87547"/>
                  </a:cubicBezTo>
                  <a:cubicBezTo>
                    <a:pt x="24705" y="87547"/>
                    <a:pt x="24705" y="87547"/>
                    <a:pt x="23823" y="87547"/>
                  </a:cubicBezTo>
                  <a:cubicBezTo>
                    <a:pt x="22941" y="87547"/>
                    <a:pt x="21176" y="86792"/>
                    <a:pt x="21176" y="86792"/>
                  </a:cubicBezTo>
                  <a:cubicBezTo>
                    <a:pt x="21176" y="86037"/>
                    <a:pt x="20294" y="86037"/>
                    <a:pt x="20294" y="85283"/>
                  </a:cubicBezTo>
                  <a:cubicBezTo>
                    <a:pt x="19411" y="85283"/>
                    <a:pt x="19411" y="84528"/>
                    <a:pt x="18529" y="84528"/>
                  </a:cubicBezTo>
                  <a:cubicBezTo>
                    <a:pt x="17647" y="84528"/>
                    <a:pt x="17647" y="84528"/>
                    <a:pt x="17647" y="84528"/>
                  </a:cubicBezTo>
                  <a:cubicBezTo>
                    <a:pt x="17647" y="84528"/>
                    <a:pt x="16764" y="85283"/>
                    <a:pt x="16764" y="86037"/>
                  </a:cubicBezTo>
                  <a:cubicBezTo>
                    <a:pt x="16764" y="86037"/>
                    <a:pt x="17647" y="86792"/>
                    <a:pt x="15882" y="86037"/>
                  </a:cubicBezTo>
                  <a:cubicBezTo>
                    <a:pt x="14117" y="86037"/>
                    <a:pt x="12352" y="86037"/>
                    <a:pt x="12352" y="86037"/>
                  </a:cubicBezTo>
                  <a:cubicBezTo>
                    <a:pt x="9705" y="83773"/>
                    <a:pt x="9705" y="83773"/>
                    <a:pt x="9705" y="83773"/>
                  </a:cubicBezTo>
                  <a:cubicBezTo>
                    <a:pt x="9705" y="83773"/>
                    <a:pt x="8823" y="83773"/>
                    <a:pt x="7941" y="83773"/>
                  </a:cubicBezTo>
                  <a:cubicBezTo>
                    <a:pt x="7941" y="83773"/>
                    <a:pt x="6176" y="83018"/>
                    <a:pt x="6176" y="82264"/>
                  </a:cubicBezTo>
                  <a:cubicBezTo>
                    <a:pt x="6176" y="82264"/>
                    <a:pt x="5294" y="81509"/>
                    <a:pt x="5294" y="80754"/>
                  </a:cubicBezTo>
                  <a:cubicBezTo>
                    <a:pt x="5294" y="80754"/>
                    <a:pt x="4411" y="80754"/>
                    <a:pt x="4411" y="80000"/>
                  </a:cubicBezTo>
                  <a:cubicBezTo>
                    <a:pt x="4411" y="80000"/>
                    <a:pt x="3529" y="79245"/>
                    <a:pt x="3529" y="79245"/>
                  </a:cubicBezTo>
                  <a:cubicBezTo>
                    <a:pt x="3529" y="79245"/>
                    <a:pt x="3529" y="78490"/>
                    <a:pt x="4411" y="77735"/>
                  </a:cubicBezTo>
                  <a:cubicBezTo>
                    <a:pt x="6176" y="77735"/>
                    <a:pt x="6176" y="77735"/>
                    <a:pt x="7058" y="77735"/>
                  </a:cubicBezTo>
                  <a:cubicBezTo>
                    <a:pt x="7941" y="77735"/>
                    <a:pt x="7058" y="77735"/>
                    <a:pt x="8823" y="77735"/>
                  </a:cubicBezTo>
                  <a:cubicBezTo>
                    <a:pt x="10588" y="77735"/>
                    <a:pt x="9705" y="77735"/>
                    <a:pt x="10588" y="77735"/>
                  </a:cubicBezTo>
                  <a:cubicBezTo>
                    <a:pt x="11470" y="77735"/>
                    <a:pt x="13235" y="77735"/>
                    <a:pt x="13235" y="77735"/>
                  </a:cubicBezTo>
                  <a:cubicBezTo>
                    <a:pt x="13235" y="77735"/>
                    <a:pt x="11470" y="76981"/>
                    <a:pt x="14117" y="77735"/>
                  </a:cubicBezTo>
                  <a:cubicBezTo>
                    <a:pt x="14117" y="77735"/>
                    <a:pt x="17647" y="78490"/>
                    <a:pt x="16764" y="80000"/>
                  </a:cubicBezTo>
                  <a:cubicBezTo>
                    <a:pt x="16764" y="80000"/>
                    <a:pt x="15882" y="80754"/>
                    <a:pt x="15882" y="80754"/>
                  </a:cubicBezTo>
                  <a:cubicBezTo>
                    <a:pt x="15882" y="80754"/>
                    <a:pt x="17647" y="81509"/>
                    <a:pt x="17647" y="81509"/>
                  </a:cubicBezTo>
                  <a:cubicBezTo>
                    <a:pt x="17647" y="81509"/>
                    <a:pt x="18529" y="80754"/>
                    <a:pt x="18529" y="80754"/>
                  </a:cubicBezTo>
                  <a:cubicBezTo>
                    <a:pt x="19411" y="81509"/>
                    <a:pt x="19411" y="81509"/>
                    <a:pt x="19411" y="81509"/>
                  </a:cubicBezTo>
                  <a:cubicBezTo>
                    <a:pt x="21176" y="83018"/>
                    <a:pt x="21176" y="83018"/>
                    <a:pt x="21176" y="83018"/>
                  </a:cubicBezTo>
                  <a:cubicBezTo>
                    <a:pt x="21176" y="83018"/>
                    <a:pt x="22941" y="83018"/>
                    <a:pt x="22941" y="83018"/>
                  </a:cubicBezTo>
                  <a:cubicBezTo>
                    <a:pt x="22058" y="83773"/>
                    <a:pt x="21176" y="82264"/>
                    <a:pt x="22058" y="83773"/>
                  </a:cubicBezTo>
                  <a:cubicBezTo>
                    <a:pt x="22941" y="85283"/>
                    <a:pt x="23823" y="86037"/>
                    <a:pt x="23823" y="86037"/>
                  </a:cubicBezTo>
                  <a:cubicBezTo>
                    <a:pt x="24705" y="86037"/>
                    <a:pt x="24705" y="86037"/>
                    <a:pt x="24705" y="86037"/>
                  </a:cubicBezTo>
                  <a:cubicBezTo>
                    <a:pt x="24705" y="86037"/>
                    <a:pt x="24705" y="85283"/>
                    <a:pt x="25588" y="85283"/>
                  </a:cubicBezTo>
                  <a:cubicBezTo>
                    <a:pt x="25588" y="86037"/>
                    <a:pt x="27352" y="86037"/>
                    <a:pt x="28235" y="86037"/>
                  </a:cubicBezTo>
                  <a:cubicBezTo>
                    <a:pt x="28235" y="86037"/>
                    <a:pt x="28235" y="85283"/>
                    <a:pt x="27352" y="83773"/>
                  </a:cubicBezTo>
                  <a:cubicBezTo>
                    <a:pt x="26470" y="83018"/>
                    <a:pt x="25588" y="82264"/>
                    <a:pt x="25588" y="82264"/>
                  </a:cubicBezTo>
                  <a:cubicBezTo>
                    <a:pt x="24705" y="82264"/>
                    <a:pt x="25588" y="83018"/>
                    <a:pt x="23823" y="82264"/>
                  </a:cubicBezTo>
                  <a:cubicBezTo>
                    <a:pt x="22058" y="81509"/>
                    <a:pt x="22058" y="82264"/>
                    <a:pt x="21176" y="81509"/>
                  </a:cubicBezTo>
                  <a:cubicBezTo>
                    <a:pt x="20294" y="80000"/>
                    <a:pt x="19411" y="80000"/>
                    <a:pt x="19411" y="79245"/>
                  </a:cubicBezTo>
                  <a:cubicBezTo>
                    <a:pt x="19411" y="79245"/>
                    <a:pt x="20294" y="79245"/>
                    <a:pt x="21176" y="78490"/>
                  </a:cubicBezTo>
                  <a:cubicBezTo>
                    <a:pt x="22058" y="78490"/>
                    <a:pt x="20294" y="77735"/>
                    <a:pt x="22058" y="78490"/>
                  </a:cubicBezTo>
                  <a:cubicBezTo>
                    <a:pt x="24705" y="79245"/>
                    <a:pt x="24705" y="79245"/>
                    <a:pt x="25588" y="79245"/>
                  </a:cubicBezTo>
                  <a:cubicBezTo>
                    <a:pt x="25588" y="79245"/>
                    <a:pt x="27352" y="79245"/>
                    <a:pt x="25588" y="78490"/>
                  </a:cubicBezTo>
                  <a:cubicBezTo>
                    <a:pt x="23823" y="78490"/>
                    <a:pt x="22941" y="77735"/>
                    <a:pt x="22941" y="77735"/>
                  </a:cubicBezTo>
                  <a:cubicBezTo>
                    <a:pt x="21176" y="77735"/>
                    <a:pt x="21176" y="77735"/>
                    <a:pt x="21176" y="77735"/>
                  </a:cubicBezTo>
                  <a:cubicBezTo>
                    <a:pt x="21176" y="77735"/>
                    <a:pt x="21176" y="77735"/>
                    <a:pt x="20294" y="77735"/>
                  </a:cubicBezTo>
                  <a:cubicBezTo>
                    <a:pt x="19411" y="77735"/>
                    <a:pt x="19411" y="78490"/>
                    <a:pt x="19411" y="77735"/>
                  </a:cubicBezTo>
                  <a:cubicBezTo>
                    <a:pt x="18529" y="77735"/>
                    <a:pt x="17647" y="77735"/>
                    <a:pt x="17647" y="76981"/>
                  </a:cubicBezTo>
                  <a:cubicBezTo>
                    <a:pt x="16764" y="76981"/>
                    <a:pt x="15882" y="76226"/>
                    <a:pt x="15882" y="76226"/>
                  </a:cubicBezTo>
                  <a:cubicBezTo>
                    <a:pt x="15882" y="75471"/>
                    <a:pt x="15000" y="74716"/>
                    <a:pt x="15000" y="74716"/>
                  </a:cubicBezTo>
                  <a:cubicBezTo>
                    <a:pt x="15000" y="74716"/>
                    <a:pt x="15000" y="74716"/>
                    <a:pt x="15000" y="74716"/>
                  </a:cubicBezTo>
                  <a:cubicBezTo>
                    <a:pt x="14117" y="74716"/>
                    <a:pt x="13235" y="74716"/>
                    <a:pt x="12352" y="74716"/>
                  </a:cubicBezTo>
                  <a:cubicBezTo>
                    <a:pt x="12352" y="74716"/>
                    <a:pt x="11470" y="74716"/>
                    <a:pt x="11470" y="74716"/>
                  </a:cubicBezTo>
                  <a:cubicBezTo>
                    <a:pt x="11470" y="73962"/>
                    <a:pt x="11470" y="73962"/>
                    <a:pt x="11470" y="73207"/>
                  </a:cubicBezTo>
                  <a:cubicBezTo>
                    <a:pt x="11470" y="73207"/>
                    <a:pt x="11470" y="72452"/>
                    <a:pt x="12352" y="72452"/>
                  </a:cubicBezTo>
                  <a:cubicBezTo>
                    <a:pt x="13235" y="72452"/>
                    <a:pt x="14117" y="72452"/>
                    <a:pt x="15000" y="72452"/>
                  </a:cubicBezTo>
                  <a:cubicBezTo>
                    <a:pt x="15882" y="72452"/>
                    <a:pt x="16764" y="72452"/>
                    <a:pt x="17647" y="72452"/>
                  </a:cubicBezTo>
                  <a:cubicBezTo>
                    <a:pt x="17647" y="72452"/>
                    <a:pt x="18529" y="73207"/>
                    <a:pt x="18529" y="73207"/>
                  </a:cubicBezTo>
                  <a:cubicBezTo>
                    <a:pt x="19411" y="73962"/>
                    <a:pt x="20294" y="73962"/>
                    <a:pt x="20294" y="73962"/>
                  </a:cubicBezTo>
                  <a:cubicBezTo>
                    <a:pt x="20294" y="74716"/>
                    <a:pt x="20294" y="74716"/>
                    <a:pt x="21176" y="74716"/>
                  </a:cubicBezTo>
                  <a:cubicBezTo>
                    <a:pt x="21176" y="75471"/>
                    <a:pt x="22058" y="75471"/>
                    <a:pt x="22058" y="75471"/>
                  </a:cubicBezTo>
                  <a:cubicBezTo>
                    <a:pt x="22941" y="76981"/>
                    <a:pt x="22941" y="76981"/>
                    <a:pt x="22941" y="76981"/>
                  </a:cubicBezTo>
                  <a:cubicBezTo>
                    <a:pt x="22941" y="76981"/>
                    <a:pt x="22941" y="76981"/>
                    <a:pt x="22941" y="76981"/>
                  </a:cubicBezTo>
                  <a:cubicBezTo>
                    <a:pt x="24705" y="77735"/>
                    <a:pt x="24705" y="77735"/>
                    <a:pt x="24705" y="77735"/>
                  </a:cubicBezTo>
                  <a:cubicBezTo>
                    <a:pt x="24705" y="77735"/>
                    <a:pt x="27352" y="78490"/>
                    <a:pt x="27352" y="78490"/>
                  </a:cubicBezTo>
                  <a:cubicBezTo>
                    <a:pt x="27352" y="78490"/>
                    <a:pt x="27352" y="78490"/>
                    <a:pt x="28235" y="78490"/>
                  </a:cubicBezTo>
                  <a:cubicBezTo>
                    <a:pt x="29117" y="78490"/>
                    <a:pt x="29117" y="77735"/>
                    <a:pt x="29117" y="77735"/>
                  </a:cubicBezTo>
                  <a:cubicBezTo>
                    <a:pt x="29117" y="77735"/>
                    <a:pt x="30000" y="77735"/>
                    <a:pt x="30000" y="77735"/>
                  </a:cubicBezTo>
                  <a:cubicBezTo>
                    <a:pt x="30000" y="77735"/>
                    <a:pt x="32647" y="76226"/>
                    <a:pt x="32647" y="76226"/>
                  </a:cubicBezTo>
                  <a:cubicBezTo>
                    <a:pt x="32647" y="76981"/>
                    <a:pt x="33529" y="76981"/>
                    <a:pt x="34411" y="76981"/>
                  </a:cubicBezTo>
                  <a:cubicBezTo>
                    <a:pt x="34411" y="76981"/>
                    <a:pt x="37058" y="78490"/>
                    <a:pt x="37058" y="78490"/>
                  </a:cubicBezTo>
                  <a:cubicBezTo>
                    <a:pt x="37058" y="77735"/>
                    <a:pt x="37058" y="76981"/>
                    <a:pt x="37058" y="76981"/>
                  </a:cubicBezTo>
                  <a:cubicBezTo>
                    <a:pt x="37058" y="76981"/>
                    <a:pt x="37941" y="76226"/>
                    <a:pt x="37941" y="76226"/>
                  </a:cubicBezTo>
                  <a:cubicBezTo>
                    <a:pt x="41470" y="76226"/>
                    <a:pt x="41470" y="76226"/>
                    <a:pt x="41470" y="76226"/>
                  </a:cubicBezTo>
                  <a:cubicBezTo>
                    <a:pt x="41470" y="76226"/>
                    <a:pt x="42352" y="75471"/>
                    <a:pt x="42352" y="75471"/>
                  </a:cubicBezTo>
                  <a:cubicBezTo>
                    <a:pt x="41470" y="75471"/>
                    <a:pt x="40588" y="75471"/>
                    <a:pt x="40588" y="75471"/>
                  </a:cubicBezTo>
                  <a:cubicBezTo>
                    <a:pt x="38823" y="76226"/>
                    <a:pt x="38823" y="76226"/>
                    <a:pt x="38823" y="76226"/>
                  </a:cubicBezTo>
                  <a:cubicBezTo>
                    <a:pt x="37058" y="76226"/>
                    <a:pt x="37058" y="76226"/>
                    <a:pt x="37058" y="76226"/>
                  </a:cubicBezTo>
                  <a:cubicBezTo>
                    <a:pt x="37058" y="76226"/>
                    <a:pt x="36176" y="76981"/>
                    <a:pt x="36176" y="76981"/>
                  </a:cubicBezTo>
                  <a:cubicBezTo>
                    <a:pt x="35294" y="76981"/>
                    <a:pt x="34411" y="76226"/>
                    <a:pt x="34411" y="76226"/>
                  </a:cubicBezTo>
                  <a:cubicBezTo>
                    <a:pt x="33529" y="75471"/>
                    <a:pt x="31764" y="74716"/>
                    <a:pt x="31764" y="74716"/>
                  </a:cubicBezTo>
                  <a:cubicBezTo>
                    <a:pt x="30882" y="74716"/>
                    <a:pt x="31764" y="74716"/>
                    <a:pt x="30000" y="73962"/>
                  </a:cubicBezTo>
                  <a:cubicBezTo>
                    <a:pt x="28235" y="73207"/>
                    <a:pt x="27352" y="72452"/>
                    <a:pt x="27352" y="72452"/>
                  </a:cubicBezTo>
                  <a:cubicBezTo>
                    <a:pt x="26470" y="71698"/>
                    <a:pt x="26470" y="71698"/>
                    <a:pt x="26470" y="71698"/>
                  </a:cubicBezTo>
                  <a:cubicBezTo>
                    <a:pt x="26470" y="71698"/>
                    <a:pt x="26470" y="70943"/>
                    <a:pt x="25588" y="70943"/>
                  </a:cubicBezTo>
                  <a:cubicBezTo>
                    <a:pt x="24705" y="70188"/>
                    <a:pt x="22058" y="69433"/>
                    <a:pt x="22058" y="69433"/>
                  </a:cubicBezTo>
                  <a:cubicBezTo>
                    <a:pt x="22058" y="69433"/>
                    <a:pt x="22058" y="68679"/>
                    <a:pt x="22058" y="68679"/>
                  </a:cubicBezTo>
                  <a:cubicBezTo>
                    <a:pt x="22058" y="68679"/>
                    <a:pt x="22058" y="66415"/>
                    <a:pt x="22058" y="66415"/>
                  </a:cubicBezTo>
                  <a:cubicBezTo>
                    <a:pt x="22058" y="65660"/>
                    <a:pt x="21176" y="64150"/>
                    <a:pt x="21176" y="64150"/>
                  </a:cubicBezTo>
                  <a:cubicBezTo>
                    <a:pt x="21176" y="64150"/>
                    <a:pt x="22941" y="63396"/>
                    <a:pt x="22941" y="63396"/>
                  </a:cubicBezTo>
                  <a:cubicBezTo>
                    <a:pt x="23823" y="63396"/>
                    <a:pt x="24705" y="64150"/>
                    <a:pt x="24705" y="64150"/>
                  </a:cubicBezTo>
                  <a:cubicBezTo>
                    <a:pt x="25588" y="63396"/>
                    <a:pt x="25588" y="63396"/>
                    <a:pt x="25588" y="63396"/>
                  </a:cubicBezTo>
                  <a:cubicBezTo>
                    <a:pt x="32647" y="55094"/>
                    <a:pt x="32647" y="55094"/>
                    <a:pt x="32647" y="55094"/>
                  </a:cubicBezTo>
                  <a:cubicBezTo>
                    <a:pt x="38823" y="47547"/>
                    <a:pt x="38823" y="47547"/>
                    <a:pt x="38823" y="47547"/>
                  </a:cubicBezTo>
                  <a:cubicBezTo>
                    <a:pt x="41470" y="36226"/>
                    <a:pt x="41470" y="36226"/>
                    <a:pt x="41470" y="36226"/>
                  </a:cubicBezTo>
                  <a:cubicBezTo>
                    <a:pt x="43235" y="30943"/>
                    <a:pt x="43235" y="30943"/>
                    <a:pt x="43235" y="30943"/>
                  </a:cubicBezTo>
                  <a:cubicBezTo>
                    <a:pt x="45000" y="26415"/>
                    <a:pt x="45000" y="26415"/>
                    <a:pt x="45000" y="26415"/>
                  </a:cubicBezTo>
                  <a:cubicBezTo>
                    <a:pt x="45000" y="26415"/>
                    <a:pt x="45000" y="25660"/>
                    <a:pt x="45882" y="26415"/>
                  </a:cubicBezTo>
                  <a:cubicBezTo>
                    <a:pt x="45882" y="26415"/>
                    <a:pt x="46764" y="27924"/>
                    <a:pt x="46764" y="27924"/>
                  </a:cubicBezTo>
                  <a:cubicBezTo>
                    <a:pt x="47647" y="28679"/>
                    <a:pt x="47647" y="28679"/>
                    <a:pt x="47647" y="28679"/>
                  </a:cubicBezTo>
                  <a:cubicBezTo>
                    <a:pt x="48529" y="28679"/>
                    <a:pt x="48529" y="28679"/>
                    <a:pt x="48529" y="28679"/>
                  </a:cubicBezTo>
                  <a:cubicBezTo>
                    <a:pt x="48529" y="28679"/>
                    <a:pt x="50294" y="27924"/>
                    <a:pt x="51176" y="27924"/>
                  </a:cubicBezTo>
                  <a:cubicBezTo>
                    <a:pt x="51176" y="27924"/>
                    <a:pt x="54705" y="29433"/>
                    <a:pt x="54705" y="29433"/>
                  </a:cubicBezTo>
                  <a:cubicBezTo>
                    <a:pt x="54705" y="29433"/>
                    <a:pt x="54705" y="30943"/>
                    <a:pt x="54705" y="31698"/>
                  </a:cubicBezTo>
                  <a:cubicBezTo>
                    <a:pt x="54705" y="31698"/>
                    <a:pt x="56470" y="33207"/>
                    <a:pt x="55588" y="33962"/>
                  </a:cubicBezTo>
                  <a:cubicBezTo>
                    <a:pt x="55588" y="33962"/>
                    <a:pt x="54705" y="35471"/>
                    <a:pt x="54705" y="35471"/>
                  </a:cubicBezTo>
                  <a:cubicBezTo>
                    <a:pt x="54705" y="35471"/>
                    <a:pt x="55588" y="36226"/>
                    <a:pt x="55588" y="36226"/>
                  </a:cubicBezTo>
                  <a:cubicBezTo>
                    <a:pt x="56470" y="36226"/>
                    <a:pt x="56470" y="36226"/>
                    <a:pt x="57352" y="36226"/>
                  </a:cubicBezTo>
                  <a:cubicBezTo>
                    <a:pt x="58235" y="36226"/>
                    <a:pt x="59117" y="36981"/>
                    <a:pt x="59117" y="36981"/>
                  </a:cubicBezTo>
                  <a:cubicBezTo>
                    <a:pt x="59117" y="36981"/>
                    <a:pt x="59117" y="37735"/>
                    <a:pt x="59117" y="37735"/>
                  </a:cubicBezTo>
                  <a:cubicBezTo>
                    <a:pt x="59117" y="37735"/>
                    <a:pt x="59117" y="39245"/>
                    <a:pt x="59117" y="39245"/>
                  </a:cubicBezTo>
                  <a:cubicBezTo>
                    <a:pt x="59117" y="40000"/>
                    <a:pt x="57352" y="40000"/>
                    <a:pt x="57352" y="40000"/>
                  </a:cubicBezTo>
                  <a:cubicBezTo>
                    <a:pt x="57352" y="40000"/>
                    <a:pt x="57352" y="40754"/>
                    <a:pt x="57352" y="40754"/>
                  </a:cubicBezTo>
                  <a:cubicBezTo>
                    <a:pt x="56470" y="41509"/>
                    <a:pt x="55588" y="42264"/>
                    <a:pt x="54705" y="42264"/>
                  </a:cubicBezTo>
                  <a:cubicBezTo>
                    <a:pt x="54705" y="42264"/>
                    <a:pt x="52941" y="40754"/>
                    <a:pt x="52941" y="40754"/>
                  </a:cubicBezTo>
                  <a:cubicBezTo>
                    <a:pt x="52941" y="40754"/>
                    <a:pt x="52058" y="41509"/>
                    <a:pt x="52058" y="41509"/>
                  </a:cubicBezTo>
                  <a:cubicBezTo>
                    <a:pt x="52941" y="43018"/>
                    <a:pt x="52941" y="43018"/>
                    <a:pt x="52941" y="43018"/>
                  </a:cubicBezTo>
                  <a:cubicBezTo>
                    <a:pt x="53823" y="45283"/>
                    <a:pt x="53823" y="45283"/>
                    <a:pt x="53823" y="45283"/>
                  </a:cubicBezTo>
                  <a:cubicBezTo>
                    <a:pt x="52941" y="46037"/>
                    <a:pt x="52941" y="46037"/>
                    <a:pt x="52941" y="46037"/>
                  </a:cubicBezTo>
                  <a:cubicBezTo>
                    <a:pt x="53823" y="48301"/>
                    <a:pt x="53823" y="48301"/>
                    <a:pt x="53823" y="48301"/>
                  </a:cubicBezTo>
                  <a:cubicBezTo>
                    <a:pt x="53823" y="49811"/>
                    <a:pt x="53823" y="49811"/>
                    <a:pt x="53823" y="49811"/>
                  </a:cubicBezTo>
                  <a:cubicBezTo>
                    <a:pt x="52058" y="50566"/>
                    <a:pt x="52058" y="50566"/>
                    <a:pt x="52058" y="50566"/>
                  </a:cubicBezTo>
                  <a:cubicBezTo>
                    <a:pt x="52058" y="50566"/>
                    <a:pt x="51176" y="51320"/>
                    <a:pt x="50294" y="51320"/>
                  </a:cubicBezTo>
                  <a:cubicBezTo>
                    <a:pt x="50294" y="51320"/>
                    <a:pt x="49411" y="50566"/>
                    <a:pt x="49411" y="51320"/>
                  </a:cubicBezTo>
                  <a:cubicBezTo>
                    <a:pt x="50294" y="52075"/>
                    <a:pt x="50294" y="52830"/>
                    <a:pt x="51176" y="52830"/>
                  </a:cubicBezTo>
                  <a:cubicBezTo>
                    <a:pt x="52058" y="52830"/>
                    <a:pt x="53823" y="52830"/>
                    <a:pt x="53823" y="52830"/>
                  </a:cubicBezTo>
                  <a:cubicBezTo>
                    <a:pt x="55588" y="55094"/>
                    <a:pt x="55588" y="55094"/>
                    <a:pt x="55588" y="55094"/>
                  </a:cubicBezTo>
                  <a:cubicBezTo>
                    <a:pt x="55588" y="55094"/>
                    <a:pt x="56470" y="55094"/>
                    <a:pt x="57352" y="55094"/>
                  </a:cubicBezTo>
                  <a:cubicBezTo>
                    <a:pt x="57352" y="55094"/>
                    <a:pt x="59117" y="55849"/>
                    <a:pt x="59117" y="55849"/>
                  </a:cubicBezTo>
                  <a:cubicBezTo>
                    <a:pt x="59117" y="55849"/>
                    <a:pt x="59117" y="55849"/>
                    <a:pt x="60000" y="56603"/>
                  </a:cubicBezTo>
                  <a:cubicBezTo>
                    <a:pt x="60882" y="56603"/>
                    <a:pt x="62647" y="57358"/>
                    <a:pt x="62647" y="57358"/>
                  </a:cubicBezTo>
                  <a:cubicBezTo>
                    <a:pt x="62647" y="57358"/>
                    <a:pt x="62647" y="56603"/>
                    <a:pt x="61764" y="56603"/>
                  </a:cubicBezTo>
                  <a:cubicBezTo>
                    <a:pt x="61764" y="56603"/>
                    <a:pt x="60882" y="54339"/>
                    <a:pt x="59117" y="54339"/>
                  </a:cubicBezTo>
                  <a:cubicBezTo>
                    <a:pt x="58235" y="53584"/>
                    <a:pt x="57352" y="53584"/>
                    <a:pt x="56470" y="53584"/>
                  </a:cubicBezTo>
                  <a:cubicBezTo>
                    <a:pt x="55588" y="53584"/>
                    <a:pt x="53823" y="52830"/>
                    <a:pt x="53823" y="52830"/>
                  </a:cubicBezTo>
                  <a:cubicBezTo>
                    <a:pt x="53823" y="52075"/>
                    <a:pt x="52941" y="51320"/>
                    <a:pt x="53823" y="51320"/>
                  </a:cubicBezTo>
                  <a:cubicBezTo>
                    <a:pt x="53823" y="50566"/>
                    <a:pt x="53823" y="49811"/>
                    <a:pt x="55588" y="49811"/>
                  </a:cubicBezTo>
                  <a:cubicBezTo>
                    <a:pt x="56470" y="49811"/>
                    <a:pt x="57352" y="50566"/>
                    <a:pt x="58235" y="49811"/>
                  </a:cubicBezTo>
                  <a:cubicBezTo>
                    <a:pt x="59117" y="49811"/>
                    <a:pt x="60882" y="47547"/>
                    <a:pt x="60882" y="47547"/>
                  </a:cubicBezTo>
                  <a:cubicBezTo>
                    <a:pt x="62647" y="46037"/>
                    <a:pt x="62647" y="46037"/>
                    <a:pt x="62647" y="46037"/>
                  </a:cubicBezTo>
                  <a:cubicBezTo>
                    <a:pt x="65294" y="45283"/>
                    <a:pt x="65294" y="45283"/>
                    <a:pt x="65294" y="45283"/>
                  </a:cubicBezTo>
                  <a:cubicBezTo>
                    <a:pt x="65294" y="45283"/>
                    <a:pt x="68823" y="43773"/>
                    <a:pt x="68823" y="43773"/>
                  </a:cubicBezTo>
                  <a:cubicBezTo>
                    <a:pt x="68823" y="43773"/>
                    <a:pt x="69705" y="43773"/>
                    <a:pt x="70588" y="44528"/>
                  </a:cubicBezTo>
                  <a:cubicBezTo>
                    <a:pt x="71470" y="45283"/>
                    <a:pt x="71470" y="45283"/>
                    <a:pt x="71470" y="45283"/>
                  </a:cubicBezTo>
                  <a:cubicBezTo>
                    <a:pt x="72352" y="45283"/>
                    <a:pt x="74117" y="46037"/>
                    <a:pt x="74117" y="46037"/>
                  </a:cubicBezTo>
                  <a:cubicBezTo>
                    <a:pt x="74117" y="46037"/>
                    <a:pt x="74117" y="46037"/>
                    <a:pt x="75000" y="46792"/>
                  </a:cubicBezTo>
                  <a:cubicBezTo>
                    <a:pt x="75000" y="46792"/>
                    <a:pt x="75882" y="47547"/>
                    <a:pt x="75000" y="49056"/>
                  </a:cubicBezTo>
                  <a:cubicBezTo>
                    <a:pt x="75000" y="49811"/>
                    <a:pt x="75000" y="50566"/>
                    <a:pt x="75000" y="50566"/>
                  </a:cubicBezTo>
                  <a:cubicBezTo>
                    <a:pt x="75000" y="50566"/>
                    <a:pt x="75882" y="49811"/>
                    <a:pt x="75882" y="49056"/>
                  </a:cubicBezTo>
                  <a:cubicBezTo>
                    <a:pt x="75882" y="47547"/>
                    <a:pt x="75882" y="46792"/>
                    <a:pt x="75882" y="46037"/>
                  </a:cubicBezTo>
                  <a:cubicBezTo>
                    <a:pt x="75882" y="45283"/>
                    <a:pt x="75000" y="44528"/>
                    <a:pt x="75000" y="44528"/>
                  </a:cubicBezTo>
                  <a:cubicBezTo>
                    <a:pt x="75000" y="44528"/>
                    <a:pt x="73235" y="45283"/>
                    <a:pt x="71470" y="44528"/>
                  </a:cubicBezTo>
                  <a:cubicBezTo>
                    <a:pt x="70588" y="43773"/>
                    <a:pt x="70588" y="43018"/>
                    <a:pt x="69705" y="43018"/>
                  </a:cubicBezTo>
                  <a:cubicBezTo>
                    <a:pt x="69705" y="43018"/>
                    <a:pt x="68823" y="42264"/>
                    <a:pt x="67941" y="42264"/>
                  </a:cubicBezTo>
                  <a:cubicBezTo>
                    <a:pt x="67941" y="42264"/>
                    <a:pt x="67941" y="41509"/>
                    <a:pt x="67941" y="40754"/>
                  </a:cubicBezTo>
                  <a:cubicBezTo>
                    <a:pt x="67941" y="40000"/>
                    <a:pt x="67941" y="39245"/>
                    <a:pt x="67941" y="38490"/>
                  </a:cubicBezTo>
                  <a:cubicBezTo>
                    <a:pt x="67941" y="38490"/>
                    <a:pt x="67058" y="37735"/>
                    <a:pt x="67941" y="36981"/>
                  </a:cubicBezTo>
                  <a:cubicBezTo>
                    <a:pt x="68823" y="36226"/>
                    <a:pt x="68823" y="36226"/>
                    <a:pt x="69705" y="36226"/>
                  </a:cubicBezTo>
                  <a:cubicBezTo>
                    <a:pt x="69705" y="35471"/>
                    <a:pt x="71470" y="34716"/>
                    <a:pt x="70588" y="34716"/>
                  </a:cubicBezTo>
                  <a:cubicBezTo>
                    <a:pt x="70588" y="33962"/>
                    <a:pt x="69705" y="33962"/>
                    <a:pt x="68823" y="33962"/>
                  </a:cubicBezTo>
                  <a:cubicBezTo>
                    <a:pt x="67941" y="33962"/>
                    <a:pt x="68823" y="34716"/>
                    <a:pt x="67941" y="34716"/>
                  </a:cubicBezTo>
                  <a:cubicBezTo>
                    <a:pt x="66176" y="34716"/>
                    <a:pt x="66176" y="33962"/>
                    <a:pt x="65294" y="33207"/>
                  </a:cubicBezTo>
                  <a:cubicBezTo>
                    <a:pt x="65294" y="32452"/>
                    <a:pt x="65294" y="32452"/>
                    <a:pt x="64411" y="33207"/>
                  </a:cubicBezTo>
                  <a:cubicBezTo>
                    <a:pt x="63529" y="33207"/>
                    <a:pt x="62647" y="32452"/>
                    <a:pt x="62647" y="32452"/>
                  </a:cubicBezTo>
                  <a:cubicBezTo>
                    <a:pt x="62647" y="32452"/>
                    <a:pt x="61764" y="31698"/>
                    <a:pt x="62647" y="30943"/>
                  </a:cubicBezTo>
                  <a:cubicBezTo>
                    <a:pt x="62647" y="30943"/>
                    <a:pt x="63529" y="29433"/>
                    <a:pt x="63529" y="29433"/>
                  </a:cubicBezTo>
                  <a:cubicBezTo>
                    <a:pt x="63529" y="29433"/>
                    <a:pt x="63529" y="27169"/>
                    <a:pt x="63529" y="27169"/>
                  </a:cubicBezTo>
                  <a:cubicBezTo>
                    <a:pt x="63529" y="26415"/>
                    <a:pt x="63529" y="26415"/>
                    <a:pt x="63529" y="26415"/>
                  </a:cubicBezTo>
                  <a:close/>
                  <a:moveTo>
                    <a:pt x="112058" y="754"/>
                  </a:moveTo>
                  <a:cubicBezTo>
                    <a:pt x="112058" y="754"/>
                    <a:pt x="112058" y="754"/>
                    <a:pt x="112058" y="754"/>
                  </a:cubicBezTo>
                  <a:cubicBezTo>
                    <a:pt x="112058" y="754"/>
                    <a:pt x="112058" y="0"/>
                    <a:pt x="112941" y="0"/>
                  </a:cubicBezTo>
                  <a:cubicBezTo>
                    <a:pt x="113823" y="0"/>
                    <a:pt x="113823" y="0"/>
                    <a:pt x="114705" y="0"/>
                  </a:cubicBezTo>
                  <a:cubicBezTo>
                    <a:pt x="114705" y="0"/>
                    <a:pt x="116470" y="0"/>
                    <a:pt x="116470" y="0"/>
                  </a:cubicBezTo>
                  <a:cubicBezTo>
                    <a:pt x="116470" y="0"/>
                    <a:pt x="117352" y="0"/>
                    <a:pt x="118235" y="0"/>
                  </a:cubicBezTo>
                  <a:cubicBezTo>
                    <a:pt x="118235" y="0"/>
                    <a:pt x="119117" y="0"/>
                    <a:pt x="119117" y="0"/>
                  </a:cubicBezTo>
                  <a:cubicBezTo>
                    <a:pt x="120000" y="0"/>
                    <a:pt x="119117" y="754"/>
                    <a:pt x="119117" y="754"/>
                  </a:cubicBezTo>
                  <a:cubicBezTo>
                    <a:pt x="117352" y="754"/>
                    <a:pt x="117352" y="754"/>
                    <a:pt x="117352" y="754"/>
                  </a:cubicBezTo>
                  <a:cubicBezTo>
                    <a:pt x="117352" y="754"/>
                    <a:pt x="116470" y="754"/>
                    <a:pt x="115588" y="754"/>
                  </a:cubicBezTo>
                  <a:cubicBezTo>
                    <a:pt x="115588" y="1509"/>
                    <a:pt x="114705" y="1509"/>
                    <a:pt x="114705" y="1509"/>
                  </a:cubicBezTo>
                  <a:cubicBezTo>
                    <a:pt x="114705" y="1509"/>
                    <a:pt x="113823" y="1509"/>
                    <a:pt x="113823" y="1509"/>
                  </a:cubicBezTo>
                  <a:cubicBezTo>
                    <a:pt x="112941" y="1509"/>
                    <a:pt x="112941" y="754"/>
                    <a:pt x="112941" y="1509"/>
                  </a:cubicBezTo>
                  <a:cubicBezTo>
                    <a:pt x="112058" y="1509"/>
                    <a:pt x="112058" y="754"/>
                    <a:pt x="112058" y="754"/>
                  </a:cubicBezTo>
                  <a:close/>
                  <a:moveTo>
                    <a:pt x="104117" y="4528"/>
                  </a:moveTo>
                  <a:cubicBezTo>
                    <a:pt x="104117" y="4528"/>
                    <a:pt x="104117" y="4528"/>
                    <a:pt x="104117" y="4528"/>
                  </a:cubicBezTo>
                  <a:cubicBezTo>
                    <a:pt x="104117" y="4528"/>
                    <a:pt x="104117" y="3773"/>
                    <a:pt x="105000" y="3773"/>
                  </a:cubicBezTo>
                  <a:cubicBezTo>
                    <a:pt x="105000" y="3773"/>
                    <a:pt x="105000" y="3018"/>
                    <a:pt x="105882" y="3773"/>
                  </a:cubicBezTo>
                  <a:cubicBezTo>
                    <a:pt x="105882" y="3773"/>
                    <a:pt x="105882" y="5283"/>
                    <a:pt x="105882" y="5283"/>
                  </a:cubicBezTo>
                  <a:cubicBezTo>
                    <a:pt x="105000" y="5283"/>
                    <a:pt x="105000" y="5283"/>
                    <a:pt x="104117" y="5283"/>
                  </a:cubicBezTo>
                  <a:cubicBezTo>
                    <a:pt x="104117" y="5283"/>
                    <a:pt x="104117" y="4528"/>
                    <a:pt x="104117" y="4528"/>
                  </a:cubicBezTo>
                  <a:close/>
                  <a:moveTo>
                    <a:pt x="98823" y="6792"/>
                  </a:moveTo>
                  <a:cubicBezTo>
                    <a:pt x="98823" y="6792"/>
                    <a:pt x="98823" y="6792"/>
                    <a:pt x="98823" y="6792"/>
                  </a:cubicBezTo>
                  <a:cubicBezTo>
                    <a:pt x="98823" y="6792"/>
                    <a:pt x="97941" y="6037"/>
                    <a:pt x="97941" y="6037"/>
                  </a:cubicBezTo>
                  <a:cubicBezTo>
                    <a:pt x="97941" y="6037"/>
                    <a:pt x="97941" y="5283"/>
                    <a:pt x="98823" y="5283"/>
                  </a:cubicBezTo>
                  <a:cubicBezTo>
                    <a:pt x="98823" y="5283"/>
                    <a:pt x="99705" y="5283"/>
                    <a:pt x="99705" y="5283"/>
                  </a:cubicBezTo>
                  <a:cubicBezTo>
                    <a:pt x="100588" y="5283"/>
                    <a:pt x="100588" y="5283"/>
                    <a:pt x="100588" y="5283"/>
                  </a:cubicBezTo>
                  <a:cubicBezTo>
                    <a:pt x="100588" y="5283"/>
                    <a:pt x="101470" y="4528"/>
                    <a:pt x="101470" y="4528"/>
                  </a:cubicBezTo>
                  <a:cubicBezTo>
                    <a:pt x="101470" y="4528"/>
                    <a:pt x="102352" y="6037"/>
                    <a:pt x="102352" y="6037"/>
                  </a:cubicBezTo>
                  <a:cubicBezTo>
                    <a:pt x="102352" y="6037"/>
                    <a:pt x="102352" y="6037"/>
                    <a:pt x="101470" y="6037"/>
                  </a:cubicBezTo>
                  <a:cubicBezTo>
                    <a:pt x="101470" y="6037"/>
                    <a:pt x="100588" y="6792"/>
                    <a:pt x="100588" y="6792"/>
                  </a:cubicBezTo>
                  <a:cubicBezTo>
                    <a:pt x="99705" y="7547"/>
                    <a:pt x="99705" y="7547"/>
                    <a:pt x="99705" y="7547"/>
                  </a:cubicBezTo>
                  <a:cubicBezTo>
                    <a:pt x="98823" y="6792"/>
                    <a:pt x="98823" y="6792"/>
                    <a:pt x="98823" y="6792"/>
                  </a:cubicBezTo>
                  <a:close/>
                  <a:moveTo>
                    <a:pt x="95294" y="9056"/>
                  </a:moveTo>
                  <a:cubicBezTo>
                    <a:pt x="95294" y="9056"/>
                    <a:pt x="95294" y="9056"/>
                    <a:pt x="95294" y="9056"/>
                  </a:cubicBezTo>
                  <a:cubicBezTo>
                    <a:pt x="95294" y="8301"/>
                    <a:pt x="94411" y="8301"/>
                    <a:pt x="94411" y="8301"/>
                  </a:cubicBezTo>
                  <a:cubicBezTo>
                    <a:pt x="94411" y="8301"/>
                    <a:pt x="93529" y="7547"/>
                    <a:pt x="93529" y="7547"/>
                  </a:cubicBezTo>
                  <a:cubicBezTo>
                    <a:pt x="93529" y="7547"/>
                    <a:pt x="93529" y="6792"/>
                    <a:pt x="94411" y="6792"/>
                  </a:cubicBezTo>
                  <a:cubicBezTo>
                    <a:pt x="94411" y="6792"/>
                    <a:pt x="94411" y="6792"/>
                    <a:pt x="94411" y="7547"/>
                  </a:cubicBezTo>
                  <a:cubicBezTo>
                    <a:pt x="95294" y="7547"/>
                    <a:pt x="95294" y="8301"/>
                    <a:pt x="95294" y="8301"/>
                  </a:cubicBezTo>
                  <a:cubicBezTo>
                    <a:pt x="95294" y="9056"/>
                    <a:pt x="95294" y="9056"/>
                    <a:pt x="95294" y="9056"/>
                  </a:cubicBezTo>
                  <a:close/>
                  <a:moveTo>
                    <a:pt x="84705" y="9056"/>
                  </a:moveTo>
                  <a:cubicBezTo>
                    <a:pt x="84705" y="9056"/>
                    <a:pt x="84705" y="9056"/>
                    <a:pt x="84705" y="9056"/>
                  </a:cubicBezTo>
                  <a:cubicBezTo>
                    <a:pt x="84705" y="9056"/>
                    <a:pt x="84705" y="9056"/>
                    <a:pt x="85588" y="9056"/>
                  </a:cubicBezTo>
                  <a:cubicBezTo>
                    <a:pt x="86470" y="8301"/>
                    <a:pt x="86470" y="7547"/>
                    <a:pt x="87352" y="8301"/>
                  </a:cubicBezTo>
                  <a:cubicBezTo>
                    <a:pt x="88235" y="8301"/>
                    <a:pt x="90000" y="9056"/>
                    <a:pt x="90000" y="9056"/>
                  </a:cubicBezTo>
                  <a:cubicBezTo>
                    <a:pt x="90000" y="9056"/>
                    <a:pt x="90000" y="8301"/>
                    <a:pt x="90000" y="8301"/>
                  </a:cubicBezTo>
                  <a:cubicBezTo>
                    <a:pt x="90882" y="8301"/>
                    <a:pt x="90882" y="9056"/>
                    <a:pt x="90882" y="9056"/>
                  </a:cubicBezTo>
                  <a:cubicBezTo>
                    <a:pt x="90882" y="9056"/>
                    <a:pt x="90000" y="9056"/>
                    <a:pt x="90000" y="9056"/>
                  </a:cubicBezTo>
                  <a:cubicBezTo>
                    <a:pt x="89117" y="9811"/>
                    <a:pt x="89117" y="9811"/>
                    <a:pt x="88235" y="9811"/>
                  </a:cubicBezTo>
                  <a:cubicBezTo>
                    <a:pt x="87352" y="9811"/>
                    <a:pt x="87352" y="9056"/>
                    <a:pt x="86470" y="9811"/>
                  </a:cubicBezTo>
                  <a:cubicBezTo>
                    <a:pt x="86470" y="9811"/>
                    <a:pt x="86470" y="10566"/>
                    <a:pt x="85588" y="10566"/>
                  </a:cubicBezTo>
                  <a:cubicBezTo>
                    <a:pt x="85588" y="10566"/>
                    <a:pt x="84705" y="10566"/>
                    <a:pt x="84705" y="10566"/>
                  </a:cubicBezTo>
                  <a:cubicBezTo>
                    <a:pt x="84705" y="9811"/>
                    <a:pt x="84705" y="9056"/>
                    <a:pt x="84705" y="9056"/>
                  </a:cubicBezTo>
                  <a:close/>
                  <a:moveTo>
                    <a:pt x="82058" y="9811"/>
                  </a:moveTo>
                  <a:cubicBezTo>
                    <a:pt x="82058" y="9811"/>
                    <a:pt x="82058" y="9811"/>
                    <a:pt x="82058" y="9811"/>
                  </a:cubicBezTo>
                  <a:cubicBezTo>
                    <a:pt x="82058" y="9811"/>
                    <a:pt x="82058" y="9056"/>
                    <a:pt x="82941" y="9811"/>
                  </a:cubicBezTo>
                  <a:cubicBezTo>
                    <a:pt x="82941" y="9811"/>
                    <a:pt x="82941" y="9056"/>
                    <a:pt x="82941" y="9811"/>
                  </a:cubicBezTo>
                  <a:cubicBezTo>
                    <a:pt x="83823" y="10566"/>
                    <a:pt x="83823" y="11320"/>
                    <a:pt x="82941" y="11320"/>
                  </a:cubicBezTo>
                  <a:cubicBezTo>
                    <a:pt x="82058" y="10566"/>
                    <a:pt x="82058" y="9811"/>
                    <a:pt x="82058" y="9811"/>
                  </a:cubicBezTo>
                  <a:close/>
                  <a:moveTo>
                    <a:pt x="71470" y="9811"/>
                  </a:moveTo>
                  <a:cubicBezTo>
                    <a:pt x="71470" y="9811"/>
                    <a:pt x="71470" y="9811"/>
                    <a:pt x="71470" y="9811"/>
                  </a:cubicBezTo>
                  <a:cubicBezTo>
                    <a:pt x="71470" y="9811"/>
                    <a:pt x="71470" y="9056"/>
                    <a:pt x="72352" y="9056"/>
                  </a:cubicBezTo>
                  <a:cubicBezTo>
                    <a:pt x="72352" y="9056"/>
                    <a:pt x="72352" y="9056"/>
                    <a:pt x="73235" y="9056"/>
                  </a:cubicBezTo>
                  <a:cubicBezTo>
                    <a:pt x="73235" y="9811"/>
                    <a:pt x="74117" y="9811"/>
                    <a:pt x="74117" y="9811"/>
                  </a:cubicBezTo>
                  <a:cubicBezTo>
                    <a:pt x="75000" y="9811"/>
                    <a:pt x="75000" y="9811"/>
                    <a:pt x="75000" y="9811"/>
                  </a:cubicBezTo>
                  <a:cubicBezTo>
                    <a:pt x="75882" y="9811"/>
                    <a:pt x="75882" y="9056"/>
                    <a:pt x="76764" y="9811"/>
                  </a:cubicBezTo>
                  <a:cubicBezTo>
                    <a:pt x="77647" y="9811"/>
                    <a:pt x="77647" y="9811"/>
                    <a:pt x="78529" y="9811"/>
                  </a:cubicBezTo>
                  <a:cubicBezTo>
                    <a:pt x="78529" y="9811"/>
                    <a:pt x="80294" y="9811"/>
                    <a:pt x="80294" y="9811"/>
                  </a:cubicBezTo>
                  <a:cubicBezTo>
                    <a:pt x="80294" y="9811"/>
                    <a:pt x="80294" y="10566"/>
                    <a:pt x="80294" y="10566"/>
                  </a:cubicBezTo>
                  <a:cubicBezTo>
                    <a:pt x="79411" y="10566"/>
                    <a:pt x="79411" y="10566"/>
                    <a:pt x="78529" y="10566"/>
                  </a:cubicBezTo>
                  <a:cubicBezTo>
                    <a:pt x="78529" y="10566"/>
                    <a:pt x="79411" y="10566"/>
                    <a:pt x="77647" y="10566"/>
                  </a:cubicBezTo>
                  <a:cubicBezTo>
                    <a:pt x="76764" y="10566"/>
                    <a:pt x="76764" y="10566"/>
                    <a:pt x="75882" y="10566"/>
                  </a:cubicBezTo>
                  <a:cubicBezTo>
                    <a:pt x="75882" y="10566"/>
                    <a:pt x="75882" y="10566"/>
                    <a:pt x="75000" y="10566"/>
                  </a:cubicBezTo>
                  <a:cubicBezTo>
                    <a:pt x="75000" y="10566"/>
                    <a:pt x="75000" y="10566"/>
                    <a:pt x="75000" y="10566"/>
                  </a:cubicBezTo>
                  <a:cubicBezTo>
                    <a:pt x="74117" y="10566"/>
                    <a:pt x="76764" y="9811"/>
                    <a:pt x="74117" y="10566"/>
                  </a:cubicBezTo>
                  <a:cubicBezTo>
                    <a:pt x="71470" y="11320"/>
                    <a:pt x="71470" y="11320"/>
                    <a:pt x="71470" y="11320"/>
                  </a:cubicBezTo>
                  <a:cubicBezTo>
                    <a:pt x="71470" y="11320"/>
                    <a:pt x="71470" y="10566"/>
                    <a:pt x="71470" y="10566"/>
                  </a:cubicBezTo>
                  <a:cubicBezTo>
                    <a:pt x="71470" y="10566"/>
                    <a:pt x="71470" y="9811"/>
                    <a:pt x="71470" y="9811"/>
                  </a:cubicBezTo>
                  <a:close/>
                  <a:moveTo>
                    <a:pt x="60000" y="12075"/>
                  </a:moveTo>
                  <a:cubicBezTo>
                    <a:pt x="60000" y="12075"/>
                    <a:pt x="60000" y="12075"/>
                    <a:pt x="60000" y="12075"/>
                  </a:cubicBezTo>
                  <a:cubicBezTo>
                    <a:pt x="60882" y="12075"/>
                    <a:pt x="60882" y="12075"/>
                    <a:pt x="60882" y="12075"/>
                  </a:cubicBezTo>
                  <a:cubicBezTo>
                    <a:pt x="60882" y="12075"/>
                    <a:pt x="62647" y="12075"/>
                    <a:pt x="62647" y="11320"/>
                  </a:cubicBezTo>
                  <a:cubicBezTo>
                    <a:pt x="63529" y="11320"/>
                    <a:pt x="63529" y="11320"/>
                    <a:pt x="63529" y="11320"/>
                  </a:cubicBezTo>
                  <a:cubicBezTo>
                    <a:pt x="63529" y="11320"/>
                    <a:pt x="65294" y="10566"/>
                    <a:pt x="65294" y="10566"/>
                  </a:cubicBezTo>
                  <a:cubicBezTo>
                    <a:pt x="66176" y="10566"/>
                    <a:pt x="67058" y="9811"/>
                    <a:pt x="67058" y="9811"/>
                  </a:cubicBezTo>
                  <a:cubicBezTo>
                    <a:pt x="67058" y="9811"/>
                    <a:pt x="68823" y="10566"/>
                    <a:pt x="68823" y="10566"/>
                  </a:cubicBezTo>
                  <a:cubicBezTo>
                    <a:pt x="69705" y="10566"/>
                    <a:pt x="69705" y="9811"/>
                    <a:pt x="69705" y="9811"/>
                  </a:cubicBezTo>
                  <a:cubicBezTo>
                    <a:pt x="67941" y="9056"/>
                    <a:pt x="67941" y="9056"/>
                    <a:pt x="67941" y="9056"/>
                  </a:cubicBezTo>
                  <a:cubicBezTo>
                    <a:pt x="64411" y="9811"/>
                    <a:pt x="64411" y="9811"/>
                    <a:pt x="64411" y="9811"/>
                  </a:cubicBezTo>
                  <a:cubicBezTo>
                    <a:pt x="64411" y="9811"/>
                    <a:pt x="61764" y="10566"/>
                    <a:pt x="60882" y="10566"/>
                  </a:cubicBezTo>
                  <a:cubicBezTo>
                    <a:pt x="60000" y="9811"/>
                    <a:pt x="59117" y="10566"/>
                    <a:pt x="59117" y="10566"/>
                  </a:cubicBezTo>
                  <a:cubicBezTo>
                    <a:pt x="58235" y="11320"/>
                    <a:pt x="58235" y="11320"/>
                    <a:pt x="58235" y="11320"/>
                  </a:cubicBezTo>
                  <a:cubicBezTo>
                    <a:pt x="58235" y="11320"/>
                    <a:pt x="59117" y="12075"/>
                    <a:pt x="59117" y="12075"/>
                  </a:cubicBezTo>
                  <a:cubicBezTo>
                    <a:pt x="59117" y="12830"/>
                    <a:pt x="60000" y="12075"/>
                    <a:pt x="60000" y="12075"/>
                  </a:cubicBezTo>
                  <a:close/>
                  <a:moveTo>
                    <a:pt x="49411" y="16603"/>
                  </a:moveTo>
                  <a:cubicBezTo>
                    <a:pt x="49411" y="16603"/>
                    <a:pt x="49411" y="16603"/>
                    <a:pt x="49411" y="16603"/>
                  </a:cubicBezTo>
                  <a:cubicBezTo>
                    <a:pt x="49411" y="16603"/>
                    <a:pt x="49411" y="16603"/>
                    <a:pt x="49411" y="16603"/>
                  </a:cubicBezTo>
                  <a:cubicBezTo>
                    <a:pt x="50294" y="17358"/>
                    <a:pt x="50294" y="17358"/>
                    <a:pt x="50294" y="17358"/>
                  </a:cubicBezTo>
                  <a:cubicBezTo>
                    <a:pt x="50294" y="17358"/>
                    <a:pt x="51176" y="16603"/>
                    <a:pt x="51176" y="16603"/>
                  </a:cubicBezTo>
                  <a:cubicBezTo>
                    <a:pt x="51176" y="15849"/>
                    <a:pt x="52058" y="15849"/>
                    <a:pt x="52058" y="15849"/>
                  </a:cubicBezTo>
                  <a:cubicBezTo>
                    <a:pt x="52058" y="15849"/>
                    <a:pt x="52941" y="15094"/>
                    <a:pt x="53823" y="15094"/>
                  </a:cubicBezTo>
                  <a:cubicBezTo>
                    <a:pt x="53823" y="15094"/>
                    <a:pt x="55588" y="14339"/>
                    <a:pt x="55588" y="14339"/>
                  </a:cubicBezTo>
                  <a:cubicBezTo>
                    <a:pt x="55588" y="13584"/>
                    <a:pt x="55588" y="13584"/>
                    <a:pt x="55588" y="13584"/>
                  </a:cubicBezTo>
                  <a:cubicBezTo>
                    <a:pt x="55588" y="13584"/>
                    <a:pt x="52941" y="13584"/>
                    <a:pt x="52941" y="13584"/>
                  </a:cubicBezTo>
                  <a:cubicBezTo>
                    <a:pt x="52941" y="13584"/>
                    <a:pt x="51176" y="15094"/>
                    <a:pt x="51176" y="15094"/>
                  </a:cubicBezTo>
                  <a:cubicBezTo>
                    <a:pt x="51176" y="15094"/>
                    <a:pt x="49411" y="16603"/>
                    <a:pt x="49411" y="16603"/>
                  </a:cubicBezTo>
                  <a:close/>
                  <a:moveTo>
                    <a:pt x="48529" y="24150"/>
                  </a:moveTo>
                  <a:cubicBezTo>
                    <a:pt x="48529" y="24150"/>
                    <a:pt x="48529" y="24150"/>
                    <a:pt x="48529" y="24150"/>
                  </a:cubicBezTo>
                  <a:cubicBezTo>
                    <a:pt x="48529" y="24150"/>
                    <a:pt x="50294" y="22641"/>
                    <a:pt x="50294" y="21886"/>
                  </a:cubicBezTo>
                  <a:cubicBezTo>
                    <a:pt x="50294" y="21886"/>
                    <a:pt x="50294" y="20377"/>
                    <a:pt x="50294" y="20377"/>
                  </a:cubicBezTo>
                  <a:cubicBezTo>
                    <a:pt x="50294" y="18867"/>
                    <a:pt x="50294" y="18867"/>
                    <a:pt x="50294" y="18867"/>
                  </a:cubicBezTo>
                  <a:cubicBezTo>
                    <a:pt x="48529" y="17358"/>
                    <a:pt x="48529" y="17358"/>
                    <a:pt x="48529" y="17358"/>
                  </a:cubicBezTo>
                  <a:cubicBezTo>
                    <a:pt x="48529" y="17358"/>
                    <a:pt x="47647" y="18867"/>
                    <a:pt x="47647" y="18867"/>
                  </a:cubicBezTo>
                  <a:cubicBezTo>
                    <a:pt x="47647" y="19622"/>
                    <a:pt x="46764" y="19622"/>
                    <a:pt x="45882" y="20377"/>
                  </a:cubicBezTo>
                  <a:cubicBezTo>
                    <a:pt x="45000" y="21132"/>
                    <a:pt x="45000" y="21886"/>
                    <a:pt x="45000" y="22641"/>
                  </a:cubicBezTo>
                  <a:cubicBezTo>
                    <a:pt x="45000" y="22641"/>
                    <a:pt x="44117" y="23396"/>
                    <a:pt x="44117" y="24150"/>
                  </a:cubicBezTo>
                  <a:cubicBezTo>
                    <a:pt x="44117" y="24905"/>
                    <a:pt x="45000" y="24905"/>
                    <a:pt x="45882" y="24905"/>
                  </a:cubicBezTo>
                  <a:cubicBezTo>
                    <a:pt x="46764" y="24905"/>
                    <a:pt x="45882" y="24905"/>
                    <a:pt x="45882" y="24905"/>
                  </a:cubicBezTo>
                  <a:cubicBezTo>
                    <a:pt x="48529" y="24150"/>
                    <a:pt x="48529" y="24150"/>
                    <a:pt x="48529" y="24150"/>
                  </a:cubicBezTo>
                  <a:close/>
                  <a:moveTo>
                    <a:pt x="18529" y="70943"/>
                  </a:moveTo>
                  <a:cubicBezTo>
                    <a:pt x="18529" y="70943"/>
                    <a:pt x="18529" y="70943"/>
                    <a:pt x="18529" y="70943"/>
                  </a:cubicBezTo>
                  <a:cubicBezTo>
                    <a:pt x="18529" y="70943"/>
                    <a:pt x="18529" y="70943"/>
                    <a:pt x="19411" y="70943"/>
                  </a:cubicBezTo>
                  <a:cubicBezTo>
                    <a:pt x="19411" y="70943"/>
                    <a:pt x="19411" y="70188"/>
                    <a:pt x="19411" y="70188"/>
                  </a:cubicBezTo>
                  <a:cubicBezTo>
                    <a:pt x="20294" y="70188"/>
                    <a:pt x="20294" y="70943"/>
                    <a:pt x="20294" y="70943"/>
                  </a:cubicBezTo>
                  <a:cubicBezTo>
                    <a:pt x="21176" y="70943"/>
                    <a:pt x="21176" y="71698"/>
                    <a:pt x="21176" y="71698"/>
                  </a:cubicBezTo>
                  <a:cubicBezTo>
                    <a:pt x="22058" y="73207"/>
                    <a:pt x="22058" y="73207"/>
                    <a:pt x="22058" y="73207"/>
                  </a:cubicBezTo>
                  <a:cubicBezTo>
                    <a:pt x="22058" y="73207"/>
                    <a:pt x="22058" y="73962"/>
                    <a:pt x="22058" y="73962"/>
                  </a:cubicBezTo>
                  <a:cubicBezTo>
                    <a:pt x="22058" y="74716"/>
                    <a:pt x="22058" y="74716"/>
                    <a:pt x="22058" y="74716"/>
                  </a:cubicBezTo>
                  <a:cubicBezTo>
                    <a:pt x="22058" y="74716"/>
                    <a:pt x="22941" y="74716"/>
                    <a:pt x="23823" y="74716"/>
                  </a:cubicBezTo>
                  <a:cubicBezTo>
                    <a:pt x="23823" y="74716"/>
                    <a:pt x="23823" y="75471"/>
                    <a:pt x="24705" y="75471"/>
                  </a:cubicBezTo>
                  <a:cubicBezTo>
                    <a:pt x="25588" y="76226"/>
                    <a:pt x="25588" y="76226"/>
                    <a:pt x="25588" y="76226"/>
                  </a:cubicBezTo>
                  <a:cubicBezTo>
                    <a:pt x="26470" y="76981"/>
                    <a:pt x="26470" y="76981"/>
                    <a:pt x="27352" y="77735"/>
                  </a:cubicBezTo>
                  <a:cubicBezTo>
                    <a:pt x="28235" y="77735"/>
                    <a:pt x="28235" y="77735"/>
                    <a:pt x="29117" y="77735"/>
                  </a:cubicBezTo>
                  <a:cubicBezTo>
                    <a:pt x="29117" y="76981"/>
                    <a:pt x="29117" y="76981"/>
                    <a:pt x="30000" y="76981"/>
                  </a:cubicBezTo>
                  <a:cubicBezTo>
                    <a:pt x="30000" y="76981"/>
                    <a:pt x="30000" y="76981"/>
                    <a:pt x="30882" y="76981"/>
                  </a:cubicBezTo>
                  <a:cubicBezTo>
                    <a:pt x="30882" y="76226"/>
                    <a:pt x="30000" y="76226"/>
                    <a:pt x="30000" y="76226"/>
                  </a:cubicBezTo>
                  <a:cubicBezTo>
                    <a:pt x="30000" y="76226"/>
                    <a:pt x="29117" y="75471"/>
                    <a:pt x="28235" y="74716"/>
                  </a:cubicBezTo>
                  <a:cubicBezTo>
                    <a:pt x="28235" y="74716"/>
                    <a:pt x="28235" y="74716"/>
                    <a:pt x="28235" y="73962"/>
                  </a:cubicBezTo>
                  <a:cubicBezTo>
                    <a:pt x="28235" y="73962"/>
                    <a:pt x="28235" y="73962"/>
                    <a:pt x="27352" y="73207"/>
                  </a:cubicBezTo>
                  <a:cubicBezTo>
                    <a:pt x="26470" y="73207"/>
                    <a:pt x="26470" y="73207"/>
                    <a:pt x="26470" y="73207"/>
                  </a:cubicBezTo>
                  <a:cubicBezTo>
                    <a:pt x="25588" y="72452"/>
                    <a:pt x="25588" y="71698"/>
                    <a:pt x="25588" y="71698"/>
                  </a:cubicBezTo>
                  <a:cubicBezTo>
                    <a:pt x="25588" y="71698"/>
                    <a:pt x="23823" y="71698"/>
                    <a:pt x="23823" y="70943"/>
                  </a:cubicBezTo>
                  <a:cubicBezTo>
                    <a:pt x="23823" y="70943"/>
                    <a:pt x="22941" y="70943"/>
                    <a:pt x="22941" y="70943"/>
                  </a:cubicBezTo>
                  <a:cubicBezTo>
                    <a:pt x="22941" y="70943"/>
                    <a:pt x="21176" y="70188"/>
                    <a:pt x="21176" y="69433"/>
                  </a:cubicBezTo>
                  <a:cubicBezTo>
                    <a:pt x="21176" y="69433"/>
                    <a:pt x="21176" y="68679"/>
                    <a:pt x="21176" y="68679"/>
                  </a:cubicBezTo>
                  <a:cubicBezTo>
                    <a:pt x="21176" y="68679"/>
                    <a:pt x="20294" y="68679"/>
                    <a:pt x="19411" y="68679"/>
                  </a:cubicBezTo>
                  <a:cubicBezTo>
                    <a:pt x="18529" y="69433"/>
                    <a:pt x="17647" y="69433"/>
                    <a:pt x="17647" y="69433"/>
                  </a:cubicBezTo>
                  <a:cubicBezTo>
                    <a:pt x="16764" y="69433"/>
                    <a:pt x="16764" y="70188"/>
                    <a:pt x="16764" y="70188"/>
                  </a:cubicBezTo>
                  <a:cubicBezTo>
                    <a:pt x="16764" y="70188"/>
                    <a:pt x="16764" y="70943"/>
                    <a:pt x="17647" y="70943"/>
                  </a:cubicBezTo>
                  <a:cubicBezTo>
                    <a:pt x="17647" y="71698"/>
                    <a:pt x="18529" y="70943"/>
                    <a:pt x="18529" y="70943"/>
                  </a:cubicBezTo>
                  <a:close/>
                  <a:moveTo>
                    <a:pt x="62647" y="56603"/>
                  </a:moveTo>
                  <a:cubicBezTo>
                    <a:pt x="62647" y="56603"/>
                    <a:pt x="62647" y="56603"/>
                    <a:pt x="62647" y="56603"/>
                  </a:cubicBezTo>
                  <a:cubicBezTo>
                    <a:pt x="62647" y="57358"/>
                    <a:pt x="62647" y="57358"/>
                    <a:pt x="62647" y="57358"/>
                  </a:cubicBezTo>
                  <a:cubicBezTo>
                    <a:pt x="62647" y="57358"/>
                    <a:pt x="62647" y="57358"/>
                    <a:pt x="63529" y="57358"/>
                  </a:cubicBezTo>
                  <a:cubicBezTo>
                    <a:pt x="63529" y="56603"/>
                    <a:pt x="63529" y="57358"/>
                    <a:pt x="64411" y="57358"/>
                  </a:cubicBezTo>
                  <a:cubicBezTo>
                    <a:pt x="64411" y="57358"/>
                    <a:pt x="64411" y="57358"/>
                    <a:pt x="64411" y="57358"/>
                  </a:cubicBezTo>
                  <a:cubicBezTo>
                    <a:pt x="65294" y="57358"/>
                    <a:pt x="66176" y="55849"/>
                    <a:pt x="66176" y="55849"/>
                  </a:cubicBezTo>
                  <a:cubicBezTo>
                    <a:pt x="66176" y="55849"/>
                    <a:pt x="66176" y="55849"/>
                    <a:pt x="67058" y="55849"/>
                  </a:cubicBezTo>
                  <a:cubicBezTo>
                    <a:pt x="67058" y="55849"/>
                    <a:pt x="67941" y="55849"/>
                    <a:pt x="67941" y="55094"/>
                  </a:cubicBezTo>
                  <a:cubicBezTo>
                    <a:pt x="67941" y="55094"/>
                    <a:pt x="67941" y="55094"/>
                    <a:pt x="68823" y="55094"/>
                  </a:cubicBezTo>
                  <a:cubicBezTo>
                    <a:pt x="68823" y="54339"/>
                    <a:pt x="68823" y="54339"/>
                    <a:pt x="68823" y="54339"/>
                  </a:cubicBezTo>
                  <a:cubicBezTo>
                    <a:pt x="69705" y="53584"/>
                    <a:pt x="70588" y="53584"/>
                    <a:pt x="70588" y="53584"/>
                  </a:cubicBezTo>
                  <a:cubicBezTo>
                    <a:pt x="71470" y="52830"/>
                    <a:pt x="71470" y="52830"/>
                    <a:pt x="71470" y="52075"/>
                  </a:cubicBezTo>
                  <a:cubicBezTo>
                    <a:pt x="71470" y="52075"/>
                    <a:pt x="70588" y="52075"/>
                    <a:pt x="70588" y="52830"/>
                  </a:cubicBezTo>
                  <a:cubicBezTo>
                    <a:pt x="69705" y="52830"/>
                    <a:pt x="68823" y="52830"/>
                    <a:pt x="68823" y="52830"/>
                  </a:cubicBezTo>
                  <a:cubicBezTo>
                    <a:pt x="68823" y="53584"/>
                    <a:pt x="67941" y="53584"/>
                    <a:pt x="67941" y="53584"/>
                  </a:cubicBezTo>
                  <a:cubicBezTo>
                    <a:pt x="67058" y="53584"/>
                    <a:pt x="66176" y="54339"/>
                    <a:pt x="65294" y="54339"/>
                  </a:cubicBezTo>
                  <a:cubicBezTo>
                    <a:pt x="65294" y="54339"/>
                    <a:pt x="65294" y="55094"/>
                    <a:pt x="64411" y="55849"/>
                  </a:cubicBezTo>
                  <a:cubicBezTo>
                    <a:pt x="64411" y="55849"/>
                    <a:pt x="64411" y="55849"/>
                    <a:pt x="64411" y="56603"/>
                  </a:cubicBezTo>
                  <a:cubicBezTo>
                    <a:pt x="63529" y="56603"/>
                    <a:pt x="62647" y="56603"/>
                    <a:pt x="62647" y="56603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tx1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defTabSz="457178"/>
              <a:endParaRPr kern="0">
                <a:solidFill>
                  <a:srgbClr val="7F7F7F"/>
                </a:solidFill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23" name="Shape 2030">
              <a:extLst>
                <a:ext uri="{FF2B5EF4-FFF2-40B4-BE49-F238E27FC236}">
                  <a16:creationId xmlns:a16="http://schemas.microsoft.com/office/drawing/2014/main" id="{CD7D9780-DDB4-4AFC-808A-DA3B7B7E5CA9}"/>
                </a:ext>
              </a:extLst>
            </p:cNvPr>
            <p:cNvSpPr/>
            <p:nvPr/>
          </p:nvSpPr>
          <p:spPr>
            <a:xfrm>
              <a:off x="5550394" y="2957025"/>
              <a:ext cx="547516" cy="376093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4000" y="43058"/>
                  </a:moveTo>
                  <a:cubicBezTo>
                    <a:pt x="14000" y="43058"/>
                    <a:pt x="14000" y="43058"/>
                    <a:pt x="14000" y="43058"/>
                  </a:cubicBezTo>
                  <a:cubicBezTo>
                    <a:pt x="14000" y="43058"/>
                    <a:pt x="14000" y="43058"/>
                    <a:pt x="14000" y="43058"/>
                  </a:cubicBezTo>
                  <a:cubicBezTo>
                    <a:pt x="14000" y="42352"/>
                    <a:pt x="14000" y="42352"/>
                    <a:pt x="14000" y="42352"/>
                  </a:cubicBezTo>
                  <a:cubicBezTo>
                    <a:pt x="14000" y="40941"/>
                    <a:pt x="14000" y="40941"/>
                    <a:pt x="14000" y="40941"/>
                  </a:cubicBezTo>
                  <a:cubicBezTo>
                    <a:pt x="15500" y="38117"/>
                    <a:pt x="15500" y="38117"/>
                    <a:pt x="15500" y="38117"/>
                  </a:cubicBezTo>
                  <a:cubicBezTo>
                    <a:pt x="15500" y="34588"/>
                    <a:pt x="15500" y="34588"/>
                    <a:pt x="15500" y="34588"/>
                  </a:cubicBezTo>
                  <a:cubicBezTo>
                    <a:pt x="19500" y="35294"/>
                    <a:pt x="19500" y="35294"/>
                    <a:pt x="19500" y="35294"/>
                  </a:cubicBezTo>
                  <a:cubicBezTo>
                    <a:pt x="22000" y="38823"/>
                    <a:pt x="22000" y="38823"/>
                    <a:pt x="22000" y="38823"/>
                  </a:cubicBezTo>
                  <a:cubicBezTo>
                    <a:pt x="25500" y="41647"/>
                    <a:pt x="25500" y="41647"/>
                    <a:pt x="25500" y="41647"/>
                  </a:cubicBezTo>
                  <a:cubicBezTo>
                    <a:pt x="27500" y="43058"/>
                    <a:pt x="27500" y="43058"/>
                    <a:pt x="27500" y="43058"/>
                  </a:cubicBezTo>
                  <a:cubicBezTo>
                    <a:pt x="32000" y="41647"/>
                    <a:pt x="32000" y="41647"/>
                    <a:pt x="32000" y="41647"/>
                  </a:cubicBezTo>
                  <a:cubicBezTo>
                    <a:pt x="40500" y="40941"/>
                    <a:pt x="40500" y="40941"/>
                    <a:pt x="40500" y="40941"/>
                  </a:cubicBezTo>
                  <a:cubicBezTo>
                    <a:pt x="40500" y="40941"/>
                    <a:pt x="45000" y="40235"/>
                    <a:pt x="45500" y="39529"/>
                  </a:cubicBezTo>
                  <a:cubicBezTo>
                    <a:pt x="46000" y="38823"/>
                    <a:pt x="49000" y="38117"/>
                    <a:pt x="48000" y="36705"/>
                  </a:cubicBezTo>
                  <a:cubicBezTo>
                    <a:pt x="47000" y="36000"/>
                    <a:pt x="45000" y="33882"/>
                    <a:pt x="45000" y="33882"/>
                  </a:cubicBezTo>
                  <a:cubicBezTo>
                    <a:pt x="45000" y="32470"/>
                    <a:pt x="45000" y="32470"/>
                    <a:pt x="45000" y="32470"/>
                  </a:cubicBezTo>
                  <a:cubicBezTo>
                    <a:pt x="47500" y="28941"/>
                    <a:pt x="47500" y="28941"/>
                    <a:pt x="47500" y="28941"/>
                  </a:cubicBezTo>
                  <a:cubicBezTo>
                    <a:pt x="52000" y="26823"/>
                    <a:pt x="52000" y="26823"/>
                    <a:pt x="52000" y="26823"/>
                  </a:cubicBezTo>
                  <a:cubicBezTo>
                    <a:pt x="55500" y="26117"/>
                    <a:pt x="55500" y="26117"/>
                    <a:pt x="55500" y="26117"/>
                  </a:cubicBezTo>
                  <a:cubicBezTo>
                    <a:pt x="57500" y="25411"/>
                    <a:pt x="57500" y="25411"/>
                    <a:pt x="57500" y="25411"/>
                  </a:cubicBezTo>
                  <a:cubicBezTo>
                    <a:pt x="58500" y="21176"/>
                    <a:pt x="58500" y="21176"/>
                    <a:pt x="58500" y="21176"/>
                  </a:cubicBezTo>
                  <a:cubicBezTo>
                    <a:pt x="61500" y="20470"/>
                    <a:pt x="61500" y="20470"/>
                    <a:pt x="61500" y="20470"/>
                  </a:cubicBezTo>
                  <a:cubicBezTo>
                    <a:pt x="63500" y="21176"/>
                    <a:pt x="63500" y="21176"/>
                    <a:pt x="63500" y="21176"/>
                  </a:cubicBezTo>
                  <a:cubicBezTo>
                    <a:pt x="66500" y="21176"/>
                    <a:pt x="66500" y="21176"/>
                    <a:pt x="66500" y="21176"/>
                  </a:cubicBezTo>
                  <a:cubicBezTo>
                    <a:pt x="68000" y="18352"/>
                    <a:pt x="68000" y="18352"/>
                    <a:pt x="68000" y="18352"/>
                  </a:cubicBezTo>
                  <a:cubicBezTo>
                    <a:pt x="69500" y="16941"/>
                    <a:pt x="69500" y="16941"/>
                    <a:pt x="69500" y="16941"/>
                  </a:cubicBezTo>
                  <a:cubicBezTo>
                    <a:pt x="71500" y="15529"/>
                    <a:pt x="71500" y="15529"/>
                    <a:pt x="71500" y="15529"/>
                  </a:cubicBezTo>
                  <a:cubicBezTo>
                    <a:pt x="73000" y="11294"/>
                    <a:pt x="73000" y="11294"/>
                    <a:pt x="73000" y="11294"/>
                  </a:cubicBezTo>
                  <a:cubicBezTo>
                    <a:pt x="74000" y="6352"/>
                    <a:pt x="74000" y="6352"/>
                    <a:pt x="74000" y="6352"/>
                  </a:cubicBezTo>
                  <a:cubicBezTo>
                    <a:pt x="74500" y="4235"/>
                    <a:pt x="74500" y="4235"/>
                    <a:pt x="74500" y="4235"/>
                  </a:cubicBezTo>
                  <a:cubicBezTo>
                    <a:pt x="81500" y="1411"/>
                    <a:pt x="81500" y="1411"/>
                    <a:pt x="81500" y="1411"/>
                  </a:cubicBezTo>
                  <a:cubicBezTo>
                    <a:pt x="84000" y="3529"/>
                    <a:pt x="84000" y="3529"/>
                    <a:pt x="84000" y="3529"/>
                  </a:cubicBezTo>
                  <a:cubicBezTo>
                    <a:pt x="87500" y="2823"/>
                    <a:pt x="87500" y="2823"/>
                    <a:pt x="87500" y="2823"/>
                  </a:cubicBezTo>
                  <a:cubicBezTo>
                    <a:pt x="90000" y="0"/>
                    <a:pt x="90000" y="0"/>
                    <a:pt x="90000" y="0"/>
                  </a:cubicBezTo>
                  <a:cubicBezTo>
                    <a:pt x="93000" y="705"/>
                    <a:pt x="93000" y="705"/>
                    <a:pt x="93000" y="705"/>
                  </a:cubicBezTo>
                  <a:cubicBezTo>
                    <a:pt x="97000" y="6352"/>
                    <a:pt x="97000" y="6352"/>
                    <a:pt x="97000" y="6352"/>
                  </a:cubicBezTo>
                  <a:cubicBezTo>
                    <a:pt x="101000" y="6352"/>
                    <a:pt x="101000" y="6352"/>
                    <a:pt x="101000" y="6352"/>
                  </a:cubicBezTo>
                  <a:cubicBezTo>
                    <a:pt x="103500" y="4235"/>
                    <a:pt x="103500" y="4235"/>
                    <a:pt x="103500" y="4235"/>
                  </a:cubicBezTo>
                  <a:cubicBezTo>
                    <a:pt x="106000" y="2823"/>
                    <a:pt x="106000" y="2823"/>
                    <a:pt x="106000" y="2823"/>
                  </a:cubicBezTo>
                  <a:cubicBezTo>
                    <a:pt x="107500" y="4941"/>
                    <a:pt x="107500" y="4941"/>
                    <a:pt x="107500" y="4941"/>
                  </a:cubicBezTo>
                  <a:cubicBezTo>
                    <a:pt x="109000" y="7764"/>
                    <a:pt x="109000" y="7764"/>
                    <a:pt x="109000" y="7764"/>
                  </a:cubicBezTo>
                  <a:cubicBezTo>
                    <a:pt x="111500" y="7058"/>
                    <a:pt x="111500" y="7058"/>
                    <a:pt x="111500" y="7058"/>
                  </a:cubicBezTo>
                  <a:cubicBezTo>
                    <a:pt x="113000" y="9882"/>
                    <a:pt x="113000" y="9882"/>
                    <a:pt x="113000" y="9882"/>
                  </a:cubicBezTo>
                  <a:cubicBezTo>
                    <a:pt x="114500" y="12000"/>
                    <a:pt x="114500" y="12000"/>
                    <a:pt x="114500" y="12000"/>
                  </a:cubicBezTo>
                  <a:cubicBezTo>
                    <a:pt x="117000" y="11294"/>
                    <a:pt x="117000" y="11294"/>
                    <a:pt x="117000" y="11294"/>
                  </a:cubicBezTo>
                  <a:cubicBezTo>
                    <a:pt x="119500" y="13411"/>
                    <a:pt x="119500" y="13411"/>
                    <a:pt x="119500" y="13411"/>
                  </a:cubicBezTo>
                  <a:cubicBezTo>
                    <a:pt x="119000" y="16235"/>
                    <a:pt x="119000" y="16235"/>
                    <a:pt x="119000" y="16235"/>
                  </a:cubicBezTo>
                  <a:cubicBezTo>
                    <a:pt x="120000" y="19764"/>
                    <a:pt x="120000" y="19764"/>
                    <a:pt x="120000" y="19764"/>
                  </a:cubicBezTo>
                  <a:cubicBezTo>
                    <a:pt x="118500" y="21882"/>
                    <a:pt x="118500" y="21882"/>
                    <a:pt x="118500" y="21882"/>
                  </a:cubicBezTo>
                  <a:cubicBezTo>
                    <a:pt x="118500" y="21882"/>
                    <a:pt x="118000" y="23294"/>
                    <a:pt x="117000" y="23294"/>
                  </a:cubicBezTo>
                  <a:cubicBezTo>
                    <a:pt x="116500" y="24000"/>
                    <a:pt x="115500" y="24705"/>
                    <a:pt x="115500" y="24705"/>
                  </a:cubicBezTo>
                  <a:cubicBezTo>
                    <a:pt x="114000" y="26823"/>
                    <a:pt x="114000" y="26823"/>
                    <a:pt x="114000" y="26823"/>
                  </a:cubicBezTo>
                  <a:cubicBezTo>
                    <a:pt x="112000" y="27529"/>
                    <a:pt x="112000" y="27529"/>
                    <a:pt x="112000" y="27529"/>
                  </a:cubicBezTo>
                  <a:cubicBezTo>
                    <a:pt x="110500" y="28235"/>
                    <a:pt x="110500" y="28235"/>
                    <a:pt x="110500" y="28235"/>
                  </a:cubicBezTo>
                  <a:cubicBezTo>
                    <a:pt x="109500" y="29647"/>
                    <a:pt x="109500" y="29647"/>
                    <a:pt x="109500" y="29647"/>
                  </a:cubicBezTo>
                  <a:cubicBezTo>
                    <a:pt x="108500" y="33882"/>
                    <a:pt x="108500" y="33882"/>
                    <a:pt x="108500" y="33882"/>
                  </a:cubicBezTo>
                  <a:cubicBezTo>
                    <a:pt x="107000" y="36000"/>
                    <a:pt x="107000" y="36000"/>
                    <a:pt x="107000" y="36000"/>
                  </a:cubicBezTo>
                  <a:cubicBezTo>
                    <a:pt x="106500" y="39529"/>
                    <a:pt x="106500" y="39529"/>
                    <a:pt x="106500" y="39529"/>
                  </a:cubicBezTo>
                  <a:cubicBezTo>
                    <a:pt x="106500" y="39529"/>
                    <a:pt x="107500" y="43058"/>
                    <a:pt x="106500" y="43764"/>
                  </a:cubicBezTo>
                  <a:cubicBezTo>
                    <a:pt x="106000" y="43764"/>
                    <a:pt x="105500" y="44470"/>
                    <a:pt x="105500" y="44470"/>
                  </a:cubicBezTo>
                  <a:cubicBezTo>
                    <a:pt x="105000" y="50117"/>
                    <a:pt x="105000" y="50117"/>
                    <a:pt x="105000" y="50117"/>
                  </a:cubicBezTo>
                  <a:cubicBezTo>
                    <a:pt x="103000" y="52941"/>
                    <a:pt x="103000" y="52941"/>
                    <a:pt x="103000" y="52941"/>
                  </a:cubicBezTo>
                  <a:cubicBezTo>
                    <a:pt x="102500" y="58588"/>
                    <a:pt x="102500" y="58588"/>
                    <a:pt x="102500" y="58588"/>
                  </a:cubicBezTo>
                  <a:cubicBezTo>
                    <a:pt x="102500" y="58588"/>
                    <a:pt x="103500" y="61411"/>
                    <a:pt x="102000" y="61411"/>
                  </a:cubicBezTo>
                  <a:cubicBezTo>
                    <a:pt x="101000" y="62117"/>
                    <a:pt x="100500" y="63529"/>
                    <a:pt x="100500" y="63529"/>
                  </a:cubicBezTo>
                  <a:cubicBezTo>
                    <a:pt x="100500" y="68470"/>
                    <a:pt x="100500" y="68470"/>
                    <a:pt x="100500" y="68470"/>
                  </a:cubicBezTo>
                  <a:cubicBezTo>
                    <a:pt x="99000" y="72000"/>
                    <a:pt x="99000" y="72000"/>
                    <a:pt x="99000" y="72000"/>
                  </a:cubicBezTo>
                  <a:cubicBezTo>
                    <a:pt x="99500" y="74823"/>
                    <a:pt x="99500" y="74823"/>
                    <a:pt x="99500" y="74823"/>
                  </a:cubicBezTo>
                  <a:cubicBezTo>
                    <a:pt x="98500" y="76941"/>
                    <a:pt x="98500" y="76941"/>
                    <a:pt x="98500" y="76941"/>
                  </a:cubicBezTo>
                  <a:cubicBezTo>
                    <a:pt x="99000" y="80470"/>
                    <a:pt x="99000" y="80470"/>
                    <a:pt x="99000" y="80470"/>
                  </a:cubicBezTo>
                  <a:cubicBezTo>
                    <a:pt x="98000" y="82588"/>
                    <a:pt x="98000" y="82588"/>
                    <a:pt x="98000" y="82588"/>
                  </a:cubicBezTo>
                  <a:cubicBezTo>
                    <a:pt x="97500" y="83294"/>
                    <a:pt x="97500" y="83294"/>
                    <a:pt x="97500" y="83294"/>
                  </a:cubicBezTo>
                  <a:cubicBezTo>
                    <a:pt x="97000" y="85411"/>
                    <a:pt x="97000" y="85411"/>
                    <a:pt x="97000" y="85411"/>
                  </a:cubicBezTo>
                  <a:cubicBezTo>
                    <a:pt x="96000" y="88941"/>
                    <a:pt x="96000" y="88941"/>
                    <a:pt x="96000" y="88941"/>
                  </a:cubicBezTo>
                  <a:cubicBezTo>
                    <a:pt x="92000" y="93882"/>
                    <a:pt x="92000" y="93882"/>
                    <a:pt x="92000" y="93882"/>
                  </a:cubicBezTo>
                  <a:cubicBezTo>
                    <a:pt x="90000" y="93176"/>
                    <a:pt x="90000" y="93176"/>
                    <a:pt x="90000" y="93176"/>
                  </a:cubicBezTo>
                  <a:cubicBezTo>
                    <a:pt x="88500" y="95294"/>
                    <a:pt x="88500" y="95294"/>
                    <a:pt x="88500" y="95294"/>
                  </a:cubicBezTo>
                  <a:cubicBezTo>
                    <a:pt x="88500" y="95294"/>
                    <a:pt x="89000" y="95294"/>
                    <a:pt x="88000" y="96705"/>
                  </a:cubicBezTo>
                  <a:cubicBezTo>
                    <a:pt x="87000" y="97411"/>
                    <a:pt x="85000" y="98117"/>
                    <a:pt x="85000" y="98117"/>
                  </a:cubicBezTo>
                  <a:cubicBezTo>
                    <a:pt x="84000" y="98117"/>
                    <a:pt x="84000" y="98117"/>
                    <a:pt x="84000" y="98117"/>
                  </a:cubicBezTo>
                  <a:cubicBezTo>
                    <a:pt x="80500" y="98117"/>
                    <a:pt x="80500" y="98117"/>
                    <a:pt x="80500" y="98117"/>
                  </a:cubicBezTo>
                  <a:cubicBezTo>
                    <a:pt x="80500" y="98117"/>
                    <a:pt x="80000" y="97411"/>
                    <a:pt x="79500" y="98117"/>
                  </a:cubicBezTo>
                  <a:cubicBezTo>
                    <a:pt x="79000" y="98117"/>
                    <a:pt x="76500" y="98117"/>
                    <a:pt x="76500" y="98117"/>
                  </a:cubicBezTo>
                  <a:cubicBezTo>
                    <a:pt x="76500" y="98117"/>
                    <a:pt x="75500" y="97411"/>
                    <a:pt x="75000" y="97411"/>
                  </a:cubicBezTo>
                  <a:cubicBezTo>
                    <a:pt x="74500" y="97411"/>
                    <a:pt x="71500" y="98117"/>
                    <a:pt x="71500" y="98117"/>
                  </a:cubicBezTo>
                  <a:cubicBezTo>
                    <a:pt x="69500" y="99529"/>
                    <a:pt x="69500" y="99529"/>
                    <a:pt x="69500" y="99529"/>
                  </a:cubicBezTo>
                  <a:cubicBezTo>
                    <a:pt x="69500" y="99529"/>
                    <a:pt x="69000" y="98117"/>
                    <a:pt x="68500" y="98823"/>
                  </a:cubicBezTo>
                  <a:cubicBezTo>
                    <a:pt x="67500" y="98823"/>
                    <a:pt x="65000" y="100235"/>
                    <a:pt x="65000" y="100235"/>
                  </a:cubicBezTo>
                  <a:cubicBezTo>
                    <a:pt x="65000" y="100235"/>
                    <a:pt x="66000" y="101647"/>
                    <a:pt x="65000" y="101647"/>
                  </a:cubicBezTo>
                  <a:cubicBezTo>
                    <a:pt x="64500" y="101647"/>
                    <a:pt x="63000" y="104470"/>
                    <a:pt x="63000" y="104470"/>
                  </a:cubicBezTo>
                  <a:cubicBezTo>
                    <a:pt x="62000" y="105176"/>
                    <a:pt x="62000" y="105176"/>
                    <a:pt x="62000" y="105176"/>
                  </a:cubicBezTo>
                  <a:cubicBezTo>
                    <a:pt x="61500" y="107294"/>
                    <a:pt x="61500" y="107294"/>
                    <a:pt x="61500" y="107294"/>
                  </a:cubicBezTo>
                  <a:cubicBezTo>
                    <a:pt x="61500" y="107294"/>
                    <a:pt x="61000" y="107294"/>
                    <a:pt x="60000" y="107294"/>
                  </a:cubicBezTo>
                  <a:cubicBezTo>
                    <a:pt x="59500" y="107294"/>
                    <a:pt x="58000" y="108000"/>
                    <a:pt x="58000" y="108000"/>
                  </a:cubicBezTo>
                  <a:cubicBezTo>
                    <a:pt x="57500" y="107294"/>
                    <a:pt x="57500" y="107294"/>
                    <a:pt x="57500" y="107294"/>
                  </a:cubicBezTo>
                  <a:cubicBezTo>
                    <a:pt x="55500" y="111529"/>
                    <a:pt x="55500" y="111529"/>
                    <a:pt x="55500" y="111529"/>
                  </a:cubicBezTo>
                  <a:cubicBezTo>
                    <a:pt x="53500" y="112941"/>
                    <a:pt x="53500" y="112941"/>
                    <a:pt x="53500" y="112941"/>
                  </a:cubicBezTo>
                  <a:cubicBezTo>
                    <a:pt x="52500" y="112235"/>
                    <a:pt x="52500" y="112235"/>
                    <a:pt x="52500" y="112235"/>
                  </a:cubicBezTo>
                  <a:cubicBezTo>
                    <a:pt x="51500" y="115764"/>
                    <a:pt x="51500" y="115764"/>
                    <a:pt x="51500" y="115764"/>
                  </a:cubicBezTo>
                  <a:cubicBezTo>
                    <a:pt x="51500" y="115764"/>
                    <a:pt x="50000" y="116470"/>
                    <a:pt x="50000" y="117176"/>
                  </a:cubicBezTo>
                  <a:cubicBezTo>
                    <a:pt x="49500" y="117882"/>
                    <a:pt x="47000" y="117882"/>
                    <a:pt x="47000" y="117882"/>
                  </a:cubicBezTo>
                  <a:cubicBezTo>
                    <a:pt x="45000" y="117882"/>
                    <a:pt x="45000" y="117882"/>
                    <a:pt x="45000" y="117882"/>
                  </a:cubicBezTo>
                  <a:cubicBezTo>
                    <a:pt x="41500" y="119294"/>
                    <a:pt x="41500" y="119294"/>
                    <a:pt x="41500" y="119294"/>
                  </a:cubicBezTo>
                  <a:cubicBezTo>
                    <a:pt x="41500" y="119294"/>
                    <a:pt x="40500" y="120000"/>
                    <a:pt x="40000" y="120000"/>
                  </a:cubicBezTo>
                  <a:cubicBezTo>
                    <a:pt x="39500" y="120000"/>
                    <a:pt x="37000" y="119294"/>
                    <a:pt x="37000" y="119294"/>
                  </a:cubicBezTo>
                  <a:cubicBezTo>
                    <a:pt x="35500" y="120000"/>
                    <a:pt x="35500" y="120000"/>
                    <a:pt x="35500" y="120000"/>
                  </a:cubicBezTo>
                  <a:cubicBezTo>
                    <a:pt x="32000" y="118588"/>
                    <a:pt x="32000" y="118588"/>
                    <a:pt x="32000" y="118588"/>
                  </a:cubicBezTo>
                  <a:cubicBezTo>
                    <a:pt x="31000" y="116470"/>
                    <a:pt x="31000" y="116470"/>
                    <a:pt x="31000" y="116470"/>
                  </a:cubicBezTo>
                  <a:cubicBezTo>
                    <a:pt x="28000" y="115764"/>
                    <a:pt x="28000" y="115764"/>
                    <a:pt x="28000" y="115764"/>
                  </a:cubicBezTo>
                  <a:cubicBezTo>
                    <a:pt x="27500" y="114352"/>
                    <a:pt x="27500" y="114352"/>
                    <a:pt x="27500" y="114352"/>
                  </a:cubicBezTo>
                  <a:cubicBezTo>
                    <a:pt x="25500" y="114352"/>
                    <a:pt x="25500" y="114352"/>
                    <a:pt x="25500" y="114352"/>
                  </a:cubicBezTo>
                  <a:cubicBezTo>
                    <a:pt x="23500" y="111529"/>
                    <a:pt x="23500" y="111529"/>
                    <a:pt x="23500" y="111529"/>
                  </a:cubicBezTo>
                  <a:cubicBezTo>
                    <a:pt x="21000" y="107294"/>
                    <a:pt x="21000" y="107294"/>
                    <a:pt x="21000" y="107294"/>
                  </a:cubicBezTo>
                  <a:cubicBezTo>
                    <a:pt x="16000" y="105176"/>
                    <a:pt x="16000" y="105176"/>
                    <a:pt x="16000" y="105176"/>
                  </a:cubicBezTo>
                  <a:cubicBezTo>
                    <a:pt x="14500" y="102352"/>
                    <a:pt x="14500" y="102352"/>
                    <a:pt x="14500" y="102352"/>
                  </a:cubicBezTo>
                  <a:cubicBezTo>
                    <a:pt x="13000" y="100941"/>
                    <a:pt x="13000" y="100941"/>
                    <a:pt x="13000" y="100941"/>
                  </a:cubicBezTo>
                  <a:cubicBezTo>
                    <a:pt x="11000" y="98823"/>
                    <a:pt x="11000" y="98823"/>
                    <a:pt x="11000" y="98823"/>
                  </a:cubicBezTo>
                  <a:cubicBezTo>
                    <a:pt x="9000" y="96705"/>
                    <a:pt x="9000" y="96705"/>
                    <a:pt x="9000" y="96705"/>
                  </a:cubicBezTo>
                  <a:cubicBezTo>
                    <a:pt x="8000" y="95294"/>
                    <a:pt x="8000" y="95294"/>
                    <a:pt x="8000" y="95294"/>
                  </a:cubicBezTo>
                  <a:cubicBezTo>
                    <a:pt x="5000" y="89647"/>
                    <a:pt x="5000" y="89647"/>
                    <a:pt x="5000" y="89647"/>
                  </a:cubicBezTo>
                  <a:cubicBezTo>
                    <a:pt x="5000" y="88235"/>
                    <a:pt x="5000" y="88235"/>
                    <a:pt x="5000" y="88235"/>
                  </a:cubicBezTo>
                  <a:cubicBezTo>
                    <a:pt x="3500" y="85411"/>
                    <a:pt x="3500" y="85411"/>
                    <a:pt x="3500" y="85411"/>
                  </a:cubicBezTo>
                  <a:cubicBezTo>
                    <a:pt x="3000" y="82588"/>
                    <a:pt x="3000" y="82588"/>
                    <a:pt x="3000" y="82588"/>
                  </a:cubicBezTo>
                  <a:cubicBezTo>
                    <a:pt x="2000" y="81176"/>
                    <a:pt x="2000" y="81176"/>
                    <a:pt x="2000" y="81176"/>
                  </a:cubicBezTo>
                  <a:cubicBezTo>
                    <a:pt x="0" y="82588"/>
                    <a:pt x="0" y="82588"/>
                    <a:pt x="0" y="82588"/>
                  </a:cubicBezTo>
                  <a:cubicBezTo>
                    <a:pt x="0" y="82588"/>
                    <a:pt x="0" y="82588"/>
                    <a:pt x="0" y="82588"/>
                  </a:cubicBezTo>
                  <a:cubicBezTo>
                    <a:pt x="0" y="81882"/>
                    <a:pt x="0" y="81882"/>
                    <a:pt x="0" y="81882"/>
                  </a:cubicBezTo>
                  <a:cubicBezTo>
                    <a:pt x="1500" y="76941"/>
                    <a:pt x="1500" y="76941"/>
                    <a:pt x="1500" y="76941"/>
                  </a:cubicBezTo>
                  <a:cubicBezTo>
                    <a:pt x="3000" y="76235"/>
                    <a:pt x="3000" y="76235"/>
                    <a:pt x="3000" y="76235"/>
                  </a:cubicBezTo>
                  <a:cubicBezTo>
                    <a:pt x="4500" y="72705"/>
                    <a:pt x="4500" y="72705"/>
                    <a:pt x="4500" y="72705"/>
                  </a:cubicBezTo>
                  <a:cubicBezTo>
                    <a:pt x="4000" y="68470"/>
                    <a:pt x="4000" y="68470"/>
                    <a:pt x="4000" y="68470"/>
                  </a:cubicBezTo>
                  <a:cubicBezTo>
                    <a:pt x="4000" y="67058"/>
                    <a:pt x="4000" y="67058"/>
                    <a:pt x="4000" y="67058"/>
                  </a:cubicBezTo>
                  <a:cubicBezTo>
                    <a:pt x="2500" y="62823"/>
                    <a:pt x="2500" y="62823"/>
                    <a:pt x="2500" y="62823"/>
                  </a:cubicBezTo>
                  <a:cubicBezTo>
                    <a:pt x="2500" y="62823"/>
                    <a:pt x="3000" y="62117"/>
                    <a:pt x="3500" y="62117"/>
                  </a:cubicBezTo>
                  <a:cubicBezTo>
                    <a:pt x="4000" y="62117"/>
                    <a:pt x="5500" y="60705"/>
                    <a:pt x="5500" y="60705"/>
                  </a:cubicBezTo>
                  <a:cubicBezTo>
                    <a:pt x="8500" y="57882"/>
                    <a:pt x="8500" y="57882"/>
                    <a:pt x="8500" y="57882"/>
                  </a:cubicBezTo>
                  <a:cubicBezTo>
                    <a:pt x="6000" y="52235"/>
                    <a:pt x="6000" y="52235"/>
                    <a:pt x="6000" y="52235"/>
                  </a:cubicBezTo>
                  <a:cubicBezTo>
                    <a:pt x="5000" y="52235"/>
                    <a:pt x="5000" y="52235"/>
                    <a:pt x="5000" y="52235"/>
                  </a:cubicBezTo>
                  <a:cubicBezTo>
                    <a:pt x="2000" y="50823"/>
                    <a:pt x="2000" y="50823"/>
                    <a:pt x="2000" y="50823"/>
                  </a:cubicBezTo>
                  <a:cubicBezTo>
                    <a:pt x="4000" y="48705"/>
                    <a:pt x="4000" y="48705"/>
                    <a:pt x="4000" y="48705"/>
                  </a:cubicBezTo>
                  <a:cubicBezTo>
                    <a:pt x="5000" y="47294"/>
                    <a:pt x="5000" y="47294"/>
                    <a:pt x="5000" y="47294"/>
                  </a:cubicBezTo>
                  <a:cubicBezTo>
                    <a:pt x="9000" y="49411"/>
                    <a:pt x="9000" y="49411"/>
                    <a:pt x="9000" y="49411"/>
                  </a:cubicBezTo>
                  <a:cubicBezTo>
                    <a:pt x="9000" y="49411"/>
                    <a:pt x="10500" y="50117"/>
                    <a:pt x="10000" y="49411"/>
                  </a:cubicBezTo>
                  <a:cubicBezTo>
                    <a:pt x="10000" y="47294"/>
                    <a:pt x="10500" y="48705"/>
                    <a:pt x="10500" y="48705"/>
                  </a:cubicBezTo>
                  <a:cubicBezTo>
                    <a:pt x="11000" y="50117"/>
                    <a:pt x="12500" y="48705"/>
                    <a:pt x="13500" y="48705"/>
                  </a:cubicBezTo>
                  <a:cubicBezTo>
                    <a:pt x="15000" y="48000"/>
                    <a:pt x="14000" y="46588"/>
                    <a:pt x="13500" y="45176"/>
                  </a:cubicBezTo>
                  <a:cubicBezTo>
                    <a:pt x="13500" y="44470"/>
                    <a:pt x="13500" y="43764"/>
                    <a:pt x="14000" y="43058"/>
                  </a:cubicBezTo>
                  <a:close/>
                </a:path>
              </a:pathLst>
            </a:custGeom>
            <a:solidFill>
              <a:srgbClr val="E4032D">
                <a:alpha val="25000"/>
              </a:srgbClr>
            </a:solidFill>
            <a:ln w="3175" cap="flat" cmpd="sng">
              <a:solidFill>
                <a:schemeClr val="tx1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defTabSz="457178"/>
              <a:endParaRPr kern="0">
                <a:solidFill>
                  <a:srgbClr val="7F7F7F"/>
                </a:solidFill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24" name="Shape 2031">
              <a:extLst>
                <a:ext uri="{FF2B5EF4-FFF2-40B4-BE49-F238E27FC236}">
                  <a16:creationId xmlns:a16="http://schemas.microsoft.com/office/drawing/2014/main" id="{BE4BF8EA-1AFC-406D-8D3D-D50C731B216D}"/>
                </a:ext>
              </a:extLst>
            </p:cNvPr>
            <p:cNvSpPr/>
            <p:nvPr/>
          </p:nvSpPr>
          <p:spPr>
            <a:xfrm>
              <a:off x="5991266" y="1973644"/>
              <a:ext cx="656360" cy="596634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33750" y="29333"/>
                  </a:moveTo>
                  <a:cubicBezTo>
                    <a:pt x="33333" y="27111"/>
                    <a:pt x="33333" y="27111"/>
                    <a:pt x="33333" y="27111"/>
                  </a:cubicBezTo>
                  <a:cubicBezTo>
                    <a:pt x="35000" y="26222"/>
                    <a:pt x="35000" y="26222"/>
                    <a:pt x="35000" y="26222"/>
                  </a:cubicBezTo>
                  <a:cubicBezTo>
                    <a:pt x="34583" y="24444"/>
                    <a:pt x="34583" y="24444"/>
                    <a:pt x="34583" y="24444"/>
                  </a:cubicBezTo>
                  <a:cubicBezTo>
                    <a:pt x="31666" y="24888"/>
                    <a:pt x="31666" y="24888"/>
                    <a:pt x="31666" y="24888"/>
                  </a:cubicBezTo>
                  <a:cubicBezTo>
                    <a:pt x="30416" y="24444"/>
                    <a:pt x="30416" y="24444"/>
                    <a:pt x="30416" y="24444"/>
                  </a:cubicBezTo>
                  <a:cubicBezTo>
                    <a:pt x="30416" y="22222"/>
                    <a:pt x="30416" y="22222"/>
                    <a:pt x="30416" y="22222"/>
                  </a:cubicBezTo>
                  <a:cubicBezTo>
                    <a:pt x="31250" y="20000"/>
                    <a:pt x="31250" y="20000"/>
                    <a:pt x="31250" y="20000"/>
                  </a:cubicBezTo>
                  <a:cubicBezTo>
                    <a:pt x="30833" y="16000"/>
                    <a:pt x="30833" y="16000"/>
                    <a:pt x="30833" y="16000"/>
                  </a:cubicBezTo>
                  <a:cubicBezTo>
                    <a:pt x="30833" y="16000"/>
                    <a:pt x="30000" y="16000"/>
                    <a:pt x="31250" y="15111"/>
                  </a:cubicBezTo>
                  <a:cubicBezTo>
                    <a:pt x="32916" y="14666"/>
                    <a:pt x="33750" y="14666"/>
                    <a:pt x="33750" y="14666"/>
                  </a:cubicBezTo>
                  <a:cubicBezTo>
                    <a:pt x="34166" y="12000"/>
                    <a:pt x="34166" y="12000"/>
                    <a:pt x="34166" y="12000"/>
                  </a:cubicBezTo>
                  <a:cubicBezTo>
                    <a:pt x="35416" y="10666"/>
                    <a:pt x="35416" y="10666"/>
                    <a:pt x="35416" y="10666"/>
                  </a:cubicBezTo>
                  <a:cubicBezTo>
                    <a:pt x="35416" y="10666"/>
                    <a:pt x="35000" y="10666"/>
                    <a:pt x="36666" y="10666"/>
                  </a:cubicBezTo>
                  <a:cubicBezTo>
                    <a:pt x="38333" y="10666"/>
                    <a:pt x="38750" y="10666"/>
                    <a:pt x="38750" y="10666"/>
                  </a:cubicBezTo>
                  <a:cubicBezTo>
                    <a:pt x="42083" y="10666"/>
                    <a:pt x="42083" y="10666"/>
                    <a:pt x="42083" y="10666"/>
                  </a:cubicBezTo>
                  <a:cubicBezTo>
                    <a:pt x="42916" y="9333"/>
                    <a:pt x="42916" y="9333"/>
                    <a:pt x="42916" y="9333"/>
                  </a:cubicBezTo>
                  <a:cubicBezTo>
                    <a:pt x="42083" y="7111"/>
                    <a:pt x="42083" y="7111"/>
                    <a:pt x="42083" y="7111"/>
                  </a:cubicBezTo>
                  <a:cubicBezTo>
                    <a:pt x="44166" y="4888"/>
                    <a:pt x="44166" y="4888"/>
                    <a:pt x="44166" y="4888"/>
                  </a:cubicBezTo>
                  <a:cubicBezTo>
                    <a:pt x="44583" y="1777"/>
                    <a:pt x="44583" y="1777"/>
                    <a:pt x="44583" y="1777"/>
                  </a:cubicBezTo>
                  <a:cubicBezTo>
                    <a:pt x="46666" y="444"/>
                    <a:pt x="46666" y="444"/>
                    <a:pt x="46666" y="444"/>
                  </a:cubicBezTo>
                  <a:cubicBezTo>
                    <a:pt x="46666" y="444"/>
                    <a:pt x="47916" y="1777"/>
                    <a:pt x="48333" y="1777"/>
                  </a:cubicBezTo>
                  <a:cubicBezTo>
                    <a:pt x="48750" y="1777"/>
                    <a:pt x="49166" y="2222"/>
                    <a:pt x="49583" y="1777"/>
                  </a:cubicBezTo>
                  <a:cubicBezTo>
                    <a:pt x="50000" y="1777"/>
                    <a:pt x="50416" y="888"/>
                    <a:pt x="50416" y="888"/>
                  </a:cubicBezTo>
                  <a:cubicBezTo>
                    <a:pt x="52500" y="0"/>
                    <a:pt x="52500" y="0"/>
                    <a:pt x="52500" y="0"/>
                  </a:cubicBezTo>
                  <a:cubicBezTo>
                    <a:pt x="53750" y="444"/>
                    <a:pt x="53750" y="444"/>
                    <a:pt x="53750" y="444"/>
                  </a:cubicBezTo>
                  <a:cubicBezTo>
                    <a:pt x="54583" y="2222"/>
                    <a:pt x="54583" y="2222"/>
                    <a:pt x="54583" y="2222"/>
                  </a:cubicBezTo>
                  <a:cubicBezTo>
                    <a:pt x="56666" y="2222"/>
                    <a:pt x="56666" y="2222"/>
                    <a:pt x="56666" y="2222"/>
                  </a:cubicBezTo>
                  <a:cubicBezTo>
                    <a:pt x="57083" y="1333"/>
                    <a:pt x="57083" y="1333"/>
                    <a:pt x="57083" y="1333"/>
                  </a:cubicBezTo>
                  <a:cubicBezTo>
                    <a:pt x="60000" y="444"/>
                    <a:pt x="60000" y="444"/>
                    <a:pt x="60000" y="444"/>
                  </a:cubicBezTo>
                  <a:cubicBezTo>
                    <a:pt x="63333" y="444"/>
                    <a:pt x="63333" y="444"/>
                    <a:pt x="63333" y="444"/>
                  </a:cubicBezTo>
                  <a:cubicBezTo>
                    <a:pt x="63750" y="3111"/>
                    <a:pt x="63750" y="3111"/>
                    <a:pt x="63750" y="3111"/>
                  </a:cubicBezTo>
                  <a:cubicBezTo>
                    <a:pt x="63750" y="4444"/>
                    <a:pt x="63750" y="4444"/>
                    <a:pt x="63750" y="4444"/>
                  </a:cubicBezTo>
                  <a:cubicBezTo>
                    <a:pt x="63750" y="4444"/>
                    <a:pt x="64583" y="5777"/>
                    <a:pt x="65416" y="5333"/>
                  </a:cubicBezTo>
                  <a:cubicBezTo>
                    <a:pt x="65833" y="5333"/>
                    <a:pt x="67500" y="4888"/>
                    <a:pt x="67916" y="4000"/>
                  </a:cubicBezTo>
                  <a:cubicBezTo>
                    <a:pt x="67916" y="3111"/>
                    <a:pt x="68333" y="2222"/>
                    <a:pt x="69166" y="1777"/>
                  </a:cubicBezTo>
                  <a:cubicBezTo>
                    <a:pt x="70000" y="1777"/>
                    <a:pt x="69583" y="1333"/>
                    <a:pt x="70833" y="888"/>
                  </a:cubicBezTo>
                  <a:cubicBezTo>
                    <a:pt x="72500" y="444"/>
                    <a:pt x="73750" y="0"/>
                    <a:pt x="73750" y="0"/>
                  </a:cubicBezTo>
                  <a:cubicBezTo>
                    <a:pt x="77500" y="888"/>
                    <a:pt x="77500" y="888"/>
                    <a:pt x="77500" y="888"/>
                  </a:cubicBezTo>
                  <a:cubicBezTo>
                    <a:pt x="78750" y="2222"/>
                    <a:pt x="78750" y="2222"/>
                    <a:pt x="78750" y="2222"/>
                  </a:cubicBezTo>
                  <a:cubicBezTo>
                    <a:pt x="80000" y="3111"/>
                    <a:pt x="80000" y="3111"/>
                    <a:pt x="80000" y="3111"/>
                  </a:cubicBezTo>
                  <a:cubicBezTo>
                    <a:pt x="81250" y="2666"/>
                    <a:pt x="81250" y="2666"/>
                    <a:pt x="81250" y="2666"/>
                  </a:cubicBezTo>
                  <a:cubicBezTo>
                    <a:pt x="81666" y="3555"/>
                    <a:pt x="81666" y="3555"/>
                    <a:pt x="81666" y="3555"/>
                  </a:cubicBezTo>
                  <a:cubicBezTo>
                    <a:pt x="83333" y="2666"/>
                    <a:pt x="83333" y="2666"/>
                    <a:pt x="83333" y="2666"/>
                  </a:cubicBezTo>
                  <a:cubicBezTo>
                    <a:pt x="84166" y="4444"/>
                    <a:pt x="84166" y="4444"/>
                    <a:pt x="84166" y="4444"/>
                  </a:cubicBezTo>
                  <a:cubicBezTo>
                    <a:pt x="84166" y="8000"/>
                    <a:pt x="84166" y="8000"/>
                    <a:pt x="84166" y="8000"/>
                  </a:cubicBezTo>
                  <a:cubicBezTo>
                    <a:pt x="84166" y="9333"/>
                    <a:pt x="84166" y="9333"/>
                    <a:pt x="84166" y="9333"/>
                  </a:cubicBezTo>
                  <a:cubicBezTo>
                    <a:pt x="84166" y="10666"/>
                    <a:pt x="84166" y="10666"/>
                    <a:pt x="84166" y="10666"/>
                  </a:cubicBezTo>
                  <a:cubicBezTo>
                    <a:pt x="86666" y="12444"/>
                    <a:pt x="86666" y="12444"/>
                    <a:pt x="86666" y="12444"/>
                  </a:cubicBezTo>
                  <a:cubicBezTo>
                    <a:pt x="87916" y="13777"/>
                    <a:pt x="87916" y="13777"/>
                    <a:pt x="87916" y="13777"/>
                  </a:cubicBezTo>
                  <a:cubicBezTo>
                    <a:pt x="87500" y="16000"/>
                    <a:pt x="87500" y="16000"/>
                    <a:pt x="87500" y="16000"/>
                  </a:cubicBezTo>
                  <a:cubicBezTo>
                    <a:pt x="87500" y="17333"/>
                    <a:pt x="87500" y="17333"/>
                    <a:pt x="87500" y="17333"/>
                  </a:cubicBezTo>
                  <a:cubicBezTo>
                    <a:pt x="86250" y="20888"/>
                    <a:pt x="86250" y="20888"/>
                    <a:pt x="86250" y="20888"/>
                  </a:cubicBezTo>
                  <a:cubicBezTo>
                    <a:pt x="89166" y="21777"/>
                    <a:pt x="89166" y="21777"/>
                    <a:pt x="89166" y="21777"/>
                  </a:cubicBezTo>
                  <a:cubicBezTo>
                    <a:pt x="90833" y="23555"/>
                    <a:pt x="90833" y="23555"/>
                    <a:pt x="90833" y="23555"/>
                  </a:cubicBezTo>
                  <a:cubicBezTo>
                    <a:pt x="92500" y="23555"/>
                    <a:pt x="92500" y="23555"/>
                    <a:pt x="92500" y="23555"/>
                  </a:cubicBezTo>
                  <a:cubicBezTo>
                    <a:pt x="92500" y="25777"/>
                    <a:pt x="92500" y="25777"/>
                    <a:pt x="92500" y="25777"/>
                  </a:cubicBezTo>
                  <a:cubicBezTo>
                    <a:pt x="92500" y="25777"/>
                    <a:pt x="91666" y="27111"/>
                    <a:pt x="92916" y="27111"/>
                  </a:cubicBezTo>
                  <a:cubicBezTo>
                    <a:pt x="94166" y="27555"/>
                    <a:pt x="94583" y="27555"/>
                    <a:pt x="94583" y="27555"/>
                  </a:cubicBezTo>
                  <a:cubicBezTo>
                    <a:pt x="95000" y="28888"/>
                    <a:pt x="95000" y="28888"/>
                    <a:pt x="95000" y="28888"/>
                  </a:cubicBezTo>
                  <a:cubicBezTo>
                    <a:pt x="97083" y="32000"/>
                    <a:pt x="97083" y="32000"/>
                    <a:pt x="97083" y="32000"/>
                  </a:cubicBezTo>
                  <a:cubicBezTo>
                    <a:pt x="101666" y="32888"/>
                    <a:pt x="101666" y="32888"/>
                    <a:pt x="101666" y="32888"/>
                  </a:cubicBezTo>
                  <a:cubicBezTo>
                    <a:pt x="103750" y="33777"/>
                    <a:pt x="103750" y="33777"/>
                    <a:pt x="103750" y="33777"/>
                  </a:cubicBezTo>
                  <a:cubicBezTo>
                    <a:pt x="104583" y="35555"/>
                    <a:pt x="104583" y="35555"/>
                    <a:pt x="104583" y="35555"/>
                  </a:cubicBezTo>
                  <a:cubicBezTo>
                    <a:pt x="105000" y="39555"/>
                    <a:pt x="105000" y="39555"/>
                    <a:pt x="105000" y="39555"/>
                  </a:cubicBezTo>
                  <a:cubicBezTo>
                    <a:pt x="107083" y="39555"/>
                    <a:pt x="107083" y="39555"/>
                    <a:pt x="107083" y="39555"/>
                  </a:cubicBezTo>
                  <a:cubicBezTo>
                    <a:pt x="108333" y="38222"/>
                    <a:pt x="108333" y="38222"/>
                    <a:pt x="108333" y="38222"/>
                  </a:cubicBezTo>
                  <a:cubicBezTo>
                    <a:pt x="109583" y="37777"/>
                    <a:pt x="109583" y="37777"/>
                    <a:pt x="109583" y="37777"/>
                  </a:cubicBezTo>
                  <a:cubicBezTo>
                    <a:pt x="111250" y="38222"/>
                    <a:pt x="111250" y="38222"/>
                    <a:pt x="111250" y="38222"/>
                  </a:cubicBezTo>
                  <a:cubicBezTo>
                    <a:pt x="113333" y="38666"/>
                    <a:pt x="113333" y="38666"/>
                    <a:pt x="113333" y="38666"/>
                  </a:cubicBezTo>
                  <a:cubicBezTo>
                    <a:pt x="115416" y="38666"/>
                    <a:pt x="115416" y="38666"/>
                    <a:pt x="115416" y="38666"/>
                  </a:cubicBezTo>
                  <a:cubicBezTo>
                    <a:pt x="114583" y="40888"/>
                    <a:pt x="114583" y="40888"/>
                    <a:pt x="114583" y="40888"/>
                  </a:cubicBezTo>
                  <a:cubicBezTo>
                    <a:pt x="116250" y="42222"/>
                    <a:pt x="116250" y="42222"/>
                    <a:pt x="116250" y="42222"/>
                  </a:cubicBezTo>
                  <a:cubicBezTo>
                    <a:pt x="117916" y="42666"/>
                    <a:pt x="117916" y="42666"/>
                    <a:pt x="117916" y="42666"/>
                  </a:cubicBezTo>
                  <a:cubicBezTo>
                    <a:pt x="120000" y="43555"/>
                    <a:pt x="120000" y="43555"/>
                    <a:pt x="120000" y="43555"/>
                  </a:cubicBezTo>
                  <a:cubicBezTo>
                    <a:pt x="120000" y="46222"/>
                    <a:pt x="120000" y="46222"/>
                    <a:pt x="120000" y="46222"/>
                  </a:cubicBezTo>
                  <a:cubicBezTo>
                    <a:pt x="119166" y="47555"/>
                    <a:pt x="119166" y="47555"/>
                    <a:pt x="119166" y="47555"/>
                  </a:cubicBezTo>
                  <a:cubicBezTo>
                    <a:pt x="117500" y="48000"/>
                    <a:pt x="117500" y="48000"/>
                    <a:pt x="117500" y="48000"/>
                  </a:cubicBezTo>
                  <a:cubicBezTo>
                    <a:pt x="117500" y="48000"/>
                    <a:pt x="118333" y="50222"/>
                    <a:pt x="117500" y="50666"/>
                  </a:cubicBezTo>
                  <a:cubicBezTo>
                    <a:pt x="117083" y="51111"/>
                    <a:pt x="114166" y="53777"/>
                    <a:pt x="114166" y="53777"/>
                  </a:cubicBezTo>
                  <a:cubicBezTo>
                    <a:pt x="111250" y="54666"/>
                    <a:pt x="111250" y="54666"/>
                    <a:pt x="111250" y="54666"/>
                  </a:cubicBezTo>
                  <a:cubicBezTo>
                    <a:pt x="108750" y="53777"/>
                    <a:pt x="108750" y="53777"/>
                    <a:pt x="108750" y="53777"/>
                  </a:cubicBezTo>
                  <a:cubicBezTo>
                    <a:pt x="108750" y="53777"/>
                    <a:pt x="108333" y="53333"/>
                    <a:pt x="106666" y="53777"/>
                  </a:cubicBezTo>
                  <a:cubicBezTo>
                    <a:pt x="105000" y="54666"/>
                    <a:pt x="105000" y="55111"/>
                    <a:pt x="105000" y="55111"/>
                  </a:cubicBezTo>
                  <a:cubicBezTo>
                    <a:pt x="104166" y="58222"/>
                    <a:pt x="104166" y="58222"/>
                    <a:pt x="104166" y="58222"/>
                  </a:cubicBezTo>
                  <a:cubicBezTo>
                    <a:pt x="104166" y="59555"/>
                    <a:pt x="104166" y="59555"/>
                    <a:pt x="104166" y="59555"/>
                  </a:cubicBezTo>
                  <a:cubicBezTo>
                    <a:pt x="105833" y="60888"/>
                    <a:pt x="105833" y="60888"/>
                    <a:pt x="105833" y="60888"/>
                  </a:cubicBezTo>
                  <a:cubicBezTo>
                    <a:pt x="107916" y="61333"/>
                    <a:pt x="107916" y="61333"/>
                    <a:pt x="107916" y="61333"/>
                  </a:cubicBezTo>
                  <a:cubicBezTo>
                    <a:pt x="109166" y="63111"/>
                    <a:pt x="109166" y="63111"/>
                    <a:pt x="109166" y="63111"/>
                  </a:cubicBezTo>
                  <a:cubicBezTo>
                    <a:pt x="110000" y="64444"/>
                    <a:pt x="110000" y="64444"/>
                    <a:pt x="110000" y="64444"/>
                  </a:cubicBezTo>
                  <a:cubicBezTo>
                    <a:pt x="109166" y="66222"/>
                    <a:pt x="109166" y="66222"/>
                    <a:pt x="109166" y="66222"/>
                  </a:cubicBezTo>
                  <a:cubicBezTo>
                    <a:pt x="110000" y="67111"/>
                    <a:pt x="110000" y="67111"/>
                    <a:pt x="110000" y="67111"/>
                  </a:cubicBezTo>
                  <a:cubicBezTo>
                    <a:pt x="111666" y="68000"/>
                    <a:pt x="111666" y="68000"/>
                    <a:pt x="111666" y="68000"/>
                  </a:cubicBezTo>
                  <a:cubicBezTo>
                    <a:pt x="110833" y="68888"/>
                    <a:pt x="110833" y="68888"/>
                    <a:pt x="110833" y="68888"/>
                  </a:cubicBezTo>
                  <a:cubicBezTo>
                    <a:pt x="112083" y="71555"/>
                    <a:pt x="112083" y="71555"/>
                    <a:pt x="112083" y="71555"/>
                  </a:cubicBezTo>
                  <a:cubicBezTo>
                    <a:pt x="112916" y="72888"/>
                    <a:pt x="112916" y="72888"/>
                    <a:pt x="112916" y="72888"/>
                  </a:cubicBezTo>
                  <a:cubicBezTo>
                    <a:pt x="112083" y="73777"/>
                    <a:pt x="112083" y="73777"/>
                    <a:pt x="112083" y="73777"/>
                  </a:cubicBezTo>
                  <a:cubicBezTo>
                    <a:pt x="113333" y="74222"/>
                    <a:pt x="113333" y="74222"/>
                    <a:pt x="113333" y="74222"/>
                  </a:cubicBezTo>
                  <a:cubicBezTo>
                    <a:pt x="115000" y="74222"/>
                    <a:pt x="115000" y="74222"/>
                    <a:pt x="115000" y="74222"/>
                  </a:cubicBezTo>
                  <a:cubicBezTo>
                    <a:pt x="115000" y="75555"/>
                    <a:pt x="115000" y="75555"/>
                    <a:pt x="115000" y="75555"/>
                  </a:cubicBezTo>
                  <a:cubicBezTo>
                    <a:pt x="117916" y="77333"/>
                    <a:pt x="117916" y="77333"/>
                    <a:pt x="117916" y="77333"/>
                  </a:cubicBezTo>
                  <a:cubicBezTo>
                    <a:pt x="117083" y="77333"/>
                    <a:pt x="117083" y="77333"/>
                    <a:pt x="117083" y="77333"/>
                  </a:cubicBezTo>
                  <a:cubicBezTo>
                    <a:pt x="113750" y="78222"/>
                    <a:pt x="113750" y="78222"/>
                    <a:pt x="113750" y="78222"/>
                  </a:cubicBezTo>
                  <a:cubicBezTo>
                    <a:pt x="112083" y="80888"/>
                    <a:pt x="112083" y="80888"/>
                    <a:pt x="112083" y="80888"/>
                  </a:cubicBezTo>
                  <a:cubicBezTo>
                    <a:pt x="107083" y="80888"/>
                    <a:pt x="107083" y="80888"/>
                    <a:pt x="107083" y="80888"/>
                  </a:cubicBezTo>
                  <a:cubicBezTo>
                    <a:pt x="106250" y="86222"/>
                    <a:pt x="106250" y="86222"/>
                    <a:pt x="106250" y="86222"/>
                  </a:cubicBezTo>
                  <a:cubicBezTo>
                    <a:pt x="105000" y="89777"/>
                    <a:pt x="105000" y="89777"/>
                    <a:pt x="105000" y="89777"/>
                  </a:cubicBezTo>
                  <a:cubicBezTo>
                    <a:pt x="103750" y="93777"/>
                    <a:pt x="103750" y="93777"/>
                    <a:pt x="103750" y="93777"/>
                  </a:cubicBezTo>
                  <a:cubicBezTo>
                    <a:pt x="104583" y="96000"/>
                    <a:pt x="104583" y="96000"/>
                    <a:pt x="104583" y="96000"/>
                  </a:cubicBezTo>
                  <a:cubicBezTo>
                    <a:pt x="105833" y="99111"/>
                    <a:pt x="105833" y="99111"/>
                    <a:pt x="105833" y="99111"/>
                  </a:cubicBezTo>
                  <a:cubicBezTo>
                    <a:pt x="108333" y="102222"/>
                    <a:pt x="108333" y="102222"/>
                    <a:pt x="108333" y="102222"/>
                  </a:cubicBezTo>
                  <a:cubicBezTo>
                    <a:pt x="108333" y="102222"/>
                    <a:pt x="108333" y="102222"/>
                    <a:pt x="108333" y="102222"/>
                  </a:cubicBezTo>
                  <a:cubicBezTo>
                    <a:pt x="105833" y="103111"/>
                    <a:pt x="105833" y="103111"/>
                    <a:pt x="105833" y="103111"/>
                  </a:cubicBezTo>
                  <a:cubicBezTo>
                    <a:pt x="104166" y="103555"/>
                    <a:pt x="104166" y="103555"/>
                    <a:pt x="104166" y="103555"/>
                  </a:cubicBezTo>
                  <a:cubicBezTo>
                    <a:pt x="102500" y="100888"/>
                    <a:pt x="102500" y="100888"/>
                    <a:pt x="102500" y="100888"/>
                  </a:cubicBezTo>
                  <a:cubicBezTo>
                    <a:pt x="100000" y="100000"/>
                    <a:pt x="100000" y="100000"/>
                    <a:pt x="100000" y="100000"/>
                  </a:cubicBezTo>
                  <a:cubicBezTo>
                    <a:pt x="97083" y="101333"/>
                    <a:pt x="97083" y="101333"/>
                    <a:pt x="97083" y="101333"/>
                  </a:cubicBezTo>
                  <a:cubicBezTo>
                    <a:pt x="94166" y="102222"/>
                    <a:pt x="94166" y="102222"/>
                    <a:pt x="94166" y="102222"/>
                  </a:cubicBezTo>
                  <a:cubicBezTo>
                    <a:pt x="93333" y="102222"/>
                    <a:pt x="93333" y="102222"/>
                    <a:pt x="93333" y="102222"/>
                  </a:cubicBezTo>
                  <a:cubicBezTo>
                    <a:pt x="92500" y="104000"/>
                    <a:pt x="92500" y="104000"/>
                    <a:pt x="92500" y="104000"/>
                  </a:cubicBezTo>
                  <a:cubicBezTo>
                    <a:pt x="90000" y="105333"/>
                    <a:pt x="90000" y="105333"/>
                    <a:pt x="90000" y="105333"/>
                  </a:cubicBezTo>
                  <a:cubicBezTo>
                    <a:pt x="90000" y="105333"/>
                    <a:pt x="89166" y="104444"/>
                    <a:pt x="88750" y="104000"/>
                  </a:cubicBezTo>
                  <a:cubicBezTo>
                    <a:pt x="88333" y="103555"/>
                    <a:pt x="87083" y="102666"/>
                    <a:pt x="87083" y="102666"/>
                  </a:cubicBezTo>
                  <a:cubicBezTo>
                    <a:pt x="87083" y="102666"/>
                    <a:pt x="86666" y="101777"/>
                    <a:pt x="86250" y="101333"/>
                  </a:cubicBezTo>
                  <a:cubicBezTo>
                    <a:pt x="85833" y="101333"/>
                    <a:pt x="83333" y="103111"/>
                    <a:pt x="83333" y="103111"/>
                  </a:cubicBezTo>
                  <a:cubicBezTo>
                    <a:pt x="83333" y="103111"/>
                    <a:pt x="81250" y="104444"/>
                    <a:pt x="81250" y="104888"/>
                  </a:cubicBezTo>
                  <a:cubicBezTo>
                    <a:pt x="81666" y="104888"/>
                    <a:pt x="81250" y="107111"/>
                    <a:pt x="81250" y="107111"/>
                  </a:cubicBezTo>
                  <a:cubicBezTo>
                    <a:pt x="78333" y="104444"/>
                    <a:pt x="78333" y="104444"/>
                    <a:pt x="78333" y="104444"/>
                  </a:cubicBezTo>
                  <a:cubicBezTo>
                    <a:pt x="76250" y="106222"/>
                    <a:pt x="76250" y="106222"/>
                    <a:pt x="76250" y="106222"/>
                  </a:cubicBezTo>
                  <a:cubicBezTo>
                    <a:pt x="74583" y="104888"/>
                    <a:pt x="74583" y="104888"/>
                    <a:pt x="74583" y="104888"/>
                  </a:cubicBezTo>
                  <a:cubicBezTo>
                    <a:pt x="73750" y="104444"/>
                    <a:pt x="73750" y="104444"/>
                    <a:pt x="73750" y="104444"/>
                  </a:cubicBezTo>
                  <a:cubicBezTo>
                    <a:pt x="71250" y="107555"/>
                    <a:pt x="71250" y="107555"/>
                    <a:pt x="71250" y="107555"/>
                  </a:cubicBezTo>
                  <a:cubicBezTo>
                    <a:pt x="69583" y="106666"/>
                    <a:pt x="69583" y="106666"/>
                    <a:pt x="69583" y="106666"/>
                  </a:cubicBezTo>
                  <a:cubicBezTo>
                    <a:pt x="68750" y="109777"/>
                    <a:pt x="68750" y="109777"/>
                    <a:pt x="68750" y="109777"/>
                  </a:cubicBezTo>
                  <a:cubicBezTo>
                    <a:pt x="66666" y="108000"/>
                    <a:pt x="66666" y="108000"/>
                    <a:pt x="66666" y="108000"/>
                  </a:cubicBezTo>
                  <a:cubicBezTo>
                    <a:pt x="66666" y="108000"/>
                    <a:pt x="64583" y="107555"/>
                    <a:pt x="64166" y="107555"/>
                  </a:cubicBezTo>
                  <a:cubicBezTo>
                    <a:pt x="63750" y="107555"/>
                    <a:pt x="62500" y="109333"/>
                    <a:pt x="62500" y="109333"/>
                  </a:cubicBezTo>
                  <a:cubicBezTo>
                    <a:pt x="60416" y="107555"/>
                    <a:pt x="60416" y="107555"/>
                    <a:pt x="60416" y="107555"/>
                  </a:cubicBezTo>
                  <a:cubicBezTo>
                    <a:pt x="58750" y="106222"/>
                    <a:pt x="58750" y="106222"/>
                    <a:pt x="58750" y="106222"/>
                  </a:cubicBezTo>
                  <a:cubicBezTo>
                    <a:pt x="58750" y="106222"/>
                    <a:pt x="54166" y="106666"/>
                    <a:pt x="53750" y="106666"/>
                  </a:cubicBezTo>
                  <a:cubicBezTo>
                    <a:pt x="53333" y="106666"/>
                    <a:pt x="50416" y="106222"/>
                    <a:pt x="50416" y="106222"/>
                  </a:cubicBezTo>
                  <a:cubicBezTo>
                    <a:pt x="46666" y="107111"/>
                    <a:pt x="46666" y="107111"/>
                    <a:pt x="46666" y="107111"/>
                  </a:cubicBezTo>
                  <a:cubicBezTo>
                    <a:pt x="41250" y="107111"/>
                    <a:pt x="41250" y="107111"/>
                    <a:pt x="41250" y="107111"/>
                  </a:cubicBezTo>
                  <a:cubicBezTo>
                    <a:pt x="36250" y="107555"/>
                    <a:pt x="36250" y="107555"/>
                    <a:pt x="36250" y="107555"/>
                  </a:cubicBezTo>
                  <a:cubicBezTo>
                    <a:pt x="32500" y="107555"/>
                    <a:pt x="32500" y="107555"/>
                    <a:pt x="32500" y="107555"/>
                  </a:cubicBezTo>
                  <a:cubicBezTo>
                    <a:pt x="29583" y="109777"/>
                    <a:pt x="29583" y="109777"/>
                    <a:pt x="29583" y="109777"/>
                  </a:cubicBezTo>
                  <a:cubicBezTo>
                    <a:pt x="26666" y="110222"/>
                    <a:pt x="26666" y="110222"/>
                    <a:pt x="26666" y="110222"/>
                  </a:cubicBezTo>
                  <a:cubicBezTo>
                    <a:pt x="23333" y="110666"/>
                    <a:pt x="23333" y="110666"/>
                    <a:pt x="23333" y="110666"/>
                  </a:cubicBezTo>
                  <a:cubicBezTo>
                    <a:pt x="22916" y="110666"/>
                    <a:pt x="22916" y="110666"/>
                    <a:pt x="22916" y="110666"/>
                  </a:cubicBezTo>
                  <a:cubicBezTo>
                    <a:pt x="22500" y="111111"/>
                    <a:pt x="22500" y="111111"/>
                    <a:pt x="22500" y="111111"/>
                  </a:cubicBezTo>
                  <a:cubicBezTo>
                    <a:pt x="21250" y="112000"/>
                    <a:pt x="21250" y="112000"/>
                    <a:pt x="21250" y="112000"/>
                  </a:cubicBezTo>
                  <a:cubicBezTo>
                    <a:pt x="21250" y="112444"/>
                    <a:pt x="21250" y="112444"/>
                    <a:pt x="21250" y="112444"/>
                  </a:cubicBezTo>
                  <a:cubicBezTo>
                    <a:pt x="20416" y="113333"/>
                    <a:pt x="20416" y="113333"/>
                    <a:pt x="20416" y="113333"/>
                  </a:cubicBezTo>
                  <a:cubicBezTo>
                    <a:pt x="20000" y="115555"/>
                    <a:pt x="20000" y="115555"/>
                    <a:pt x="20000" y="115555"/>
                  </a:cubicBezTo>
                  <a:cubicBezTo>
                    <a:pt x="19583" y="116444"/>
                    <a:pt x="18750" y="117333"/>
                    <a:pt x="18333" y="118222"/>
                  </a:cubicBezTo>
                  <a:cubicBezTo>
                    <a:pt x="18333" y="118222"/>
                    <a:pt x="18333" y="118222"/>
                    <a:pt x="18333" y="118222"/>
                  </a:cubicBezTo>
                  <a:cubicBezTo>
                    <a:pt x="18333" y="118222"/>
                    <a:pt x="17083" y="117777"/>
                    <a:pt x="17083" y="118666"/>
                  </a:cubicBezTo>
                  <a:cubicBezTo>
                    <a:pt x="17083" y="119111"/>
                    <a:pt x="17083" y="119111"/>
                    <a:pt x="17083" y="119111"/>
                  </a:cubicBezTo>
                  <a:cubicBezTo>
                    <a:pt x="15833" y="119555"/>
                    <a:pt x="13750" y="118666"/>
                    <a:pt x="13750" y="118666"/>
                  </a:cubicBezTo>
                  <a:cubicBezTo>
                    <a:pt x="11250" y="120000"/>
                    <a:pt x="11250" y="120000"/>
                    <a:pt x="11250" y="120000"/>
                  </a:cubicBezTo>
                  <a:cubicBezTo>
                    <a:pt x="11250" y="120000"/>
                    <a:pt x="11250" y="120000"/>
                    <a:pt x="11250" y="120000"/>
                  </a:cubicBezTo>
                  <a:cubicBezTo>
                    <a:pt x="11250" y="119555"/>
                    <a:pt x="10416" y="117777"/>
                    <a:pt x="10416" y="117777"/>
                  </a:cubicBezTo>
                  <a:cubicBezTo>
                    <a:pt x="10416" y="117777"/>
                    <a:pt x="10833" y="114666"/>
                    <a:pt x="10833" y="114666"/>
                  </a:cubicBezTo>
                  <a:cubicBezTo>
                    <a:pt x="10833" y="114222"/>
                    <a:pt x="10416" y="110666"/>
                    <a:pt x="10416" y="110666"/>
                  </a:cubicBezTo>
                  <a:cubicBezTo>
                    <a:pt x="10416" y="108888"/>
                    <a:pt x="10416" y="108888"/>
                    <a:pt x="10416" y="108888"/>
                  </a:cubicBezTo>
                  <a:cubicBezTo>
                    <a:pt x="7916" y="107111"/>
                    <a:pt x="7916" y="107111"/>
                    <a:pt x="7916" y="107111"/>
                  </a:cubicBezTo>
                  <a:cubicBezTo>
                    <a:pt x="7916" y="107111"/>
                    <a:pt x="5000" y="106666"/>
                    <a:pt x="4166" y="106666"/>
                  </a:cubicBezTo>
                  <a:cubicBezTo>
                    <a:pt x="3750" y="106666"/>
                    <a:pt x="3333" y="105333"/>
                    <a:pt x="3333" y="105333"/>
                  </a:cubicBezTo>
                  <a:cubicBezTo>
                    <a:pt x="3750" y="104000"/>
                    <a:pt x="3750" y="104000"/>
                    <a:pt x="3750" y="104000"/>
                  </a:cubicBezTo>
                  <a:cubicBezTo>
                    <a:pt x="5000" y="100000"/>
                    <a:pt x="5000" y="100000"/>
                    <a:pt x="5000" y="100000"/>
                  </a:cubicBezTo>
                  <a:cubicBezTo>
                    <a:pt x="7083" y="96888"/>
                    <a:pt x="7083" y="96888"/>
                    <a:pt x="7083" y="96888"/>
                  </a:cubicBezTo>
                  <a:cubicBezTo>
                    <a:pt x="8750" y="96000"/>
                    <a:pt x="8750" y="96000"/>
                    <a:pt x="8750" y="96000"/>
                  </a:cubicBezTo>
                  <a:cubicBezTo>
                    <a:pt x="8750" y="96000"/>
                    <a:pt x="10416" y="93333"/>
                    <a:pt x="10833" y="92888"/>
                  </a:cubicBezTo>
                  <a:cubicBezTo>
                    <a:pt x="11250" y="92888"/>
                    <a:pt x="10833" y="90666"/>
                    <a:pt x="10416" y="90666"/>
                  </a:cubicBezTo>
                  <a:cubicBezTo>
                    <a:pt x="10416" y="90222"/>
                    <a:pt x="10416" y="88888"/>
                    <a:pt x="10416" y="88444"/>
                  </a:cubicBezTo>
                  <a:cubicBezTo>
                    <a:pt x="10416" y="87555"/>
                    <a:pt x="9166" y="86222"/>
                    <a:pt x="9166" y="86222"/>
                  </a:cubicBezTo>
                  <a:cubicBezTo>
                    <a:pt x="8750" y="82666"/>
                    <a:pt x="8750" y="82666"/>
                    <a:pt x="8750" y="82666"/>
                  </a:cubicBezTo>
                  <a:cubicBezTo>
                    <a:pt x="7916" y="81777"/>
                    <a:pt x="7916" y="81777"/>
                    <a:pt x="7916" y="81777"/>
                  </a:cubicBezTo>
                  <a:cubicBezTo>
                    <a:pt x="7916" y="81333"/>
                    <a:pt x="7916" y="81333"/>
                    <a:pt x="7916" y="81333"/>
                  </a:cubicBezTo>
                  <a:cubicBezTo>
                    <a:pt x="5416" y="77777"/>
                    <a:pt x="5416" y="77777"/>
                    <a:pt x="5416" y="77777"/>
                  </a:cubicBezTo>
                  <a:cubicBezTo>
                    <a:pt x="3333" y="72888"/>
                    <a:pt x="3333" y="72888"/>
                    <a:pt x="3333" y="72888"/>
                  </a:cubicBezTo>
                  <a:cubicBezTo>
                    <a:pt x="3333" y="72888"/>
                    <a:pt x="833" y="68444"/>
                    <a:pt x="416" y="66666"/>
                  </a:cubicBezTo>
                  <a:cubicBezTo>
                    <a:pt x="0" y="65333"/>
                    <a:pt x="0" y="65333"/>
                    <a:pt x="0" y="65333"/>
                  </a:cubicBezTo>
                  <a:cubicBezTo>
                    <a:pt x="3750" y="64444"/>
                    <a:pt x="3750" y="64444"/>
                    <a:pt x="3750" y="64444"/>
                  </a:cubicBezTo>
                  <a:cubicBezTo>
                    <a:pt x="7916" y="62666"/>
                    <a:pt x="7916" y="62666"/>
                    <a:pt x="7916" y="62666"/>
                  </a:cubicBezTo>
                  <a:cubicBezTo>
                    <a:pt x="10416" y="63111"/>
                    <a:pt x="10416" y="63111"/>
                    <a:pt x="10416" y="63111"/>
                  </a:cubicBezTo>
                  <a:cubicBezTo>
                    <a:pt x="13333" y="62666"/>
                    <a:pt x="13333" y="62666"/>
                    <a:pt x="13333" y="62666"/>
                  </a:cubicBezTo>
                  <a:cubicBezTo>
                    <a:pt x="15000" y="60444"/>
                    <a:pt x="15000" y="60444"/>
                    <a:pt x="15000" y="60444"/>
                  </a:cubicBezTo>
                  <a:cubicBezTo>
                    <a:pt x="17083" y="60444"/>
                    <a:pt x="17083" y="60444"/>
                    <a:pt x="17083" y="60444"/>
                  </a:cubicBezTo>
                  <a:cubicBezTo>
                    <a:pt x="16250" y="57333"/>
                    <a:pt x="16250" y="57333"/>
                    <a:pt x="16250" y="57333"/>
                  </a:cubicBezTo>
                  <a:cubicBezTo>
                    <a:pt x="16250" y="57333"/>
                    <a:pt x="16666" y="56000"/>
                    <a:pt x="17083" y="56444"/>
                  </a:cubicBezTo>
                  <a:cubicBezTo>
                    <a:pt x="17916" y="56444"/>
                    <a:pt x="19583" y="56444"/>
                    <a:pt x="19583" y="56444"/>
                  </a:cubicBezTo>
                  <a:cubicBezTo>
                    <a:pt x="20416" y="54666"/>
                    <a:pt x="20416" y="54666"/>
                    <a:pt x="20416" y="54666"/>
                  </a:cubicBezTo>
                  <a:cubicBezTo>
                    <a:pt x="20416" y="53777"/>
                    <a:pt x="20416" y="53777"/>
                    <a:pt x="20416" y="53777"/>
                  </a:cubicBezTo>
                  <a:cubicBezTo>
                    <a:pt x="23333" y="52888"/>
                    <a:pt x="23333" y="52888"/>
                    <a:pt x="23333" y="52888"/>
                  </a:cubicBezTo>
                  <a:cubicBezTo>
                    <a:pt x="24583" y="51555"/>
                    <a:pt x="24583" y="51555"/>
                    <a:pt x="24583" y="51555"/>
                  </a:cubicBezTo>
                  <a:cubicBezTo>
                    <a:pt x="25416" y="52444"/>
                    <a:pt x="25416" y="52444"/>
                    <a:pt x="25416" y="52444"/>
                  </a:cubicBezTo>
                  <a:cubicBezTo>
                    <a:pt x="25000" y="54222"/>
                    <a:pt x="25000" y="54222"/>
                    <a:pt x="25000" y="54222"/>
                  </a:cubicBezTo>
                  <a:cubicBezTo>
                    <a:pt x="27083" y="53777"/>
                    <a:pt x="27083" y="53777"/>
                    <a:pt x="27083" y="53777"/>
                  </a:cubicBezTo>
                  <a:cubicBezTo>
                    <a:pt x="27916" y="51111"/>
                    <a:pt x="27916" y="51111"/>
                    <a:pt x="27916" y="51111"/>
                  </a:cubicBezTo>
                  <a:cubicBezTo>
                    <a:pt x="27083" y="50666"/>
                    <a:pt x="27083" y="50666"/>
                    <a:pt x="27083" y="50666"/>
                  </a:cubicBezTo>
                  <a:cubicBezTo>
                    <a:pt x="25000" y="49777"/>
                    <a:pt x="25000" y="49777"/>
                    <a:pt x="25000" y="49777"/>
                  </a:cubicBezTo>
                  <a:cubicBezTo>
                    <a:pt x="25000" y="49777"/>
                    <a:pt x="24166" y="50222"/>
                    <a:pt x="24166" y="49333"/>
                  </a:cubicBezTo>
                  <a:cubicBezTo>
                    <a:pt x="24583" y="48000"/>
                    <a:pt x="25416" y="45777"/>
                    <a:pt x="25416" y="45777"/>
                  </a:cubicBezTo>
                  <a:cubicBezTo>
                    <a:pt x="25000" y="43111"/>
                    <a:pt x="25000" y="43111"/>
                    <a:pt x="25000" y="43111"/>
                  </a:cubicBezTo>
                  <a:cubicBezTo>
                    <a:pt x="24583" y="40000"/>
                    <a:pt x="24583" y="40000"/>
                    <a:pt x="24583" y="40000"/>
                  </a:cubicBezTo>
                  <a:cubicBezTo>
                    <a:pt x="25000" y="38222"/>
                    <a:pt x="25000" y="38222"/>
                    <a:pt x="25000" y="38222"/>
                  </a:cubicBezTo>
                  <a:cubicBezTo>
                    <a:pt x="25000" y="36444"/>
                    <a:pt x="25000" y="36444"/>
                    <a:pt x="25000" y="36444"/>
                  </a:cubicBezTo>
                  <a:cubicBezTo>
                    <a:pt x="25833" y="34666"/>
                    <a:pt x="25833" y="34666"/>
                    <a:pt x="25833" y="34666"/>
                  </a:cubicBezTo>
                  <a:cubicBezTo>
                    <a:pt x="29166" y="33333"/>
                    <a:pt x="29166" y="33333"/>
                    <a:pt x="29166" y="33333"/>
                  </a:cubicBezTo>
                  <a:cubicBezTo>
                    <a:pt x="29166" y="30222"/>
                    <a:pt x="29166" y="30222"/>
                    <a:pt x="29166" y="30222"/>
                  </a:cubicBezTo>
                  <a:cubicBezTo>
                    <a:pt x="30416" y="28888"/>
                    <a:pt x="30416" y="28888"/>
                    <a:pt x="30416" y="28888"/>
                  </a:cubicBezTo>
                  <a:lnTo>
                    <a:pt x="33750" y="29333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 cmpd="sng">
              <a:solidFill>
                <a:schemeClr val="tx1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defTabSz="457178"/>
              <a:endParaRPr kern="0">
                <a:solidFill>
                  <a:srgbClr val="7F7F7F"/>
                </a:solidFill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25" name="Shape 2032">
              <a:extLst>
                <a:ext uri="{FF2B5EF4-FFF2-40B4-BE49-F238E27FC236}">
                  <a16:creationId xmlns:a16="http://schemas.microsoft.com/office/drawing/2014/main" id="{20C38C57-1084-4CE2-825B-55DD33DA92C7}"/>
                </a:ext>
              </a:extLst>
            </p:cNvPr>
            <p:cNvSpPr/>
            <p:nvPr/>
          </p:nvSpPr>
          <p:spPr>
            <a:xfrm>
              <a:off x="6376066" y="2862203"/>
              <a:ext cx="354016" cy="336671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76645" y="120000"/>
                  </a:moveTo>
                  <a:cubicBezTo>
                    <a:pt x="77419" y="116842"/>
                    <a:pt x="77419" y="116842"/>
                    <a:pt x="77419" y="116842"/>
                  </a:cubicBezTo>
                  <a:cubicBezTo>
                    <a:pt x="77419" y="116842"/>
                    <a:pt x="79741" y="116052"/>
                    <a:pt x="80516" y="116052"/>
                  </a:cubicBezTo>
                  <a:cubicBezTo>
                    <a:pt x="81290" y="115263"/>
                    <a:pt x="82064" y="116052"/>
                    <a:pt x="82838" y="115263"/>
                  </a:cubicBezTo>
                  <a:cubicBezTo>
                    <a:pt x="83612" y="115263"/>
                    <a:pt x="85161" y="114473"/>
                    <a:pt x="85161" y="114473"/>
                  </a:cubicBezTo>
                  <a:cubicBezTo>
                    <a:pt x="84387" y="114473"/>
                    <a:pt x="84387" y="114473"/>
                    <a:pt x="84387" y="114473"/>
                  </a:cubicBezTo>
                  <a:cubicBezTo>
                    <a:pt x="84387" y="112894"/>
                    <a:pt x="84387" y="112894"/>
                    <a:pt x="84387" y="112894"/>
                  </a:cubicBezTo>
                  <a:cubicBezTo>
                    <a:pt x="85161" y="111315"/>
                    <a:pt x="85161" y="111315"/>
                    <a:pt x="85161" y="111315"/>
                  </a:cubicBezTo>
                  <a:cubicBezTo>
                    <a:pt x="82064" y="109736"/>
                    <a:pt x="82064" y="109736"/>
                    <a:pt x="82064" y="109736"/>
                  </a:cubicBezTo>
                  <a:cubicBezTo>
                    <a:pt x="82838" y="108157"/>
                    <a:pt x="82838" y="108157"/>
                    <a:pt x="82838" y="108157"/>
                  </a:cubicBezTo>
                  <a:cubicBezTo>
                    <a:pt x="82838" y="108157"/>
                    <a:pt x="82064" y="106578"/>
                    <a:pt x="82838" y="106578"/>
                  </a:cubicBezTo>
                  <a:cubicBezTo>
                    <a:pt x="83612" y="106578"/>
                    <a:pt x="83612" y="104210"/>
                    <a:pt x="83612" y="104210"/>
                  </a:cubicBezTo>
                  <a:cubicBezTo>
                    <a:pt x="84387" y="102631"/>
                    <a:pt x="84387" y="102631"/>
                    <a:pt x="84387" y="102631"/>
                  </a:cubicBezTo>
                  <a:cubicBezTo>
                    <a:pt x="85935" y="102631"/>
                    <a:pt x="85935" y="102631"/>
                    <a:pt x="85935" y="102631"/>
                  </a:cubicBezTo>
                  <a:cubicBezTo>
                    <a:pt x="85935" y="102631"/>
                    <a:pt x="85935" y="101052"/>
                    <a:pt x="86709" y="100263"/>
                  </a:cubicBezTo>
                  <a:cubicBezTo>
                    <a:pt x="86709" y="100263"/>
                    <a:pt x="87483" y="99473"/>
                    <a:pt x="87483" y="99473"/>
                  </a:cubicBezTo>
                  <a:cubicBezTo>
                    <a:pt x="86709" y="97105"/>
                    <a:pt x="86709" y="97105"/>
                    <a:pt x="86709" y="97105"/>
                  </a:cubicBezTo>
                  <a:cubicBezTo>
                    <a:pt x="86709" y="97105"/>
                    <a:pt x="85161" y="94736"/>
                    <a:pt x="85935" y="94736"/>
                  </a:cubicBezTo>
                  <a:cubicBezTo>
                    <a:pt x="86709" y="94736"/>
                    <a:pt x="87483" y="93947"/>
                    <a:pt x="87483" y="93947"/>
                  </a:cubicBezTo>
                  <a:cubicBezTo>
                    <a:pt x="87483" y="93947"/>
                    <a:pt x="89806" y="91578"/>
                    <a:pt x="90580" y="91578"/>
                  </a:cubicBezTo>
                  <a:cubicBezTo>
                    <a:pt x="90580" y="91578"/>
                    <a:pt x="92129" y="90000"/>
                    <a:pt x="92129" y="89210"/>
                  </a:cubicBezTo>
                  <a:cubicBezTo>
                    <a:pt x="91354" y="88421"/>
                    <a:pt x="90580" y="87631"/>
                    <a:pt x="90580" y="87631"/>
                  </a:cubicBezTo>
                  <a:cubicBezTo>
                    <a:pt x="91354" y="84473"/>
                    <a:pt x="91354" y="84473"/>
                    <a:pt x="91354" y="84473"/>
                  </a:cubicBezTo>
                  <a:cubicBezTo>
                    <a:pt x="91354" y="84473"/>
                    <a:pt x="92129" y="82894"/>
                    <a:pt x="91354" y="82894"/>
                  </a:cubicBezTo>
                  <a:cubicBezTo>
                    <a:pt x="90580" y="82105"/>
                    <a:pt x="89032" y="82105"/>
                    <a:pt x="89032" y="82105"/>
                  </a:cubicBezTo>
                  <a:cubicBezTo>
                    <a:pt x="87483" y="80526"/>
                    <a:pt x="87483" y="80526"/>
                    <a:pt x="87483" y="80526"/>
                  </a:cubicBezTo>
                  <a:cubicBezTo>
                    <a:pt x="87483" y="78157"/>
                    <a:pt x="87483" y="78157"/>
                    <a:pt x="87483" y="78157"/>
                  </a:cubicBezTo>
                  <a:cubicBezTo>
                    <a:pt x="85935" y="75789"/>
                    <a:pt x="85935" y="75789"/>
                    <a:pt x="85935" y="75789"/>
                  </a:cubicBezTo>
                  <a:cubicBezTo>
                    <a:pt x="85935" y="75789"/>
                    <a:pt x="85935" y="74210"/>
                    <a:pt x="85935" y="73421"/>
                  </a:cubicBezTo>
                  <a:cubicBezTo>
                    <a:pt x="86709" y="73421"/>
                    <a:pt x="88258" y="70263"/>
                    <a:pt x="88258" y="69473"/>
                  </a:cubicBezTo>
                  <a:cubicBezTo>
                    <a:pt x="89032" y="69473"/>
                    <a:pt x="92129" y="66315"/>
                    <a:pt x="92129" y="66315"/>
                  </a:cubicBezTo>
                  <a:cubicBezTo>
                    <a:pt x="93677" y="70263"/>
                    <a:pt x="93677" y="70263"/>
                    <a:pt x="93677" y="70263"/>
                  </a:cubicBezTo>
                  <a:cubicBezTo>
                    <a:pt x="93677" y="73421"/>
                    <a:pt x="93677" y="73421"/>
                    <a:pt x="93677" y="73421"/>
                  </a:cubicBezTo>
                  <a:cubicBezTo>
                    <a:pt x="93677" y="73421"/>
                    <a:pt x="92903" y="75000"/>
                    <a:pt x="93677" y="75000"/>
                  </a:cubicBezTo>
                  <a:cubicBezTo>
                    <a:pt x="95225" y="74210"/>
                    <a:pt x="95225" y="72631"/>
                    <a:pt x="95225" y="72631"/>
                  </a:cubicBezTo>
                  <a:cubicBezTo>
                    <a:pt x="96000" y="71842"/>
                    <a:pt x="96000" y="71842"/>
                    <a:pt x="96000" y="71842"/>
                  </a:cubicBezTo>
                  <a:cubicBezTo>
                    <a:pt x="96000" y="71842"/>
                    <a:pt x="94451" y="69473"/>
                    <a:pt x="95225" y="69473"/>
                  </a:cubicBezTo>
                  <a:cubicBezTo>
                    <a:pt x="96000" y="69473"/>
                    <a:pt x="96000" y="67894"/>
                    <a:pt x="96000" y="69473"/>
                  </a:cubicBezTo>
                  <a:cubicBezTo>
                    <a:pt x="96774" y="70263"/>
                    <a:pt x="96774" y="71842"/>
                    <a:pt x="97548" y="71052"/>
                  </a:cubicBezTo>
                  <a:cubicBezTo>
                    <a:pt x="99096" y="71052"/>
                    <a:pt x="99096" y="71842"/>
                    <a:pt x="99096" y="71052"/>
                  </a:cubicBezTo>
                  <a:cubicBezTo>
                    <a:pt x="99870" y="70263"/>
                    <a:pt x="99870" y="69473"/>
                    <a:pt x="99870" y="69473"/>
                  </a:cubicBezTo>
                  <a:cubicBezTo>
                    <a:pt x="100645" y="68684"/>
                    <a:pt x="100645" y="68684"/>
                    <a:pt x="100645" y="68684"/>
                  </a:cubicBezTo>
                  <a:cubicBezTo>
                    <a:pt x="100645" y="68684"/>
                    <a:pt x="100645" y="70263"/>
                    <a:pt x="101419" y="70263"/>
                  </a:cubicBezTo>
                  <a:cubicBezTo>
                    <a:pt x="102193" y="70263"/>
                    <a:pt x="103741" y="70263"/>
                    <a:pt x="103741" y="70263"/>
                  </a:cubicBezTo>
                  <a:cubicBezTo>
                    <a:pt x="105290" y="71052"/>
                    <a:pt x="105290" y="71052"/>
                    <a:pt x="105290" y="71052"/>
                  </a:cubicBezTo>
                  <a:cubicBezTo>
                    <a:pt x="105290" y="71052"/>
                    <a:pt x="106064" y="71052"/>
                    <a:pt x="106064" y="70263"/>
                  </a:cubicBezTo>
                  <a:cubicBezTo>
                    <a:pt x="106064" y="69473"/>
                    <a:pt x="106064" y="68684"/>
                    <a:pt x="106064" y="68684"/>
                  </a:cubicBezTo>
                  <a:cubicBezTo>
                    <a:pt x="107612" y="67894"/>
                    <a:pt x="107612" y="67894"/>
                    <a:pt x="107612" y="67894"/>
                  </a:cubicBezTo>
                  <a:cubicBezTo>
                    <a:pt x="107612" y="65526"/>
                    <a:pt x="107612" y="65526"/>
                    <a:pt x="107612" y="65526"/>
                  </a:cubicBezTo>
                  <a:cubicBezTo>
                    <a:pt x="110709" y="67894"/>
                    <a:pt x="110709" y="67894"/>
                    <a:pt x="110709" y="67894"/>
                  </a:cubicBezTo>
                  <a:cubicBezTo>
                    <a:pt x="111483" y="70263"/>
                    <a:pt x="111483" y="70263"/>
                    <a:pt x="111483" y="70263"/>
                  </a:cubicBezTo>
                  <a:cubicBezTo>
                    <a:pt x="113032" y="69473"/>
                    <a:pt x="113032" y="69473"/>
                    <a:pt x="113032" y="69473"/>
                  </a:cubicBezTo>
                  <a:cubicBezTo>
                    <a:pt x="113806" y="67105"/>
                    <a:pt x="113806" y="67105"/>
                    <a:pt x="113806" y="67105"/>
                  </a:cubicBezTo>
                  <a:cubicBezTo>
                    <a:pt x="113806" y="67105"/>
                    <a:pt x="116129" y="67105"/>
                    <a:pt x="116903" y="66315"/>
                  </a:cubicBezTo>
                  <a:cubicBezTo>
                    <a:pt x="117677" y="66315"/>
                    <a:pt x="120000" y="65526"/>
                    <a:pt x="120000" y="65526"/>
                  </a:cubicBezTo>
                  <a:cubicBezTo>
                    <a:pt x="120000" y="64736"/>
                    <a:pt x="118451" y="63947"/>
                    <a:pt x="117677" y="64736"/>
                  </a:cubicBezTo>
                  <a:cubicBezTo>
                    <a:pt x="116903" y="64736"/>
                    <a:pt x="115354" y="65526"/>
                    <a:pt x="114580" y="64736"/>
                  </a:cubicBezTo>
                  <a:cubicBezTo>
                    <a:pt x="114580" y="63947"/>
                    <a:pt x="113032" y="62368"/>
                    <a:pt x="113032" y="62368"/>
                  </a:cubicBezTo>
                  <a:cubicBezTo>
                    <a:pt x="111483" y="62368"/>
                    <a:pt x="111483" y="62368"/>
                    <a:pt x="111483" y="62368"/>
                  </a:cubicBezTo>
                  <a:cubicBezTo>
                    <a:pt x="111483" y="62368"/>
                    <a:pt x="109935" y="61578"/>
                    <a:pt x="110709" y="60789"/>
                  </a:cubicBezTo>
                  <a:cubicBezTo>
                    <a:pt x="111483" y="60000"/>
                    <a:pt x="112258" y="60000"/>
                    <a:pt x="112258" y="60000"/>
                  </a:cubicBezTo>
                  <a:cubicBezTo>
                    <a:pt x="112258" y="60000"/>
                    <a:pt x="111483" y="58421"/>
                    <a:pt x="111483" y="57631"/>
                  </a:cubicBezTo>
                  <a:cubicBezTo>
                    <a:pt x="111483" y="56842"/>
                    <a:pt x="111483" y="55263"/>
                    <a:pt x="110709" y="54473"/>
                  </a:cubicBezTo>
                  <a:cubicBezTo>
                    <a:pt x="110709" y="54473"/>
                    <a:pt x="109161" y="51315"/>
                    <a:pt x="109161" y="51315"/>
                  </a:cubicBezTo>
                  <a:cubicBezTo>
                    <a:pt x="109161" y="49736"/>
                    <a:pt x="109161" y="49736"/>
                    <a:pt x="109161" y="49736"/>
                  </a:cubicBezTo>
                  <a:cubicBezTo>
                    <a:pt x="107612" y="50526"/>
                    <a:pt x="107612" y="50526"/>
                    <a:pt x="107612" y="50526"/>
                  </a:cubicBezTo>
                  <a:cubicBezTo>
                    <a:pt x="106064" y="48947"/>
                    <a:pt x="106064" y="48947"/>
                    <a:pt x="106064" y="48947"/>
                  </a:cubicBezTo>
                  <a:cubicBezTo>
                    <a:pt x="106064" y="48947"/>
                    <a:pt x="104516" y="48947"/>
                    <a:pt x="104516" y="49736"/>
                  </a:cubicBezTo>
                  <a:cubicBezTo>
                    <a:pt x="103741" y="49736"/>
                    <a:pt x="102967" y="48947"/>
                    <a:pt x="102967" y="48947"/>
                  </a:cubicBezTo>
                  <a:cubicBezTo>
                    <a:pt x="101419" y="48947"/>
                    <a:pt x="101419" y="48947"/>
                    <a:pt x="101419" y="48947"/>
                  </a:cubicBezTo>
                  <a:cubicBezTo>
                    <a:pt x="101419" y="48947"/>
                    <a:pt x="101419" y="48947"/>
                    <a:pt x="99870" y="48947"/>
                  </a:cubicBezTo>
                  <a:cubicBezTo>
                    <a:pt x="99096" y="48947"/>
                    <a:pt x="97548" y="48157"/>
                    <a:pt x="96774" y="48157"/>
                  </a:cubicBezTo>
                  <a:cubicBezTo>
                    <a:pt x="96774" y="47368"/>
                    <a:pt x="96774" y="46578"/>
                    <a:pt x="96774" y="46578"/>
                  </a:cubicBezTo>
                  <a:cubicBezTo>
                    <a:pt x="97548" y="45789"/>
                    <a:pt x="97548" y="45000"/>
                    <a:pt x="97548" y="45000"/>
                  </a:cubicBezTo>
                  <a:cubicBezTo>
                    <a:pt x="97548" y="45000"/>
                    <a:pt x="97548" y="42631"/>
                    <a:pt x="96774" y="42631"/>
                  </a:cubicBezTo>
                  <a:cubicBezTo>
                    <a:pt x="96000" y="42631"/>
                    <a:pt x="94451" y="42631"/>
                    <a:pt x="94451" y="42631"/>
                  </a:cubicBezTo>
                  <a:cubicBezTo>
                    <a:pt x="92903" y="41842"/>
                    <a:pt x="92903" y="41842"/>
                    <a:pt x="92903" y="41842"/>
                  </a:cubicBezTo>
                  <a:cubicBezTo>
                    <a:pt x="95225" y="41052"/>
                    <a:pt x="95225" y="41052"/>
                    <a:pt x="95225" y="41052"/>
                  </a:cubicBezTo>
                  <a:cubicBezTo>
                    <a:pt x="94451" y="39473"/>
                    <a:pt x="94451" y="39473"/>
                    <a:pt x="94451" y="39473"/>
                  </a:cubicBezTo>
                  <a:cubicBezTo>
                    <a:pt x="94451" y="39473"/>
                    <a:pt x="94451" y="37894"/>
                    <a:pt x="94451" y="37894"/>
                  </a:cubicBezTo>
                  <a:cubicBezTo>
                    <a:pt x="94451" y="37105"/>
                    <a:pt x="93677" y="36315"/>
                    <a:pt x="93677" y="36315"/>
                  </a:cubicBezTo>
                  <a:cubicBezTo>
                    <a:pt x="93677" y="33157"/>
                    <a:pt x="93677" y="33157"/>
                    <a:pt x="93677" y="33157"/>
                  </a:cubicBezTo>
                  <a:cubicBezTo>
                    <a:pt x="92129" y="33157"/>
                    <a:pt x="92129" y="33157"/>
                    <a:pt x="92129" y="33157"/>
                  </a:cubicBezTo>
                  <a:cubicBezTo>
                    <a:pt x="90580" y="32368"/>
                    <a:pt x="90580" y="32368"/>
                    <a:pt x="90580" y="32368"/>
                  </a:cubicBezTo>
                  <a:cubicBezTo>
                    <a:pt x="89806" y="34736"/>
                    <a:pt x="89806" y="34736"/>
                    <a:pt x="89806" y="34736"/>
                  </a:cubicBezTo>
                  <a:cubicBezTo>
                    <a:pt x="88258" y="35526"/>
                    <a:pt x="88258" y="35526"/>
                    <a:pt x="88258" y="35526"/>
                  </a:cubicBezTo>
                  <a:cubicBezTo>
                    <a:pt x="87483" y="33157"/>
                    <a:pt x="87483" y="33157"/>
                    <a:pt x="87483" y="33157"/>
                  </a:cubicBezTo>
                  <a:cubicBezTo>
                    <a:pt x="85935" y="32368"/>
                    <a:pt x="85935" y="32368"/>
                    <a:pt x="85935" y="32368"/>
                  </a:cubicBezTo>
                  <a:cubicBezTo>
                    <a:pt x="85161" y="32368"/>
                    <a:pt x="85161" y="32368"/>
                    <a:pt x="85161" y="32368"/>
                  </a:cubicBezTo>
                  <a:cubicBezTo>
                    <a:pt x="83612" y="30000"/>
                    <a:pt x="83612" y="30000"/>
                    <a:pt x="83612" y="30000"/>
                  </a:cubicBezTo>
                  <a:cubicBezTo>
                    <a:pt x="82064" y="30000"/>
                    <a:pt x="82064" y="30000"/>
                    <a:pt x="82064" y="30000"/>
                  </a:cubicBezTo>
                  <a:cubicBezTo>
                    <a:pt x="82064" y="30000"/>
                    <a:pt x="81290" y="32368"/>
                    <a:pt x="80516" y="30789"/>
                  </a:cubicBezTo>
                  <a:cubicBezTo>
                    <a:pt x="79741" y="30000"/>
                    <a:pt x="79741" y="27631"/>
                    <a:pt x="79741" y="27631"/>
                  </a:cubicBezTo>
                  <a:cubicBezTo>
                    <a:pt x="78967" y="26842"/>
                    <a:pt x="78967" y="26842"/>
                    <a:pt x="78967" y="26842"/>
                  </a:cubicBezTo>
                  <a:cubicBezTo>
                    <a:pt x="79741" y="25263"/>
                    <a:pt x="79741" y="25263"/>
                    <a:pt x="79741" y="25263"/>
                  </a:cubicBezTo>
                  <a:cubicBezTo>
                    <a:pt x="79741" y="22894"/>
                    <a:pt x="79741" y="22894"/>
                    <a:pt x="79741" y="22894"/>
                  </a:cubicBezTo>
                  <a:cubicBezTo>
                    <a:pt x="79741" y="22894"/>
                    <a:pt x="78967" y="21315"/>
                    <a:pt x="78967" y="21315"/>
                  </a:cubicBezTo>
                  <a:cubicBezTo>
                    <a:pt x="78967" y="20526"/>
                    <a:pt x="78193" y="18947"/>
                    <a:pt x="78193" y="18947"/>
                  </a:cubicBezTo>
                  <a:cubicBezTo>
                    <a:pt x="78967" y="17368"/>
                    <a:pt x="78967" y="17368"/>
                    <a:pt x="78967" y="17368"/>
                  </a:cubicBezTo>
                  <a:cubicBezTo>
                    <a:pt x="77419" y="16578"/>
                    <a:pt x="77419" y="16578"/>
                    <a:pt x="77419" y="16578"/>
                  </a:cubicBezTo>
                  <a:cubicBezTo>
                    <a:pt x="77419" y="14210"/>
                    <a:pt x="77419" y="14210"/>
                    <a:pt x="77419" y="14210"/>
                  </a:cubicBezTo>
                  <a:cubicBezTo>
                    <a:pt x="77419" y="13421"/>
                    <a:pt x="77419" y="13421"/>
                    <a:pt x="77419" y="13421"/>
                  </a:cubicBezTo>
                  <a:cubicBezTo>
                    <a:pt x="75096" y="12631"/>
                    <a:pt x="75096" y="12631"/>
                    <a:pt x="75096" y="12631"/>
                  </a:cubicBezTo>
                  <a:cubicBezTo>
                    <a:pt x="75096" y="12631"/>
                    <a:pt x="75096" y="11842"/>
                    <a:pt x="74322" y="11052"/>
                  </a:cubicBezTo>
                  <a:cubicBezTo>
                    <a:pt x="74322" y="11052"/>
                    <a:pt x="72774" y="9473"/>
                    <a:pt x="72774" y="9473"/>
                  </a:cubicBezTo>
                  <a:cubicBezTo>
                    <a:pt x="72774" y="9473"/>
                    <a:pt x="72000" y="9473"/>
                    <a:pt x="72000" y="10263"/>
                  </a:cubicBezTo>
                  <a:cubicBezTo>
                    <a:pt x="71225" y="11052"/>
                    <a:pt x="71225" y="12631"/>
                    <a:pt x="70451" y="12631"/>
                  </a:cubicBezTo>
                  <a:cubicBezTo>
                    <a:pt x="70451" y="12631"/>
                    <a:pt x="71225" y="12631"/>
                    <a:pt x="68903" y="12631"/>
                  </a:cubicBezTo>
                  <a:cubicBezTo>
                    <a:pt x="67354" y="11842"/>
                    <a:pt x="67354" y="11842"/>
                    <a:pt x="66580" y="11052"/>
                  </a:cubicBezTo>
                  <a:cubicBezTo>
                    <a:pt x="65806" y="11052"/>
                    <a:pt x="64258" y="9473"/>
                    <a:pt x="64258" y="9473"/>
                  </a:cubicBezTo>
                  <a:cubicBezTo>
                    <a:pt x="63483" y="6315"/>
                    <a:pt x="63483" y="6315"/>
                    <a:pt x="63483" y="6315"/>
                  </a:cubicBezTo>
                  <a:cubicBezTo>
                    <a:pt x="61935" y="6315"/>
                    <a:pt x="61935" y="6315"/>
                    <a:pt x="61935" y="6315"/>
                  </a:cubicBezTo>
                  <a:cubicBezTo>
                    <a:pt x="61935" y="6315"/>
                    <a:pt x="64258" y="7105"/>
                    <a:pt x="61161" y="7105"/>
                  </a:cubicBezTo>
                  <a:cubicBezTo>
                    <a:pt x="58064" y="7105"/>
                    <a:pt x="54967" y="7105"/>
                    <a:pt x="54967" y="7105"/>
                  </a:cubicBezTo>
                  <a:cubicBezTo>
                    <a:pt x="54193" y="8684"/>
                    <a:pt x="54193" y="8684"/>
                    <a:pt x="54193" y="8684"/>
                  </a:cubicBezTo>
                  <a:cubicBezTo>
                    <a:pt x="54193" y="8684"/>
                    <a:pt x="53419" y="10263"/>
                    <a:pt x="53419" y="11052"/>
                  </a:cubicBezTo>
                  <a:cubicBezTo>
                    <a:pt x="53419" y="11052"/>
                    <a:pt x="54193" y="11842"/>
                    <a:pt x="53419" y="11052"/>
                  </a:cubicBezTo>
                  <a:cubicBezTo>
                    <a:pt x="53419" y="10263"/>
                    <a:pt x="52645" y="10263"/>
                    <a:pt x="52645" y="9473"/>
                  </a:cubicBezTo>
                  <a:cubicBezTo>
                    <a:pt x="52645" y="9473"/>
                    <a:pt x="52645" y="8684"/>
                    <a:pt x="52645" y="8684"/>
                  </a:cubicBezTo>
                  <a:cubicBezTo>
                    <a:pt x="52645" y="7894"/>
                    <a:pt x="51096" y="7105"/>
                    <a:pt x="51096" y="7105"/>
                  </a:cubicBezTo>
                  <a:cubicBezTo>
                    <a:pt x="50322" y="8684"/>
                    <a:pt x="50322" y="8684"/>
                    <a:pt x="50322" y="8684"/>
                  </a:cubicBezTo>
                  <a:cubicBezTo>
                    <a:pt x="50322" y="8684"/>
                    <a:pt x="51096" y="9473"/>
                    <a:pt x="49548" y="9473"/>
                  </a:cubicBezTo>
                  <a:cubicBezTo>
                    <a:pt x="48774" y="10263"/>
                    <a:pt x="48774" y="10263"/>
                    <a:pt x="48774" y="10263"/>
                  </a:cubicBezTo>
                  <a:cubicBezTo>
                    <a:pt x="48774" y="9473"/>
                    <a:pt x="49548" y="8684"/>
                    <a:pt x="49548" y="8684"/>
                  </a:cubicBezTo>
                  <a:cubicBezTo>
                    <a:pt x="49548" y="8684"/>
                    <a:pt x="50322" y="7105"/>
                    <a:pt x="50322" y="7105"/>
                  </a:cubicBezTo>
                  <a:cubicBezTo>
                    <a:pt x="50322" y="7105"/>
                    <a:pt x="50322" y="5526"/>
                    <a:pt x="49548" y="5526"/>
                  </a:cubicBezTo>
                  <a:cubicBezTo>
                    <a:pt x="49548" y="5526"/>
                    <a:pt x="48000" y="5526"/>
                    <a:pt x="47225" y="5526"/>
                  </a:cubicBezTo>
                  <a:cubicBezTo>
                    <a:pt x="47225" y="5526"/>
                    <a:pt x="46451" y="6315"/>
                    <a:pt x="46451" y="6315"/>
                  </a:cubicBezTo>
                  <a:cubicBezTo>
                    <a:pt x="46451" y="6315"/>
                    <a:pt x="47225" y="7105"/>
                    <a:pt x="46451" y="7105"/>
                  </a:cubicBezTo>
                  <a:cubicBezTo>
                    <a:pt x="46451" y="7105"/>
                    <a:pt x="45677" y="7105"/>
                    <a:pt x="45677" y="7894"/>
                  </a:cubicBezTo>
                  <a:cubicBezTo>
                    <a:pt x="44903" y="7894"/>
                    <a:pt x="44903" y="6315"/>
                    <a:pt x="44903" y="6315"/>
                  </a:cubicBezTo>
                  <a:cubicBezTo>
                    <a:pt x="44903" y="6315"/>
                    <a:pt x="44129" y="5526"/>
                    <a:pt x="44129" y="5526"/>
                  </a:cubicBezTo>
                  <a:cubicBezTo>
                    <a:pt x="44129" y="6315"/>
                    <a:pt x="43354" y="7894"/>
                    <a:pt x="43354" y="7894"/>
                  </a:cubicBezTo>
                  <a:cubicBezTo>
                    <a:pt x="42580" y="7894"/>
                    <a:pt x="42580" y="7894"/>
                    <a:pt x="42580" y="7105"/>
                  </a:cubicBezTo>
                  <a:cubicBezTo>
                    <a:pt x="41806" y="7105"/>
                    <a:pt x="41806" y="5526"/>
                    <a:pt x="41806" y="5526"/>
                  </a:cubicBezTo>
                  <a:cubicBezTo>
                    <a:pt x="41032" y="4736"/>
                    <a:pt x="41032" y="4736"/>
                    <a:pt x="41032" y="4736"/>
                  </a:cubicBezTo>
                  <a:cubicBezTo>
                    <a:pt x="41032" y="4736"/>
                    <a:pt x="38709" y="4736"/>
                    <a:pt x="37935" y="4736"/>
                  </a:cubicBezTo>
                  <a:cubicBezTo>
                    <a:pt x="37935" y="4736"/>
                    <a:pt x="36387" y="4736"/>
                    <a:pt x="36387" y="3947"/>
                  </a:cubicBezTo>
                  <a:cubicBezTo>
                    <a:pt x="35612" y="3157"/>
                    <a:pt x="34838" y="3157"/>
                    <a:pt x="34838" y="3157"/>
                  </a:cubicBezTo>
                  <a:cubicBezTo>
                    <a:pt x="34838" y="3157"/>
                    <a:pt x="34838" y="3157"/>
                    <a:pt x="34064" y="2368"/>
                  </a:cubicBezTo>
                  <a:cubicBezTo>
                    <a:pt x="33290" y="2368"/>
                    <a:pt x="33290" y="2368"/>
                    <a:pt x="32516" y="2368"/>
                  </a:cubicBezTo>
                  <a:cubicBezTo>
                    <a:pt x="31741" y="1578"/>
                    <a:pt x="32516" y="1578"/>
                    <a:pt x="30967" y="1578"/>
                  </a:cubicBezTo>
                  <a:cubicBezTo>
                    <a:pt x="29419" y="1578"/>
                    <a:pt x="29419" y="3157"/>
                    <a:pt x="28645" y="2368"/>
                  </a:cubicBezTo>
                  <a:cubicBezTo>
                    <a:pt x="27096" y="2368"/>
                    <a:pt x="27096" y="2368"/>
                    <a:pt x="27096" y="2368"/>
                  </a:cubicBezTo>
                  <a:cubicBezTo>
                    <a:pt x="26322" y="1578"/>
                    <a:pt x="26322" y="1578"/>
                    <a:pt x="26322" y="1578"/>
                  </a:cubicBezTo>
                  <a:cubicBezTo>
                    <a:pt x="26322" y="789"/>
                    <a:pt x="25548" y="0"/>
                    <a:pt x="25548" y="789"/>
                  </a:cubicBezTo>
                  <a:cubicBezTo>
                    <a:pt x="25548" y="2368"/>
                    <a:pt x="25548" y="1578"/>
                    <a:pt x="24774" y="2368"/>
                  </a:cubicBezTo>
                  <a:cubicBezTo>
                    <a:pt x="24774" y="3157"/>
                    <a:pt x="23225" y="3947"/>
                    <a:pt x="23225" y="3947"/>
                  </a:cubicBezTo>
                  <a:cubicBezTo>
                    <a:pt x="23225" y="3947"/>
                    <a:pt x="22451" y="3947"/>
                    <a:pt x="22451" y="4736"/>
                  </a:cubicBezTo>
                  <a:cubicBezTo>
                    <a:pt x="22451" y="4736"/>
                    <a:pt x="21677" y="5526"/>
                    <a:pt x="21677" y="5526"/>
                  </a:cubicBezTo>
                  <a:cubicBezTo>
                    <a:pt x="21677" y="5526"/>
                    <a:pt x="21677" y="4736"/>
                    <a:pt x="20903" y="4736"/>
                  </a:cubicBezTo>
                  <a:cubicBezTo>
                    <a:pt x="20903" y="4736"/>
                    <a:pt x="20903" y="4736"/>
                    <a:pt x="20903" y="4736"/>
                  </a:cubicBezTo>
                  <a:cubicBezTo>
                    <a:pt x="20903" y="4736"/>
                    <a:pt x="19354" y="4736"/>
                    <a:pt x="19354" y="5526"/>
                  </a:cubicBezTo>
                  <a:cubicBezTo>
                    <a:pt x="19354" y="5526"/>
                    <a:pt x="19354" y="6315"/>
                    <a:pt x="19354" y="7105"/>
                  </a:cubicBezTo>
                  <a:cubicBezTo>
                    <a:pt x="19354" y="7105"/>
                    <a:pt x="18580" y="7894"/>
                    <a:pt x="18580" y="7894"/>
                  </a:cubicBezTo>
                  <a:cubicBezTo>
                    <a:pt x="17032" y="8684"/>
                    <a:pt x="17032" y="8684"/>
                    <a:pt x="17032" y="8684"/>
                  </a:cubicBezTo>
                  <a:cubicBezTo>
                    <a:pt x="17032" y="8684"/>
                    <a:pt x="17032" y="8684"/>
                    <a:pt x="16258" y="8684"/>
                  </a:cubicBezTo>
                  <a:cubicBezTo>
                    <a:pt x="15483" y="8684"/>
                    <a:pt x="13935" y="8684"/>
                    <a:pt x="13935" y="8684"/>
                  </a:cubicBezTo>
                  <a:cubicBezTo>
                    <a:pt x="13161" y="8684"/>
                    <a:pt x="12387" y="8684"/>
                    <a:pt x="12387" y="8684"/>
                  </a:cubicBezTo>
                  <a:cubicBezTo>
                    <a:pt x="12387" y="9473"/>
                    <a:pt x="12387" y="9473"/>
                    <a:pt x="12387" y="9473"/>
                  </a:cubicBezTo>
                  <a:cubicBezTo>
                    <a:pt x="11612" y="10263"/>
                    <a:pt x="11612" y="10263"/>
                    <a:pt x="11612" y="10263"/>
                  </a:cubicBezTo>
                  <a:cubicBezTo>
                    <a:pt x="11612" y="10263"/>
                    <a:pt x="10838" y="11842"/>
                    <a:pt x="10064" y="11052"/>
                  </a:cubicBezTo>
                  <a:cubicBezTo>
                    <a:pt x="10064" y="11052"/>
                    <a:pt x="9290" y="11052"/>
                    <a:pt x="9290" y="11052"/>
                  </a:cubicBezTo>
                  <a:cubicBezTo>
                    <a:pt x="7741" y="10263"/>
                    <a:pt x="7741" y="10263"/>
                    <a:pt x="7741" y="10263"/>
                  </a:cubicBezTo>
                  <a:cubicBezTo>
                    <a:pt x="7741" y="10263"/>
                    <a:pt x="6967" y="11052"/>
                    <a:pt x="6967" y="11052"/>
                  </a:cubicBezTo>
                  <a:cubicBezTo>
                    <a:pt x="6967" y="11052"/>
                    <a:pt x="6193" y="11052"/>
                    <a:pt x="6193" y="11052"/>
                  </a:cubicBezTo>
                  <a:cubicBezTo>
                    <a:pt x="6193" y="11052"/>
                    <a:pt x="6193" y="11052"/>
                    <a:pt x="6193" y="11052"/>
                  </a:cubicBezTo>
                  <a:cubicBezTo>
                    <a:pt x="6193" y="11052"/>
                    <a:pt x="6193" y="11842"/>
                    <a:pt x="6967" y="12631"/>
                  </a:cubicBezTo>
                  <a:cubicBezTo>
                    <a:pt x="6967" y="12631"/>
                    <a:pt x="6967" y="13421"/>
                    <a:pt x="6967" y="14210"/>
                  </a:cubicBezTo>
                  <a:cubicBezTo>
                    <a:pt x="6967" y="14210"/>
                    <a:pt x="6193" y="15000"/>
                    <a:pt x="6193" y="15000"/>
                  </a:cubicBezTo>
                  <a:cubicBezTo>
                    <a:pt x="5419" y="15000"/>
                    <a:pt x="4645" y="14210"/>
                    <a:pt x="4645" y="14210"/>
                  </a:cubicBezTo>
                  <a:cubicBezTo>
                    <a:pt x="4645" y="14210"/>
                    <a:pt x="4645" y="13421"/>
                    <a:pt x="3870" y="13421"/>
                  </a:cubicBezTo>
                  <a:cubicBezTo>
                    <a:pt x="3870" y="14210"/>
                    <a:pt x="1548" y="15000"/>
                    <a:pt x="1548" y="15000"/>
                  </a:cubicBezTo>
                  <a:cubicBezTo>
                    <a:pt x="1548" y="16578"/>
                    <a:pt x="1548" y="16578"/>
                    <a:pt x="1548" y="16578"/>
                  </a:cubicBezTo>
                  <a:cubicBezTo>
                    <a:pt x="0" y="17368"/>
                    <a:pt x="0" y="17368"/>
                    <a:pt x="0" y="17368"/>
                  </a:cubicBezTo>
                  <a:cubicBezTo>
                    <a:pt x="3870" y="17368"/>
                    <a:pt x="3870" y="17368"/>
                    <a:pt x="3870" y="17368"/>
                  </a:cubicBezTo>
                  <a:cubicBezTo>
                    <a:pt x="4645" y="17368"/>
                    <a:pt x="4645" y="17368"/>
                    <a:pt x="4645" y="17368"/>
                  </a:cubicBezTo>
                  <a:cubicBezTo>
                    <a:pt x="6193" y="17368"/>
                    <a:pt x="6193" y="17368"/>
                    <a:pt x="6193" y="17368"/>
                  </a:cubicBezTo>
                  <a:cubicBezTo>
                    <a:pt x="6967" y="16578"/>
                    <a:pt x="6967" y="16578"/>
                    <a:pt x="6967" y="16578"/>
                  </a:cubicBezTo>
                  <a:cubicBezTo>
                    <a:pt x="6967" y="16578"/>
                    <a:pt x="7741" y="16578"/>
                    <a:pt x="7741" y="17368"/>
                  </a:cubicBezTo>
                  <a:cubicBezTo>
                    <a:pt x="7741" y="17368"/>
                    <a:pt x="9290" y="18157"/>
                    <a:pt x="9290" y="18157"/>
                  </a:cubicBezTo>
                  <a:cubicBezTo>
                    <a:pt x="9290" y="18157"/>
                    <a:pt x="9290" y="18157"/>
                    <a:pt x="9290" y="18157"/>
                  </a:cubicBezTo>
                  <a:cubicBezTo>
                    <a:pt x="11612" y="17368"/>
                    <a:pt x="11612" y="17368"/>
                    <a:pt x="11612" y="17368"/>
                  </a:cubicBezTo>
                  <a:cubicBezTo>
                    <a:pt x="11612" y="18157"/>
                    <a:pt x="11612" y="18157"/>
                    <a:pt x="11612" y="18157"/>
                  </a:cubicBezTo>
                  <a:cubicBezTo>
                    <a:pt x="11612" y="18157"/>
                    <a:pt x="11612" y="18947"/>
                    <a:pt x="12387" y="18947"/>
                  </a:cubicBezTo>
                  <a:cubicBezTo>
                    <a:pt x="13161" y="18947"/>
                    <a:pt x="13161" y="18947"/>
                    <a:pt x="13161" y="18947"/>
                  </a:cubicBezTo>
                  <a:cubicBezTo>
                    <a:pt x="13161" y="20526"/>
                    <a:pt x="13161" y="20526"/>
                    <a:pt x="13161" y="20526"/>
                  </a:cubicBezTo>
                  <a:cubicBezTo>
                    <a:pt x="14709" y="20526"/>
                    <a:pt x="14709" y="20526"/>
                    <a:pt x="14709" y="20526"/>
                  </a:cubicBezTo>
                  <a:cubicBezTo>
                    <a:pt x="14709" y="20526"/>
                    <a:pt x="15483" y="20526"/>
                    <a:pt x="15483" y="20526"/>
                  </a:cubicBezTo>
                  <a:cubicBezTo>
                    <a:pt x="15483" y="20526"/>
                    <a:pt x="15483" y="21315"/>
                    <a:pt x="15483" y="21315"/>
                  </a:cubicBezTo>
                  <a:cubicBezTo>
                    <a:pt x="15483" y="21315"/>
                    <a:pt x="16258" y="22105"/>
                    <a:pt x="17032" y="22894"/>
                  </a:cubicBezTo>
                  <a:cubicBezTo>
                    <a:pt x="17032" y="22894"/>
                    <a:pt x="17806" y="23684"/>
                    <a:pt x="17806" y="23684"/>
                  </a:cubicBezTo>
                  <a:cubicBezTo>
                    <a:pt x="18580" y="24473"/>
                    <a:pt x="18580" y="24473"/>
                    <a:pt x="18580" y="24473"/>
                  </a:cubicBezTo>
                  <a:cubicBezTo>
                    <a:pt x="19354" y="25263"/>
                    <a:pt x="19354" y="25263"/>
                    <a:pt x="19354" y="25263"/>
                  </a:cubicBezTo>
                  <a:cubicBezTo>
                    <a:pt x="20129" y="26052"/>
                    <a:pt x="20129" y="26052"/>
                    <a:pt x="20129" y="26052"/>
                  </a:cubicBezTo>
                  <a:cubicBezTo>
                    <a:pt x="20129" y="26052"/>
                    <a:pt x="20129" y="26052"/>
                    <a:pt x="20129" y="26052"/>
                  </a:cubicBezTo>
                  <a:cubicBezTo>
                    <a:pt x="20129" y="26842"/>
                    <a:pt x="20129" y="27631"/>
                    <a:pt x="20903" y="27631"/>
                  </a:cubicBezTo>
                  <a:cubicBezTo>
                    <a:pt x="20903" y="27631"/>
                    <a:pt x="20903" y="27631"/>
                    <a:pt x="21677" y="27631"/>
                  </a:cubicBezTo>
                  <a:cubicBezTo>
                    <a:pt x="21677" y="27631"/>
                    <a:pt x="21677" y="27631"/>
                    <a:pt x="21677" y="28421"/>
                  </a:cubicBezTo>
                  <a:cubicBezTo>
                    <a:pt x="21677" y="28421"/>
                    <a:pt x="21677" y="28421"/>
                    <a:pt x="22451" y="29210"/>
                  </a:cubicBezTo>
                  <a:cubicBezTo>
                    <a:pt x="22451" y="29210"/>
                    <a:pt x="23225" y="30000"/>
                    <a:pt x="23225" y="30000"/>
                  </a:cubicBezTo>
                  <a:cubicBezTo>
                    <a:pt x="23225" y="30000"/>
                    <a:pt x="23225" y="30000"/>
                    <a:pt x="23225" y="30789"/>
                  </a:cubicBezTo>
                  <a:cubicBezTo>
                    <a:pt x="23225" y="31578"/>
                    <a:pt x="24000" y="32368"/>
                    <a:pt x="24000" y="32368"/>
                  </a:cubicBezTo>
                  <a:cubicBezTo>
                    <a:pt x="24000" y="33157"/>
                    <a:pt x="24774" y="33157"/>
                    <a:pt x="24774" y="33157"/>
                  </a:cubicBezTo>
                  <a:cubicBezTo>
                    <a:pt x="24774" y="33157"/>
                    <a:pt x="24774" y="33157"/>
                    <a:pt x="24774" y="33157"/>
                  </a:cubicBezTo>
                  <a:cubicBezTo>
                    <a:pt x="24774" y="33157"/>
                    <a:pt x="25548" y="33157"/>
                    <a:pt x="25548" y="33947"/>
                  </a:cubicBezTo>
                  <a:cubicBezTo>
                    <a:pt x="25548" y="34736"/>
                    <a:pt x="24774" y="35526"/>
                    <a:pt x="25548" y="35526"/>
                  </a:cubicBezTo>
                  <a:cubicBezTo>
                    <a:pt x="25548" y="35526"/>
                    <a:pt x="26322" y="37105"/>
                    <a:pt x="27096" y="37105"/>
                  </a:cubicBezTo>
                  <a:cubicBezTo>
                    <a:pt x="27870" y="37105"/>
                    <a:pt x="27870" y="37105"/>
                    <a:pt x="27870" y="37105"/>
                  </a:cubicBezTo>
                  <a:cubicBezTo>
                    <a:pt x="28645" y="37105"/>
                    <a:pt x="28645" y="38684"/>
                    <a:pt x="29419" y="38684"/>
                  </a:cubicBezTo>
                  <a:cubicBezTo>
                    <a:pt x="29419" y="39473"/>
                    <a:pt x="29419" y="39473"/>
                    <a:pt x="30193" y="39473"/>
                  </a:cubicBezTo>
                  <a:cubicBezTo>
                    <a:pt x="30967" y="39473"/>
                    <a:pt x="30967" y="39473"/>
                    <a:pt x="30967" y="39473"/>
                  </a:cubicBezTo>
                  <a:cubicBezTo>
                    <a:pt x="30967" y="39473"/>
                    <a:pt x="30967" y="39473"/>
                    <a:pt x="30967" y="40263"/>
                  </a:cubicBezTo>
                  <a:cubicBezTo>
                    <a:pt x="31741" y="40263"/>
                    <a:pt x="33290" y="41842"/>
                    <a:pt x="33290" y="41842"/>
                  </a:cubicBezTo>
                  <a:cubicBezTo>
                    <a:pt x="33290" y="41842"/>
                    <a:pt x="34064" y="42631"/>
                    <a:pt x="34064" y="42631"/>
                  </a:cubicBezTo>
                  <a:cubicBezTo>
                    <a:pt x="34064" y="42631"/>
                    <a:pt x="34838" y="42631"/>
                    <a:pt x="35612" y="42631"/>
                  </a:cubicBezTo>
                  <a:cubicBezTo>
                    <a:pt x="35612" y="42631"/>
                    <a:pt x="36387" y="42631"/>
                    <a:pt x="36387" y="43421"/>
                  </a:cubicBezTo>
                  <a:cubicBezTo>
                    <a:pt x="36387" y="44210"/>
                    <a:pt x="37161" y="44210"/>
                    <a:pt x="37161" y="45000"/>
                  </a:cubicBezTo>
                  <a:cubicBezTo>
                    <a:pt x="37161" y="45789"/>
                    <a:pt x="37935" y="45789"/>
                    <a:pt x="37935" y="46578"/>
                  </a:cubicBezTo>
                  <a:cubicBezTo>
                    <a:pt x="37935" y="46578"/>
                    <a:pt x="38709" y="48157"/>
                    <a:pt x="38709" y="48157"/>
                  </a:cubicBezTo>
                  <a:cubicBezTo>
                    <a:pt x="43354" y="49736"/>
                    <a:pt x="43354" y="49736"/>
                    <a:pt x="43354" y="49736"/>
                  </a:cubicBezTo>
                  <a:cubicBezTo>
                    <a:pt x="44129" y="51315"/>
                    <a:pt x="44129" y="51315"/>
                    <a:pt x="44129" y="51315"/>
                  </a:cubicBezTo>
                  <a:cubicBezTo>
                    <a:pt x="44129" y="51315"/>
                    <a:pt x="44903" y="52894"/>
                    <a:pt x="44903" y="52894"/>
                  </a:cubicBezTo>
                  <a:cubicBezTo>
                    <a:pt x="45677" y="53684"/>
                    <a:pt x="46451" y="53684"/>
                    <a:pt x="46451" y="53684"/>
                  </a:cubicBezTo>
                  <a:cubicBezTo>
                    <a:pt x="48774" y="56052"/>
                    <a:pt x="48774" y="56052"/>
                    <a:pt x="48774" y="56052"/>
                  </a:cubicBezTo>
                  <a:cubicBezTo>
                    <a:pt x="51096" y="56842"/>
                    <a:pt x="51096" y="56842"/>
                    <a:pt x="51096" y="56842"/>
                  </a:cubicBezTo>
                  <a:cubicBezTo>
                    <a:pt x="51096" y="56842"/>
                    <a:pt x="52645" y="57631"/>
                    <a:pt x="53419" y="57631"/>
                  </a:cubicBezTo>
                  <a:cubicBezTo>
                    <a:pt x="53419" y="57631"/>
                    <a:pt x="54967" y="58421"/>
                    <a:pt x="55741" y="58421"/>
                  </a:cubicBezTo>
                  <a:cubicBezTo>
                    <a:pt x="55741" y="59210"/>
                    <a:pt x="56516" y="61578"/>
                    <a:pt x="56516" y="61578"/>
                  </a:cubicBezTo>
                  <a:cubicBezTo>
                    <a:pt x="57290" y="61578"/>
                    <a:pt x="58838" y="63157"/>
                    <a:pt x="58838" y="64736"/>
                  </a:cubicBezTo>
                  <a:cubicBezTo>
                    <a:pt x="59612" y="65526"/>
                    <a:pt x="59612" y="65526"/>
                    <a:pt x="59612" y="67105"/>
                  </a:cubicBezTo>
                  <a:cubicBezTo>
                    <a:pt x="60387" y="67894"/>
                    <a:pt x="61935" y="69473"/>
                    <a:pt x="61935" y="69473"/>
                  </a:cubicBezTo>
                  <a:cubicBezTo>
                    <a:pt x="61935" y="69473"/>
                    <a:pt x="61935" y="69473"/>
                    <a:pt x="62709" y="71052"/>
                  </a:cubicBezTo>
                  <a:cubicBezTo>
                    <a:pt x="63483" y="71842"/>
                    <a:pt x="64258" y="72631"/>
                    <a:pt x="64258" y="73421"/>
                  </a:cubicBezTo>
                  <a:cubicBezTo>
                    <a:pt x="64258" y="73421"/>
                    <a:pt x="64258" y="73421"/>
                    <a:pt x="64258" y="74210"/>
                  </a:cubicBezTo>
                  <a:cubicBezTo>
                    <a:pt x="64258" y="74210"/>
                    <a:pt x="64258" y="75000"/>
                    <a:pt x="64258" y="75000"/>
                  </a:cubicBezTo>
                  <a:cubicBezTo>
                    <a:pt x="64258" y="75000"/>
                    <a:pt x="65032" y="76578"/>
                    <a:pt x="65032" y="77368"/>
                  </a:cubicBezTo>
                  <a:cubicBezTo>
                    <a:pt x="65032" y="77368"/>
                    <a:pt x="65806" y="78947"/>
                    <a:pt x="65806" y="78947"/>
                  </a:cubicBezTo>
                  <a:cubicBezTo>
                    <a:pt x="65806" y="79736"/>
                    <a:pt x="65806" y="79736"/>
                    <a:pt x="65806" y="79736"/>
                  </a:cubicBezTo>
                  <a:cubicBezTo>
                    <a:pt x="66580" y="82105"/>
                    <a:pt x="66580" y="82105"/>
                    <a:pt x="66580" y="82105"/>
                  </a:cubicBezTo>
                  <a:cubicBezTo>
                    <a:pt x="65806" y="83684"/>
                    <a:pt x="65806" y="83684"/>
                    <a:pt x="65806" y="83684"/>
                  </a:cubicBezTo>
                  <a:cubicBezTo>
                    <a:pt x="65806" y="83684"/>
                    <a:pt x="65032" y="84473"/>
                    <a:pt x="65806" y="84473"/>
                  </a:cubicBezTo>
                  <a:cubicBezTo>
                    <a:pt x="66580" y="84473"/>
                    <a:pt x="67354" y="85263"/>
                    <a:pt x="66580" y="86052"/>
                  </a:cubicBezTo>
                  <a:cubicBezTo>
                    <a:pt x="66580" y="86052"/>
                    <a:pt x="65806" y="87631"/>
                    <a:pt x="65806" y="87631"/>
                  </a:cubicBezTo>
                  <a:cubicBezTo>
                    <a:pt x="65806" y="88421"/>
                    <a:pt x="65806" y="88421"/>
                    <a:pt x="65806" y="88421"/>
                  </a:cubicBezTo>
                  <a:cubicBezTo>
                    <a:pt x="65032" y="90000"/>
                    <a:pt x="65032" y="90000"/>
                    <a:pt x="65032" y="90000"/>
                  </a:cubicBezTo>
                  <a:cubicBezTo>
                    <a:pt x="65032" y="90000"/>
                    <a:pt x="66580" y="90789"/>
                    <a:pt x="66580" y="90789"/>
                  </a:cubicBezTo>
                  <a:cubicBezTo>
                    <a:pt x="66580" y="91578"/>
                    <a:pt x="67354" y="92368"/>
                    <a:pt x="66580" y="93157"/>
                  </a:cubicBezTo>
                  <a:cubicBezTo>
                    <a:pt x="66580" y="93157"/>
                    <a:pt x="66580" y="94736"/>
                    <a:pt x="66580" y="94736"/>
                  </a:cubicBezTo>
                  <a:cubicBezTo>
                    <a:pt x="66580" y="94736"/>
                    <a:pt x="66580" y="96315"/>
                    <a:pt x="66580" y="96315"/>
                  </a:cubicBezTo>
                  <a:cubicBezTo>
                    <a:pt x="66580" y="96315"/>
                    <a:pt x="68129" y="97105"/>
                    <a:pt x="67354" y="97894"/>
                  </a:cubicBezTo>
                  <a:cubicBezTo>
                    <a:pt x="67354" y="97894"/>
                    <a:pt x="67354" y="98684"/>
                    <a:pt x="67354" y="99473"/>
                  </a:cubicBezTo>
                  <a:cubicBezTo>
                    <a:pt x="68129" y="101052"/>
                    <a:pt x="69677" y="103421"/>
                    <a:pt x="69677" y="103421"/>
                  </a:cubicBezTo>
                  <a:cubicBezTo>
                    <a:pt x="69677" y="103421"/>
                    <a:pt x="70451" y="105000"/>
                    <a:pt x="70451" y="105000"/>
                  </a:cubicBezTo>
                  <a:cubicBezTo>
                    <a:pt x="70451" y="105789"/>
                    <a:pt x="69677" y="105789"/>
                    <a:pt x="70451" y="106578"/>
                  </a:cubicBezTo>
                  <a:cubicBezTo>
                    <a:pt x="70451" y="106578"/>
                    <a:pt x="69677" y="107368"/>
                    <a:pt x="70451" y="107368"/>
                  </a:cubicBezTo>
                  <a:cubicBezTo>
                    <a:pt x="71225" y="108157"/>
                    <a:pt x="72000" y="109736"/>
                    <a:pt x="72000" y="109736"/>
                  </a:cubicBezTo>
                  <a:cubicBezTo>
                    <a:pt x="72000" y="109736"/>
                    <a:pt x="72000" y="109736"/>
                    <a:pt x="72774" y="110526"/>
                  </a:cubicBezTo>
                  <a:cubicBezTo>
                    <a:pt x="72774" y="111315"/>
                    <a:pt x="72774" y="112894"/>
                    <a:pt x="72774" y="112894"/>
                  </a:cubicBezTo>
                  <a:cubicBezTo>
                    <a:pt x="72774" y="113684"/>
                    <a:pt x="73548" y="113684"/>
                    <a:pt x="72774" y="113684"/>
                  </a:cubicBezTo>
                  <a:cubicBezTo>
                    <a:pt x="72774" y="113684"/>
                    <a:pt x="72000" y="114473"/>
                    <a:pt x="72000" y="114473"/>
                  </a:cubicBezTo>
                  <a:cubicBezTo>
                    <a:pt x="71225" y="116052"/>
                    <a:pt x="71225" y="116052"/>
                    <a:pt x="71225" y="116052"/>
                  </a:cubicBezTo>
                  <a:cubicBezTo>
                    <a:pt x="71225" y="116052"/>
                    <a:pt x="72000" y="116842"/>
                    <a:pt x="72774" y="116842"/>
                  </a:cubicBezTo>
                  <a:cubicBezTo>
                    <a:pt x="72774" y="116842"/>
                    <a:pt x="73548" y="116842"/>
                    <a:pt x="73548" y="116842"/>
                  </a:cubicBezTo>
                  <a:cubicBezTo>
                    <a:pt x="75096" y="118421"/>
                    <a:pt x="75096" y="118421"/>
                    <a:pt x="75096" y="118421"/>
                  </a:cubicBezTo>
                  <a:cubicBezTo>
                    <a:pt x="75096" y="120000"/>
                    <a:pt x="75096" y="120000"/>
                    <a:pt x="75096" y="120000"/>
                  </a:cubicBezTo>
                  <a:lnTo>
                    <a:pt x="76645" y="120000"/>
                  </a:lnTo>
                  <a:close/>
                </a:path>
              </a:pathLst>
            </a:custGeom>
            <a:grpFill/>
            <a:ln w="3175" cap="flat" cmpd="sng">
              <a:solidFill>
                <a:schemeClr val="tx1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defTabSz="457178"/>
              <a:endParaRPr kern="0">
                <a:solidFill>
                  <a:srgbClr val="7F7F7F"/>
                </a:solidFill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26" name="Shape 2033">
              <a:extLst>
                <a:ext uri="{FF2B5EF4-FFF2-40B4-BE49-F238E27FC236}">
                  <a16:creationId xmlns:a16="http://schemas.microsoft.com/office/drawing/2014/main" id="{3042A294-A05A-4EE7-B647-06A1D0D50963}"/>
                </a:ext>
              </a:extLst>
            </p:cNvPr>
            <p:cNvSpPr/>
            <p:nvPr/>
          </p:nvSpPr>
          <p:spPr>
            <a:xfrm>
              <a:off x="4446566" y="2676821"/>
              <a:ext cx="294647" cy="240785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930" y="19816"/>
                  </a:moveTo>
                  <a:cubicBezTo>
                    <a:pt x="930" y="19816"/>
                    <a:pt x="19534" y="6605"/>
                    <a:pt x="19534" y="6605"/>
                  </a:cubicBezTo>
                  <a:cubicBezTo>
                    <a:pt x="25116" y="5504"/>
                    <a:pt x="25116" y="5504"/>
                    <a:pt x="25116" y="5504"/>
                  </a:cubicBezTo>
                  <a:cubicBezTo>
                    <a:pt x="27906" y="5504"/>
                    <a:pt x="27906" y="5504"/>
                    <a:pt x="27906" y="5504"/>
                  </a:cubicBezTo>
                  <a:cubicBezTo>
                    <a:pt x="28837" y="4403"/>
                    <a:pt x="28837" y="4403"/>
                    <a:pt x="28837" y="4403"/>
                  </a:cubicBezTo>
                  <a:cubicBezTo>
                    <a:pt x="28837" y="4403"/>
                    <a:pt x="29767" y="7706"/>
                    <a:pt x="30697" y="7706"/>
                  </a:cubicBezTo>
                  <a:cubicBezTo>
                    <a:pt x="30697" y="7706"/>
                    <a:pt x="32558" y="9908"/>
                    <a:pt x="32558" y="8807"/>
                  </a:cubicBezTo>
                  <a:cubicBezTo>
                    <a:pt x="33488" y="7706"/>
                    <a:pt x="33488" y="6605"/>
                    <a:pt x="34418" y="6605"/>
                  </a:cubicBezTo>
                  <a:cubicBezTo>
                    <a:pt x="34418" y="5504"/>
                    <a:pt x="35348" y="4403"/>
                    <a:pt x="37209" y="5504"/>
                  </a:cubicBezTo>
                  <a:cubicBezTo>
                    <a:pt x="38139" y="6605"/>
                    <a:pt x="38139" y="11009"/>
                    <a:pt x="38139" y="11009"/>
                  </a:cubicBezTo>
                  <a:cubicBezTo>
                    <a:pt x="45581" y="13211"/>
                    <a:pt x="40930" y="14311"/>
                    <a:pt x="51162" y="11009"/>
                  </a:cubicBezTo>
                  <a:cubicBezTo>
                    <a:pt x="51162" y="11009"/>
                    <a:pt x="53023" y="8807"/>
                    <a:pt x="53023" y="8807"/>
                  </a:cubicBezTo>
                  <a:cubicBezTo>
                    <a:pt x="53023" y="7706"/>
                    <a:pt x="52093" y="5504"/>
                    <a:pt x="53953" y="6605"/>
                  </a:cubicBezTo>
                  <a:cubicBezTo>
                    <a:pt x="54883" y="7706"/>
                    <a:pt x="55813" y="7706"/>
                    <a:pt x="56744" y="7706"/>
                  </a:cubicBezTo>
                  <a:cubicBezTo>
                    <a:pt x="57674" y="7706"/>
                    <a:pt x="59534" y="7706"/>
                    <a:pt x="59534" y="7706"/>
                  </a:cubicBezTo>
                  <a:cubicBezTo>
                    <a:pt x="59534" y="7706"/>
                    <a:pt x="60465" y="6605"/>
                    <a:pt x="59534" y="5504"/>
                  </a:cubicBezTo>
                  <a:cubicBezTo>
                    <a:pt x="59534" y="4403"/>
                    <a:pt x="58604" y="3302"/>
                    <a:pt x="59534" y="3302"/>
                  </a:cubicBezTo>
                  <a:cubicBezTo>
                    <a:pt x="59534" y="2201"/>
                    <a:pt x="61395" y="1100"/>
                    <a:pt x="61395" y="1100"/>
                  </a:cubicBezTo>
                  <a:cubicBezTo>
                    <a:pt x="61395" y="1100"/>
                    <a:pt x="62325" y="1100"/>
                    <a:pt x="62325" y="2201"/>
                  </a:cubicBezTo>
                  <a:cubicBezTo>
                    <a:pt x="63255" y="3302"/>
                    <a:pt x="63255" y="3302"/>
                    <a:pt x="63255" y="4403"/>
                  </a:cubicBezTo>
                  <a:cubicBezTo>
                    <a:pt x="64186" y="4403"/>
                    <a:pt x="64186" y="5504"/>
                    <a:pt x="65116" y="5504"/>
                  </a:cubicBezTo>
                  <a:cubicBezTo>
                    <a:pt x="66976" y="5504"/>
                    <a:pt x="66976" y="5504"/>
                    <a:pt x="67906" y="4403"/>
                  </a:cubicBezTo>
                  <a:cubicBezTo>
                    <a:pt x="68837" y="3302"/>
                    <a:pt x="68837" y="3302"/>
                    <a:pt x="69767" y="2201"/>
                  </a:cubicBezTo>
                  <a:cubicBezTo>
                    <a:pt x="70697" y="0"/>
                    <a:pt x="70697" y="0"/>
                    <a:pt x="71627" y="1100"/>
                  </a:cubicBezTo>
                  <a:cubicBezTo>
                    <a:pt x="72558" y="1100"/>
                    <a:pt x="74418" y="2201"/>
                    <a:pt x="74418" y="2201"/>
                  </a:cubicBezTo>
                  <a:cubicBezTo>
                    <a:pt x="72558" y="4403"/>
                    <a:pt x="72558" y="4403"/>
                    <a:pt x="72558" y="4403"/>
                  </a:cubicBezTo>
                  <a:cubicBezTo>
                    <a:pt x="72558" y="4403"/>
                    <a:pt x="71627" y="4403"/>
                    <a:pt x="73488" y="5504"/>
                  </a:cubicBezTo>
                  <a:cubicBezTo>
                    <a:pt x="76279" y="6605"/>
                    <a:pt x="77209" y="6605"/>
                    <a:pt x="77209" y="6605"/>
                  </a:cubicBezTo>
                  <a:cubicBezTo>
                    <a:pt x="79069" y="3302"/>
                    <a:pt x="79069" y="3302"/>
                    <a:pt x="79069" y="3302"/>
                  </a:cubicBezTo>
                  <a:cubicBezTo>
                    <a:pt x="79069" y="3302"/>
                    <a:pt x="79069" y="1100"/>
                    <a:pt x="80000" y="3302"/>
                  </a:cubicBezTo>
                  <a:cubicBezTo>
                    <a:pt x="80000" y="4403"/>
                    <a:pt x="80930" y="6605"/>
                    <a:pt x="80930" y="6605"/>
                  </a:cubicBezTo>
                  <a:cubicBezTo>
                    <a:pt x="80930" y="6605"/>
                    <a:pt x="80930" y="9908"/>
                    <a:pt x="81860" y="9908"/>
                  </a:cubicBezTo>
                  <a:cubicBezTo>
                    <a:pt x="82790" y="9908"/>
                    <a:pt x="82790" y="8807"/>
                    <a:pt x="82790" y="9908"/>
                  </a:cubicBezTo>
                  <a:cubicBezTo>
                    <a:pt x="82790" y="11009"/>
                    <a:pt x="81860" y="11009"/>
                    <a:pt x="82790" y="11009"/>
                  </a:cubicBezTo>
                  <a:cubicBezTo>
                    <a:pt x="82790" y="12110"/>
                    <a:pt x="84651" y="12110"/>
                    <a:pt x="84651" y="12110"/>
                  </a:cubicBezTo>
                  <a:cubicBezTo>
                    <a:pt x="84651" y="12110"/>
                    <a:pt x="85581" y="12110"/>
                    <a:pt x="85581" y="13211"/>
                  </a:cubicBezTo>
                  <a:cubicBezTo>
                    <a:pt x="85581" y="14311"/>
                    <a:pt x="85581" y="15412"/>
                    <a:pt x="85581" y="15412"/>
                  </a:cubicBezTo>
                  <a:cubicBezTo>
                    <a:pt x="85581" y="15412"/>
                    <a:pt x="88372" y="15412"/>
                    <a:pt x="88372" y="15412"/>
                  </a:cubicBezTo>
                  <a:cubicBezTo>
                    <a:pt x="89302" y="15412"/>
                    <a:pt x="90232" y="16513"/>
                    <a:pt x="91162" y="16513"/>
                  </a:cubicBezTo>
                  <a:cubicBezTo>
                    <a:pt x="92093" y="15412"/>
                    <a:pt x="93023" y="14311"/>
                    <a:pt x="93023" y="14311"/>
                  </a:cubicBezTo>
                  <a:cubicBezTo>
                    <a:pt x="93023" y="15412"/>
                    <a:pt x="94883" y="15412"/>
                    <a:pt x="94883" y="16513"/>
                  </a:cubicBezTo>
                  <a:cubicBezTo>
                    <a:pt x="93953" y="18715"/>
                    <a:pt x="93023" y="18715"/>
                    <a:pt x="94883" y="19816"/>
                  </a:cubicBezTo>
                  <a:cubicBezTo>
                    <a:pt x="96744" y="19816"/>
                    <a:pt x="98604" y="20917"/>
                    <a:pt x="99534" y="20917"/>
                  </a:cubicBezTo>
                  <a:cubicBezTo>
                    <a:pt x="100465" y="22018"/>
                    <a:pt x="103255" y="23119"/>
                    <a:pt x="103255" y="23119"/>
                  </a:cubicBezTo>
                  <a:cubicBezTo>
                    <a:pt x="104186" y="23119"/>
                    <a:pt x="105116" y="23119"/>
                    <a:pt x="105116" y="24220"/>
                  </a:cubicBezTo>
                  <a:cubicBezTo>
                    <a:pt x="105116" y="25321"/>
                    <a:pt x="103255" y="27522"/>
                    <a:pt x="103255" y="27522"/>
                  </a:cubicBezTo>
                  <a:cubicBezTo>
                    <a:pt x="103255" y="27522"/>
                    <a:pt x="102325" y="28623"/>
                    <a:pt x="102325" y="29724"/>
                  </a:cubicBezTo>
                  <a:cubicBezTo>
                    <a:pt x="102325" y="29724"/>
                    <a:pt x="101395" y="33027"/>
                    <a:pt x="101395" y="33027"/>
                  </a:cubicBezTo>
                  <a:cubicBezTo>
                    <a:pt x="100465" y="34128"/>
                    <a:pt x="99534" y="36330"/>
                    <a:pt x="99534" y="36330"/>
                  </a:cubicBezTo>
                  <a:cubicBezTo>
                    <a:pt x="99534" y="36330"/>
                    <a:pt x="98604" y="38532"/>
                    <a:pt x="97674" y="38532"/>
                  </a:cubicBezTo>
                  <a:cubicBezTo>
                    <a:pt x="97674" y="38532"/>
                    <a:pt x="96744" y="39633"/>
                    <a:pt x="96744" y="39633"/>
                  </a:cubicBezTo>
                  <a:cubicBezTo>
                    <a:pt x="96744" y="40733"/>
                    <a:pt x="96744" y="42935"/>
                    <a:pt x="96744" y="42935"/>
                  </a:cubicBezTo>
                  <a:cubicBezTo>
                    <a:pt x="97674" y="45137"/>
                    <a:pt x="97674" y="45137"/>
                    <a:pt x="97674" y="45137"/>
                  </a:cubicBezTo>
                  <a:cubicBezTo>
                    <a:pt x="97674" y="47339"/>
                    <a:pt x="97674" y="47339"/>
                    <a:pt x="97674" y="47339"/>
                  </a:cubicBezTo>
                  <a:cubicBezTo>
                    <a:pt x="101395" y="46238"/>
                    <a:pt x="101395" y="46238"/>
                    <a:pt x="101395" y="46238"/>
                  </a:cubicBezTo>
                  <a:cubicBezTo>
                    <a:pt x="101395" y="46238"/>
                    <a:pt x="101395" y="46238"/>
                    <a:pt x="102325" y="47339"/>
                  </a:cubicBezTo>
                  <a:cubicBezTo>
                    <a:pt x="104186" y="47339"/>
                    <a:pt x="105116" y="46238"/>
                    <a:pt x="106046" y="46238"/>
                  </a:cubicBezTo>
                  <a:cubicBezTo>
                    <a:pt x="106046" y="46238"/>
                    <a:pt x="107906" y="48440"/>
                    <a:pt x="107906" y="48440"/>
                  </a:cubicBezTo>
                  <a:cubicBezTo>
                    <a:pt x="107906" y="48440"/>
                    <a:pt x="108837" y="49541"/>
                    <a:pt x="108837" y="49541"/>
                  </a:cubicBezTo>
                  <a:cubicBezTo>
                    <a:pt x="109767" y="49541"/>
                    <a:pt x="111627" y="50642"/>
                    <a:pt x="111627" y="50642"/>
                  </a:cubicBezTo>
                  <a:cubicBezTo>
                    <a:pt x="111627" y="53944"/>
                    <a:pt x="111627" y="53944"/>
                    <a:pt x="111627" y="53944"/>
                  </a:cubicBezTo>
                  <a:cubicBezTo>
                    <a:pt x="111627" y="53944"/>
                    <a:pt x="113488" y="53944"/>
                    <a:pt x="113488" y="53944"/>
                  </a:cubicBezTo>
                  <a:cubicBezTo>
                    <a:pt x="114418" y="53944"/>
                    <a:pt x="115348" y="55045"/>
                    <a:pt x="115348" y="55045"/>
                  </a:cubicBezTo>
                  <a:cubicBezTo>
                    <a:pt x="115348" y="55045"/>
                    <a:pt x="115348" y="58348"/>
                    <a:pt x="114418" y="58348"/>
                  </a:cubicBezTo>
                  <a:cubicBezTo>
                    <a:pt x="114418" y="59449"/>
                    <a:pt x="113488" y="60550"/>
                    <a:pt x="113488" y="60550"/>
                  </a:cubicBezTo>
                  <a:cubicBezTo>
                    <a:pt x="113488" y="60550"/>
                    <a:pt x="114418" y="62752"/>
                    <a:pt x="115348" y="62752"/>
                  </a:cubicBezTo>
                  <a:cubicBezTo>
                    <a:pt x="115348" y="62752"/>
                    <a:pt x="117209" y="62752"/>
                    <a:pt x="117209" y="62752"/>
                  </a:cubicBezTo>
                  <a:cubicBezTo>
                    <a:pt x="118139" y="62752"/>
                    <a:pt x="119069" y="64954"/>
                    <a:pt x="119069" y="64954"/>
                  </a:cubicBezTo>
                  <a:cubicBezTo>
                    <a:pt x="119069" y="64954"/>
                    <a:pt x="120000" y="66055"/>
                    <a:pt x="120000" y="67155"/>
                  </a:cubicBezTo>
                  <a:cubicBezTo>
                    <a:pt x="120000" y="68256"/>
                    <a:pt x="119069" y="70458"/>
                    <a:pt x="119069" y="70458"/>
                  </a:cubicBezTo>
                  <a:cubicBezTo>
                    <a:pt x="119069" y="70458"/>
                    <a:pt x="119069" y="71559"/>
                    <a:pt x="119069" y="72660"/>
                  </a:cubicBezTo>
                  <a:cubicBezTo>
                    <a:pt x="119069" y="72660"/>
                    <a:pt x="118139" y="73761"/>
                    <a:pt x="118139" y="73761"/>
                  </a:cubicBezTo>
                  <a:cubicBezTo>
                    <a:pt x="116279" y="73761"/>
                    <a:pt x="116279" y="73761"/>
                    <a:pt x="116279" y="73761"/>
                  </a:cubicBezTo>
                  <a:cubicBezTo>
                    <a:pt x="116279" y="73761"/>
                    <a:pt x="116279" y="77064"/>
                    <a:pt x="115348" y="77064"/>
                  </a:cubicBezTo>
                  <a:cubicBezTo>
                    <a:pt x="115348" y="77064"/>
                    <a:pt x="114418" y="77064"/>
                    <a:pt x="114418" y="77064"/>
                  </a:cubicBezTo>
                  <a:cubicBezTo>
                    <a:pt x="113488" y="77064"/>
                    <a:pt x="112558" y="78165"/>
                    <a:pt x="112558" y="78165"/>
                  </a:cubicBezTo>
                  <a:cubicBezTo>
                    <a:pt x="112558" y="79266"/>
                    <a:pt x="112558" y="79266"/>
                    <a:pt x="112558" y="79266"/>
                  </a:cubicBezTo>
                  <a:cubicBezTo>
                    <a:pt x="111627" y="81467"/>
                    <a:pt x="111627" y="81467"/>
                    <a:pt x="111627" y="81467"/>
                  </a:cubicBezTo>
                  <a:cubicBezTo>
                    <a:pt x="111627" y="81467"/>
                    <a:pt x="111627" y="81467"/>
                    <a:pt x="110697" y="81467"/>
                  </a:cubicBezTo>
                  <a:cubicBezTo>
                    <a:pt x="110697" y="81467"/>
                    <a:pt x="110697" y="81467"/>
                    <a:pt x="109767" y="81467"/>
                  </a:cubicBezTo>
                  <a:cubicBezTo>
                    <a:pt x="109767" y="82568"/>
                    <a:pt x="108837" y="82568"/>
                    <a:pt x="108837" y="82568"/>
                  </a:cubicBezTo>
                  <a:cubicBezTo>
                    <a:pt x="108837" y="82568"/>
                    <a:pt x="107906" y="81467"/>
                    <a:pt x="106976" y="81467"/>
                  </a:cubicBezTo>
                  <a:cubicBezTo>
                    <a:pt x="106976" y="81467"/>
                    <a:pt x="106046" y="81467"/>
                    <a:pt x="106046" y="82568"/>
                  </a:cubicBezTo>
                  <a:cubicBezTo>
                    <a:pt x="105116" y="83669"/>
                    <a:pt x="105116" y="84770"/>
                    <a:pt x="104186" y="84770"/>
                  </a:cubicBezTo>
                  <a:cubicBezTo>
                    <a:pt x="104186" y="84770"/>
                    <a:pt x="103255" y="85871"/>
                    <a:pt x="103255" y="85871"/>
                  </a:cubicBezTo>
                  <a:cubicBezTo>
                    <a:pt x="103255" y="85871"/>
                    <a:pt x="103255" y="88073"/>
                    <a:pt x="102325" y="88073"/>
                  </a:cubicBezTo>
                  <a:cubicBezTo>
                    <a:pt x="102325" y="89174"/>
                    <a:pt x="101395" y="90275"/>
                    <a:pt x="101395" y="90275"/>
                  </a:cubicBezTo>
                  <a:cubicBezTo>
                    <a:pt x="101395" y="90275"/>
                    <a:pt x="101395" y="91376"/>
                    <a:pt x="101395" y="91376"/>
                  </a:cubicBezTo>
                  <a:cubicBezTo>
                    <a:pt x="101395" y="92477"/>
                    <a:pt x="101395" y="93577"/>
                    <a:pt x="100465" y="94678"/>
                  </a:cubicBezTo>
                  <a:cubicBezTo>
                    <a:pt x="99534" y="94678"/>
                    <a:pt x="97674" y="96880"/>
                    <a:pt x="97674" y="96880"/>
                  </a:cubicBezTo>
                  <a:cubicBezTo>
                    <a:pt x="97674" y="96880"/>
                    <a:pt x="97674" y="96880"/>
                    <a:pt x="97674" y="97981"/>
                  </a:cubicBezTo>
                  <a:cubicBezTo>
                    <a:pt x="98604" y="97981"/>
                    <a:pt x="98604" y="99082"/>
                    <a:pt x="98604" y="99082"/>
                  </a:cubicBezTo>
                  <a:cubicBezTo>
                    <a:pt x="98604" y="101284"/>
                    <a:pt x="98604" y="101284"/>
                    <a:pt x="98604" y="101284"/>
                  </a:cubicBezTo>
                  <a:cubicBezTo>
                    <a:pt x="98604" y="101284"/>
                    <a:pt x="97674" y="102385"/>
                    <a:pt x="97674" y="103486"/>
                  </a:cubicBezTo>
                  <a:cubicBezTo>
                    <a:pt x="98604" y="103486"/>
                    <a:pt x="98604" y="103486"/>
                    <a:pt x="98604" y="103486"/>
                  </a:cubicBezTo>
                  <a:cubicBezTo>
                    <a:pt x="99534" y="105688"/>
                    <a:pt x="99534" y="105688"/>
                    <a:pt x="99534" y="105688"/>
                  </a:cubicBezTo>
                  <a:cubicBezTo>
                    <a:pt x="100465" y="107889"/>
                    <a:pt x="100465" y="107889"/>
                    <a:pt x="100465" y="107889"/>
                  </a:cubicBezTo>
                  <a:cubicBezTo>
                    <a:pt x="101395" y="107889"/>
                    <a:pt x="101395" y="107889"/>
                    <a:pt x="101395" y="107889"/>
                  </a:cubicBezTo>
                  <a:cubicBezTo>
                    <a:pt x="101395" y="107889"/>
                    <a:pt x="102325" y="110091"/>
                    <a:pt x="102325" y="111192"/>
                  </a:cubicBezTo>
                  <a:cubicBezTo>
                    <a:pt x="102325" y="111192"/>
                    <a:pt x="102325" y="113394"/>
                    <a:pt x="102325" y="113394"/>
                  </a:cubicBezTo>
                  <a:cubicBezTo>
                    <a:pt x="100465" y="115596"/>
                    <a:pt x="100465" y="115596"/>
                    <a:pt x="100465" y="115596"/>
                  </a:cubicBezTo>
                  <a:cubicBezTo>
                    <a:pt x="99534" y="117798"/>
                    <a:pt x="99534" y="117798"/>
                    <a:pt x="99534" y="117798"/>
                  </a:cubicBezTo>
                  <a:cubicBezTo>
                    <a:pt x="99534" y="117798"/>
                    <a:pt x="98604" y="117798"/>
                    <a:pt x="98604" y="117798"/>
                  </a:cubicBezTo>
                  <a:cubicBezTo>
                    <a:pt x="97674" y="117798"/>
                    <a:pt x="96744" y="117798"/>
                    <a:pt x="96744" y="117798"/>
                  </a:cubicBezTo>
                  <a:cubicBezTo>
                    <a:pt x="95813" y="118899"/>
                    <a:pt x="95813" y="118899"/>
                    <a:pt x="95813" y="118899"/>
                  </a:cubicBezTo>
                  <a:cubicBezTo>
                    <a:pt x="93953" y="118899"/>
                    <a:pt x="93953" y="118899"/>
                    <a:pt x="93953" y="118899"/>
                  </a:cubicBezTo>
                  <a:cubicBezTo>
                    <a:pt x="92093" y="120000"/>
                    <a:pt x="92093" y="120000"/>
                    <a:pt x="92093" y="120000"/>
                  </a:cubicBezTo>
                  <a:cubicBezTo>
                    <a:pt x="89302" y="120000"/>
                    <a:pt x="89302" y="120000"/>
                    <a:pt x="89302" y="120000"/>
                  </a:cubicBezTo>
                  <a:cubicBezTo>
                    <a:pt x="88372" y="117798"/>
                    <a:pt x="88372" y="117798"/>
                    <a:pt x="88372" y="117798"/>
                  </a:cubicBezTo>
                  <a:cubicBezTo>
                    <a:pt x="87441" y="115596"/>
                    <a:pt x="87441" y="115596"/>
                    <a:pt x="87441" y="115596"/>
                  </a:cubicBezTo>
                  <a:cubicBezTo>
                    <a:pt x="86511" y="114495"/>
                    <a:pt x="86511" y="114495"/>
                    <a:pt x="86511" y="114495"/>
                  </a:cubicBezTo>
                  <a:cubicBezTo>
                    <a:pt x="85581" y="114495"/>
                    <a:pt x="85581" y="114495"/>
                    <a:pt x="85581" y="114495"/>
                  </a:cubicBezTo>
                  <a:cubicBezTo>
                    <a:pt x="82790" y="113394"/>
                    <a:pt x="82790" y="113394"/>
                    <a:pt x="82790" y="113394"/>
                  </a:cubicBezTo>
                  <a:cubicBezTo>
                    <a:pt x="83720" y="111192"/>
                    <a:pt x="83720" y="111192"/>
                    <a:pt x="83720" y="111192"/>
                  </a:cubicBezTo>
                  <a:cubicBezTo>
                    <a:pt x="83720" y="111192"/>
                    <a:pt x="82790" y="108990"/>
                    <a:pt x="82790" y="108990"/>
                  </a:cubicBezTo>
                  <a:cubicBezTo>
                    <a:pt x="81860" y="108990"/>
                    <a:pt x="80930" y="108990"/>
                    <a:pt x="80930" y="108990"/>
                  </a:cubicBezTo>
                  <a:cubicBezTo>
                    <a:pt x="79069" y="106788"/>
                    <a:pt x="79069" y="106788"/>
                    <a:pt x="79069" y="106788"/>
                  </a:cubicBezTo>
                  <a:cubicBezTo>
                    <a:pt x="79069" y="106788"/>
                    <a:pt x="79069" y="105688"/>
                    <a:pt x="78139" y="104587"/>
                  </a:cubicBezTo>
                  <a:cubicBezTo>
                    <a:pt x="77209" y="104587"/>
                    <a:pt x="77209" y="103486"/>
                    <a:pt x="76279" y="103486"/>
                  </a:cubicBezTo>
                  <a:cubicBezTo>
                    <a:pt x="75348" y="103486"/>
                    <a:pt x="73488" y="103486"/>
                    <a:pt x="73488" y="103486"/>
                  </a:cubicBezTo>
                  <a:cubicBezTo>
                    <a:pt x="73488" y="103486"/>
                    <a:pt x="72558" y="101284"/>
                    <a:pt x="71627" y="101284"/>
                  </a:cubicBezTo>
                  <a:cubicBezTo>
                    <a:pt x="71627" y="101284"/>
                    <a:pt x="67906" y="101284"/>
                    <a:pt x="67906" y="101284"/>
                  </a:cubicBezTo>
                  <a:cubicBezTo>
                    <a:pt x="67906" y="101284"/>
                    <a:pt x="68837" y="97981"/>
                    <a:pt x="68837" y="97981"/>
                  </a:cubicBezTo>
                  <a:cubicBezTo>
                    <a:pt x="68837" y="96880"/>
                    <a:pt x="68837" y="93577"/>
                    <a:pt x="68837" y="93577"/>
                  </a:cubicBezTo>
                  <a:cubicBezTo>
                    <a:pt x="68837" y="92477"/>
                    <a:pt x="68837" y="92477"/>
                    <a:pt x="68837" y="92477"/>
                  </a:cubicBezTo>
                  <a:cubicBezTo>
                    <a:pt x="68837" y="92477"/>
                    <a:pt x="67906" y="91376"/>
                    <a:pt x="68837" y="89174"/>
                  </a:cubicBezTo>
                  <a:cubicBezTo>
                    <a:pt x="69767" y="86972"/>
                    <a:pt x="68837" y="88073"/>
                    <a:pt x="69767" y="85871"/>
                  </a:cubicBezTo>
                  <a:cubicBezTo>
                    <a:pt x="70697" y="82568"/>
                    <a:pt x="70697" y="81467"/>
                    <a:pt x="70697" y="81467"/>
                  </a:cubicBezTo>
                  <a:cubicBezTo>
                    <a:pt x="68837" y="80366"/>
                    <a:pt x="68837" y="80366"/>
                    <a:pt x="68837" y="80366"/>
                  </a:cubicBezTo>
                  <a:cubicBezTo>
                    <a:pt x="68837" y="80366"/>
                    <a:pt x="67906" y="79266"/>
                    <a:pt x="66976" y="80366"/>
                  </a:cubicBezTo>
                  <a:cubicBezTo>
                    <a:pt x="66976" y="82568"/>
                    <a:pt x="66046" y="82568"/>
                    <a:pt x="66046" y="82568"/>
                  </a:cubicBezTo>
                  <a:cubicBezTo>
                    <a:pt x="64186" y="85871"/>
                    <a:pt x="64186" y="85871"/>
                    <a:pt x="64186" y="85871"/>
                  </a:cubicBezTo>
                  <a:cubicBezTo>
                    <a:pt x="64186" y="89174"/>
                    <a:pt x="64186" y="89174"/>
                    <a:pt x="64186" y="89174"/>
                  </a:cubicBezTo>
                  <a:cubicBezTo>
                    <a:pt x="64186" y="89174"/>
                    <a:pt x="65116" y="90275"/>
                    <a:pt x="62325" y="90275"/>
                  </a:cubicBezTo>
                  <a:cubicBezTo>
                    <a:pt x="60465" y="90275"/>
                    <a:pt x="58604" y="90275"/>
                    <a:pt x="58604" y="90275"/>
                  </a:cubicBezTo>
                  <a:cubicBezTo>
                    <a:pt x="58604" y="90275"/>
                    <a:pt x="60465" y="92477"/>
                    <a:pt x="58604" y="92477"/>
                  </a:cubicBezTo>
                  <a:cubicBezTo>
                    <a:pt x="55813" y="92477"/>
                    <a:pt x="53023" y="92477"/>
                    <a:pt x="53023" y="92477"/>
                  </a:cubicBezTo>
                  <a:cubicBezTo>
                    <a:pt x="51162" y="90275"/>
                    <a:pt x="51162" y="90275"/>
                    <a:pt x="51162" y="90275"/>
                  </a:cubicBezTo>
                  <a:cubicBezTo>
                    <a:pt x="47441" y="91376"/>
                    <a:pt x="47441" y="91376"/>
                    <a:pt x="47441" y="91376"/>
                  </a:cubicBezTo>
                  <a:cubicBezTo>
                    <a:pt x="47441" y="91376"/>
                    <a:pt x="47441" y="90275"/>
                    <a:pt x="47441" y="88073"/>
                  </a:cubicBezTo>
                  <a:cubicBezTo>
                    <a:pt x="47441" y="86972"/>
                    <a:pt x="46511" y="84770"/>
                    <a:pt x="47441" y="84770"/>
                  </a:cubicBezTo>
                  <a:cubicBezTo>
                    <a:pt x="48372" y="84770"/>
                    <a:pt x="49302" y="83669"/>
                    <a:pt x="49302" y="83669"/>
                  </a:cubicBezTo>
                  <a:cubicBezTo>
                    <a:pt x="48372" y="80366"/>
                    <a:pt x="48372" y="80366"/>
                    <a:pt x="48372" y="80366"/>
                  </a:cubicBezTo>
                  <a:cubicBezTo>
                    <a:pt x="48372" y="80366"/>
                    <a:pt x="48372" y="80366"/>
                    <a:pt x="48372" y="80366"/>
                  </a:cubicBezTo>
                  <a:cubicBezTo>
                    <a:pt x="48372" y="80366"/>
                    <a:pt x="47441" y="80366"/>
                    <a:pt x="47441" y="79266"/>
                  </a:cubicBezTo>
                  <a:cubicBezTo>
                    <a:pt x="47441" y="78165"/>
                    <a:pt x="48372" y="75963"/>
                    <a:pt x="48372" y="75963"/>
                  </a:cubicBezTo>
                  <a:cubicBezTo>
                    <a:pt x="49302" y="74862"/>
                    <a:pt x="49302" y="72660"/>
                    <a:pt x="49302" y="72660"/>
                  </a:cubicBezTo>
                  <a:cubicBezTo>
                    <a:pt x="48372" y="72660"/>
                    <a:pt x="48372" y="72660"/>
                    <a:pt x="48372" y="72660"/>
                  </a:cubicBezTo>
                  <a:cubicBezTo>
                    <a:pt x="48372" y="72660"/>
                    <a:pt x="46511" y="73761"/>
                    <a:pt x="46511" y="71559"/>
                  </a:cubicBezTo>
                  <a:cubicBezTo>
                    <a:pt x="46511" y="70458"/>
                    <a:pt x="45581" y="68256"/>
                    <a:pt x="45581" y="68256"/>
                  </a:cubicBezTo>
                  <a:cubicBezTo>
                    <a:pt x="45581" y="68256"/>
                    <a:pt x="43720" y="67155"/>
                    <a:pt x="43720" y="67155"/>
                  </a:cubicBezTo>
                  <a:cubicBezTo>
                    <a:pt x="42790" y="67155"/>
                    <a:pt x="42790" y="67155"/>
                    <a:pt x="41860" y="68256"/>
                  </a:cubicBezTo>
                  <a:cubicBezTo>
                    <a:pt x="41860" y="68256"/>
                    <a:pt x="39069" y="67155"/>
                    <a:pt x="39069" y="67155"/>
                  </a:cubicBezTo>
                  <a:cubicBezTo>
                    <a:pt x="39069" y="67155"/>
                    <a:pt x="36279" y="67155"/>
                    <a:pt x="36279" y="67155"/>
                  </a:cubicBezTo>
                  <a:cubicBezTo>
                    <a:pt x="35348" y="67155"/>
                    <a:pt x="34418" y="69357"/>
                    <a:pt x="34418" y="69357"/>
                  </a:cubicBezTo>
                  <a:cubicBezTo>
                    <a:pt x="32558" y="66055"/>
                    <a:pt x="32558" y="66055"/>
                    <a:pt x="32558" y="66055"/>
                  </a:cubicBezTo>
                  <a:cubicBezTo>
                    <a:pt x="33488" y="62752"/>
                    <a:pt x="33488" y="62752"/>
                    <a:pt x="33488" y="62752"/>
                  </a:cubicBezTo>
                  <a:cubicBezTo>
                    <a:pt x="33488" y="62752"/>
                    <a:pt x="31627" y="60550"/>
                    <a:pt x="31627" y="59449"/>
                  </a:cubicBezTo>
                  <a:cubicBezTo>
                    <a:pt x="31627" y="59449"/>
                    <a:pt x="30697" y="57247"/>
                    <a:pt x="30697" y="57247"/>
                  </a:cubicBezTo>
                  <a:cubicBezTo>
                    <a:pt x="28837" y="57247"/>
                    <a:pt x="28837" y="57247"/>
                    <a:pt x="28837" y="57247"/>
                  </a:cubicBezTo>
                  <a:cubicBezTo>
                    <a:pt x="27906" y="56146"/>
                    <a:pt x="27906" y="56146"/>
                    <a:pt x="27906" y="56146"/>
                  </a:cubicBezTo>
                  <a:cubicBezTo>
                    <a:pt x="27906" y="56146"/>
                    <a:pt x="26046" y="56146"/>
                    <a:pt x="25116" y="56146"/>
                  </a:cubicBezTo>
                  <a:cubicBezTo>
                    <a:pt x="24186" y="56146"/>
                    <a:pt x="24186" y="56146"/>
                    <a:pt x="23255" y="56146"/>
                  </a:cubicBezTo>
                  <a:cubicBezTo>
                    <a:pt x="23255" y="56146"/>
                    <a:pt x="21395" y="53944"/>
                    <a:pt x="21395" y="53944"/>
                  </a:cubicBezTo>
                  <a:cubicBezTo>
                    <a:pt x="21395" y="52844"/>
                    <a:pt x="21395" y="51743"/>
                    <a:pt x="21395" y="50642"/>
                  </a:cubicBezTo>
                  <a:cubicBezTo>
                    <a:pt x="20465" y="49541"/>
                    <a:pt x="19534" y="47339"/>
                    <a:pt x="19534" y="46238"/>
                  </a:cubicBezTo>
                  <a:cubicBezTo>
                    <a:pt x="19534" y="46238"/>
                    <a:pt x="20465" y="44036"/>
                    <a:pt x="20465" y="44036"/>
                  </a:cubicBezTo>
                  <a:cubicBezTo>
                    <a:pt x="19534" y="42935"/>
                    <a:pt x="17674" y="40733"/>
                    <a:pt x="17674" y="40733"/>
                  </a:cubicBezTo>
                  <a:cubicBezTo>
                    <a:pt x="16744" y="38532"/>
                    <a:pt x="16744" y="38532"/>
                    <a:pt x="16744" y="38532"/>
                  </a:cubicBezTo>
                  <a:cubicBezTo>
                    <a:pt x="16744" y="38532"/>
                    <a:pt x="13953" y="40733"/>
                    <a:pt x="13023" y="40733"/>
                  </a:cubicBezTo>
                  <a:cubicBezTo>
                    <a:pt x="12093" y="40733"/>
                    <a:pt x="10232" y="39633"/>
                    <a:pt x="10232" y="40733"/>
                  </a:cubicBezTo>
                  <a:cubicBezTo>
                    <a:pt x="10232" y="40733"/>
                    <a:pt x="11162" y="42935"/>
                    <a:pt x="10232" y="42935"/>
                  </a:cubicBezTo>
                  <a:cubicBezTo>
                    <a:pt x="9302" y="42935"/>
                    <a:pt x="7441" y="42935"/>
                    <a:pt x="6511" y="41834"/>
                  </a:cubicBezTo>
                  <a:cubicBezTo>
                    <a:pt x="5581" y="40733"/>
                    <a:pt x="5581" y="39633"/>
                    <a:pt x="5581" y="38532"/>
                  </a:cubicBezTo>
                  <a:cubicBezTo>
                    <a:pt x="4651" y="38532"/>
                    <a:pt x="4651" y="36330"/>
                    <a:pt x="3720" y="36330"/>
                  </a:cubicBezTo>
                  <a:cubicBezTo>
                    <a:pt x="2790" y="36330"/>
                    <a:pt x="1860" y="36330"/>
                    <a:pt x="1860" y="35229"/>
                  </a:cubicBezTo>
                  <a:cubicBezTo>
                    <a:pt x="1860" y="35229"/>
                    <a:pt x="1860" y="31926"/>
                    <a:pt x="1860" y="31926"/>
                  </a:cubicBezTo>
                  <a:cubicBezTo>
                    <a:pt x="1860" y="29724"/>
                    <a:pt x="1860" y="29724"/>
                    <a:pt x="1860" y="29724"/>
                  </a:cubicBezTo>
                  <a:cubicBezTo>
                    <a:pt x="1860" y="29724"/>
                    <a:pt x="1860" y="26422"/>
                    <a:pt x="930" y="26422"/>
                  </a:cubicBezTo>
                  <a:cubicBezTo>
                    <a:pt x="930" y="25321"/>
                    <a:pt x="0" y="24220"/>
                    <a:pt x="0" y="24220"/>
                  </a:cubicBezTo>
                  <a:cubicBezTo>
                    <a:pt x="0" y="20917"/>
                    <a:pt x="0" y="20917"/>
                    <a:pt x="0" y="20917"/>
                  </a:cubicBezTo>
                  <a:lnTo>
                    <a:pt x="930" y="19816"/>
                  </a:lnTo>
                  <a:close/>
                </a:path>
              </a:pathLst>
            </a:custGeom>
            <a:grpFill/>
            <a:ln w="3175" cap="flat" cmpd="sng">
              <a:solidFill>
                <a:schemeClr val="tx1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defTabSz="457178"/>
              <a:endParaRPr kern="0">
                <a:solidFill>
                  <a:srgbClr val="7F7F7F"/>
                </a:solidFill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27" name="Shape 2034">
              <a:extLst>
                <a:ext uri="{FF2B5EF4-FFF2-40B4-BE49-F238E27FC236}">
                  <a16:creationId xmlns:a16="http://schemas.microsoft.com/office/drawing/2014/main" id="{71C66486-3E90-40FA-B95F-DB815ECD11A2}"/>
                </a:ext>
              </a:extLst>
            </p:cNvPr>
            <p:cNvSpPr/>
            <p:nvPr/>
          </p:nvSpPr>
          <p:spPr>
            <a:xfrm>
              <a:off x="5187582" y="2730091"/>
              <a:ext cx="547516" cy="294054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21500" y="24360"/>
                  </a:moveTo>
                  <a:cubicBezTo>
                    <a:pt x="22000" y="24360"/>
                    <a:pt x="25000" y="19849"/>
                    <a:pt x="25000" y="19849"/>
                  </a:cubicBezTo>
                  <a:cubicBezTo>
                    <a:pt x="28000" y="18045"/>
                    <a:pt x="28000" y="18045"/>
                    <a:pt x="28000" y="18045"/>
                  </a:cubicBezTo>
                  <a:cubicBezTo>
                    <a:pt x="29000" y="16240"/>
                    <a:pt x="29000" y="16240"/>
                    <a:pt x="29000" y="16240"/>
                  </a:cubicBezTo>
                  <a:cubicBezTo>
                    <a:pt x="30000" y="12631"/>
                    <a:pt x="30000" y="12631"/>
                    <a:pt x="30000" y="12631"/>
                  </a:cubicBezTo>
                  <a:cubicBezTo>
                    <a:pt x="30000" y="12631"/>
                    <a:pt x="29500" y="10827"/>
                    <a:pt x="31000" y="10827"/>
                  </a:cubicBezTo>
                  <a:cubicBezTo>
                    <a:pt x="32500" y="10827"/>
                    <a:pt x="37000" y="9022"/>
                    <a:pt x="37000" y="9022"/>
                  </a:cubicBezTo>
                  <a:cubicBezTo>
                    <a:pt x="37500" y="7218"/>
                    <a:pt x="37500" y="7218"/>
                    <a:pt x="37500" y="7218"/>
                  </a:cubicBezTo>
                  <a:cubicBezTo>
                    <a:pt x="36500" y="4511"/>
                    <a:pt x="36500" y="4511"/>
                    <a:pt x="36500" y="4511"/>
                  </a:cubicBezTo>
                  <a:cubicBezTo>
                    <a:pt x="36500" y="4511"/>
                    <a:pt x="36500" y="902"/>
                    <a:pt x="36500" y="902"/>
                  </a:cubicBezTo>
                  <a:cubicBezTo>
                    <a:pt x="37000" y="0"/>
                    <a:pt x="39000" y="0"/>
                    <a:pt x="40000" y="0"/>
                  </a:cubicBezTo>
                  <a:cubicBezTo>
                    <a:pt x="41000" y="902"/>
                    <a:pt x="42000" y="1804"/>
                    <a:pt x="42500" y="2706"/>
                  </a:cubicBezTo>
                  <a:cubicBezTo>
                    <a:pt x="42500" y="3609"/>
                    <a:pt x="42500" y="2706"/>
                    <a:pt x="42500" y="4511"/>
                  </a:cubicBezTo>
                  <a:cubicBezTo>
                    <a:pt x="42500" y="6315"/>
                    <a:pt x="42500" y="8120"/>
                    <a:pt x="42500" y="8120"/>
                  </a:cubicBezTo>
                  <a:cubicBezTo>
                    <a:pt x="42500" y="8120"/>
                    <a:pt x="43000" y="9022"/>
                    <a:pt x="43500" y="9924"/>
                  </a:cubicBezTo>
                  <a:cubicBezTo>
                    <a:pt x="44500" y="9924"/>
                    <a:pt x="45500" y="11729"/>
                    <a:pt x="45500" y="10827"/>
                  </a:cubicBezTo>
                  <a:cubicBezTo>
                    <a:pt x="45500" y="10827"/>
                    <a:pt x="46000" y="9924"/>
                    <a:pt x="46500" y="9022"/>
                  </a:cubicBezTo>
                  <a:cubicBezTo>
                    <a:pt x="46500" y="9022"/>
                    <a:pt x="46500" y="9022"/>
                    <a:pt x="46500" y="9022"/>
                  </a:cubicBezTo>
                  <a:cubicBezTo>
                    <a:pt x="46500" y="10827"/>
                    <a:pt x="47000" y="9924"/>
                    <a:pt x="47500" y="9924"/>
                  </a:cubicBezTo>
                  <a:cubicBezTo>
                    <a:pt x="48000" y="9924"/>
                    <a:pt x="50000" y="8120"/>
                    <a:pt x="50000" y="8120"/>
                  </a:cubicBezTo>
                  <a:cubicBezTo>
                    <a:pt x="50000" y="8120"/>
                    <a:pt x="49500" y="5413"/>
                    <a:pt x="49500" y="5413"/>
                  </a:cubicBezTo>
                  <a:cubicBezTo>
                    <a:pt x="49500" y="4511"/>
                    <a:pt x="49500" y="3609"/>
                    <a:pt x="49500" y="2706"/>
                  </a:cubicBezTo>
                  <a:cubicBezTo>
                    <a:pt x="50000" y="1804"/>
                    <a:pt x="50000" y="1804"/>
                    <a:pt x="50000" y="1804"/>
                  </a:cubicBezTo>
                  <a:cubicBezTo>
                    <a:pt x="50500" y="1804"/>
                    <a:pt x="51500" y="2706"/>
                    <a:pt x="51500" y="2706"/>
                  </a:cubicBezTo>
                  <a:cubicBezTo>
                    <a:pt x="51500" y="2706"/>
                    <a:pt x="52500" y="3609"/>
                    <a:pt x="53000" y="3609"/>
                  </a:cubicBezTo>
                  <a:cubicBezTo>
                    <a:pt x="54000" y="3609"/>
                    <a:pt x="53500" y="5413"/>
                    <a:pt x="53500" y="5413"/>
                  </a:cubicBezTo>
                  <a:cubicBezTo>
                    <a:pt x="53500" y="5413"/>
                    <a:pt x="54000" y="8120"/>
                    <a:pt x="55000" y="9022"/>
                  </a:cubicBezTo>
                  <a:cubicBezTo>
                    <a:pt x="56000" y="9924"/>
                    <a:pt x="56000" y="10827"/>
                    <a:pt x="56000" y="11729"/>
                  </a:cubicBezTo>
                  <a:cubicBezTo>
                    <a:pt x="56500" y="11729"/>
                    <a:pt x="57500" y="11729"/>
                    <a:pt x="57500" y="11729"/>
                  </a:cubicBezTo>
                  <a:cubicBezTo>
                    <a:pt x="59000" y="10827"/>
                    <a:pt x="59000" y="10827"/>
                    <a:pt x="59000" y="10827"/>
                  </a:cubicBezTo>
                  <a:cubicBezTo>
                    <a:pt x="59000" y="10827"/>
                    <a:pt x="60000" y="11729"/>
                    <a:pt x="60500" y="13533"/>
                  </a:cubicBezTo>
                  <a:cubicBezTo>
                    <a:pt x="60500" y="14436"/>
                    <a:pt x="62000" y="14436"/>
                    <a:pt x="62500" y="13533"/>
                  </a:cubicBezTo>
                  <a:cubicBezTo>
                    <a:pt x="63000" y="13533"/>
                    <a:pt x="63000" y="13533"/>
                    <a:pt x="63000" y="13533"/>
                  </a:cubicBezTo>
                  <a:cubicBezTo>
                    <a:pt x="63500" y="14436"/>
                    <a:pt x="63500" y="14436"/>
                    <a:pt x="63500" y="14436"/>
                  </a:cubicBezTo>
                  <a:cubicBezTo>
                    <a:pt x="63500" y="14436"/>
                    <a:pt x="64500" y="18045"/>
                    <a:pt x="66000" y="15338"/>
                  </a:cubicBezTo>
                  <a:cubicBezTo>
                    <a:pt x="67500" y="12631"/>
                    <a:pt x="66500" y="15338"/>
                    <a:pt x="66500" y="15338"/>
                  </a:cubicBezTo>
                  <a:cubicBezTo>
                    <a:pt x="66500" y="15338"/>
                    <a:pt x="67500" y="18045"/>
                    <a:pt x="68000" y="18045"/>
                  </a:cubicBezTo>
                  <a:cubicBezTo>
                    <a:pt x="69000" y="18045"/>
                    <a:pt x="69000" y="18045"/>
                    <a:pt x="69000" y="18045"/>
                  </a:cubicBezTo>
                  <a:cubicBezTo>
                    <a:pt x="71000" y="16240"/>
                    <a:pt x="71000" y="16240"/>
                    <a:pt x="71000" y="16240"/>
                  </a:cubicBezTo>
                  <a:cubicBezTo>
                    <a:pt x="72500" y="15338"/>
                    <a:pt x="72500" y="15338"/>
                    <a:pt x="72500" y="15338"/>
                  </a:cubicBezTo>
                  <a:cubicBezTo>
                    <a:pt x="72500" y="15338"/>
                    <a:pt x="74000" y="15338"/>
                    <a:pt x="73500" y="19849"/>
                  </a:cubicBezTo>
                  <a:cubicBezTo>
                    <a:pt x="73500" y="23458"/>
                    <a:pt x="73000" y="22556"/>
                    <a:pt x="73000" y="22556"/>
                  </a:cubicBezTo>
                  <a:cubicBezTo>
                    <a:pt x="72000" y="25263"/>
                    <a:pt x="72000" y="25263"/>
                    <a:pt x="72000" y="25263"/>
                  </a:cubicBezTo>
                  <a:cubicBezTo>
                    <a:pt x="72000" y="27969"/>
                    <a:pt x="72000" y="27969"/>
                    <a:pt x="72000" y="27969"/>
                  </a:cubicBezTo>
                  <a:cubicBezTo>
                    <a:pt x="72000" y="27969"/>
                    <a:pt x="72500" y="27969"/>
                    <a:pt x="73000" y="27969"/>
                  </a:cubicBezTo>
                  <a:cubicBezTo>
                    <a:pt x="73500" y="27969"/>
                    <a:pt x="74000" y="31578"/>
                    <a:pt x="74000" y="31578"/>
                  </a:cubicBezTo>
                  <a:cubicBezTo>
                    <a:pt x="75500" y="32481"/>
                    <a:pt x="75500" y="32481"/>
                    <a:pt x="75500" y="32481"/>
                  </a:cubicBezTo>
                  <a:cubicBezTo>
                    <a:pt x="75500" y="32481"/>
                    <a:pt x="76000" y="33383"/>
                    <a:pt x="77000" y="34285"/>
                  </a:cubicBezTo>
                  <a:cubicBezTo>
                    <a:pt x="77500" y="35187"/>
                    <a:pt x="78000" y="36992"/>
                    <a:pt x="78000" y="36992"/>
                  </a:cubicBezTo>
                  <a:cubicBezTo>
                    <a:pt x="78000" y="36992"/>
                    <a:pt x="78500" y="40601"/>
                    <a:pt x="79000" y="41503"/>
                  </a:cubicBezTo>
                  <a:cubicBezTo>
                    <a:pt x="79000" y="43308"/>
                    <a:pt x="82000" y="39699"/>
                    <a:pt x="82000" y="39699"/>
                  </a:cubicBezTo>
                  <a:cubicBezTo>
                    <a:pt x="82500" y="35187"/>
                    <a:pt x="82500" y="35187"/>
                    <a:pt x="82500" y="35187"/>
                  </a:cubicBezTo>
                  <a:cubicBezTo>
                    <a:pt x="85500" y="33383"/>
                    <a:pt x="85500" y="33383"/>
                    <a:pt x="85500" y="33383"/>
                  </a:cubicBezTo>
                  <a:cubicBezTo>
                    <a:pt x="84500" y="27969"/>
                    <a:pt x="84500" y="27969"/>
                    <a:pt x="84500" y="27969"/>
                  </a:cubicBezTo>
                  <a:cubicBezTo>
                    <a:pt x="83500" y="24360"/>
                    <a:pt x="83500" y="24360"/>
                    <a:pt x="83500" y="24360"/>
                  </a:cubicBezTo>
                  <a:cubicBezTo>
                    <a:pt x="83500" y="24360"/>
                    <a:pt x="85500" y="25263"/>
                    <a:pt x="86000" y="24360"/>
                  </a:cubicBezTo>
                  <a:cubicBezTo>
                    <a:pt x="86500" y="24360"/>
                    <a:pt x="88000" y="25263"/>
                    <a:pt x="88000" y="25263"/>
                  </a:cubicBezTo>
                  <a:cubicBezTo>
                    <a:pt x="93500" y="29774"/>
                    <a:pt x="93500" y="29774"/>
                    <a:pt x="93500" y="29774"/>
                  </a:cubicBezTo>
                  <a:cubicBezTo>
                    <a:pt x="93500" y="29774"/>
                    <a:pt x="95000" y="28872"/>
                    <a:pt x="96000" y="28872"/>
                  </a:cubicBezTo>
                  <a:cubicBezTo>
                    <a:pt x="97000" y="27969"/>
                    <a:pt x="97000" y="26165"/>
                    <a:pt x="97000" y="26165"/>
                  </a:cubicBezTo>
                  <a:cubicBezTo>
                    <a:pt x="97000" y="26165"/>
                    <a:pt x="97500" y="27067"/>
                    <a:pt x="98500" y="28872"/>
                  </a:cubicBezTo>
                  <a:cubicBezTo>
                    <a:pt x="99000" y="31578"/>
                    <a:pt x="98000" y="30676"/>
                    <a:pt x="98000" y="31578"/>
                  </a:cubicBezTo>
                  <a:cubicBezTo>
                    <a:pt x="97500" y="32481"/>
                    <a:pt x="96500" y="35187"/>
                    <a:pt x="96500" y="35187"/>
                  </a:cubicBezTo>
                  <a:cubicBezTo>
                    <a:pt x="96500" y="35187"/>
                    <a:pt x="97000" y="36992"/>
                    <a:pt x="98000" y="36992"/>
                  </a:cubicBezTo>
                  <a:cubicBezTo>
                    <a:pt x="98500" y="36992"/>
                    <a:pt x="98000" y="37894"/>
                    <a:pt x="99000" y="39699"/>
                  </a:cubicBezTo>
                  <a:cubicBezTo>
                    <a:pt x="99500" y="40601"/>
                    <a:pt x="101500" y="41503"/>
                    <a:pt x="101500" y="41503"/>
                  </a:cubicBezTo>
                  <a:cubicBezTo>
                    <a:pt x="103000" y="41503"/>
                    <a:pt x="103000" y="41503"/>
                    <a:pt x="103000" y="41503"/>
                  </a:cubicBezTo>
                  <a:cubicBezTo>
                    <a:pt x="104500" y="38796"/>
                    <a:pt x="104500" y="38796"/>
                    <a:pt x="104500" y="38796"/>
                  </a:cubicBezTo>
                  <a:cubicBezTo>
                    <a:pt x="104500" y="38796"/>
                    <a:pt x="106000" y="39699"/>
                    <a:pt x="106500" y="40601"/>
                  </a:cubicBezTo>
                  <a:cubicBezTo>
                    <a:pt x="107000" y="41503"/>
                    <a:pt x="109500" y="43308"/>
                    <a:pt x="109500" y="43308"/>
                  </a:cubicBezTo>
                  <a:cubicBezTo>
                    <a:pt x="113500" y="41503"/>
                    <a:pt x="113500" y="41503"/>
                    <a:pt x="113500" y="41503"/>
                  </a:cubicBezTo>
                  <a:cubicBezTo>
                    <a:pt x="114000" y="48721"/>
                    <a:pt x="114000" y="48721"/>
                    <a:pt x="114000" y="48721"/>
                  </a:cubicBezTo>
                  <a:cubicBezTo>
                    <a:pt x="114000" y="48721"/>
                    <a:pt x="115000" y="48721"/>
                    <a:pt x="116000" y="51428"/>
                  </a:cubicBezTo>
                  <a:cubicBezTo>
                    <a:pt x="117000" y="53233"/>
                    <a:pt x="116500" y="51428"/>
                    <a:pt x="116500" y="51428"/>
                  </a:cubicBezTo>
                  <a:cubicBezTo>
                    <a:pt x="116500" y="51428"/>
                    <a:pt x="118500" y="53233"/>
                    <a:pt x="118500" y="54135"/>
                  </a:cubicBezTo>
                  <a:cubicBezTo>
                    <a:pt x="118500" y="55939"/>
                    <a:pt x="119000" y="57744"/>
                    <a:pt x="119000" y="57744"/>
                  </a:cubicBezTo>
                  <a:cubicBezTo>
                    <a:pt x="120000" y="61353"/>
                    <a:pt x="120000" y="61353"/>
                    <a:pt x="120000" y="61353"/>
                  </a:cubicBezTo>
                  <a:cubicBezTo>
                    <a:pt x="119500" y="61353"/>
                    <a:pt x="118500" y="61353"/>
                    <a:pt x="118000" y="61353"/>
                  </a:cubicBezTo>
                  <a:cubicBezTo>
                    <a:pt x="118000" y="61353"/>
                    <a:pt x="117500" y="62255"/>
                    <a:pt x="117000" y="62255"/>
                  </a:cubicBezTo>
                  <a:cubicBezTo>
                    <a:pt x="116500" y="62255"/>
                    <a:pt x="116000" y="62255"/>
                    <a:pt x="116000" y="62255"/>
                  </a:cubicBezTo>
                  <a:cubicBezTo>
                    <a:pt x="114500" y="63157"/>
                    <a:pt x="114500" y="63157"/>
                    <a:pt x="114500" y="63157"/>
                  </a:cubicBezTo>
                  <a:cubicBezTo>
                    <a:pt x="113500" y="64962"/>
                    <a:pt x="113500" y="64962"/>
                    <a:pt x="113500" y="64962"/>
                  </a:cubicBezTo>
                  <a:cubicBezTo>
                    <a:pt x="112500" y="66766"/>
                    <a:pt x="112500" y="66766"/>
                    <a:pt x="112500" y="66766"/>
                  </a:cubicBezTo>
                  <a:cubicBezTo>
                    <a:pt x="111500" y="70375"/>
                    <a:pt x="111500" y="70375"/>
                    <a:pt x="111500" y="70375"/>
                  </a:cubicBezTo>
                  <a:cubicBezTo>
                    <a:pt x="111500" y="72180"/>
                    <a:pt x="111500" y="72180"/>
                    <a:pt x="111500" y="72180"/>
                  </a:cubicBezTo>
                  <a:cubicBezTo>
                    <a:pt x="110000" y="74887"/>
                    <a:pt x="110000" y="74887"/>
                    <a:pt x="110000" y="74887"/>
                  </a:cubicBezTo>
                  <a:cubicBezTo>
                    <a:pt x="110000" y="74887"/>
                    <a:pt x="108500" y="76691"/>
                    <a:pt x="108000" y="76691"/>
                  </a:cubicBezTo>
                  <a:cubicBezTo>
                    <a:pt x="107500" y="76691"/>
                    <a:pt x="107500" y="80300"/>
                    <a:pt x="107500" y="80300"/>
                  </a:cubicBezTo>
                  <a:cubicBezTo>
                    <a:pt x="108000" y="83007"/>
                    <a:pt x="108000" y="83007"/>
                    <a:pt x="108000" y="83007"/>
                  </a:cubicBezTo>
                  <a:cubicBezTo>
                    <a:pt x="107500" y="87518"/>
                    <a:pt x="107500" y="87518"/>
                    <a:pt x="107500" y="87518"/>
                  </a:cubicBezTo>
                  <a:cubicBezTo>
                    <a:pt x="105000" y="89323"/>
                    <a:pt x="105000" y="89323"/>
                    <a:pt x="105000" y="89323"/>
                  </a:cubicBezTo>
                  <a:cubicBezTo>
                    <a:pt x="104500" y="92030"/>
                    <a:pt x="104500" y="92030"/>
                    <a:pt x="104500" y="92030"/>
                  </a:cubicBezTo>
                  <a:cubicBezTo>
                    <a:pt x="104000" y="93834"/>
                    <a:pt x="104000" y="93834"/>
                    <a:pt x="104000" y="93834"/>
                  </a:cubicBezTo>
                  <a:cubicBezTo>
                    <a:pt x="104000" y="93834"/>
                    <a:pt x="103000" y="94736"/>
                    <a:pt x="103000" y="94736"/>
                  </a:cubicBezTo>
                  <a:cubicBezTo>
                    <a:pt x="102500" y="93834"/>
                    <a:pt x="102500" y="96541"/>
                    <a:pt x="102500" y="96541"/>
                  </a:cubicBezTo>
                  <a:cubicBezTo>
                    <a:pt x="101500" y="98345"/>
                    <a:pt x="101500" y="98345"/>
                    <a:pt x="101500" y="98345"/>
                  </a:cubicBezTo>
                  <a:cubicBezTo>
                    <a:pt x="101000" y="98345"/>
                    <a:pt x="101000" y="98345"/>
                    <a:pt x="101000" y="98345"/>
                  </a:cubicBezTo>
                  <a:cubicBezTo>
                    <a:pt x="100000" y="99248"/>
                    <a:pt x="100000" y="99248"/>
                    <a:pt x="100000" y="99248"/>
                  </a:cubicBezTo>
                  <a:cubicBezTo>
                    <a:pt x="100000" y="99248"/>
                    <a:pt x="99500" y="100150"/>
                    <a:pt x="99000" y="100150"/>
                  </a:cubicBezTo>
                  <a:cubicBezTo>
                    <a:pt x="99000" y="101052"/>
                    <a:pt x="98500" y="100150"/>
                    <a:pt x="98500" y="100150"/>
                  </a:cubicBezTo>
                  <a:cubicBezTo>
                    <a:pt x="98500" y="100150"/>
                    <a:pt x="97500" y="99248"/>
                    <a:pt x="97000" y="99248"/>
                  </a:cubicBezTo>
                  <a:cubicBezTo>
                    <a:pt x="97000" y="99248"/>
                    <a:pt x="97000" y="100150"/>
                    <a:pt x="96500" y="100150"/>
                  </a:cubicBezTo>
                  <a:cubicBezTo>
                    <a:pt x="96500" y="100150"/>
                    <a:pt x="96500" y="100150"/>
                    <a:pt x="96000" y="101052"/>
                  </a:cubicBezTo>
                  <a:cubicBezTo>
                    <a:pt x="96000" y="101052"/>
                    <a:pt x="95500" y="100150"/>
                    <a:pt x="95000" y="100150"/>
                  </a:cubicBezTo>
                  <a:cubicBezTo>
                    <a:pt x="94500" y="100150"/>
                    <a:pt x="94500" y="99248"/>
                    <a:pt x="94500" y="99248"/>
                  </a:cubicBezTo>
                  <a:cubicBezTo>
                    <a:pt x="94000" y="99248"/>
                    <a:pt x="93500" y="99248"/>
                    <a:pt x="93500" y="99248"/>
                  </a:cubicBezTo>
                  <a:cubicBezTo>
                    <a:pt x="93000" y="99248"/>
                    <a:pt x="92500" y="99248"/>
                    <a:pt x="92500" y="99248"/>
                  </a:cubicBezTo>
                  <a:cubicBezTo>
                    <a:pt x="92500" y="99248"/>
                    <a:pt x="92000" y="100150"/>
                    <a:pt x="92000" y="100150"/>
                  </a:cubicBezTo>
                  <a:cubicBezTo>
                    <a:pt x="91000" y="101052"/>
                    <a:pt x="91000" y="101052"/>
                    <a:pt x="91000" y="101052"/>
                  </a:cubicBezTo>
                  <a:cubicBezTo>
                    <a:pt x="91000" y="101052"/>
                    <a:pt x="91000" y="101954"/>
                    <a:pt x="91000" y="102857"/>
                  </a:cubicBezTo>
                  <a:cubicBezTo>
                    <a:pt x="91000" y="102857"/>
                    <a:pt x="91000" y="103759"/>
                    <a:pt x="90500" y="103759"/>
                  </a:cubicBezTo>
                  <a:cubicBezTo>
                    <a:pt x="90500" y="103759"/>
                    <a:pt x="90000" y="105563"/>
                    <a:pt x="90000" y="105563"/>
                  </a:cubicBezTo>
                  <a:cubicBezTo>
                    <a:pt x="90000" y="105563"/>
                    <a:pt x="90000" y="108270"/>
                    <a:pt x="89500" y="108270"/>
                  </a:cubicBezTo>
                  <a:cubicBezTo>
                    <a:pt x="89500" y="108270"/>
                    <a:pt x="89500" y="109172"/>
                    <a:pt x="89500" y="109172"/>
                  </a:cubicBezTo>
                  <a:cubicBezTo>
                    <a:pt x="89500" y="110977"/>
                    <a:pt x="89500" y="110977"/>
                    <a:pt x="89500" y="110977"/>
                  </a:cubicBezTo>
                  <a:cubicBezTo>
                    <a:pt x="89500" y="111879"/>
                    <a:pt x="89500" y="111879"/>
                    <a:pt x="89500" y="111879"/>
                  </a:cubicBezTo>
                  <a:cubicBezTo>
                    <a:pt x="88500" y="110977"/>
                    <a:pt x="88500" y="110977"/>
                    <a:pt x="88500" y="110977"/>
                  </a:cubicBezTo>
                  <a:cubicBezTo>
                    <a:pt x="87500" y="105563"/>
                    <a:pt x="87500" y="105563"/>
                    <a:pt x="87500" y="105563"/>
                  </a:cubicBezTo>
                  <a:cubicBezTo>
                    <a:pt x="87500" y="105563"/>
                    <a:pt x="86000" y="106466"/>
                    <a:pt x="84500" y="106466"/>
                  </a:cubicBezTo>
                  <a:cubicBezTo>
                    <a:pt x="83000" y="105563"/>
                    <a:pt x="82000" y="103759"/>
                    <a:pt x="81500" y="103759"/>
                  </a:cubicBezTo>
                  <a:cubicBezTo>
                    <a:pt x="81500" y="102857"/>
                    <a:pt x="79500" y="103759"/>
                    <a:pt x="79500" y="103759"/>
                  </a:cubicBezTo>
                  <a:cubicBezTo>
                    <a:pt x="79000" y="107368"/>
                    <a:pt x="79000" y="107368"/>
                    <a:pt x="79000" y="107368"/>
                  </a:cubicBezTo>
                  <a:cubicBezTo>
                    <a:pt x="73500" y="106466"/>
                    <a:pt x="73500" y="106466"/>
                    <a:pt x="73500" y="106466"/>
                  </a:cubicBezTo>
                  <a:cubicBezTo>
                    <a:pt x="71500" y="104661"/>
                    <a:pt x="71500" y="104661"/>
                    <a:pt x="71500" y="104661"/>
                  </a:cubicBezTo>
                  <a:cubicBezTo>
                    <a:pt x="68000" y="101954"/>
                    <a:pt x="68000" y="101954"/>
                    <a:pt x="68000" y="101954"/>
                  </a:cubicBezTo>
                  <a:cubicBezTo>
                    <a:pt x="67000" y="101052"/>
                    <a:pt x="67000" y="101052"/>
                    <a:pt x="67000" y="101052"/>
                  </a:cubicBezTo>
                  <a:cubicBezTo>
                    <a:pt x="67000" y="101052"/>
                    <a:pt x="65000" y="101052"/>
                    <a:pt x="64500" y="101052"/>
                  </a:cubicBezTo>
                  <a:cubicBezTo>
                    <a:pt x="64000" y="101052"/>
                    <a:pt x="62000" y="100150"/>
                    <a:pt x="62000" y="100150"/>
                  </a:cubicBezTo>
                  <a:cubicBezTo>
                    <a:pt x="62000" y="100150"/>
                    <a:pt x="60000" y="99248"/>
                    <a:pt x="59500" y="99248"/>
                  </a:cubicBezTo>
                  <a:cubicBezTo>
                    <a:pt x="59000" y="99248"/>
                    <a:pt x="58000" y="99248"/>
                    <a:pt x="58000" y="99248"/>
                  </a:cubicBezTo>
                  <a:cubicBezTo>
                    <a:pt x="55500" y="98345"/>
                    <a:pt x="55500" y="98345"/>
                    <a:pt x="55500" y="98345"/>
                  </a:cubicBezTo>
                  <a:cubicBezTo>
                    <a:pt x="55500" y="98345"/>
                    <a:pt x="54000" y="96541"/>
                    <a:pt x="53000" y="97443"/>
                  </a:cubicBezTo>
                  <a:cubicBezTo>
                    <a:pt x="52500" y="97443"/>
                    <a:pt x="53000" y="100150"/>
                    <a:pt x="53000" y="100150"/>
                  </a:cubicBezTo>
                  <a:cubicBezTo>
                    <a:pt x="53000" y="100150"/>
                    <a:pt x="52500" y="104661"/>
                    <a:pt x="53000" y="105563"/>
                  </a:cubicBezTo>
                  <a:cubicBezTo>
                    <a:pt x="53000" y="107368"/>
                    <a:pt x="52000" y="109172"/>
                    <a:pt x="52000" y="109172"/>
                  </a:cubicBezTo>
                  <a:cubicBezTo>
                    <a:pt x="50500" y="110075"/>
                    <a:pt x="50500" y="110075"/>
                    <a:pt x="50500" y="110075"/>
                  </a:cubicBezTo>
                  <a:cubicBezTo>
                    <a:pt x="50500" y="110075"/>
                    <a:pt x="49500" y="112781"/>
                    <a:pt x="49000" y="112781"/>
                  </a:cubicBezTo>
                  <a:cubicBezTo>
                    <a:pt x="48500" y="112781"/>
                    <a:pt x="48500" y="118195"/>
                    <a:pt x="48500" y="118195"/>
                  </a:cubicBezTo>
                  <a:cubicBezTo>
                    <a:pt x="46500" y="119097"/>
                    <a:pt x="46500" y="119097"/>
                    <a:pt x="46500" y="119097"/>
                  </a:cubicBezTo>
                  <a:cubicBezTo>
                    <a:pt x="44500" y="116390"/>
                    <a:pt x="44500" y="116390"/>
                    <a:pt x="44500" y="116390"/>
                  </a:cubicBezTo>
                  <a:cubicBezTo>
                    <a:pt x="43000" y="118195"/>
                    <a:pt x="43000" y="118195"/>
                    <a:pt x="43000" y="118195"/>
                  </a:cubicBezTo>
                  <a:cubicBezTo>
                    <a:pt x="42500" y="120000"/>
                    <a:pt x="42500" y="120000"/>
                    <a:pt x="42500" y="120000"/>
                  </a:cubicBezTo>
                  <a:cubicBezTo>
                    <a:pt x="42500" y="120000"/>
                    <a:pt x="40000" y="119097"/>
                    <a:pt x="40000" y="119097"/>
                  </a:cubicBezTo>
                  <a:cubicBezTo>
                    <a:pt x="39500" y="119097"/>
                    <a:pt x="37000" y="118195"/>
                    <a:pt x="37000" y="118195"/>
                  </a:cubicBezTo>
                  <a:cubicBezTo>
                    <a:pt x="37000" y="118195"/>
                    <a:pt x="35500" y="115488"/>
                    <a:pt x="35000" y="114586"/>
                  </a:cubicBezTo>
                  <a:cubicBezTo>
                    <a:pt x="34500" y="113684"/>
                    <a:pt x="32500" y="111879"/>
                    <a:pt x="32000" y="110977"/>
                  </a:cubicBezTo>
                  <a:cubicBezTo>
                    <a:pt x="31500" y="110977"/>
                    <a:pt x="31500" y="110075"/>
                    <a:pt x="31500" y="110075"/>
                  </a:cubicBezTo>
                  <a:cubicBezTo>
                    <a:pt x="30500" y="108270"/>
                    <a:pt x="31000" y="108270"/>
                    <a:pt x="30000" y="107368"/>
                  </a:cubicBezTo>
                  <a:cubicBezTo>
                    <a:pt x="29000" y="106466"/>
                    <a:pt x="28000" y="106466"/>
                    <a:pt x="28000" y="105563"/>
                  </a:cubicBezTo>
                  <a:cubicBezTo>
                    <a:pt x="28000" y="104661"/>
                    <a:pt x="28500" y="102857"/>
                    <a:pt x="27500" y="102857"/>
                  </a:cubicBezTo>
                  <a:cubicBezTo>
                    <a:pt x="26000" y="103759"/>
                    <a:pt x="25500" y="104661"/>
                    <a:pt x="25000" y="103759"/>
                  </a:cubicBezTo>
                  <a:cubicBezTo>
                    <a:pt x="24000" y="101954"/>
                    <a:pt x="24000" y="101954"/>
                    <a:pt x="23500" y="100150"/>
                  </a:cubicBezTo>
                  <a:cubicBezTo>
                    <a:pt x="23500" y="98345"/>
                    <a:pt x="23500" y="96541"/>
                    <a:pt x="22500" y="96541"/>
                  </a:cubicBezTo>
                  <a:cubicBezTo>
                    <a:pt x="21500" y="96541"/>
                    <a:pt x="21000" y="95639"/>
                    <a:pt x="21000" y="95639"/>
                  </a:cubicBezTo>
                  <a:cubicBezTo>
                    <a:pt x="21000" y="95639"/>
                    <a:pt x="20500" y="96541"/>
                    <a:pt x="20000" y="94736"/>
                  </a:cubicBezTo>
                  <a:cubicBezTo>
                    <a:pt x="19500" y="92030"/>
                    <a:pt x="21000" y="93834"/>
                    <a:pt x="19500" y="90225"/>
                  </a:cubicBezTo>
                  <a:cubicBezTo>
                    <a:pt x="17500" y="87518"/>
                    <a:pt x="18000" y="88421"/>
                    <a:pt x="17000" y="86616"/>
                  </a:cubicBezTo>
                  <a:cubicBezTo>
                    <a:pt x="16000" y="84812"/>
                    <a:pt x="13000" y="86616"/>
                    <a:pt x="13000" y="86616"/>
                  </a:cubicBezTo>
                  <a:cubicBezTo>
                    <a:pt x="13000" y="86616"/>
                    <a:pt x="13000" y="85714"/>
                    <a:pt x="12000" y="83909"/>
                  </a:cubicBezTo>
                  <a:cubicBezTo>
                    <a:pt x="11000" y="82105"/>
                    <a:pt x="11500" y="83007"/>
                    <a:pt x="10500" y="81203"/>
                  </a:cubicBezTo>
                  <a:cubicBezTo>
                    <a:pt x="9500" y="78496"/>
                    <a:pt x="9500" y="79398"/>
                    <a:pt x="9500" y="76691"/>
                  </a:cubicBezTo>
                  <a:cubicBezTo>
                    <a:pt x="9000" y="73984"/>
                    <a:pt x="9500" y="73082"/>
                    <a:pt x="8500" y="71278"/>
                  </a:cubicBezTo>
                  <a:cubicBezTo>
                    <a:pt x="7500" y="69473"/>
                    <a:pt x="7000" y="67669"/>
                    <a:pt x="7000" y="67669"/>
                  </a:cubicBezTo>
                  <a:cubicBezTo>
                    <a:pt x="7000" y="67669"/>
                    <a:pt x="6000" y="65864"/>
                    <a:pt x="7000" y="63157"/>
                  </a:cubicBezTo>
                  <a:cubicBezTo>
                    <a:pt x="8000" y="61353"/>
                    <a:pt x="8000" y="61353"/>
                    <a:pt x="8000" y="59548"/>
                  </a:cubicBezTo>
                  <a:cubicBezTo>
                    <a:pt x="8000" y="58646"/>
                    <a:pt x="8500" y="56842"/>
                    <a:pt x="7000" y="55037"/>
                  </a:cubicBezTo>
                  <a:cubicBezTo>
                    <a:pt x="5500" y="53233"/>
                    <a:pt x="5500" y="53233"/>
                    <a:pt x="4000" y="51428"/>
                  </a:cubicBezTo>
                  <a:cubicBezTo>
                    <a:pt x="3000" y="50526"/>
                    <a:pt x="2500" y="50526"/>
                    <a:pt x="2000" y="49624"/>
                  </a:cubicBezTo>
                  <a:cubicBezTo>
                    <a:pt x="1500" y="48721"/>
                    <a:pt x="500" y="42406"/>
                    <a:pt x="500" y="42406"/>
                  </a:cubicBezTo>
                  <a:cubicBezTo>
                    <a:pt x="0" y="39699"/>
                    <a:pt x="0" y="39699"/>
                    <a:pt x="0" y="39699"/>
                  </a:cubicBezTo>
                  <a:cubicBezTo>
                    <a:pt x="2500" y="39699"/>
                    <a:pt x="2500" y="39699"/>
                    <a:pt x="2500" y="39699"/>
                  </a:cubicBezTo>
                  <a:cubicBezTo>
                    <a:pt x="3000" y="43308"/>
                    <a:pt x="3000" y="43308"/>
                    <a:pt x="3000" y="43308"/>
                  </a:cubicBezTo>
                  <a:cubicBezTo>
                    <a:pt x="3500" y="46015"/>
                    <a:pt x="3500" y="46015"/>
                    <a:pt x="3500" y="46015"/>
                  </a:cubicBezTo>
                  <a:cubicBezTo>
                    <a:pt x="5000" y="40601"/>
                    <a:pt x="5000" y="40601"/>
                    <a:pt x="5000" y="40601"/>
                  </a:cubicBezTo>
                  <a:cubicBezTo>
                    <a:pt x="7000" y="36090"/>
                    <a:pt x="7000" y="36090"/>
                    <a:pt x="7000" y="36090"/>
                  </a:cubicBezTo>
                  <a:cubicBezTo>
                    <a:pt x="7000" y="36090"/>
                    <a:pt x="7000" y="36090"/>
                    <a:pt x="8500" y="36090"/>
                  </a:cubicBezTo>
                  <a:cubicBezTo>
                    <a:pt x="9500" y="36090"/>
                    <a:pt x="11000" y="34285"/>
                    <a:pt x="11500" y="34285"/>
                  </a:cubicBezTo>
                  <a:cubicBezTo>
                    <a:pt x="12500" y="34285"/>
                    <a:pt x="14000" y="35187"/>
                    <a:pt x="14500" y="35187"/>
                  </a:cubicBezTo>
                  <a:cubicBezTo>
                    <a:pt x="15500" y="34285"/>
                    <a:pt x="16000" y="34285"/>
                    <a:pt x="16000" y="32481"/>
                  </a:cubicBezTo>
                  <a:cubicBezTo>
                    <a:pt x="16500" y="31578"/>
                    <a:pt x="15500" y="29774"/>
                    <a:pt x="17500" y="28872"/>
                  </a:cubicBezTo>
                  <a:cubicBezTo>
                    <a:pt x="19000" y="27067"/>
                    <a:pt x="19500" y="27067"/>
                    <a:pt x="19500" y="27067"/>
                  </a:cubicBezTo>
                  <a:lnTo>
                    <a:pt x="21500" y="24360"/>
                  </a:lnTo>
                  <a:close/>
                </a:path>
              </a:pathLst>
            </a:custGeom>
            <a:solidFill>
              <a:srgbClr val="E4032D"/>
            </a:solidFill>
            <a:ln w="3175" cap="flat" cmpd="sng">
              <a:solidFill>
                <a:schemeClr val="tx1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defTabSz="457178"/>
              <a:endParaRPr kern="0">
                <a:solidFill>
                  <a:srgbClr val="7F7F7F"/>
                </a:solidFill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29" name="Shape 2036">
              <a:extLst>
                <a:ext uri="{FF2B5EF4-FFF2-40B4-BE49-F238E27FC236}">
                  <a16:creationId xmlns:a16="http://schemas.microsoft.com/office/drawing/2014/main" id="{2E4FD53A-5361-4AEE-AFD9-D98241E03335}"/>
                </a:ext>
              </a:extLst>
            </p:cNvPr>
            <p:cNvSpPr/>
            <p:nvPr/>
          </p:nvSpPr>
          <p:spPr>
            <a:xfrm>
              <a:off x="5769180" y="1991757"/>
              <a:ext cx="413385" cy="308971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933" y="22285"/>
                  </a:moveTo>
                  <a:cubicBezTo>
                    <a:pt x="15911" y="18857"/>
                    <a:pt x="15911" y="18857"/>
                    <a:pt x="15911" y="18857"/>
                  </a:cubicBezTo>
                  <a:cubicBezTo>
                    <a:pt x="17900" y="16285"/>
                    <a:pt x="17900" y="16285"/>
                    <a:pt x="17900" y="16285"/>
                  </a:cubicBezTo>
                  <a:cubicBezTo>
                    <a:pt x="22541" y="17142"/>
                    <a:pt x="22541" y="17142"/>
                    <a:pt x="22541" y="17142"/>
                  </a:cubicBezTo>
                  <a:cubicBezTo>
                    <a:pt x="22541" y="17142"/>
                    <a:pt x="25856" y="15428"/>
                    <a:pt x="26519" y="15428"/>
                  </a:cubicBezTo>
                  <a:cubicBezTo>
                    <a:pt x="27182" y="15428"/>
                    <a:pt x="31823" y="14571"/>
                    <a:pt x="31823" y="14571"/>
                  </a:cubicBezTo>
                  <a:cubicBezTo>
                    <a:pt x="34475" y="12000"/>
                    <a:pt x="34475" y="12000"/>
                    <a:pt x="34475" y="12000"/>
                  </a:cubicBezTo>
                  <a:cubicBezTo>
                    <a:pt x="34475" y="12000"/>
                    <a:pt x="36464" y="12857"/>
                    <a:pt x="36464" y="13714"/>
                  </a:cubicBezTo>
                  <a:cubicBezTo>
                    <a:pt x="37127" y="14571"/>
                    <a:pt x="39116" y="17142"/>
                    <a:pt x="39779" y="17142"/>
                  </a:cubicBezTo>
                  <a:cubicBezTo>
                    <a:pt x="40441" y="16285"/>
                    <a:pt x="41104" y="12857"/>
                    <a:pt x="41104" y="12857"/>
                  </a:cubicBezTo>
                  <a:cubicBezTo>
                    <a:pt x="45082" y="12000"/>
                    <a:pt x="45082" y="12000"/>
                    <a:pt x="45082" y="12000"/>
                  </a:cubicBezTo>
                  <a:cubicBezTo>
                    <a:pt x="48397" y="11142"/>
                    <a:pt x="48397" y="11142"/>
                    <a:pt x="48397" y="11142"/>
                  </a:cubicBezTo>
                  <a:cubicBezTo>
                    <a:pt x="48397" y="11142"/>
                    <a:pt x="48397" y="10285"/>
                    <a:pt x="49060" y="10285"/>
                  </a:cubicBezTo>
                  <a:cubicBezTo>
                    <a:pt x="49723" y="11142"/>
                    <a:pt x="53701" y="11142"/>
                    <a:pt x="53701" y="11142"/>
                  </a:cubicBezTo>
                  <a:cubicBezTo>
                    <a:pt x="57679" y="11142"/>
                    <a:pt x="57679" y="11142"/>
                    <a:pt x="57679" y="11142"/>
                  </a:cubicBezTo>
                  <a:cubicBezTo>
                    <a:pt x="57679" y="11142"/>
                    <a:pt x="60331" y="12857"/>
                    <a:pt x="60994" y="12857"/>
                  </a:cubicBezTo>
                  <a:cubicBezTo>
                    <a:pt x="60994" y="12000"/>
                    <a:pt x="62983" y="8571"/>
                    <a:pt x="62983" y="8571"/>
                  </a:cubicBezTo>
                  <a:cubicBezTo>
                    <a:pt x="66961" y="10285"/>
                    <a:pt x="66961" y="10285"/>
                    <a:pt x="66961" y="10285"/>
                  </a:cubicBezTo>
                  <a:cubicBezTo>
                    <a:pt x="67624" y="6857"/>
                    <a:pt x="67624" y="6857"/>
                    <a:pt x="67624" y="6857"/>
                  </a:cubicBezTo>
                  <a:cubicBezTo>
                    <a:pt x="67624" y="6857"/>
                    <a:pt x="69613" y="2571"/>
                    <a:pt x="69613" y="2571"/>
                  </a:cubicBezTo>
                  <a:cubicBezTo>
                    <a:pt x="70276" y="2571"/>
                    <a:pt x="72928" y="0"/>
                    <a:pt x="72928" y="0"/>
                  </a:cubicBezTo>
                  <a:cubicBezTo>
                    <a:pt x="74254" y="5142"/>
                    <a:pt x="74254" y="5142"/>
                    <a:pt x="74254" y="5142"/>
                  </a:cubicBezTo>
                  <a:cubicBezTo>
                    <a:pt x="76906" y="7714"/>
                    <a:pt x="76906" y="7714"/>
                    <a:pt x="76906" y="7714"/>
                  </a:cubicBezTo>
                  <a:cubicBezTo>
                    <a:pt x="77569" y="8571"/>
                    <a:pt x="77569" y="8571"/>
                    <a:pt x="77569" y="8571"/>
                  </a:cubicBezTo>
                  <a:cubicBezTo>
                    <a:pt x="80220" y="11142"/>
                    <a:pt x="80220" y="11142"/>
                    <a:pt x="80220" y="11142"/>
                  </a:cubicBezTo>
                  <a:cubicBezTo>
                    <a:pt x="84861" y="9428"/>
                    <a:pt x="84861" y="9428"/>
                    <a:pt x="84861" y="9428"/>
                  </a:cubicBezTo>
                  <a:cubicBezTo>
                    <a:pt x="87513" y="8571"/>
                    <a:pt x="87513" y="8571"/>
                    <a:pt x="87513" y="8571"/>
                  </a:cubicBezTo>
                  <a:cubicBezTo>
                    <a:pt x="89502" y="8571"/>
                    <a:pt x="89502" y="8571"/>
                    <a:pt x="89502" y="8571"/>
                  </a:cubicBezTo>
                  <a:cubicBezTo>
                    <a:pt x="90165" y="10285"/>
                    <a:pt x="90165" y="10285"/>
                    <a:pt x="90165" y="10285"/>
                  </a:cubicBezTo>
                  <a:cubicBezTo>
                    <a:pt x="92154" y="12000"/>
                    <a:pt x="92154" y="12000"/>
                    <a:pt x="92154" y="12000"/>
                  </a:cubicBezTo>
                  <a:cubicBezTo>
                    <a:pt x="95469" y="12000"/>
                    <a:pt x="95469" y="12000"/>
                    <a:pt x="95469" y="12000"/>
                  </a:cubicBezTo>
                  <a:cubicBezTo>
                    <a:pt x="96795" y="14571"/>
                    <a:pt x="96795" y="14571"/>
                    <a:pt x="96795" y="14571"/>
                  </a:cubicBezTo>
                  <a:cubicBezTo>
                    <a:pt x="99447" y="15428"/>
                    <a:pt x="99447" y="15428"/>
                    <a:pt x="99447" y="15428"/>
                  </a:cubicBezTo>
                  <a:cubicBezTo>
                    <a:pt x="101436" y="18857"/>
                    <a:pt x="101436" y="18857"/>
                    <a:pt x="101436" y="18857"/>
                  </a:cubicBezTo>
                  <a:cubicBezTo>
                    <a:pt x="103425" y="19714"/>
                    <a:pt x="103425" y="19714"/>
                    <a:pt x="103425" y="19714"/>
                  </a:cubicBezTo>
                  <a:cubicBezTo>
                    <a:pt x="104751" y="23142"/>
                    <a:pt x="104751" y="23142"/>
                    <a:pt x="104751" y="23142"/>
                  </a:cubicBezTo>
                  <a:cubicBezTo>
                    <a:pt x="107403" y="23142"/>
                    <a:pt x="107403" y="23142"/>
                    <a:pt x="107403" y="23142"/>
                  </a:cubicBezTo>
                  <a:cubicBezTo>
                    <a:pt x="110718" y="24000"/>
                    <a:pt x="110718" y="24000"/>
                    <a:pt x="110718" y="24000"/>
                  </a:cubicBezTo>
                  <a:cubicBezTo>
                    <a:pt x="112707" y="24000"/>
                    <a:pt x="112707" y="24000"/>
                    <a:pt x="112707" y="24000"/>
                  </a:cubicBezTo>
                  <a:cubicBezTo>
                    <a:pt x="112707" y="24000"/>
                    <a:pt x="112707" y="24000"/>
                    <a:pt x="112707" y="24000"/>
                  </a:cubicBezTo>
                  <a:cubicBezTo>
                    <a:pt x="113370" y="24000"/>
                    <a:pt x="113370" y="24000"/>
                    <a:pt x="113370" y="24000"/>
                  </a:cubicBezTo>
                  <a:cubicBezTo>
                    <a:pt x="114033" y="31714"/>
                    <a:pt x="114033" y="31714"/>
                    <a:pt x="114033" y="31714"/>
                  </a:cubicBezTo>
                  <a:cubicBezTo>
                    <a:pt x="112707" y="36000"/>
                    <a:pt x="112707" y="36000"/>
                    <a:pt x="112707" y="36000"/>
                  </a:cubicBezTo>
                  <a:cubicBezTo>
                    <a:pt x="112707" y="40285"/>
                    <a:pt x="112707" y="40285"/>
                    <a:pt x="112707" y="40285"/>
                  </a:cubicBezTo>
                  <a:cubicBezTo>
                    <a:pt x="114696" y="41142"/>
                    <a:pt x="114696" y="41142"/>
                    <a:pt x="114696" y="41142"/>
                  </a:cubicBezTo>
                  <a:cubicBezTo>
                    <a:pt x="119337" y="40285"/>
                    <a:pt x="119337" y="40285"/>
                    <a:pt x="119337" y="40285"/>
                  </a:cubicBezTo>
                  <a:cubicBezTo>
                    <a:pt x="120000" y="43714"/>
                    <a:pt x="120000" y="43714"/>
                    <a:pt x="120000" y="43714"/>
                  </a:cubicBezTo>
                  <a:cubicBezTo>
                    <a:pt x="117348" y="45428"/>
                    <a:pt x="117348" y="45428"/>
                    <a:pt x="117348" y="45428"/>
                  </a:cubicBezTo>
                  <a:cubicBezTo>
                    <a:pt x="118011" y="49714"/>
                    <a:pt x="118011" y="49714"/>
                    <a:pt x="118011" y="49714"/>
                  </a:cubicBezTo>
                  <a:cubicBezTo>
                    <a:pt x="112707" y="48857"/>
                    <a:pt x="112707" y="48857"/>
                    <a:pt x="112707" y="48857"/>
                  </a:cubicBezTo>
                  <a:cubicBezTo>
                    <a:pt x="110718" y="51428"/>
                    <a:pt x="110718" y="51428"/>
                    <a:pt x="110718" y="51428"/>
                  </a:cubicBezTo>
                  <a:cubicBezTo>
                    <a:pt x="110718" y="57428"/>
                    <a:pt x="110718" y="57428"/>
                    <a:pt x="110718" y="57428"/>
                  </a:cubicBezTo>
                  <a:cubicBezTo>
                    <a:pt x="105414" y="60000"/>
                    <a:pt x="105414" y="60000"/>
                    <a:pt x="105414" y="60000"/>
                  </a:cubicBezTo>
                  <a:cubicBezTo>
                    <a:pt x="104088" y="63428"/>
                    <a:pt x="104088" y="63428"/>
                    <a:pt x="104088" y="63428"/>
                  </a:cubicBezTo>
                  <a:cubicBezTo>
                    <a:pt x="104088" y="66857"/>
                    <a:pt x="104088" y="66857"/>
                    <a:pt x="104088" y="66857"/>
                  </a:cubicBezTo>
                  <a:cubicBezTo>
                    <a:pt x="103425" y="70285"/>
                    <a:pt x="103425" y="70285"/>
                    <a:pt x="103425" y="70285"/>
                  </a:cubicBezTo>
                  <a:cubicBezTo>
                    <a:pt x="104088" y="76285"/>
                    <a:pt x="104088" y="76285"/>
                    <a:pt x="104088" y="76285"/>
                  </a:cubicBezTo>
                  <a:cubicBezTo>
                    <a:pt x="104751" y="81428"/>
                    <a:pt x="104751" y="81428"/>
                    <a:pt x="104751" y="81428"/>
                  </a:cubicBezTo>
                  <a:cubicBezTo>
                    <a:pt x="104751" y="81428"/>
                    <a:pt x="103425" y="85714"/>
                    <a:pt x="102762" y="88285"/>
                  </a:cubicBezTo>
                  <a:cubicBezTo>
                    <a:pt x="102762" y="90000"/>
                    <a:pt x="104088" y="89142"/>
                    <a:pt x="104088" y="89142"/>
                  </a:cubicBezTo>
                  <a:cubicBezTo>
                    <a:pt x="107403" y="90857"/>
                    <a:pt x="107403" y="90857"/>
                    <a:pt x="107403" y="90857"/>
                  </a:cubicBezTo>
                  <a:cubicBezTo>
                    <a:pt x="108729" y="91714"/>
                    <a:pt x="108729" y="91714"/>
                    <a:pt x="108729" y="91714"/>
                  </a:cubicBezTo>
                  <a:cubicBezTo>
                    <a:pt x="107403" y="96857"/>
                    <a:pt x="107403" y="96857"/>
                    <a:pt x="107403" y="96857"/>
                  </a:cubicBezTo>
                  <a:cubicBezTo>
                    <a:pt x="104088" y="97714"/>
                    <a:pt x="104088" y="97714"/>
                    <a:pt x="104088" y="97714"/>
                  </a:cubicBezTo>
                  <a:cubicBezTo>
                    <a:pt x="104751" y="94285"/>
                    <a:pt x="104751" y="94285"/>
                    <a:pt x="104751" y="94285"/>
                  </a:cubicBezTo>
                  <a:cubicBezTo>
                    <a:pt x="103425" y="92571"/>
                    <a:pt x="103425" y="92571"/>
                    <a:pt x="103425" y="92571"/>
                  </a:cubicBezTo>
                  <a:cubicBezTo>
                    <a:pt x="101436" y="95142"/>
                    <a:pt x="101436" y="95142"/>
                    <a:pt x="101436" y="95142"/>
                  </a:cubicBezTo>
                  <a:cubicBezTo>
                    <a:pt x="96795" y="96857"/>
                    <a:pt x="96795" y="96857"/>
                    <a:pt x="96795" y="96857"/>
                  </a:cubicBezTo>
                  <a:cubicBezTo>
                    <a:pt x="96795" y="98571"/>
                    <a:pt x="96795" y="98571"/>
                    <a:pt x="96795" y="98571"/>
                  </a:cubicBezTo>
                  <a:cubicBezTo>
                    <a:pt x="95469" y="102000"/>
                    <a:pt x="95469" y="102000"/>
                    <a:pt x="95469" y="102000"/>
                  </a:cubicBezTo>
                  <a:cubicBezTo>
                    <a:pt x="95469" y="102000"/>
                    <a:pt x="92817" y="102000"/>
                    <a:pt x="91491" y="102000"/>
                  </a:cubicBezTo>
                  <a:cubicBezTo>
                    <a:pt x="90828" y="101142"/>
                    <a:pt x="90165" y="103714"/>
                    <a:pt x="90165" y="103714"/>
                  </a:cubicBezTo>
                  <a:cubicBezTo>
                    <a:pt x="91491" y="109714"/>
                    <a:pt x="91491" y="109714"/>
                    <a:pt x="91491" y="109714"/>
                  </a:cubicBezTo>
                  <a:cubicBezTo>
                    <a:pt x="88176" y="109714"/>
                    <a:pt x="88176" y="109714"/>
                    <a:pt x="88176" y="109714"/>
                  </a:cubicBezTo>
                  <a:cubicBezTo>
                    <a:pt x="85524" y="114000"/>
                    <a:pt x="85524" y="114000"/>
                    <a:pt x="85524" y="114000"/>
                  </a:cubicBezTo>
                  <a:cubicBezTo>
                    <a:pt x="80883" y="114857"/>
                    <a:pt x="80883" y="114857"/>
                    <a:pt x="80883" y="114857"/>
                  </a:cubicBezTo>
                  <a:cubicBezTo>
                    <a:pt x="76906" y="114000"/>
                    <a:pt x="76906" y="114000"/>
                    <a:pt x="76906" y="114000"/>
                  </a:cubicBezTo>
                  <a:cubicBezTo>
                    <a:pt x="70276" y="117428"/>
                    <a:pt x="70276" y="117428"/>
                    <a:pt x="70276" y="117428"/>
                  </a:cubicBezTo>
                  <a:cubicBezTo>
                    <a:pt x="64309" y="119142"/>
                    <a:pt x="64309" y="119142"/>
                    <a:pt x="64309" y="119142"/>
                  </a:cubicBezTo>
                  <a:cubicBezTo>
                    <a:pt x="64309" y="120000"/>
                    <a:pt x="64309" y="120000"/>
                    <a:pt x="64309" y="120000"/>
                  </a:cubicBezTo>
                  <a:cubicBezTo>
                    <a:pt x="63646" y="114857"/>
                    <a:pt x="63646" y="114857"/>
                    <a:pt x="63646" y="114857"/>
                  </a:cubicBezTo>
                  <a:cubicBezTo>
                    <a:pt x="61657" y="112285"/>
                    <a:pt x="61657" y="112285"/>
                    <a:pt x="61657" y="112285"/>
                  </a:cubicBezTo>
                  <a:cubicBezTo>
                    <a:pt x="61657" y="112285"/>
                    <a:pt x="59668" y="107142"/>
                    <a:pt x="59668" y="106285"/>
                  </a:cubicBezTo>
                  <a:cubicBezTo>
                    <a:pt x="59668" y="106285"/>
                    <a:pt x="52375" y="106285"/>
                    <a:pt x="52375" y="106285"/>
                  </a:cubicBezTo>
                  <a:cubicBezTo>
                    <a:pt x="52375" y="106285"/>
                    <a:pt x="51049" y="103714"/>
                    <a:pt x="50386" y="102000"/>
                  </a:cubicBezTo>
                  <a:cubicBezTo>
                    <a:pt x="50386" y="101142"/>
                    <a:pt x="48397" y="103714"/>
                    <a:pt x="48397" y="103714"/>
                  </a:cubicBezTo>
                  <a:cubicBezTo>
                    <a:pt x="45745" y="104571"/>
                    <a:pt x="45745" y="104571"/>
                    <a:pt x="45745" y="104571"/>
                  </a:cubicBezTo>
                  <a:cubicBezTo>
                    <a:pt x="45745" y="103714"/>
                    <a:pt x="45745" y="103714"/>
                    <a:pt x="45745" y="103714"/>
                  </a:cubicBezTo>
                  <a:cubicBezTo>
                    <a:pt x="43756" y="100285"/>
                    <a:pt x="43756" y="100285"/>
                    <a:pt x="43756" y="100285"/>
                  </a:cubicBezTo>
                  <a:cubicBezTo>
                    <a:pt x="43756" y="91714"/>
                    <a:pt x="43756" y="91714"/>
                    <a:pt x="43756" y="91714"/>
                  </a:cubicBezTo>
                  <a:cubicBezTo>
                    <a:pt x="43756" y="89142"/>
                    <a:pt x="43756" y="89142"/>
                    <a:pt x="43756" y="89142"/>
                  </a:cubicBezTo>
                  <a:cubicBezTo>
                    <a:pt x="45082" y="83142"/>
                    <a:pt x="45082" y="83142"/>
                    <a:pt x="45082" y="83142"/>
                  </a:cubicBezTo>
                  <a:cubicBezTo>
                    <a:pt x="45082" y="83142"/>
                    <a:pt x="43756" y="82285"/>
                    <a:pt x="43093" y="80571"/>
                  </a:cubicBezTo>
                  <a:cubicBezTo>
                    <a:pt x="41767" y="78857"/>
                    <a:pt x="40441" y="77142"/>
                    <a:pt x="40441" y="77142"/>
                  </a:cubicBezTo>
                  <a:cubicBezTo>
                    <a:pt x="39116" y="77142"/>
                    <a:pt x="39116" y="77142"/>
                    <a:pt x="39116" y="77142"/>
                  </a:cubicBezTo>
                  <a:cubicBezTo>
                    <a:pt x="37127" y="73714"/>
                    <a:pt x="37127" y="73714"/>
                    <a:pt x="37127" y="73714"/>
                  </a:cubicBezTo>
                  <a:cubicBezTo>
                    <a:pt x="32486" y="75428"/>
                    <a:pt x="32486" y="75428"/>
                    <a:pt x="32486" y="75428"/>
                  </a:cubicBezTo>
                  <a:cubicBezTo>
                    <a:pt x="29834" y="76285"/>
                    <a:pt x="29834" y="76285"/>
                    <a:pt x="29834" y="76285"/>
                  </a:cubicBezTo>
                  <a:cubicBezTo>
                    <a:pt x="28508" y="78000"/>
                    <a:pt x="28508" y="78000"/>
                    <a:pt x="28508" y="78000"/>
                  </a:cubicBezTo>
                  <a:cubicBezTo>
                    <a:pt x="20552" y="77142"/>
                    <a:pt x="20552" y="77142"/>
                    <a:pt x="20552" y="77142"/>
                  </a:cubicBezTo>
                  <a:cubicBezTo>
                    <a:pt x="16574" y="74571"/>
                    <a:pt x="16574" y="74571"/>
                    <a:pt x="16574" y="74571"/>
                  </a:cubicBezTo>
                  <a:cubicBezTo>
                    <a:pt x="14585" y="73714"/>
                    <a:pt x="14585" y="73714"/>
                    <a:pt x="14585" y="73714"/>
                  </a:cubicBezTo>
                  <a:cubicBezTo>
                    <a:pt x="11933" y="71142"/>
                    <a:pt x="11933" y="71142"/>
                    <a:pt x="11933" y="71142"/>
                  </a:cubicBezTo>
                  <a:cubicBezTo>
                    <a:pt x="8618" y="67714"/>
                    <a:pt x="8618" y="67714"/>
                    <a:pt x="8618" y="67714"/>
                  </a:cubicBezTo>
                  <a:cubicBezTo>
                    <a:pt x="7955" y="62571"/>
                    <a:pt x="7955" y="62571"/>
                    <a:pt x="7955" y="62571"/>
                  </a:cubicBezTo>
                  <a:cubicBezTo>
                    <a:pt x="7292" y="59142"/>
                    <a:pt x="7292" y="59142"/>
                    <a:pt x="7292" y="59142"/>
                  </a:cubicBezTo>
                  <a:cubicBezTo>
                    <a:pt x="3977" y="54857"/>
                    <a:pt x="3977" y="54857"/>
                    <a:pt x="3977" y="54857"/>
                  </a:cubicBezTo>
                  <a:cubicBezTo>
                    <a:pt x="2651" y="51428"/>
                    <a:pt x="2651" y="51428"/>
                    <a:pt x="2651" y="51428"/>
                  </a:cubicBezTo>
                  <a:cubicBezTo>
                    <a:pt x="2651" y="46285"/>
                    <a:pt x="2651" y="46285"/>
                    <a:pt x="2651" y="46285"/>
                  </a:cubicBezTo>
                  <a:cubicBezTo>
                    <a:pt x="662" y="42000"/>
                    <a:pt x="662" y="42000"/>
                    <a:pt x="662" y="42000"/>
                  </a:cubicBezTo>
                  <a:cubicBezTo>
                    <a:pt x="1325" y="37714"/>
                    <a:pt x="1325" y="37714"/>
                    <a:pt x="1325" y="37714"/>
                  </a:cubicBezTo>
                  <a:cubicBezTo>
                    <a:pt x="1325" y="37714"/>
                    <a:pt x="0" y="36857"/>
                    <a:pt x="662" y="36000"/>
                  </a:cubicBezTo>
                  <a:cubicBezTo>
                    <a:pt x="1988" y="36000"/>
                    <a:pt x="3977" y="35142"/>
                    <a:pt x="3977" y="35142"/>
                  </a:cubicBezTo>
                  <a:cubicBezTo>
                    <a:pt x="4640" y="30000"/>
                    <a:pt x="4640" y="30000"/>
                    <a:pt x="4640" y="30000"/>
                  </a:cubicBezTo>
                  <a:cubicBezTo>
                    <a:pt x="5303" y="28285"/>
                    <a:pt x="5303" y="28285"/>
                    <a:pt x="5303" y="28285"/>
                  </a:cubicBezTo>
                  <a:cubicBezTo>
                    <a:pt x="7955" y="26571"/>
                    <a:pt x="7955" y="26571"/>
                    <a:pt x="7955" y="26571"/>
                  </a:cubicBezTo>
                  <a:cubicBezTo>
                    <a:pt x="9281" y="22285"/>
                    <a:pt x="9281" y="22285"/>
                    <a:pt x="9281" y="22285"/>
                  </a:cubicBezTo>
                  <a:lnTo>
                    <a:pt x="11933" y="2228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 cmpd="sng">
              <a:solidFill>
                <a:schemeClr val="tx1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defTabSz="457178"/>
              <a:endParaRPr kern="0">
                <a:solidFill>
                  <a:srgbClr val="7F7F7F"/>
                </a:solidFill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30" name="Shape 2037">
              <a:extLst>
                <a:ext uri="{FF2B5EF4-FFF2-40B4-BE49-F238E27FC236}">
                  <a16:creationId xmlns:a16="http://schemas.microsoft.com/office/drawing/2014/main" id="{ECF3FA40-45FE-4034-820B-B82BFE71BCA5}"/>
                </a:ext>
              </a:extLst>
            </p:cNvPr>
            <p:cNvSpPr/>
            <p:nvPr/>
          </p:nvSpPr>
          <p:spPr>
            <a:xfrm>
              <a:off x="5766982" y="1595421"/>
              <a:ext cx="401291" cy="265289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26590" y="52000"/>
                  </a:moveTo>
                  <a:cubicBezTo>
                    <a:pt x="27272" y="50000"/>
                    <a:pt x="27272" y="50000"/>
                    <a:pt x="27272" y="50000"/>
                  </a:cubicBezTo>
                  <a:cubicBezTo>
                    <a:pt x="27954" y="48000"/>
                    <a:pt x="27954" y="48000"/>
                    <a:pt x="27954" y="48000"/>
                  </a:cubicBezTo>
                  <a:cubicBezTo>
                    <a:pt x="27954" y="45000"/>
                    <a:pt x="27954" y="45000"/>
                    <a:pt x="27954" y="45000"/>
                  </a:cubicBezTo>
                  <a:cubicBezTo>
                    <a:pt x="26590" y="45000"/>
                    <a:pt x="26590" y="45000"/>
                    <a:pt x="26590" y="45000"/>
                  </a:cubicBezTo>
                  <a:cubicBezTo>
                    <a:pt x="25909" y="42000"/>
                    <a:pt x="25909" y="42000"/>
                    <a:pt x="25909" y="42000"/>
                  </a:cubicBezTo>
                  <a:cubicBezTo>
                    <a:pt x="25909" y="42000"/>
                    <a:pt x="26590" y="41000"/>
                    <a:pt x="27272" y="41000"/>
                  </a:cubicBezTo>
                  <a:cubicBezTo>
                    <a:pt x="27272" y="40000"/>
                    <a:pt x="29318" y="40000"/>
                    <a:pt x="29318" y="40000"/>
                  </a:cubicBezTo>
                  <a:cubicBezTo>
                    <a:pt x="30681" y="38000"/>
                    <a:pt x="30681" y="38000"/>
                    <a:pt x="30681" y="38000"/>
                  </a:cubicBezTo>
                  <a:cubicBezTo>
                    <a:pt x="30681" y="38000"/>
                    <a:pt x="30000" y="36000"/>
                    <a:pt x="31363" y="36000"/>
                  </a:cubicBezTo>
                  <a:cubicBezTo>
                    <a:pt x="32045" y="36000"/>
                    <a:pt x="33409" y="36000"/>
                    <a:pt x="34090" y="36000"/>
                  </a:cubicBezTo>
                  <a:cubicBezTo>
                    <a:pt x="34772" y="36000"/>
                    <a:pt x="35454" y="35000"/>
                    <a:pt x="35454" y="35000"/>
                  </a:cubicBezTo>
                  <a:cubicBezTo>
                    <a:pt x="36818" y="35000"/>
                    <a:pt x="37500" y="36000"/>
                    <a:pt x="36818" y="35000"/>
                  </a:cubicBezTo>
                  <a:cubicBezTo>
                    <a:pt x="36818" y="35000"/>
                    <a:pt x="36818" y="34000"/>
                    <a:pt x="36136" y="33000"/>
                  </a:cubicBezTo>
                  <a:cubicBezTo>
                    <a:pt x="35454" y="32000"/>
                    <a:pt x="33409" y="30000"/>
                    <a:pt x="34772" y="29000"/>
                  </a:cubicBezTo>
                  <a:cubicBezTo>
                    <a:pt x="35454" y="28000"/>
                    <a:pt x="36136" y="28000"/>
                    <a:pt x="36818" y="29000"/>
                  </a:cubicBezTo>
                  <a:cubicBezTo>
                    <a:pt x="37500" y="29000"/>
                    <a:pt x="38181" y="31000"/>
                    <a:pt x="38181" y="31000"/>
                  </a:cubicBezTo>
                  <a:cubicBezTo>
                    <a:pt x="38181" y="27000"/>
                    <a:pt x="38181" y="27000"/>
                    <a:pt x="38181" y="27000"/>
                  </a:cubicBezTo>
                  <a:cubicBezTo>
                    <a:pt x="38181" y="27000"/>
                    <a:pt x="40227" y="27000"/>
                    <a:pt x="40909" y="26000"/>
                  </a:cubicBezTo>
                  <a:cubicBezTo>
                    <a:pt x="40909" y="25000"/>
                    <a:pt x="40227" y="23000"/>
                    <a:pt x="40227" y="23000"/>
                  </a:cubicBezTo>
                  <a:cubicBezTo>
                    <a:pt x="40227" y="23000"/>
                    <a:pt x="40227" y="23000"/>
                    <a:pt x="42272" y="23000"/>
                  </a:cubicBezTo>
                  <a:cubicBezTo>
                    <a:pt x="44318" y="22000"/>
                    <a:pt x="43636" y="22000"/>
                    <a:pt x="45000" y="22000"/>
                  </a:cubicBezTo>
                  <a:cubicBezTo>
                    <a:pt x="45681" y="22000"/>
                    <a:pt x="47727" y="22000"/>
                    <a:pt x="47727" y="22000"/>
                  </a:cubicBezTo>
                  <a:cubicBezTo>
                    <a:pt x="47727" y="22000"/>
                    <a:pt x="49090" y="21000"/>
                    <a:pt x="48409" y="20000"/>
                  </a:cubicBezTo>
                  <a:cubicBezTo>
                    <a:pt x="48409" y="19000"/>
                    <a:pt x="47045" y="17000"/>
                    <a:pt x="47045" y="17000"/>
                  </a:cubicBezTo>
                  <a:cubicBezTo>
                    <a:pt x="47045" y="17000"/>
                    <a:pt x="47727" y="14000"/>
                    <a:pt x="47727" y="15000"/>
                  </a:cubicBezTo>
                  <a:cubicBezTo>
                    <a:pt x="47727" y="17000"/>
                    <a:pt x="49772" y="19000"/>
                    <a:pt x="49772" y="19000"/>
                  </a:cubicBezTo>
                  <a:cubicBezTo>
                    <a:pt x="51136" y="17000"/>
                    <a:pt x="51136" y="17000"/>
                    <a:pt x="51136" y="17000"/>
                  </a:cubicBezTo>
                  <a:cubicBezTo>
                    <a:pt x="53181" y="16000"/>
                    <a:pt x="53181" y="16000"/>
                    <a:pt x="53181" y="16000"/>
                  </a:cubicBezTo>
                  <a:cubicBezTo>
                    <a:pt x="55227" y="15000"/>
                    <a:pt x="55227" y="15000"/>
                    <a:pt x="55227" y="15000"/>
                  </a:cubicBezTo>
                  <a:cubicBezTo>
                    <a:pt x="55227" y="15000"/>
                    <a:pt x="57272" y="15000"/>
                    <a:pt x="58636" y="15000"/>
                  </a:cubicBezTo>
                  <a:cubicBezTo>
                    <a:pt x="59318" y="15000"/>
                    <a:pt x="61363" y="14000"/>
                    <a:pt x="61363" y="14000"/>
                  </a:cubicBezTo>
                  <a:cubicBezTo>
                    <a:pt x="62045" y="12000"/>
                    <a:pt x="62045" y="12000"/>
                    <a:pt x="62045" y="12000"/>
                  </a:cubicBezTo>
                  <a:cubicBezTo>
                    <a:pt x="59318" y="8000"/>
                    <a:pt x="59318" y="8000"/>
                    <a:pt x="59318" y="8000"/>
                  </a:cubicBezTo>
                  <a:cubicBezTo>
                    <a:pt x="59318" y="8000"/>
                    <a:pt x="60681" y="5000"/>
                    <a:pt x="60681" y="6000"/>
                  </a:cubicBezTo>
                  <a:cubicBezTo>
                    <a:pt x="61363" y="7000"/>
                    <a:pt x="61363" y="9000"/>
                    <a:pt x="62045" y="9000"/>
                  </a:cubicBezTo>
                  <a:cubicBezTo>
                    <a:pt x="62727" y="9000"/>
                    <a:pt x="63409" y="10000"/>
                    <a:pt x="64090" y="9000"/>
                  </a:cubicBezTo>
                  <a:cubicBezTo>
                    <a:pt x="64090" y="8000"/>
                    <a:pt x="64090" y="5000"/>
                    <a:pt x="64090" y="5000"/>
                  </a:cubicBezTo>
                  <a:cubicBezTo>
                    <a:pt x="64090" y="5000"/>
                    <a:pt x="63409" y="4000"/>
                    <a:pt x="64090" y="4000"/>
                  </a:cubicBezTo>
                  <a:cubicBezTo>
                    <a:pt x="64772" y="5000"/>
                    <a:pt x="66136" y="7000"/>
                    <a:pt x="66136" y="7000"/>
                  </a:cubicBezTo>
                  <a:cubicBezTo>
                    <a:pt x="68181" y="7000"/>
                    <a:pt x="68181" y="7000"/>
                    <a:pt x="68181" y="7000"/>
                  </a:cubicBezTo>
                  <a:cubicBezTo>
                    <a:pt x="70227" y="4000"/>
                    <a:pt x="70227" y="4000"/>
                    <a:pt x="70227" y="4000"/>
                  </a:cubicBezTo>
                  <a:cubicBezTo>
                    <a:pt x="70909" y="6000"/>
                    <a:pt x="70909" y="6000"/>
                    <a:pt x="70909" y="6000"/>
                  </a:cubicBezTo>
                  <a:cubicBezTo>
                    <a:pt x="70909" y="6000"/>
                    <a:pt x="72272" y="5000"/>
                    <a:pt x="72954" y="5000"/>
                  </a:cubicBezTo>
                  <a:cubicBezTo>
                    <a:pt x="73636" y="5000"/>
                    <a:pt x="73636" y="4000"/>
                    <a:pt x="74318" y="4000"/>
                  </a:cubicBezTo>
                  <a:cubicBezTo>
                    <a:pt x="75000" y="4000"/>
                    <a:pt x="76363" y="5000"/>
                    <a:pt x="76363" y="5000"/>
                  </a:cubicBezTo>
                  <a:cubicBezTo>
                    <a:pt x="79772" y="6000"/>
                    <a:pt x="79772" y="6000"/>
                    <a:pt x="79772" y="6000"/>
                  </a:cubicBezTo>
                  <a:cubicBezTo>
                    <a:pt x="81136" y="3000"/>
                    <a:pt x="81136" y="3000"/>
                    <a:pt x="81136" y="3000"/>
                  </a:cubicBezTo>
                  <a:cubicBezTo>
                    <a:pt x="84545" y="5000"/>
                    <a:pt x="84545" y="5000"/>
                    <a:pt x="84545" y="5000"/>
                  </a:cubicBezTo>
                  <a:cubicBezTo>
                    <a:pt x="87272" y="7000"/>
                    <a:pt x="87272" y="7000"/>
                    <a:pt x="87272" y="7000"/>
                  </a:cubicBezTo>
                  <a:cubicBezTo>
                    <a:pt x="90681" y="7000"/>
                    <a:pt x="90681" y="7000"/>
                    <a:pt x="90681" y="7000"/>
                  </a:cubicBezTo>
                  <a:cubicBezTo>
                    <a:pt x="90681" y="7000"/>
                    <a:pt x="93409" y="5000"/>
                    <a:pt x="94090" y="5000"/>
                  </a:cubicBezTo>
                  <a:cubicBezTo>
                    <a:pt x="95454" y="4000"/>
                    <a:pt x="98181" y="4000"/>
                    <a:pt x="98181" y="4000"/>
                  </a:cubicBezTo>
                  <a:cubicBezTo>
                    <a:pt x="98181" y="4000"/>
                    <a:pt x="98863" y="4000"/>
                    <a:pt x="100227" y="4000"/>
                  </a:cubicBezTo>
                  <a:cubicBezTo>
                    <a:pt x="101590" y="3000"/>
                    <a:pt x="105000" y="3000"/>
                    <a:pt x="105000" y="3000"/>
                  </a:cubicBezTo>
                  <a:cubicBezTo>
                    <a:pt x="107045" y="0"/>
                    <a:pt x="107045" y="0"/>
                    <a:pt x="107045" y="0"/>
                  </a:cubicBezTo>
                  <a:cubicBezTo>
                    <a:pt x="110454" y="2000"/>
                    <a:pt x="110454" y="2000"/>
                    <a:pt x="110454" y="2000"/>
                  </a:cubicBezTo>
                  <a:cubicBezTo>
                    <a:pt x="110454" y="4000"/>
                    <a:pt x="110454" y="4000"/>
                    <a:pt x="110454" y="4000"/>
                  </a:cubicBezTo>
                  <a:cubicBezTo>
                    <a:pt x="107045" y="8000"/>
                    <a:pt x="107045" y="8000"/>
                    <a:pt x="107045" y="8000"/>
                  </a:cubicBezTo>
                  <a:cubicBezTo>
                    <a:pt x="107045" y="15000"/>
                    <a:pt x="107045" y="15000"/>
                    <a:pt x="107045" y="15000"/>
                  </a:cubicBezTo>
                  <a:cubicBezTo>
                    <a:pt x="106363" y="25000"/>
                    <a:pt x="104318" y="30000"/>
                    <a:pt x="103636" y="36000"/>
                  </a:cubicBezTo>
                  <a:cubicBezTo>
                    <a:pt x="102954" y="39000"/>
                    <a:pt x="101590" y="40000"/>
                    <a:pt x="103636" y="45000"/>
                  </a:cubicBezTo>
                  <a:cubicBezTo>
                    <a:pt x="105000" y="47000"/>
                    <a:pt x="105000" y="54000"/>
                    <a:pt x="107727" y="58000"/>
                  </a:cubicBezTo>
                  <a:cubicBezTo>
                    <a:pt x="109090" y="60000"/>
                    <a:pt x="107727" y="65000"/>
                    <a:pt x="109772" y="67000"/>
                  </a:cubicBezTo>
                  <a:cubicBezTo>
                    <a:pt x="109772" y="67000"/>
                    <a:pt x="109772" y="68000"/>
                    <a:pt x="110454" y="70000"/>
                  </a:cubicBezTo>
                  <a:cubicBezTo>
                    <a:pt x="111818" y="72000"/>
                    <a:pt x="111818" y="71000"/>
                    <a:pt x="112500" y="72000"/>
                  </a:cubicBezTo>
                  <a:cubicBezTo>
                    <a:pt x="112500" y="72000"/>
                    <a:pt x="113863" y="73000"/>
                    <a:pt x="114545" y="74000"/>
                  </a:cubicBezTo>
                  <a:cubicBezTo>
                    <a:pt x="115227" y="75000"/>
                    <a:pt x="115227" y="77000"/>
                    <a:pt x="115227" y="78000"/>
                  </a:cubicBezTo>
                  <a:cubicBezTo>
                    <a:pt x="115227" y="79000"/>
                    <a:pt x="115909" y="80000"/>
                    <a:pt x="115909" y="80000"/>
                  </a:cubicBezTo>
                  <a:cubicBezTo>
                    <a:pt x="115909" y="80000"/>
                    <a:pt x="116590" y="79000"/>
                    <a:pt x="116590" y="80000"/>
                  </a:cubicBezTo>
                  <a:cubicBezTo>
                    <a:pt x="116590" y="81000"/>
                    <a:pt x="115909" y="79000"/>
                    <a:pt x="116590" y="81000"/>
                  </a:cubicBezTo>
                  <a:cubicBezTo>
                    <a:pt x="117954" y="83000"/>
                    <a:pt x="120000" y="83000"/>
                    <a:pt x="120000" y="83000"/>
                  </a:cubicBezTo>
                  <a:cubicBezTo>
                    <a:pt x="119318" y="87000"/>
                    <a:pt x="119318" y="87000"/>
                    <a:pt x="119318" y="87000"/>
                  </a:cubicBezTo>
                  <a:cubicBezTo>
                    <a:pt x="117954" y="88000"/>
                    <a:pt x="117954" y="88000"/>
                    <a:pt x="117954" y="88000"/>
                  </a:cubicBezTo>
                  <a:cubicBezTo>
                    <a:pt x="117954" y="88000"/>
                    <a:pt x="114545" y="88000"/>
                    <a:pt x="114545" y="90000"/>
                  </a:cubicBezTo>
                  <a:cubicBezTo>
                    <a:pt x="114545" y="91000"/>
                    <a:pt x="114545" y="95000"/>
                    <a:pt x="114545" y="95000"/>
                  </a:cubicBezTo>
                  <a:cubicBezTo>
                    <a:pt x="112500" y="98000"/>
                    <a:pt x="112500" y="98000"/>
                    <a:pt x="112500" y="98000"/>
                  </a:cubicBezTo>
                  <a:cubicBezTo>
                    <a:pt x="112500" y="98000"/>
                    <a:pt x="113863" y="102000"/>
                    <a:pt x="113863" y="103000"/>
                  </a:cubicBezTo>
                  <a:cubicBezTo>
                    <a:pt x="113863" y="104000"/>
                    <a:pt x="114545" y="104000"/>
                    <a:pt x="114545" y="104000"/>
                  </a:cubicBezTo>
                  <a:cubicBezTo>
                    <a:pt x="112500" y="105000"/>
                    <a:pt x="112500" y="105000"/>
                    <a:pt x="112500" y="105000"/>
                  </a:cubicBezTo>
                  <a:cubicBezTo>
                    <a:pt x="109772" y="105000"/>
                    <a:pt x="109772" y="105000"/>
                    <a:pt x="109772" y="105000"/>
                  </a:cubicBezTo>
                  <a:cubicBezTo>
                    <a:pt x="104318" y="103000"/>
                    <a:pt x="104318" y="103000"/>
                    <a:pt x="104318" y="103000"/>
                  </a:cubicBezTo>
                  <a:cubicBezTo>
                    <a:pt x="102954" y="106000"/>
                    <a:pt x="102954" y="106000"/>
                    <a:pt x="102954" y="106000"/>
                  </a:cubicBezTo>
                  <a:cubicBezTo>
                    <a:pt x="101590" y="106000"/>
                    <a:pt x="101590" y="106000"/>
                    <a:pt x="101590" y="106000"/>
                  </a:cubicBezTo>
                  <a:cubicBezTo>
                    <a:pt x="101590" y="106000"/>
                    <a:pt x="100909" y="108000"/>
                    <a:pt x="99545" y="109000"/>
                  </a:cubicBezTo>
                  <a:cubicBezTo>
                    <a:pt x="98863" y="110000"/>
                    <a:pt x="98181" y="111000"/>
                    <a:pt x="97500" y="111000"/>
                  </a:cubicBezTo>
                  <a:cubicBezTo>
                    <a:pt x="96136" y="112000"/>
                    <a:pt x="94772" y="110000"/>
                    <a:pt x="94772" y="110000"/>
                  </a:cubicBezTo>
                  <a:cubicBezTo>
                    <a:pt x="92727" y="109000"/>
                    <a:pt x="92727" y="109000"/>
                    <a:pt x="92727" y="109000"/>
                  </a:cubicBezTo>
                  <a:cubicBezTo>
                    <a:pt x="90681" y="105000"/>
                    <a:pt x="90681" y="105000"/>
                    <a:pt x="90681" y="105000"/>
                  </a:cubicBezTo>
                  <a:cubicBezTo>
                    <a:pt x="84545" y="99000"/>
                    <a:pt x="84545" y="99000"/>
                    <a:pt x="84545" y="99000"/>
                  </a:cubicBezTo>
                  <a:cubicBezTo>
                    <a:pt x="81136" y="97000"/>
                    <a:pt x="81136" y="97000"/>
                    <a:pt x="81136" y="97000"/>
                  </a:cubicBezTo>
                  <a:cubicBezTo>
                    <a:pt x="78409" y="96000"/>
                    <a:pt x="78409" y="96000"/>
                    <a:pt x="78409" y="96000"/>
                  </a:cubicBezTo>
                  <a:cubicBezTo>
                    <a:pt x="75000" y="96000"/>
                    <a:pt x="75000" y="96000"/>
                    <a:pt x="75000" y="96000"/>
                  </a:cubicBezTo>
                  <a:cubicBezTo>
                    <a:pt x="72272" y="94000"/>
                    <a:pt x="72272" y="94000"/>
                    <a:pt x="72272" y="94000"/>
                  </a:cubicBezTo>
                  <a:cubicBezTo>
                    <a:pt x="69545" y="94000"/>
                    <a:pt x="69545" y="94000"/>
                    <a:pt x="69545" y="94000"/>
                  </a:cubicBezTo>
                  <a:cubicBezTo>
                    <a:pt x="66136" y="92000"/>
                    <a:pt x="66136" y="92000"/>
                    <a:pt x="66136" y="92000"/>
                  </a:cubicBezTo>
                  <a:cubicBezTo>
                    <a:pt x="63409" y="95000"/>
                    <a:pt x="63409" y="95000"/>
                    <a:pt x="63409" y="95000"/>
                  </a:cubicBezTo>
                  <a:cubicBezTo>
                    <a:pt x="60000" y="98000"/>
                    <a:pt x="60000" y="98000"/>
                    <a:pt x="60000" y="98000"/>
                  </a:cubicBezTo>
                  <a:cubicBezTo>
                    <a:pt x="56590" y="103000"/>
                    <a:pt x="56590" y="103000"/>
                    <a:pt x="56590" y="103000"/>
                  </a:cubicBezTo>
                  <a:cubicBezTo>
                    <a:pt x="56590" y="103000"/>
                    <a:pt x="54545" y="106000"/>
                    <a:pt x="53181" y="107000"/>
                  </a:cubicBezTo>
                  <a:cubicBezTo>
                    <a:pt x="52500" y="106000"/>
                    <a:pt x="52500" y="106000"/>
                    <a:pt x="52500" y="106000"/>
                  </a:cubicBezTo>
                  <a:cubicBezTo>
                    <a:pt x="52500" y="106000"/>
                    <a:pt x="52500" y="103000"/>
                    <a:pt x="53181" y="101000"/>
                  </a:cubicBezTo>
                  <a:cubicBezTo>
                    <a:pt x="53863" y="100000"/>
                    <a:pt x="53863" y="98000"/>
                    <a:pt x="53863" y="97000"/>
                  </a:cubicBezTo>
                  <a:cubicBezTo>
                    <a:pt x="53863" y="96000"/>
                    <a:pt x="53863" y="94000"/>
                    <a:pt x="53181" y="92000"/>
                  </a:cubicBezTo>
                  <a:cubicBezTo>
                    <a:pt x="53181" y="90000"/>
                    <a:pt x="52500" y="87000"/>
                    <a:pt x="52500" y="87000"/>
                  </a:cubicBezTo>
                  <a:cubicBezTo>
                    <a:pt x="54545" y="85000"/>
                    <a:pt x="54545" y="85000"/>
                    <a:pt x="54545" y="85000"/>
                  </a:cubicBezTo>
                  <a:cubicBezTo>
                    <a:pt x="53181" y="80000"/>
                    <a:pt x="53181" y="80000"/>
                    <a:pt x="53181" y="80000"/>
                  </a:cubicBezTo>
                  <a:cubicBezTo>
                    <a:pt x="51818" y="80000"/>
                    <a:pt x="51818" y="80000"/>
                    <a:pt x="51818" y="80000"/>
                  </a:cubicBezTo>
                  <a:cubicBezTo>
                    <a:pt x="49772" y="80000"/>
                    <a:pt x="49772" y="80000"/>
                    <a:pt x="49772" y="80000"/>
                  </a:cubicBezTo>
                  <a:cubicBezTo>
                    <a:pt x="48409" y="83000"/>
                    <a:pt x="48409" y="83000"/>
                    <a:pt x="48409" y="83000"/>
                  </a:cubicBezTo>
                  <a:cubicBezTo>
                    <a:pt x="48409" y="83000"/>
                    <a:pt x="49090" y="85000"/>
                    <a:pt x="49090" y="86000"/>
                  </a:cubicBezTo>
                  <a:cubicBezTo>
                    <a:pt x="48409" y="87000"/>
                    <a:pt x="47045" y="87000"/>
                    <a:pt x="47045" y="87000"/>
                  </a:cubicBezTo>
                  <a:cubicBezTo>
                    <a:pt x="46363" y="88000"/>
                    <a:pt x="46363" y="91000"/>
                    <a:pt x="46363" y="91000"/>
                  </a:cubicBezTo>
                  <a:cubicBezTo>
                    <a:pt x="43636" y="87000"/>
                    <a:pt x="43636" y="87000"/>
                    <a:pt x="43636" y="87000"/>
                  </a:cubicBezTo>
                  <a:cubicBezTo>
                    <a:pt x="43636" y="87000"/>
                    <a:pt x="42272" y="87000"/>
                    <a:pt x="41590" y="86000"/>
                  </a:cubicBezTo>
                  <a:cubicBezTo>
                    <a:pt x="40909" y="86000"/>
                    <a:pt x="39545" y="86000"/>
                    <a:pt x="39545" y="86000"/>
                  </a:cubicBezTo>
                  <a:cubicBezTo>
                    <a:pt x="39545" y="86000"/>
                    <a:pt x="39545" y="86000"/>
                    <a:pt x="38863" y="86000"/>
                  </a:cubicBezTo>
                  <a:cubicBezTo>
                    <a:pt x="37500" y="86000"/>
                    <a:pt x="37500" y="86000"/>
                    <a:pt x="36818" y="84000"/>
                  </a:cubicBezTo>
                  <a:cubicBezTo>
                    <a:pt x="36136" y="82000"/>
                    <a:pt x="34090" y="77000"/>
                    <a:pt x="34090" y="77000"/>
                  </a:cubicBezTo>
                  <a:cubicBezTo>
                    <a:pt x="34090" y="77000"/>
                    <a:pt x="33409" y="75000"/>
                    <a:pt x="32727" y="75000"/>
                  </a:cubicBezTo>
                  <a:cubicBezTo>
                    <a:pt x="32727" y="75000"/>
                    <a:pt x="32045" y="77000"/>
                    <a:pt x="32045" y="77000"/>
                  </a:cubicBezTo>
                  <a:cubicBezTo>
                    <a:pt x="31363" y="77000"/>
                    <a:pt x="31363" y="75000"/>
                    <a:pt x="31363" y="74000"/>
                  </a:cubicBezTo>
                  <a:cubicBezTo>
                    <a:pt x="31363" y="73000"/>
                    <a:pt x="31363" y="72000"/>
                    <a:pt x="31363" y="70000"/>
                  </a:cubicBezTo>
                  <a:cubicBezTo>
                    <a:pt x="31363" y="68000"/>
                    <a:pt x="30681" y="66000"/>
                    <a:pt x="31363" y="66000"/>
                  </a:cubicBezTo>
                  <a:cubicBezTo>
                    <a:pt x="31363" y="66000"/>
                    <a:pt x="32045" y="67000"/>
                    <a:pt x="32727" y="67000"/>
                  </a:cubicBezTo>
                  <a:cubicBezTo>
                    <a:pt x="33409" y="67000"/>
                    <a:pt x="33409" y="65000"/>
                    <a:pt x="33409" y="65000"/>
                  </a:cubicBezTo>
                  <a:cubicBezTo>
                    <a:pt x="34090" y="65000"/>
                    <a:pt x="34772" y="66000"/>
                    <a:pt x="34772" y="66000"/>
                  </a:cubicBezTo>
                  <a:cubicBezTo>
                    <a:pt x="35454" y="66000"/>
                    <a:pt x="36136" y="66000"/>
                    <a:pt x="36136" y="66000"/>
                  </a:cubicBezTo>
                  <a:cubicBezTo>
                    <a:pt x="36818" y="65000"/>
                    <a:pt x="36818" y="65000"/>
                    <a:pt x="36818" y="64000"/>
                  </a:cubicBezTo>
                  <a:cubicBezTo>
                    <a:pt x="36818" y="63000"/>
                    <a:pt x="36136" y="62000"/>
                    <a:pt x="36136" y="62000"/>
                  </a:cubicBezTo>
                  <a:cubicBezTo>
                    <a:pt x="35454" y="62000"/>
                    <a:pt x="31363" y="65000"/>
                    <a:pt x="31363" y="65000"/>
                  </a:cubicBezTo>
                  <a:cubicBezTo>
                    <a:pt x="28636" y="65000"/>
                    <a:pt x="28636" y="65000"/>
                    <a:pt x="28636" y="65000"/>
                  </a:cubicBezTo>
                  <a:cubicBezTo>
                    <a:pt x="30000" y="63000"/>
                    <a:pt x="30000" y="63000"/>
                    <a:pt x="30000" y="63000"/>
                  </a:cubicBezTo>
                  <a:cubicBezTo>
                    <a:pt x="28636" y="61000"/>
                    <a:pt x="28636" y="61000"/>
                    <a:pt x="28636" y="61000"/>
                  </a:cubicBezTo>
                  <a:cubicBezTo>
                    <a:pt x="28636" y="59000"/>
                    <a:pt x="28636" y="59000"/>
                    <a:pt x="28636" y="59000"/>
                  </a:cubicBezTo>
                  <a:cubicBezTo>
                    <a:pt x="27272" y="58000"/>
                    <a:pt x="27272" y="58000"/>
                    <a:pt x="27272" y="58000"/>
                  </a:cubicBezTo>
                  <a:cubicBezTo>
                    <a:pt x="27954" y="56000"/>
                    <a:pt x="27954" y="56000"/>
                    <a:pt x="27954" y="56000"/>
                  </a:cubicBezTo>
                  <a:cubicBezTo>
                    <a:pt x="29318" y="56000"/>
                    <a:pt x="29318" y="56000"/>
                    <a:pt x="29318" y="56000"/>
                  </a:cubicBezTo>
                  <a:cubicBezTo>
                    <a:pt x="30681" y="55000"/>
                    <a:pt x="30681" y="55000"/>
                    <a:pt x="30681" y="55000"/>
                  </a:cubicBezTo>
                  <a:cubicBezTo>
                    <a:pt x="30681" y="51000"/>
                    <a:pt x="30681" y="51000"/>
                    <a:pt x="30681" y="51000"/>
                  </a:cubicBezTo>
                  <a:cubicBezTo>
                    <a:pt x="29318" y="52000"/>
                    <a:pt x="29318" y="52000"/>
                    <a:pt x="29318" y="52000"/>
                  </a:cubicBezTo>
                  <a:cubicBezTo>
                    <a:pt x="30000" y="54000"/>
                    <a:pt x="30000" y="54000"/>
                    <a:pt x="30000" y="54000"/>
                  </a:cubicBezTo>
                  <a:cubicBezTo>
                    <a:pt x="27272" y="54000"/>
                    <a:pt x="27272" y="54000"/>
                    <a:pt x="27272" y="54000"/>
                  </a:cubicBezTo>
                  <a:cubicBezTo>
                    <a:pt x="26590" y="52000"/>
                    <a:pt x="26590" y="52000"/>
                    <a:pt x="26590" y="52000"/>
                  </a:cubicBezTo>
                  <a:close/>
                  <a:moveTo>
                    <a:pt x="15681" y="103000"/>
                  </a:moveTo>
                  <a:cubicBezTo>
                    <a:pt x="15681" y="103000"/>
                    <a:pt x="15681" y="103000"/>
                    <a:pt x="15681" y="103000"/>
                  </a:cubicBezTo>
                  <a:cubicBezTo>
                    <a:pt x="15681" y="103000"/>
                    <a:pt x="17045" y="103000"/>
                    <a:pt x="17045" y="103000"/>
                  </a:cubicBezTo>
                  <a:cubicBezTo>
                    <a:pt x="17045" y="103000"/>
                    <a:pt x="17727" y="104000"/>
                    <a:pt x="17045" y="104000"/>
                  </a:cubicBezTo>
                  <a:cubicBezTo>
                    <a:pt x="17045" y="105000"/>
                    <a:pt x="17727" y="105000"/>
                    <a:pt x="17045" y="105000"/>
                  </a:cubicBezTo>
                  <a:cubicBezTo>
                    <a:pt x="16363" y="105000"/>
                    <a:pt x="15000" y="106000"/>
                    <a:pt x="15000" y="105000"/>
                  </a:cubicBezTo>
                  <a:cubicBezTo>
                    <a:pt x="15000" y="105000"/>
                    <a:pt x="15681" y="104000"/>
                    <a:pt x="15681" y="104000"/>
                  </a:cubicBezTo>
                  <a:cubicBezTo>
                    <a:pt x="15681" y="103000"/>
                    <a:pt x="15681" y="103000"/>
                    <a:pt x="15681" y="103000"/>
                  </a:cubicBezTo>
                  <a:close/>
                  <a:moveTo>
                    <a:pt x="43636" y="95000"/>
                  </a:moveTo>
                  <a:cubicBezTo>
                    <a:pt x="43636" y="95000"/>
                    <a:pt x="43636" y="95000"/>
                    <a:pt x="43636" y="95000"/>
                  </a:cubicBezTo>
                  <a:cubicBezTo>
                    <a:pt x="43636" y="95000"/>
                    <a:pt x="42954" y="98000"/>
                    <a:pt x="43636" y="98000"/>
                  </a:cubicBezTo>
                  <a:cubicBezTo>
                    <a:pt x="43636" y="98000"/>
                    <a:pt x="44318" y="98000"/>
                    <a:pt x="45000" y="98000"/>
                  </a:cubicBezTo>
                  <a:cubicBezTo>
                    <a:pt x="45681" y="97000"/>
                    <a:pt x="45681" y="97000"/>
                    <a:pt x="45681" y="97000"/>
                  </a:cubicBezTo>
                  <a:cubicBezTo>
                    <a:pt x="45681" y="96000"/>
                    <a:pt x="45681" y="95000"/>
                    <a:pt x="45681" y="95000"/>
                  </a:cubicBezTo>
                  <a:cubicBezTo>
                    <a:pt x="43636" y="95000"/>
                    <a:pt x="43636" y="95000"/>
                    <a:pt x="43636" y="95000"/>
                  </a:cubicBezTo>
                  <a:close/>
                  <a:moveTo>
                    <a:pt x="6136" y="91000"/>
                  </a:moveTo>
                  <a:cubicBezTo>
                    <a:pt x="6136" y="91000"/>
                    <a:pt x="6136" y="91000"/>
                    <a:pt x="6136" y="91000"/>
                  </a:cubicBezTo>
                  <a:cubicBezTo>
                    <a:pt x="5454" y="92000"/>
                    <a:pt x="5454" y="92000"/>
                    <a:pt x="5454" y="92000"/>
                  </a:cubicBezTo>
                  <a:cubicBezTo>
                    <a:pt x="5454" y="92000"/>
                    <a:pt x="4772" y="89000"/>
                    <a:pt x="4772" y="88000"/>
                  </a:cubicBezTo>
                  <a:cubicBezTo>
                    <a:pt x="4772" y="88000"/>
                    <a:pt x="3409" y="87000"/>
                    <a:pt x="3409" y="87000"/>
                  </a:cubicBezTo>
                  <a:cubicBezTo>
                    <a:pt x="3409" y="87000"/>
                    <a:pt x="2727" y="87000"/>
                    <a:pt x="2727" y="87000"/>
                  </a:cubicBezTo>
                  <a:cubicBezTo>
                    <a:pt x="2045" y="87000"/>
                    <a:pt x="2045" y="88000"/>
                    <a:pt x="2045" y="88000"/>
                  </a:cubicBezTo>
                  <a:cubicBezTo>
                    <a:pt x="1363" y="88000"/>
                    <a:pt x="1363" y="88000"/>
                    <a:pt x="1363" y="88000"/>
                  </a:cubicBezTo>
                  <a:cubicBezTo>
                    <a:pt x="1363" y="88000"/>
                    <a:pt x="681" y="88000"/>
                    <a:pt x="681" y="88000"/>
                  </a:cubicBezTo>
                  <a:cubicBezTo>
                    <a:pt x="0" y="89000"/>
                    <a:pt x="681" y="90000"/>
                    <a:pt x="681" y="90000"/>
                  </a:cubicBezTo>
                  <a:cubicBezTo>
                    <a:pt x="681" y="90000"/>
                    <a:pt x="1363" y="90000"/>
                    <a:pt x="2045" y="91000"/>
                  </a:cubicBezTo>
                  <a:cubicBezTo>
                    <a:pt x="2727" y="91000"/>
                    <a:pt x="2727" y="91000"/>
                    <a:pt x="2727" y="91000"/>
                  </a:cubicBezTo>
                  <a:cubicBezTo>
                    <a:pt x="2727" y="91000"/>
                    <a:pt x="4090" y="93000"/>
                    <a:pt x="4772" y="94000"/>
                  </a:cubicBezTo>
                  <a:cubicBezTo>
                    <a:pt x="4772" y="94000"/>
                    <a:pt x="4772" y="95000"/>
                    <a:pt x="4772" y="95000"/>
                  </a:cubicBezTo>
                  <a:cubicBezTo>
                    <a:pt x="2727" y="97000"/>
                    <a:pt x="2727" y="97000"/>
                    <a:pt x="2727" y="97000"/>
                  </a:cubicBezTo>
                  <a:cubicBezTo>
                    <a:pt x="2727" y="97000"/>
                    <a:pt x="3409" y="98000"/>
                    <a:pt x="3409" y="98000"/>
                  </a:cubicBezTo>
                  <a:cubicBezTo>
                    <a:pt x="4090" y="98000"/>
                    <a:pt x="2727" y="99000"/>
                    <a:pt x="2727" y="99000"/>
                  </a:cubicBezTo>
                  <a:cubicBezTo>
                    <a:pt x="2727" y="99000"/>
                    <a:pt x="2727" y="101000"/>
                    <a:pt x="2727" y="101000"/>
                  </a:cubicBezTo>
                  <a:cubicBezTo>
                    <a:pt x="2727" y="101000"/>
                    <a:pt x="3409" y="102000"/>
                    <a:pt x="4772" y="102000"/>
                  </a:cubicBezTo>
                  <a:cubicBezTo>
                    <a:pt x="6136" y="103000"/>
                    <a:pt x="6136" y="102000"/>
                    <a:pt x="6136" y="102000"/>
                  </a:cubicBezTo>
                  <a:cubicBezTo>
                    <a:pt x="6818" y="103000"/>
                    <a:pt x="6818" y="103000"/>
                    <a:pt x="6818" y="103000"/>
                  </a:cubicBezTo>
                  <a:cubicBezTo>
                    <a:pt x="6818" y="104000"/>
                    <a:pt x="6818" y="104000"/>
                    <a:pt x="6818" y="104000"/>
                  </a:cubicBezTo>
                  <a:cubicBezTo>
                    <a:pt x="7500" y="105000"/>
                    <a:pt x="7500" y="105000"/>
                    <a:pt x="7500" y="105000"/>
                  </a:cubicBezTo>
                  <a:cubicBezTo>
                    <a:pt x="9545" y="106000"/>
                    <a:pt x="9545" y="106000"/>
                    <a:pt x="9545" y="106000"/>
                  </a:cubicBezTo>
                  <a:cubicBezTo>
                    <a:pt x="9545" y="107000"/>
                    <a:pt x="9545" y="107000"/>
                    <a:pt x="9545" y="107000"/>
                  </a:cubicBezTo>
                  <a:cubicBezTo>
                    <a:pt x="9545" y="110000"/>
                    <a:pt x="9545" y="110000"/>
                    <a:pt x="9545" y="110000"/>
                  </a:cubicBezTo>
                  <a:cubicBezTo>
                    <a:pt x="9545" y="110000"/>
                    <a:pt x="8863" y="110000"/>
                    <a:pt x="8181" y="110000"/>
                  </a:cubicBezTo>
                  <a:cubicBezTo>
                    <a:pt x="8181" y="111000"/>
                    <a:pt x="8181" y="112000"/>
                    <a:pt x="7500" y="112000"/>
                  </a:cubicBezTo>
                  <a:cubicBezTo>
                    <a:pt x="7500" y="112000"/>
                    <a:pt x="7500" y="114000"/>
                    <a:pt x="6818" y="115000"/>
                  </a:cubicBezTo>
                  <a:cubicBezTo>
                    <a:pt x="6818" y="116000"/>
                    <a:pt x="7500" y="117000"/>
                    <a:pt x="7500" y="118000"/>
                  </a:cubicBezTo>
                  <a:cubicBezTo>
                    <a:pt x="7500" y="120000"/>
                    <a:pt x="8181" y="119000"/>
                    <a:pt x="8863" y="119000"/>
                  </a:cubicBezTo>
                  <a:cubicBezTo>
                    <a:pt x="8863" y="119000"/>
                    <a:pt x="9545" y="118000"/>
                    <a:pt x="9545" y="118000"/>
                  </a:cubicBezTo>
                  <a:cubicBezTo>
                    <a:pt x="10227" y="118000"/>
                    <a:pt x="10909" y="116000"/>
                    <a:pt x="11590" y="115000"/>
                  </a:cubicBezTo>
                  <a:cubicBezTo>
                    <a:pt x="11590" y="114000"/>
                    <a:pt x="11590" y="113000"/>
                    <a:pt x="11590" y="113000"/>
                  </a:cubicBezTo>
                  <a:cubicBezTo>
                    <a:pt x="10909" y="112000"/>
                    <a:pt x="11590" y="110000"/>
                    <a:pt x="11590" y="110000"/>
                  </a:cubicBezTo>
                  <a:cubicBezTo>
                    <a:pt x="11590" y="109000"/>
                    <a:pt x="11590" y="109000"/>
                    <a:pt x="11590" y="109000"/>
                  </a:cubicBezTo>
                  <a:cubicBezTo>
                    <a:pt x="10909" y="105000"/>
                    <a:pt x="10909" y="105000"/>
                    <a:pt x="10909" y="105000"/>
                  </a:cubicBezTo>
                  <a:cubicBezTo>
                    <a:pt x="12272" y="101000"/>
                    <a:pt x="12272" y="101000"/>
                    <a:pt x="12272" y="101000"/>
                  </a:cubicBezTo>
                  <a:cubicBezTo>
                    <a:pt x="13636" y="101000"/>
                    <a:pt x="13636" y="101000"/>
                    <a:pt x="13636" y="101000"/>
                  </a:cubicBezTo>
                  <a:cubicBezTo>
                    <a:pt x="15681" y="99000"/>
                    <a:pt x="15681" y="99000"/>
                    <a:pt x="15681" y="99000"/>
                  </a:cubicBezTo>
                  <a:cubicBezTo>
                    <a:pt x="15681" y="99000"/>
                    <a:pt x="15681" y="99000"/>
                    <a:pt x="15681" y="99000"/>
                  </a:cubicBezTo>
                  <a:cubicBezTo>
                    <a:pt x="15681" y="99000"/>
                    <a:pt x="16363" y="99000"/>
                    <a:pt x="17045" y="98000"/>
                  </a:cubicBezTo>
                  <a:cubicBezTo>
                    <a:pt x="18409" y="98000"/>
                    <a:pt x="17727" y="99000"/>
                    <a:pt x="18409" y="99000"/>
                  </a:cubicBezTo>
                  <a:cubicBezTo>
                    <a:pt x="18409" y="100000"/>
                    <a:pt x="19090" y="100000"/>
                    <a:pt x="19772" y="100000"/>
                  </a:cubicBezTo>
                  <a:cubicBezTo>
                    <a:pt x="19772" y="100000"/>
                    <a:pt x="20454" y="98000"/>
                    <a:pt x="20454" y="98000"/>
                  </a:cubicBezTo>
                  <a:cubicBezTo>
                    <a:pt x="20454" y="97000"/>
                    <a:pt x="19772" y="97000"/>
                    <a:pt x="19772" y="97000"/>
                  </a:cubicBezTo>
                  <a:cubicBezTo>
                    <a:pt x="19090" y="95000"/>
                    <a:pt x="19090" y="95000"/>
                    <a:pt x="19090" y="95000"/>
                  </a:cubicBezTo>
                  <a:cubicBezTo>
                    <a:pt x="21136" y="94000"/>
                    <a:pt x="21136" y="94000"/>
                    <a:pt x="21136" y="94000"/>
                  </a:cubicBezTo>
                  <a:cubicBezTo>
                    <a:pt x="21818" y="93000"/>
                    <a:pt x="21818" y="93000"/>
                    <a:pt x="21818" y="93000"/>
                  </a:cubicBezTo>
                  <a:cubicBezTo>
                    <a:pt x="23181" y="91000"/>
                    <a:pt x="23181" y="91000"/>
                    <a:pt x="23181" y="91000"/>
                  </a:cubicBezTo>
                  <a:cubicBezTo>
                    <a:pt x="22500" y="89000"/>
                    <a:pt x="22500" y="89000"/>
                    <a:pt x="22500" y="89000"/>
                  </a:cubicBezTo>
                  <a:cubicBezTo>
                    <a:pt x="22500" y="89000"/>
                    <a:pt x="23863" y="89000"/>
                    <a:pt x="24545" y="89000"/>
                  </a:cubicBezTo>
                  <a:cubicBezTo>
                    <a:pt x="24545" y="89000"/>
                    <a:pt x="24545" y="88000"/>
                    <a:pt x="24545" y="88000"/>
                  </a:cubicBezTo>
                  <a:cubicBezTo>
                    <a:pt x="23863" y="86000"/>
                    <a:pt x="23863" y="86000"/>
                    <a:pt x="23863" y="86000"/>
                  </a:cubicBezTo>
                  <a:cubicBezTo>
                    <a:pt x="23863" y="86000"/>
                    <a:pt x="25227" y="86000"/>
                    <a:pt x="25909" y="85000"/>
                  </a:cubicBezTo>
                  <a:cubicBezTo>
                    <a:pt x="25909" y="85000"/>
                    <a:pt x="25227" y="84000"/>
                    <a:pt x="25227" y="84000"/>
                  </a:cubicBezTo>
                  <a:cubicBezTo>
                    <a:pt x="25227" y="83000"/>
                    <a:pt x="25909" y="82000"/>
                    <a:pt x="25909" y="82000"/>
                  </a:cubicBezTo>
                  <a:cubicBezTo>
                    <a:pt x="25909" y="82000"/>
                    <a:pt x="27272" y="84000"/>
                    <a:pt x="27954" y="84000"/>
                  </a:cubicBezTo>
                  <a:cubicBezTo>
                    <a:pt x="28636" y="85000"/>
                    <a:pt x="28636" y="84000"/>
                    <a:pt x="29318" y="84000"/>
                  </a:cubicBezTo>
                  <a:cubicBezTo>
                    <a:pt x="29318" y="83000"/>
                    <a:pt x="28636" y="82000"/>
                    <a:pt x="28636" y="82000"/>
                  </a:cubicBezTo>
                  <a:cubicBezTo>
                    <a:pt x="27954" y="81000"/>
                    <a:pt x="27954" y="81000"/>
                    <a:pt x="27954" y="81000"/>
                  </a:cubicBezTo>
                  <a:cubicBezTo>
                    <a:pt x="25909" y="80000"/>
                    <a:pt x="25909" y="80000"/>
                    <a:pt x="25909" y="80000"/>
                  </a:cubicBezTo>
                  <a:cubicBezTo>
                    <a:pt x="23181" y="78000"/>
                    <a:pt x="23181" y="78000"/>
                    <a:pt x="23181" y="78000"/>
                  </a:cubicBezTo>
                  <a:cubicBezTo>
                    <a:pt x="23181" y="78000"/>
                    <a:pt x="21136" y="78000"/>
                    <a:pt x="21136" y="77000"/>
                  </a:cubicBezTo>
                  <a:cubicBezTo>
                    <a:pt x="20454" y="77000"/>
                    <a:pt x="20454" y="77000"/>
                    <a:pt x="20454" y="77000"/>
                  </a:cubicBezTo>
                  <a:cubicBezTo>
                    <a:pt x="20454" y="77000"/>
                    <a:pt x="19090" y="77000"/>
                    <a:pt x="19090" y="77000"/>
                  </a:cubicBezTo>
                  <a:cubicBezTo>
                    <a:pt x="18409" y="77000"/>
                    <a:pt x="17727" y="78000"/>
                    <a:pt x="17045" y="79000"/>
                  </a:cubicBezTo>
                  <a:cubicBezTo>
                    <a:pt x="17045" y="79000"/>
                    <a:pt x="16363" y="80000"/>
                    <a:pt x="15681" y="80000"/>
                  </a:cubicBezTo>
                  <a:cubicBezTo>
                    <a:pt x="15681" y="80000"/>
                    <a:pt x="15000" y="78000"/>
                    <a:pt x="15000" y="78000"/>
                  </a:cubicBezTo>
                  <a:cubicBezTo>
                    <a:pt x="13636" y="78000"/>
                    <a:pt x="13636" y="78000"/>
                    <a:pt x="13636" y="78000"/>
                  </a:cubicBezTo>
                  <a:cubicBezTo>
                    <a:pt x="13636" y="78000"/>
                    <a:pt x="12954" y="80000"/>
                    <a:pt x="12954" y="81000"/>
                  </a:cubicBezTo>
                  <a:cubicBezTo>
                    <a:pt x="12954" y="81000"/>
                    <a:pt x="11590" y="81000"/>
                    <a:pt x="10909" y="81000"/>
                  </a:cubicBezTo>
                  <a:cubicBezTo>
                    <a:pt x="10227" y="82000"/>
                    <a:pt x="9545" y="82000"/>
                    <a:pt x="8863" y="83000"/>
                  </a:cubicBezTo>
                  <a:cubicBezTo>
                    <a:pt x="8181" y="83000"/>
                    <a:pt x="9545" y="84000"/>
                    <a:pt x="9545" y="84000"/>
                  </a:cubicBezTo>
                  <a:cubicBezTo>
                    <a:pt x="9545" y="86000"/>
                    <a:pt x="9545" y="86000"/>
                    <a:pt x="9545" y="86000"/>
                  </a:cubicBezTo>
                  <a:cubicBezTo>
                    <a:pt x="8181" y="86000"/>
                    <a:pt x="8181" y="86000"/>
                    <a:pt x="8181" y="86000"/>
                  </a:cubicBezTo>
                  <a:cubicBezTo>
                    <a:pt x="7500" y="85000"/>
                    <a:pt x="7500" y="85000"/>
                    <a:pt x="7500" y="85000"/>
                  </a:cubicBezTo>
                  <a:cubicBezTo>
                    <a:pt x="6136" y="87000"/>
                    <a:pt x="6136" y="87000"/>
                    <a:pt x="6136" y="87000"/>
                  </a:cubicBezTo>
                  <a:cubicBezTo>
                    <a:pt x="5454" y="89000"/>
                    <a:pt x="5454" y="89000"/>
                    <a:pt x="5454" y="89000"/>
                  </a:cubicBezTo>
                  <a:cubicBezTo>
                    <a:pt x="5454" y="89000"/>
                    <a:pt x="6136" y="91000"/>
                    <a:pt x="6136" y="91000"/>
                  </a:cubicBezTo>
                  <a:close/>
                  <a:moveTo>
                    <a:pt x="23863" y="76000"/>
                  </a:moveTo>
                  <a:cubicBezTo>
                    <a:pt x="23863" y="76000"/>
                    <a:pt x="23863" y="76000"/>
                    <a:pt x="23863" y="76000"/>
                  </a:cubicBezTo>
                  <a:cubicBezTo>
                    <a:pt x="24545" y="77000"/>
                    <a:pt x="24545" y="77000"/>
                    <a:pt x="24545" y="77000"/>
                  </a:cubicBezTo>
                  <a:cubicBezTo>
                    <a:pt x="24545" y="77000"/>
                    <a:pt x="25227" y="78000"/>
                    <a:pt x="26590" y="78000"/>
                  </a:cubicBezTo>
                  <a:cubicBezTo>
                    <a:pt x="28636" y="78000"/>
                    <a:pt x="28636" y="80000"/>
                    <a:pt x="30000" y="78000"/>
                  </a:cubicBezTo>
                  <a:cubicBezTo>
                    <a:pt x="30000" y="77000"/>
                    <a:pt x="30000" y="77000"/>
                    <a:pt x="29318" y="76000"/>
                  </a:cubicBezTo>
                  <a:cubicBezTo>
                    <a:pt x="29318" y="75000"/>
                    <a:pt x="28636" y="75000"/>
                    <a:pt x="28636" y="74000"/>
                  </a:cubicBezTo>
                  <a:cubicBezTo>
                    <a:pt x="28636" y="74000"/>
                    <a:pt x="28636" y="74000"/>
                    <a:pt x="27272" y="72000"/>
                  </a:cubicBezTo>
                  <a:cubicBezTo>
                    <a:pt x="26590" y="71000"/>
                    <a:pt x="26590" y="72000"/>
                    <a:pt x="25909" y="72000"/>
                  </a:cubicBezTo>
                  <a:cubicBezTo>
                    <a:pt x="25227" y="72000"/>
                    <a:pt x="24545" y="72000"/>
                    <a:pt x="23863" y="72000"/>
                  </a:cubicBezTo>
                  <a:cubicBezTo>
                    <a:pt x="23181" y="73000"/>
                    <a:pt x="24545" y="74000"/>
                    <a:pt x="24545" y="75000"/>
                  </a:cubicBezTo>
                  <a:cubicBezTo>
                    <a:pt x="24545" y="75000"/>
                    <a:pt x="23863" y="76000"/>
                    <a:pt x="23863" y="76000"/>
                  </a:cubicBezTo>
                  <a:close/>
                  <a:moveTo>
                    <a:pt x="15000" y="57000"/>
                  </a:moveTo>
                  <a:cubicBezTo>
                    <a:pt x="15000" y="57000"/>
                    <a:pt x="15000" y="57000"/>
                    <a:pt x="15000" y="57000"/>
                  </a:cubicBezTo>
                  <a:cubicBezTo>
                    <a:pt x="15000" y="56000"/>
                    <a:pt x="16363" y="56000"/>
                    <a:pt x="17045" y="57000"/>
                  </a:cubicBezTo>
                  <a:cubicBezTo>
                    <a:pt x="17045" y="57000"/>
                    <a:pt x="18409" y="58000"/>
                    <a:pt x="18409" y="59000"/>
                  </a:cubicBezTo>
                  <a:cubicBezTo>
                    <a:pt x="18409" y="59000"/>
                    <a:pt x="19090" y="59000"/>
                    <a:pt x="19090" y="60000"/>
                  </a:cubicBezTo>
                  <a:cubicBezTo>
                    <a:pt x="19090" y="60000"/>
                    <a:pt x="19772" y="61000"/>
                    <a:pt x="19772" y="62000"/>
                  </a:cubicBezTo>
                  <a:cubicBezTo>
                    <a:pt x="20454" y="63000"/>
                    <a:pt x="21136" y="64000"/>
                    <a:pt x="21136" y="64000"/>
                  </a:cubicBezTo>
                  <a:cubicBezTo>
                    <a:pt x="21136" y="64000"/>
                    <a:pt x="21818" y="65000"/>
                    <a:pt x="21136" y="65000"/>
                  </a:cubicBezTo>
                  <a:cubicBezTo>
                    <a:pt x="20454" y="65000"/>
                    <a:pt x="18409" y="65000"/>
                    <a:pt x="18409" y="65000"/>
                  </a:cubicBezTo>
                  <a:cubicBezTo>
                    <a:pt x="18409" y="65000"/>
                    <a:pt x="17727" y="66000"/>
                    <a:pt x="17727" y="66000"/>
                  </a:cubicBezTo>
                  <a:cubicBezTo>
                    <a:pt x="17727" y="67000"/>
                    <a:pt x="19090" y="68000"/>
                    <a:pt x="18409" y="68000"/>
                  </a:cubicBezTo>
                  <a:cubicBezTo>
                    <a:pt x="17727" y="69000"/>
                    <a:pt x="17727" y="69000"/>
                    <a:pt x="17045" y="69000"/>
                  </a:cubicBezTo>
                  <a:cubicBezTo>
                    <a:pt x="16363" y="68000"/>
                    <a:pt x="15681" y="66000"/>
                    <a:pt x="15681" y="66000"/>
                  </a:cubicBezTo>
                  <a:cubicBezTo>
                    <a:pt x="15000" y="67000"/>
                    <a:pt x="15000" y="70000"/>
                    <a:pt x="15000" y="70000"/>
                  </a:cubicBezTo>
                  <a:cubicBezTo>
                    <a:pt x="15000" y="71000"/>
                    <a:pt x="15681" y="72000"/>
                    <a:pt x="15000" y="73000"/>
                  </a:cubicBezTo>
                  <a:cubicBezTo>
                    <a:pt x="15000" y="73000"/>
                    <a:pt x="12954" y="74000"/>
                    <a:pt x="12954" y="74000"/>
                  </a:cubicBezTo>
                  <a:cubicBezTo>
                    <a:pt x="12954" y="74000"/>
                    <a:pt x="12272" y="74000"/>
                    <a:pt x="12272" y="74000"/>
                  </a:cubicBezTo>
                  <a:cubicBezTo>
                    <a:pt x="11590" y="74000"/>
                    <a:pt x="10227" y="72000"/>
                    <a:pt x="9545" y="71000"/>
                  </a:cubicBezTo>
                  <a:cubicBezTo>
                    <a:pt x="9545" y="70000"/>
                    <a:pt x="9545" y="68000"/>
                    <a:pt x="9545" y="68000"/>
                  </a:cubicBezTo>
                  <a:cubicBezTo>
                    <a:pt x="8863" y="67000"/>
                    <a:pt x="8181" y="66000"/>
                    <a:pt x="8181" y="66000"/>
                  </a:cubicBezTo>
                  <a:cubicBezTo>
                    <a:pt x="8181" y="66000"/>
                    <a:pt x="8863" y="65000"/>
                    <a:pt x="7500" y="66000"/>
                  </a:cubicBezTo>
                  <a:cubicBezTo>
                    <a:pt x="5454" y="66000"/>
                    <a:pt x="6136" y="67000"/>
                    <a:pt x="5454" y="67000"/>
                  </a:cubicBezTo>
                  <a:cubicBezTo>
                    <a:pt x="4772" y="66000"/>
                    <a:pt x="4772" y="65000"/>
                    <a:pt x="3409" y="65000"/>
                  </a:cubicBezTo>
                  <a:cubicBezTo>
                    <a:pt x="2727" y="65000"/>
                    <a:pt x="2045" y="64000"/>
                    <a:pt x="2045" y="64000"/>
                  </a:cubicBezTo>
                  <a:cubicBezTo>
                    <a:pt x="2045" y="64000"/>
                    <a:pt x="4090" y="62000"/>
                    <a:pt x="4772" y="62000"/>
                  </a:cubicBezTo>
                  <a:cubicBezTo>
                    <a:pt x="5454" y="62000"/>
                    <a:pt x="4772" y="62000"/>
                    <a:pt x="6136" y="62000"/>
                  </a:cubicBezTo>
                  <a:cubicBezTo>
                    <a:pt x="8181" y="61000"/>
                    <a:pt x="8863" y="63000"/>
                    <a:pt x="8863" y="61000"/>
                  </a:cubicBezTo>
                  <a:cubicBezTo>
                    <a:pt x="9545" y="59000"/>
                    <a:pt x="9545" y="58000"/>
                    <a:pt x="10227" y="57000"/>
                  </a:cubicBezTo>
                  <a:cubicBezTo>
                    <a:pt x="10227" y="56000"/>
                    <a:pt x="10909" y="54000"/>
                    <a:pt x="10909" y="54000"/>
                  </a:cubicBezTo>
                  <a:cubicBezTo>
                    <a:pt x="10909" y="53000"/>
                    <a:pt x="12954" y="53000"/>
                    <a:pt x="12954" y="53000"/>
                  </a:cubicBezTo>
                  <a:cubicBezTo>
                    <a:pt x="13636" y="56000"/>
                    <a:pt x="13636" y="56000"/>
                    <a:pt x="13636" y="56000"/>
                  </a:cubicBezTo>
                  <a:cubicBezTo>
                    <a:pt x="13636" y="56000"/>
                    <a:pt x="13636" y="57000"/>
                    <a:pt x="14318" y="57000"/>
                  </a:cubicBezTo>
                  <a:cubicBezTo>
                    <a:pt x="15000" y="57000"/>
                    <a:pt x="15000" y="57000"/>
                    <a:pt x="15000" y="57000"/>
                  </a:cubicBezTo>
                  <a:close/>
                  <a:moveTo>
                    <a:pt x="24545" y="52000"/>
                  </a:moveTo>
                  <a:cubicBezTo>
                    <a:pt x="24545" y="52000"/>
                    <a:pt x="24545" y="52000"/>
                    <a:pt x="24545" y="52000"/>
                  </a:cubicBezTo>
                  <a:cubicBezTo>
                    <a:pt x="23863" y="53000"/>
                    <a:pt x="23863" y="53000"/>
                    <a:pt x="23863" y="53000"/>
                  </a:cubicBezTo>
                  <a:cubicBezTo>
                    <a:pt x="21136" y="53000"/>
                    <a:pt x="21136" y="53000"/>
                    <a:pt x="21136" y="53000"/>
                  </a:cubicBezTo>
                  <a:cubicBezTo>
                    <a:pt x="21136" y="55000"/>
                    <a:pt x="21136" y="55000"/>
                    <a:pt x="21136" y="55000"/>
                  </a:cubicBezTo>
                  <a:cubicBezTo>
                    <a:pt x="22500" y="57000"/>
                    <a:pt x="22500" y="57000"/>
                    <a:pt x="22500" y="57000"/>
                  </a:cubicBezTo>
                  <a:cubicBezTo>
                    <a:pt x="22500" y="57000"/>
                    <a:pt x="23181" y="56000"/>
                    <a:pt x="23863" y="56000"/>
                  </a:cubicBezTo>
                  <a:cubicBezTo>
                    <a:pt x="24545" y="56000"/>
                    <a:pt x="25909" y="56000"/>
                    <a:pt x="25909" y="56000"/>
                  </a:cubicBezTo>
                  <a:cubicBezTo>
                    <a:pt x="26590" y="55000"/>
                    <a:pt x="26590" y="55000"/>
                    <a:pt x="26590" y="55000"/>
                  </a:cubicBezTo>
                  <a:cubicBezTo>
                    <a:pt x="25909" y="52000"/>
                    <a:pt x="25909" y="52000"/>
                    <a:pt x="25909" y="52000"/>
                  </a:cubicBezTo>
                  <a:lnTo>
                    <a:pt x="24545" y="5200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 cmpd="sng">
              <a:solidFill>
                <a:schemeClr val="tx1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defTabSz="457178"/>
              <a:endParaRPr kern="0">
                <a:solidFill>
                  <a:srgbClr val="7F7F7F"/>
                </a:solidFill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31" name="Shape 2038">
              <a:extLst>
                <a:ext uri="{FF2B5EF4-FFF2-40B4-BE49-F238E27FC236}">
                  <a16:creationId xmlns:a16="http://schemas.microsoft.com/office/drawing/2014/main" id="{52107869-97A4-48B8-9C5C-15EEF72D421B}"/>
                </a:ext>
              </a:extLst>
            </p:cNvPr>
            <p:cNvSpPr/>
            <p:nvPr/>
          </p:nvSpPr>
          <p:spPr>
            <a:xfrm>
              <a:off x="6144085" y="3377866"/>
              <a:ext cx="556312" cy="405923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3442" y="24782"/>
                  </a:moveTo>
                  <a:cubicBezTo>
                    <a:pt x="3442" y="23478"/>
                    <a:pt x="3442" y="23478"/>
                    <a:pt x="3442" y="23478"/>
                  </a:cubicBezTo>
                  <a:cubicBezTo>
                    <a:pt x="3442" y="23478"/>
                    <a:pt x="3442" y="23478"/>
                    <a:pt x="3442" y="23478"/>
                  </a:cubicBezTo>
                  <a:cubicBezTo>
                    <a:pt x="6885" y="22173"/>
                    <a:pt x="9836" y="24782"/>
                    <a:pt x="11311" y="24782"/>
                  </a:cubicBezTo>
                  <a:cubicBezTo>
                    <a:pt x="14262" y="25434"/>
                    <a:pt x="7868" y="30000"/>
                    <a:pt x="8852" y="30000"/>
                  </a:cubicBezTo>
                  <a:cubicBezTo>
                    <a:pt x="9836" y="29347"/>
                    <a:pt x="8852" y="33260"/>
                    <a:pt x="10327" y="33913"/>
                  </a:cubicBezTo>
                  <a:cubicBezTo>
                    <a:pt x="12786" y="34565"/>
                    <a:pt x="14754" y="31956"/>
                    <a:pt x="17704" y="31956"/>
                  </a:cubicBezTo>
                  <a:cubicBezTo>
                    <a:pt x="20163" y="31304"/>
                    <a:pt x="23114" y="33260"/>
                    <a:pt x="24098" y="31956"/>
                  </a:cubicBezTo>
                  <a:cubicBezTo>
                    <a:pt x="26065" y="28695"/>
                    <a:pt x="33934" y="35217"/>
                    <a:pt x="37868" y="31956"/>
                  </a:cubicBezTo>
                  <a:cubicBezTo>
                    <a:pt x="40327" y="29347"/>
                    <a:pt x="50163" y="28043"/>
                    <a:pt x="53606" y="28043"/>
                  </a:cubicBezTo>
                  <a:cubicBezTo>
                    <a:pt x="62459" y="27391"/>
                    <a:pt x="62950" y="27391"/>
                    <a:pt x="66885" y="24130"/>
                  </a:cubicBezTo>
                  <a:cubicBezTo>
                    <a:pt x="66885" y="24130"/>
                    <a:pt x="69344" y="16956"/>
                    <a:pt x="70819" y="13695"/>
                  </a:cubicBezTo>
                  <a:cubicBezTo>
                    <a:pt x="71803" y="11086"/>
                    <a:pt x="74754" y="9782"/>
                    <a:pt x="77704" y="7173"/>
                  </a:cubicBezTo>
                  <a:cubicBezTo>
                    <a:pt x="80163" y="4565"/>
                    <a:pt x="86557" y="1956"/>
                    <a:pt x="88032" y="1304"/>
                  </a:cubicBezTo>
                  <a:cubicBezTo>
                    <a:pt x="89508" y="1304"/>
                    <a:pt x="99836" y="1956"/>
                    <a:pt x="99836" y="1956"/>
                  </a:cubicBezTo>
                  <a:cubicBezTo>
                    <a:pt x="105245" y="0"/>
                    <a:pt x="105245" y="0"/>
                    <a:pt x="105245" y="0"/>
                  </a:cubicBezTo>
                  <a:cubicBezTo>
                    <a:pt x="105245" y="0"/>
                    <a:pt x="106229" y="5217"/>
                    <a:pt x="107704" y="5869"/>
                  </a:cubicBezTo>
                  <a:cubicBezTo>
                    <a:pt x="112131" y="6521"/>
                    <a:pt x="115573" y="6521"/>
                    <a:pt x="117049" y="5217"/>
                  </a:cubicBezTo>
                  <a:cubicBezTo>
                    <a:pt x="117540" y="5217"/>
                    <a:pt x="117540" y="6521"/>
                    <a:pt x="118032" y="7173"/>
                  </a:cubicBezTo>
                  <a:cubicBezTo>
                    <a:pt x="118524" y="8478"/>
                    <a:pt x="119016" y="11086"/>
                    <a:pt x="119016" y="11086"/>
                  </a:cubicBezTo>
                  <a:cubicBezTo>
                    <a:pt x="118524" y="14347"/>
                    <a:pt x="118524" y="14347"/>
                    <a:pt x="118524" y="14347"/>
                  </a:cubicBezTo>
                  <a:cubicBezTo>
                    <a:pt x="118032" y="15000"/>
                    <a:pt x="118032" y="15000"/>
                    <a:pt x="118032" y="15000"/>
                  </a:cubicBezTo>
                  <a:cubicBezTo>
                    <a:pt x="115573" y="16956"/>
                    <a:pt x="115573" y="16956"/>
                    <a:pt x="115573" y="16956"/>
                  </a:cubicBezTo>
                  <a:cubicBezTo>
                    <a:pt x="115573" y="16956"/>
                    <a:pt x="114590" y="16956"/>
                    <a:pt x="114098" y="17608"/>
                  </a:cubicBezTo>
                  <a:cubicBezTo>
                    <a:pt x="113606" y="17608"/>
                    <a:pt x="112622" y="18260"/>
                    <a:pt x="112622" y="18260"/>
                  </a:cubicBezTo>
                  <a:cubicBezTo>
                    <a:pt x="112622" y="18260"/>
                    <a:pt x="111639" y="19565"/>
                    <a:pt x="111639" y="20217"/>
                  </a:cubicBezTo>
                  <a:cubicBezTo>
                    <a:pt x="111147" y="21521"/>
                    <a:pt x="110655" y="23478"/>
                    <a:pt x="110655" y="23478"/>
                  </a:cubicBezTo>
                  <a:cubicBezTo>
                    <a:pt x="109672" y="26739"/>
                    <a:pt x="109672" y="26739"/>
                    <a:pt x="109672" y="26739"/>
                  </a:cubicBezTo>
                  <a:cubicBezTo>
                    <a:pt x="109672" y="31304"/>
                    <a:pt x="109672" y="31304"/>
                    <a:pt x="109672" y="31304"/>
                  </a:cubicBezTo>
                  <a:cubicBezTo>
                    <a:pt x="110655" y="36521"/>
                    <a:pt x="110655" y="36521"/>
                    <a:pt x="110655" y="36521"/>
                  </a:cubicBezTo>
                  <a:cubicBezTo>
                    <a:pt x="111639" y="42391"/>
                    <a:pt x="111639" y="42391"/>
                    <a:pt x="111639" y="42391"/>
                  </a:cubicBezTo>
                  <a:cubicBezTo>
                    <a:pt x="111639" y="42391"/>
                    <a:pt x="110163" y="44347"/>
                    <a:pt x="109672" y="44347"/>
                  </a:cubicBezTo>
                  <a:cubicBezTo>
                    <a:pt x="109672" y="44347"/>
                    <a:pt x="109180" y="45000"/>
                    <a:pt x="109180" y="45000"/>
                  </a:cubicBezTo>
                  <a:cubicBezTo>
                    <a:pt x="109180" y="46304"/>
                    <a:pt x="109180" y="46304"/>
                    <a:pt x="109180" y="46304"/>
                  </a:cubicBezTo>
                  <a:cubicBezTo>
                    <a:pt x="108688" y="48260"/>
                    <a:pt x="108688" y="48260"/>
                    <a:pt x="108688" y="48260"/>
                  </a:cubicBezTo>
                  <a:cubicBezTo>
                    <a:pt x="108196" y="49565"/>
                    <a:pt x="108196" y="49565"/>
                    <a:pt x="108196" y="49565"/>
                  </a:cubicBezTo>
                  <a:cubicBezTo>
                    <a:pt x="108196" y="49565"/>
                    <a:pt x="107704" y="50869"/>
                    <a:pt x="107213" y="50869"/>
                  </a:cubicBezTo>
                  <a:cubicBezTo>
                    <a:pt x="106721" y="51521"/>
                    <a:pt x="105737" y="52826"/>
                    <a:pt x="105737" y="52826"/>
                  </a:cubicBezTo>
                  <a:cubicBezTo>
                    <a:pt x="106229" y="54130"/>
                    <a:pt x="106229" y="54130"/>
                    <a:pt x="106229" y="54130"/>
                  </a:cubicBezTo>
                  <a:cubicBezTo>
                    <a:pt x="111639" y="55434"/>
                    <a:pt x="111639" y="55434"/>
                    <a:pt x="111639" y="55434"/>
                  </a:cubicBezTo>
                  <a:cubicBezTo>
                    <a:pt x="111639" y="56739"/>
                    <a:pt x="111639" y="56739"/>
                    <a:pt x="111639" y="56739"/>
                  </a:cubicBezTo>
                  <a:cubicBezTo>
                    <a:pt x="114098" y="60000"/>
                    <a:pt x="114098" y="60000"/>
                    <a:pt x="114098" y="60000"/>
                  </a:cubicBezTo>
                  <a:cubicBezTo>
                    <a:pt x="115573" y="63260"/>
                    <a:pt x="115573" y="63260"/>
                    <a:pt x="115573" y="63260"/>
                  </a:cubicBezTo>
                  <a:cubicBezTo>
                    <a:pt x="118032" y="64565"/>
                    <a:pt x="118032" y="64565"/>
                    <a:pt x="118032" y="64565"/>
                  </a:cubicBezTo>
                  <a:cubicBezTo>
                    <a:pt x="118032" y="64565"/>
                    <a:pt x="120000" y="66521"/>
                    <a:pt x="120000" y="66521"/>
                  </a:cubicBezTo>
                  <a:cubicBezTo>
                    <a:pt x="119508" y="67173"/>
                    <a:pt x="117049" y="68478"/>
                    <a:pt x="117049" y="68478"/>
                  </a:cubicBezTo>
                  <a:cubicBezTo>
                    <a:pt x="115573" y="69782"/>
                    <a:pt x="115573" y="69782"/>
                    <a:pt x="115573" y="69782"/>
                  </a:cubicBezTo>
                  <a:cubicBezTo>
                    <a:pt x="115573" y="69782"/>
                    <a:pt x="114590" y="69782"/>
                    <a:pt x="113606" y="70434"/>
                  </a:cubicBezTo>
                  <a:cubicBezTo>
                    <a:pt x="113114" y="71086"/>
                    <a:pt x="110163" y="73043"/>
                    <a:pt x="110163" y="73043"/>
                  </a:cubicBezTo>
                  <a:cubicBezTo>
                    <a:pt x="106229" y="69782"/>
                    <a:pt x="106229" y="69782"/>
                    <a:pt x="106229" y="69782"/>
                  </a:cubicBezTo>
                  <a:cubicBezTo>
                    <a:pt x="103770" y="69130"/>
                    <a:pt x="103770" y="69130"/>
                    <a:pt x="103770" y="69130"/>
                  </a:cubicBezTo>
                  <a:cubicBezTo>
                    <a:pt x="102786" y="71086"/>
                    <a:pt x="102786" y="71086"/>
                    <a:pt x="102786" y="71086"/>
                  </a:cubicBezTo>
                  <a:cubicBezTo>
                    <a:pt x="100327" y="71739"/>
                    <a:pt x="100327" y="71739"/>
                    <a:pt x="100327" y="71739"/>
                  </a:cubicBezTo>
                  <a:cubicBezTo>
                    <a:pt x="98852" y="75000"/>
                    <a:pt x="98852" y="75000"/>
                    <a:pt x="98852" y="75000"/>
                  </a:cubicBezTo>
                  <a:cubicBezTo>
                    <a:pt x="98852" y="75000"/>
                    <a:pt x="95409" y="76304"/>
                    <a:pt x="94426" y="76956"/>
                  </a:cubicBezTo>
                  <a:cubicBezTo>
                    <a:pt x="93934" y="77608"/>
                    <a:pt x="91967" y="79565"/>
                    <a:pt x="91967" y="79565"/>
                  </a:cubicBezTo>
                  <a:cubicBezTo>
                    <a:pt x="92459" y="82173"/>
                    <a:pt x="92459" y="82173"/>
                    <a:pt x="92459" y="82173"/>
                  </a:cubicBezTo>
                  <a:cubicBezTo>
                    <a:pt x="90491" y="84130"/>
                    <a:pt x="90491" y="84130"/>
                    <a:pt x="90491" y="84130"/>
                  </a:cubicBezTo>
                  <a:cubicBezTo>
                    <a:pt x="90491" y="84130"/>
                    <a:pt x="89016" y="84782"/>
                    <a:pt x="88524" y="86086"/>
                  </a:cubicBezTo>
                  <a:cubicBezTo>
                    <a:pt x="88524" y="87391"/>
                    <a:pt x="89016" y="88043"/>
                    <a:pt x="89016" y="88043"/>
                  </a:cubicBezTo>
                  <a:cubicBezTo>
                    <a:pt x="88032" y="88043"/>
                    <a:pt x="86557" y="88695"/>
                    <a:pt x="86065" y="89347"/>
                  </a:cubicBezTo>
                  <a:cubicBezTo>
                    <a:pt x="85573" y="89347"/>
                    <a:pt x="85573" y="90652"/>
                    <a:pt x="86065" y="91956"/>
                  </a:cubicBezTo>
                  <a:cubicBezTo>
                    <a:pt x="86065" y="92608"/>
                    <a:pt x="87049" y="93913"/>
                    <a:pt x="88032" y="95869"/>
                  </a:cubicBezTo>
                  <a:cubicBezTo>
                    <a:pt x="88524" y="97826"/>
                    <a:pt x="89016" y="97826"/>
                    <a:pt x="89016" y="98478"/>
                  </a:cubicBezTo>
                  <a:cubicBezTo>
                    <a:pt x="89016" y="99130"/>
                    <a:pt x="88524" y="101086"/>
                    <a:pt x="88032" y="101739"/>
                  </a:cubicBezTo>
                  <a:cubicBezTo>
                    <a:pt x="87049" y="103043"/>
                    <a:pt x="86065" y="103043"/>
                    <a:pt x="85573" y="103043"/>
                  </a:cubicBezTo>
                  <a:cubicBezTo>
                    <a:pt x="85081" y="103695"/>
                    <a:pt x="83606" y="105000"/>
                    <a:pt x="83114" y="105000"/>
                  </a:cubicBezTo>
                  <a:cubicBezTo>
                    <a:pt x="82622" y="105652"/>
                    <a:pt x="80163" y="106304"/>
                    <a:pt x="79672" y="106304"/>
                  </a:cubicBezTo>
                  <a:cubicBezTo>
                    <a:pt x="79180" y="106304"/>
                    <a:pt x="76229" y="107608"/>
                    <a:pt x="76229" y="107608"/>
                  </a:cubicBezTo>
                  <a:cubicBezTo>
                    <a:pt x="73770" y="108913"/>
                    <a:pt x="73770" y="108913"/>
                    <a:pt x="73770" y="108913"/>
                  </a:cubicBezTo>
                  <a:cubicBezTo>
                    <a:pt x="72295" y="110217"/>
                    <a:pt x="72295" y="110217"/>
                    <a:pt x="72295" y="110217"/>
                  </a:cubicBezTo>
                  <a:cubicBezTo>
                    <a:pt x="68360" y="108913"/>
                    <a:pt x="68360" y="108913"/>
                    <a:pt x="68360" y="108913"/>
                  </a:cubicBezTo>
                  <a:cubicBezTo>
                    <a:pt x="63442" y="106956"/>
                    <a:pt x="63442" y="106956"/>
                    <a:pt x="63442" y="106956"/>
                  </a:cubicBezTo>
                  <a:cubicBezTo>
                    <a:pt x="63442" y="106956"/>
                    <a:pt x="60983" y="109565"/>
                    <a:pt x="60491" y="109565"/>
                  </a:cubicBezTo>
                  <a:cubicBezTo>
                    <a:pt x="60000" y="109565"/>
                    <a:pt x="57049" y="106956"/>
                    <a:pt x="57049" y="106956"/>
                  </a:cubicBezTo>
                  <a:cubicBezTo>
                    <a:pt x="55573" y="103695"/>
                    <a:pt x="55573" y="103695"/>
                    <a:pt x="55573" y="103695"/>
                  </a:cubicBezTo>
                  <a:cubicBezTo>
                    <a:pt x="55573" y="103695"/>
                    <a:pt x="52622" y="104347"/>
                    <a:pt x="52131" y="104347"/>
                  </a:cubicBezTo>
                  <a:cubicBezTo>
                    <a:pt x="51639" y="104347"/>
                    <a:pt x="51147" y="105652"/>
                    <a:pt x="51147" y="106304"/>
                  </a:cubicBezTo>
                  <a:cubicBezTo>
                    <a:pt x="50655" y="106304"/>
                    <a:pt x="49672" y="106304"/>
                    <a:pt x="48688" y="106304"/>
                  </a:cubicBezTo>
                  <a:cubicBezTo>
                    <a:pt x="47213" y="106304"/>
                    <a:pt x="46229" y="107608"/>
                    <a:pt x="46229" y="107608"/>
                  </a:cubicBezTo>
                  <a:cubicBezTo>
                    <a:pt x="45245" y="110217"/>
                    <a:pt x="45245" y="110217"/>
                    <a:pt x="45245" y="110217"/>
                  </a:cubicBezTo>
                  <a:cubicBezTo>
                    <a:pt x="45245" y="110217"/>
                    <a:pt x="42786" y="111521"/>
                    <a:pt x="42786" y="111521"/>
                  </a:cubicBezTo>
                  <a:cubicBezTo>
                    <a:pt x="42295" y="112173"/>
                    <a:pt x="37868" y="114130"/>
                    <a:pt x="37868" y="114130"/>
                  </a:cubicBezTo>
                  <a:cubicBezTo>
                    <a:pt x="34426" y="115434"/>
                    <a:pt x="34426" y="115434"/>
                    <a:pt x="34426" y="115434"/>
                  </a:cubicBezTo>
                  <a:cubicBezTo>
                    <a:pt x="34426" y="115434"/>
                    <a:pt x="33442" y="116086"/>
                    <a:pt x="32950" y="115434"/>
                  </a:cubicBezTo>
                  <a:cubicBezTo>
                    <a:pt x="32459" y="115434"/>
                    <a:pt x="30983" y="117391"/>
                    <a:pt x="30983" y="117391"/>
                  </a:cubicBezTo>
                  <a:cubicBezTo>
                    <a:pt x="28032" y="120000"/>
                    <a:pt x="28032" y="120000"/>
                    <a:pt x="28032" y="120000"/>
                  </a:cubicBezTo>
                  <a:cubicBezTo>
                    <a:pt x="25081" y="120000"/>
                    <a:pt x="25081" y="120000"/>
                    <a:pt x="25081" y="120000"/>
                  </a:cubicBezTo>
                  <a:cubicBezTo>
                    <a:pt x="25081" y="120000"/>
                    <a:pt x="25081" y="119347"/>
                    <a:pt x="25081" y="119347"/>
                  </a:cubicBezTo>
                  <a:cubicBezTo>
                    <a:pt x="25081" y="119347"/>
                    <a:pt x="25081" y="119347"/>
                    <a:pt x="25081" y="119347"/>
                  </a:cubicBezTo>
                  <a:cubicBezTo>
                    <a:pt x="25081" y="118695"/>
                    <a:pt x="25081" y="118695"/>
                    <a:pt x="25081" y="118695"/>
                  </a:cubicBezTo>
                  <a:cubicBezTo>
                    <a:pt x="25081" y="118043"/>
                    <a:pt x="24590" y="117391"/>
                    <a:pt x="24590" y="116086"/>
                  </a:cubicBezTo>
                  <a:cubicBezTo>
                    <a:pt x="24098" y="114782"/>
                    <a:pt x="23606" y="113478"/>
                    <a:pt x="23606" y="112173"/>
                  </a:cubicBezTo>
                  <a:cubicBezTo>
                    <a:pt x="23606" y="111521"/>
                    <a:pt x="24098" y="110869"/>
                    <a:pt x="24098" y="110217"/>
                  </a:cubicBezTo>
                  <a:cubicBezTo>
                    <a:pt x="24098" y="110217"/>
                    <a:pt x="24098" y="110217"/>
                    <a:pt x="24098" y="110217"/>
                  </a:cubicBezTo>
                  <a:cubicBezTo>
                    <a:pt x="24590" y="109565"/>
                    <a:pt x="24590" y="108913"/>
                    <a:pt x="24590" y="107608"/>
                  </a:cubicBezTo>
                  <a:cubicBezTo>
                    <a:pt x="24098" y="105000"/>
                    <a:pt x="22131" y="105000"/>
                    <a:pt x="21639" y="102391"/>
                  </a:cubicBezTo>
                  <a:cubicBezTo>
                    <a:pt x="21147" y="100434"/>
                    <a:pt x="19180" y="98478"/>
                    <a:pt x="19180" y="97826"/>
                  </a:cubicBezTo>
                  <a:cubicBezTo>
                    <a:pt x="15737" y="95217"/>
                    <a:pt x="13770" y="95869"/>
                    <a:pt x="11803" y="93260"/>
                  </a:cubicBezTo>
                  <a:cubicBezTo>
                    <a:pt x="11311" y="92608"/>
                    <a:pt x="10819" y="91956"/>
                    <a:pt x="10819" y="91304"/>
                  </a:cubicBezTo>
                  <a:cubicBezTo>
                    <a:pt x="11311" y="90652"/>
                    <a:pt x="11311" y="90652"/>
                    <a:pt x="11311" y="90652"/>
                  </a:cubicBezTo>
                  <a:cubicBezTo>
                    <a:pt x="11311" y="90652"/>
                    <a:pt x="10819" y="90652"/>
                    <a:pt x="10327" y="90000"/>
                  </a:cubicBezTo>
                  <a:cubicBezTo>
                    <a:pt x="9836" y="89347"/>
                    <a:pt x="9344" y="88695"/>
                    <a:pt x="8852" y="88043"/>
                  </a:cubicBezTo>
                  <a:cubicBezTo>
                    <a:pt x="8852" y="88043"/>
                    <a:pt x="8852" y="88043"/>
                    <a:pt x="8852" y="88043"/>
                  </a:cubicBezTo>
                  <a:cubicBezTo>
                    <a:pt x="9344" y="88043"/>
                    <a:pt x="9836" y="86739"/>
                    <a:pt x="9836" y="86739"/>
                  </a:cubicBezTo>
                  <a:cubicBezTo>
                    <a:pt x="10327" y="84782"/>
                    <a:pt x="10327" y="84782"/>
                    <a:pt x="10327" y="84782"/>
                  </a:cubicBezTo>
                  <a:cubicBezTo>
                    <a:pt x="10819" y="83478"/>
                    <a:pt x="10819" y="83478"/>
                    <a:pt x="10819" y="83478"/>
                  </a:cubicBezTo>
                  <a:cubicBezTo>
                    <a:pt x="10819" y="83478"/>
                    <a:pt x="10327" y="81521"/>
                    <a:pt x="9836" y="81521"/>
                  </a:cubicBezTo>
                  <a:cubicBezTo>
                    <a:pt x="9836" y="80869"/>
                    <a:pt x="8360" y="80217"/>
                    <a:pt x="8360" y="80217"/>
                  </a:cubicBezTo>
                  <a:cubicBezTo>
                    <a:pt x="8360" y="76956"/>
                    <a:pt x="8360" y="76956"/>
                    <a:pt x="8360" y="76956"/>
                  </a:cubicBezTo>
                  <a:cubicBezTo>
                    <a:pt x="7868" y="73695"/>
                    <a:pt x="7868" y="73695"/>
                    <a:pt x="7868" y="73695"/>
                  </a:cubicBezTo>
                  <a:cubicBezTo>
                    <a:pt x="6885" y="71739"/>
                    <a:pt x="6885" y="71739"/>
                    <a:pt x="6885" y="71739"/>
                  </a:cubicBezTo>
                  <a:cubicBezTo>
                    <a:pt x="6885" y="71739"/>
                    <a:pt x="7868" y="70434"/>
                    <a:pt x="8360" y="69782"/>
                  </a:cubicBezTo>
                  <a:cubicBezTo>
                    <a:pt x="8360" y="69782"/>
                    <a:pt x="8852" y="69130"/>
                    <a:pt x="9344" y="69130"/>
                  </a:cubicBezTo>
                  <a:cubicBezTo>
                    <a:pt x="9836" y="68478"/>
                    <a:pt x="10819" y="68478"/>
                    <a:pt x="11311" y="68478"/>
                  </a:cubicBezTo>
                  <a:cubicBezTo>
                    <a:pt x="11803" y="68478"/>
                    <a:pt x="12786" y="67173"/>
                    <a:pt x="12786" y="67173"/>
                  </a:cubicBezTo>
                  <a:cubicBezTo>
                    <a:pt x="12786" y="67173"/>
                    <a:pt x="12786" y="65217"/>
                    <a:pt x="12295" y="64565"/>
                  </a:cubicBezTo>
                  <a:cubicBezTo>
                    <a:pt x="12295" y="63260"/>
                    <a:pt x="13278" y="61956"/>
                    <a:pt x="13278" y="61956"/>
                  </a:cubicBezTo>
                  <a:cubicBezTo>
                    <a:pt x="13278" y="61956"/>
                    <a:pt x="14754" y="59347"/>
                    <a:pt x="15245" y="58695"/>
                  </a:cubicBezTo>
                  <a:cubicBezTo>
                    <a:pt x="15737" y="58043"/>
                    <a:pt x="16229" y="54782"/>
                    <a:pt x="16229" y="54782"/>
                  </a:cubicBezTo>
                  <a:cubicBezTo>
                    <a:pt x="14262" y="54782"/>
                    <a:pt x="14262" y="54782"/>
                    <a:pt x="14262" y="54782"/>
                  </a:cubicBezTo>
                  <a:cubicBezTo>
                    <a:pt x="12295" y="54130"/>
                    <a:pt x="12295" y="54130"/>
                    <a:pt x="12295" y="54130"/>
                  </a:cubicBezTo>
                  <a:cubicBezTo>
                    <a:pt x="12295" y="54130"/>
                    <a:pt x="10327" y="50217"/>
                    <a:pt x="10327" y="50217"/>
                  </a:cubicBezTo>
                  <a:cubicBezTo>
                    <a:pt x="10327" y="49565"/>
                    <a:pt x="9344" y="49565"/>
                    <a:pt x="9344" y="49565"/>
                  </a:cubicBezTo>
                  <a:cubicBezTo>
                    <a:pt x="9344" y="49565"/>
                    <a:pt x="7377" y="48260"/>
                    <a:pt x="7377" y="48260"/>
                  </a:cubicBezTo>
                  <a:cubicBezTo>
                    <a:pt x="6885" y="48260"/>
                    <a:pt x="5409" y="47608"/>
                    <a:pt x="5409" y="47608"/>
                  </a:cubicBezTo>
                  <a:cubicBezTo>
                    <a:pt x="5409" y="47608"/>
                    <a:pt x="3442" y="44347"/>
                    <a:pt x="2950" y="43043"/>
                  </a:cubicBezTo>
                  <a:cubicBezTo>
                    <a:pt x="2459" y="41739"/>
                    <a:pt x="1967" y="41086"/>
                    <a:pt x="1967" y="41086"/>
                  </a:cubicBezTo>
                  <a:cubicBezTo>
                    <a:pt x="1967" y="41086"/>
                    <a:pt x="1475" y="39782"/>
                    <a:pt x="983" y="39130"/>
                  </a:cubicBezTo>
                  <a:cubicBezTo>
                    <a:pt x="491" y="38478"/>
                    <a:pt x="491" y="37173"/>
                    <a:pt x="491" y="37173"/>
                  </a:cubicBezTo>
                  <a:cubicBezTo>
                    <a:pt x="491" y="37173"/>
                    <a:pt x="983" y="35217"/>
                    <a:pt x="491" y="33913"/>
                  </a:cubicBezTo>
                  <a:cubicBezTo>
                    <a:pt x="491" y="33260"/>
                    <a:pt x="0" y="30652"/>
                    <a:pt x="491" y="30652"/>
                  </a:cubicBezTo>
                  <a:cubicBezTo>
                    <a:pt x="983" y="29347"/>
                    <a:pt x="1475" y="28043"/>
                    <a:pt x="2459" y="27391"/>
                  </a:cubicBezTo>
                  <a:cubicBezTo>
                    <a:pt x="2950" y="27391"/>
                    <a:pt x="2950" y="27391"/>
                    <a:pt x="3442" y="27391"/>
                  </a:cubicBezTo>
                  <a:cubicBezTo>
                    <a:pt x="3934" y="27391"/>
                    <a:pt x="3442" y="25434"/>
                    <a:pt x="3442" y="25434"/>
                  </a:cubicBezTo>
                  <a:lnTo>
                    <a:pt x="3442" y="24782"/>
                  </a:lnTo>
                  <a:close/>
                </a:path>
              </a:pathLst>
            </a:custGeom>
            <a:solidFill>
              <a:srgbClr val="E4032D"/>
            </a:solidFill>
            <a:ln w="3175" cap="flat" cmpd="sng">
              <a:solidFill>
                <a:schemeClr val="tx1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defTabSz="457178"/>
              <a:endParaRPr kern="0">
                <a:solidFill>
                  <a:srgbClr val="7F7F7F"/>
                </a:solidFill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33" name="Shape 2040">
              <a:extLst>
                <a:ext uri="{FF2B5EF4-FFF2-40B4-BE49-F238E27FC236}">
                  <a16:creationId xmlns:a16="http://schemas.microsoft.com/office/drawing/2014/main" id="{FA15A025-04A0-494F-87D2-9E381A9477CE}"/>
                </a:ext>
              </a:extLst>
            </p:cNvPr>
            <p:cNvSpPr/>
            <p:nvPr/>
          </p:nvSpPr>
          <p:spPr>
            <a:xfrm>
              <a:off x="4983087" y="2966615"/>
              <a:ext cx="635471" cy="313232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80430" y="20281"/>
                  </a:moveTo>
                  <a:cubicBezTo>
                    <a:pt x="80430" y="20281"/>
                    <a:pt x="80430" y="15211"/>
                    <a:pt x="80860" y="15211"/>
                  </a:cubicBezTo>
                  <a:cubicBezTo>
                    <a:pt x="81290" y="15211"/>
                    <a:pt x="82150" y="12676"/>
                    <a:pt x="82150" y="12676"/>
                  </a:cubicBezTo>
                  <a:cubicBezTo>
                    <a:pt x="83440" y="11830"/>
                    <a:pt x="83440" y="11830"/>
                    <a:pt x="83440" y="11830"/>
                  </a:cubicBezTo>
                  <a:cubicBezTo>
                    <a:pt x="83440" y="11830"/>
                    <a:pt x="84301" y="10140"/>
                    <a:pt x="84301" y="8450"/>
                  </a:cubicBezTo>
                  <a:cubicBezTo>
                    <a:pt x="83870" y="7605"/>
                    <a:pt x="84301" y="3380"/>
                    <a:pt x="84301" y="3380"/>
                  </a:cubicBezTo>
                  <a:cubicBezTo>
                    <a:pt x="84301" y="3380"/>
                    <a:pt x="83870" y="845"/>
                    <a:pt x="84301" y="845"/>
                  </a:cubicBezTo>
                  <a:cubicBezTo>
                    <a:pt x="85161" y="0"/>
                    <a:pt x="86451" y="1690"/>
                    <a:pt x="86451" y="1690"/>
                  </a:cubicBezTo>
                  <a:cubicBezTo>
                    <a:pt x="88602" y="2535"/>
                    <a:pt x="88602" y="2535"/>
                    <a:pt x="88602" y="2535"/>
                  </a:cubicBezTo>
                  <a:cubicBezTo>
                    <a:pt x="88602" y="2535"/>
                    <a:pt x="89462" y="2535"/>
                    <a:pt x="89892" y="2535"/>
                  </a:cubicBezTo>
                  <a:cubicBezTo>
                    <a:pt x="90322" y="2535"/>
                    <a:pt x="92043" y="3380"/>
                    <a:pt x="92043" y="3380"/>
                  </a:cubicBezTo>
                  <a:cubicBezTo>
                    <a:pt x="92043" y="3380"/>
                    <a:pt x="93763" y="4225"/>
                    <a:pt x="94193" y="4225"/>
                  </a:cubicBezTo>
                  <a:cubicBezTo>
                    <a:pt x="94623" y="4225"/>
                    <a:pt x="96344" y="4225"/>
                    <a:pt x="96344" y="4225"/>
                  </a:cubicBezTo>
                  <a:cubicBezTo>
                    <a:pt x="97204" y="5070"/>
                    <a:pt x="97204" y="5070"/>
                    <a:pt x="97204" y="5070"/>
                  </a:cubicBezTo>
                  <a:cubicBezTo>
                    <a:pt x="100215" y="7605"/>
                    <a:pt x="100215" y="7605"/>
                    <a:pt x="100215" y="7605"/>
                  </a:cubicBezTo>
                  <a:cubicBezTo>
                    <a:pt x="101935" y="9295"/>
                    <a:pt x="101935" y="9295"/>
                    <a:pt x="101935" y="9295"/>
                  </a:cubicBezTo>
                  <a:cubicBezTo>
                    <a:pt x="106666" y="10140"/>
                    <a:pt x="106666" y="10140"/>
                    <a:pt x="106666" y="10140"/>
                  </a:cubicBezTo>
                  <a:cubicBezTo>
                    <a:pt x="107096" y="6760"/>
                    <a:pt x="107096" y="6760"/>
                    <a:pt x="107096" y="6760"/>
                  </a:cubicBezTo>
                  <a:cubicBezTo>
                    <a:pt x="107096" y="6760"/>
                    <a:pt x="108817" y="5915"/>
                    <a:pt x="108817" y="6760"/>
                  </a:cubicBezTo>
                  <a:cubicBezTo>
                    <a:pt x="109247" y="6760"/>
                    <a:pt x="110107" y="8450"/>
                    <a:pt x="111397" y="9295"/>
                  </a:cubicBezTo>
                  <a:cubicBezTo>
                    <a:pt x="112688" y="9295"/>
                    <a:pt x="113978" y="8450"/>
                    <a:pt x="113978" y="8450"/>
                  </a:cubicBezTo>
                  <a:cubicBezTo>
                    <a:pt x="114838" y="13521"/>
                    <a:pt x="114838" y="13521"/>
                    <a:pt x="114838" y="13521"/>
                  </a:cubicBezTo>
                  <a:cubicBezTo>
                    <a:pt x="115698" y="14366"/>
                    <a:pt x="115698" y="14366"/>
                    <a:pt x="115698" y="14366"/>
                  </a:cubicBezTo>
                  <a:cubicBezTo>
                    <a:pt x="115268" y="14366"/>
                    <a:pt x="115268" y="14366"/>
                    <a:pt x="115268" y="14366"/>
                  </a:cubicBezTo>
                  <a:cubicBezTo>
                    <a:pt x="115268" y="16901"/>
                    <a:pt x="115268" y="16901"/>
                    <a:pt x="115268" y="16901"/>
                  </a:cubicBezTo>
                  <a:cubicBezTo>
                    <a:pt x="115698" y="17746"/>
                    <a:pt x="115698" y="17746"/>
                    <a:pt x="115698" y="17746"/>
                  </a:cubicBezTo>
                  <a:cubicBezTo>
                    <a:pt x="115698" y="17746"/>
                    <a:pt x="115268" y="19436"/>
                    <a:pt x="115268" y="19436"/>
                  </a:cubicBezTo>
                  <a:cubicBezTo>
                    <a:pt x="115268" y="19436"/>
                    <a:pt x="115268" y="21126"/>
                    <a:pt x="115268" y="21126"/>
                  </a:cubicBezTo>
                  <a:cubicBezTo>
                    <a:pt x="114408" y="22816"/>
                    <a:pt x="114408" y="22816"/>
                    <a:pt x="114408" y="22816"/>
                  </a:cubicBezTo>
                  <a:cubicBezTo>
                    <a:pt x="114408" y="24507"/>
                    <a:pt x="114408" y="24507"/>
                    <a:pt x="114408" y="24507"/>
                  </a:cubicBezTo>
                  <a:cubicBezTo>
                    <a:pt x="114408" y="24507"/>
                    <a:pt x="114408" y="27042"/>
                    <a:pt x="114408" y="27042"/>
                  </a:cubicBezTo>
                  <a:cubicBezTo>
                    <a:pt x="114408" y="27042"/>
                    <a:pt x="114838" y="27887"/>
                    <a:pt x="115268" y="27887"/>
                  </a:cubicBezTo>
                  <a:cubicBezTo>
                    <a:pt x="115268" y="27887"/>
                    <a:pt x="115268" y="28732"/>
                    <a:pt x="115268" y="28732"/>
                  </a:cubicBezTo>
                  <a:cubicBezTo>
                    <a:pt x="115268" y="28732"/>
                    <a:pt x="115698" y="29577"/>
                    <a:pt x="116129" y="30422"/>
                  </a:cubicBezTo>
                  <a:cubicBezTo>
                    <a:pt x="116129" y="30422"/>
                    <a:pt x="116129" y="30422"/>
                    <a:pt x="116129" y="30422"/>
                  </a:cubicBezTo>
                  <a:cubicBezTo>
                    <a:pt x="116129" y="30422"/>
                    <a:pt x="116559" y="32112"/>
                    <a:pt x="116559" y="32957"/>
                  </a:cubicBezTo>
                  <a:cubicBezTo>
                    <a:pt x="116989" y="33802"/>
                    <a:pt x="116989" y="34647"/>
                    <a:pt x="116989" y="34647"/>
                  </a:cubicBezTo>
                  <a:cubicBezTo>
                    <a:pt x="116989" y="34647"/>
                    <a:pt x="117419" y="36338"/>
                    <a:pt x="117849" y="36338"/>
                  </a:cubicBezTo>
                  <a:cubicBezTo>
                    <a:pt x="117849" y="36338"/>
                    <a:pt x="118279" y="36338"/>
                    <a:pt x="118709" y="36338"/>
                  </a:cubicBezTo>
                  <a:cubicBezTo>
                    <a:pt x="118709" y="36338"/>
                    <a:pt x="119139" y="36338"/>
                    <a:pt x="119139" y="36338"/>
                  </a:cubicBezTo>
                  <a:cubicBezTo>
                    <a:pt x="119139" y="37183"/>
                    <a:pt x="118709" y="42253"/>
                    <a:pt x="118709" y="42253"/>
                  </a:cubicBezTo>
                  <a:cubicBezTo>
                    <a:pt x="119139" y="47323"/>
                    <a:pt x="119139" y="47323"/>
                    <a:pt x="119139" y="47323"/>
                  </a:cubicBezTo>
                  <a:cubicBezTo>
                    <a:pt x="119139" y="47323"/>
                    <a:pt x="118709" y="49859"/>
                    <a:pt x="118709" y="50704"/>
                  </a:cubicBezTo>
                  <a:cubicBezTo>
                    <a:pt x="119139" y="52394"/>
                    <a:pt x="120000" y="54084"/>
                    <a:pt x="118709" y="54929"/>
                  </a:cubicBezTo>
                  <a:cubicBezTo>
                    <a:pt x="117849" y="54929"/>
                    <a:pt x="116559" y="56619"/>
                    <a:pt x="116129" y="54929"/>
                  </a:cubicBezTo>
                  <a:cubicBezTo>
                    <a:pt x="116129" y="54929"/>
                    <a:pt x="115698" y="53239"/>
                    <a:pt x="115698" y="55774"/>
                  </a:cubicBezTo>
                  <a:cubicBezTo>
                    <a:pt x="116129" y="56619"/>
                    <a:pt x="114838" y="55774"/>
                    <a:pt x="114838" y="55774"/>
                  </a:cubicBezTo>
                  <a:cubicBezTo>
                    <a:pt x="111397" y="53239"/>
                    <a:pt x="111397" y="53239"/>
                    <a:pt x="111397" y="53239"/>
                  </a:cubicBezTo>
                  <a:cubicBezTo>
                    <a:pt x="110537" y="54929"/>
                    <a:pt x="110537" y="54929"/>
                    <a:pt x="110537" y="54929"/>
                  </a:cubicBezTo>
                  <a:cubicBezTo>
                    <a:pt x="108817" y="57464"/>
                    <a:pt x="108817" y="57464"/>
                    <a:pt x="108817" y="57464"/>
                  </a:cubicBezTo>
                  <a:cubicBezTo>
                    <a:pt x="111397" y="59154"/>
                    <a:pt x="111397" y="59154"/>
                    <a:pt x="111397" y="59154"/>
                  </a:cubicBezTo>
                  <a:cubicBezTo>
                    <a:pt x="112258" y="59154"/>
                    <a:pt x="112258" y="59154"/>
                    <a:pt x="112258" y="59154"/>
                  </a:cubicBezTo>
                  <a:cubicBezTo>
                    <a:pt x="114408" y="65915"/>
                    <a:pt x="114408" y="65915"/>
                    <a:pt x="114408" y="65915"/>
                  </a:cubicBezTo>
                  <a:cubicBezTo>
                    <a:pt x="111827" y="69295"/>
                    <a:pt x="111827" y="69295"/>
                    <a:pt x="111827" y="69295"/>
                  </a:cubicBezTo>
                  <a:cubicBezTo>
                    <a:pt x="111827" y="69295"/>
                    <a:pt x="110537" y="70985"/>
                    <a:pt x="110107" y="70985"/>
                  </a:cubicBezTo>
                  <a:cubicBezTo>
                    <a:pt x="109677" y="70985"/>
                    <a:pt x="109247" y="71830"/>
                    <a:pt x="109247" y="71830"/>
                  </a:cubicBezTo>
                  <a:cubicBezTo>
                    <a:pt x="110537" y="76901"/>
                    <a:pt x="110537" y="76901"/>
                    <a:pt x="110537" y="76901"/>
                  </a:cubicBezTo>
                  <a:cubicBezTo>
                    <a:pt x="110537" y="78591"/>
                    <a:pt x="110537" y="78591"/>
                    <a:pt x="110537" y="78591"/>
                  </a:cubicBezTo>
                  <a:cubicBezTo>
                    <a:pt x="110967" y="83661"/>
                    <a:pt x="110967" y="83661"/>
                    <a:pt x="110967" y="83661"/>
                  </a:cubicBezTo>
                  <a:cubicBezTo>
                    <a:pt x="109677" y="87887"/>
                    <a:pt x="109677" y="87887"/>
                    <a:pt x="109677" y="87887"/>
                  </a:cubicBezTo>
                  <a:cubicBezTo>
                    <a:pt x="108387" y="88732"/>
                    <a:pt x="108387" y="88732"/>
                    <a:pt x="108387" y="88732"/>
                  </a:cubicBezTo>
                  <a:cubicBezTo>
                    <a:pt x="107096" y="94647"/>
                    <a:pt x="107096" y="94647"/>
                    <a:pt x="107096" y="94647"/>
                  </a:cubicBezTo>
                  <a:cubicBezTo>
                    <a:pt x="104946" y="97183"/>
                    <a:pt x="104946" y="97183"/>
                    <a:pt x="104946" y="97183"/>
                  </a:cubicBezTo>
                  <a:cubicBezTo>
                    <a:pt x="104516" y="100563"/>
                    <a:pt x="104516" y="100563"/>
                    <a:pt x="104516" y="100563"/>
                  </a:cubicBezTo>
                  <a:cubicBezTo>
                    <a:pt x="104946" y="105633"/>
                    <a:pt x="104946" y="105633"/>
                    <a:pt x="104946" y="105633"/>
                  </a:cubicBezTo>
                  <a:cubicBezTo>
                    <a:pt x="102365" y="102253"/>
                    <a:pt x="102365" y="102253"/>
                    <a:pt x="102365" y="102253"/>
                  </a:cubicBezTo>
                  <a:cubicBezTo>
                    <a:pt x="100215" y="103943"/>
                    <a:pt x="100215" y="103943"/>
                    <a:pt x="100215" y="103943"/>
                  </a:cubicBezTo>
                  <a:cubicBezTo>
                    <a:pt x="98924" y="104788"/>
                    <a:pt x="98924" y="104788"/>
                    <a:pt x="98924" y="104788"/>
                  </a:cubicBezTo>
                  <a:cubicBezTo>
                    <a:pt x="96344" y="108169"/>
                    <a:pt x="96344" y="108169"/>
                    <a:pt x="96344" y="108169"/>
                  </a:cubicBezTo>
                  <a:cubicBezTo>
                    <a:pt x="94193" y="106478"/>
                    <a:pt x="94193" y="106478"/>
                    <a:pt x="94193" y="106478"/>
                  </a:cubicBezTo>
                  <a:cubicBezTo>
                    <a:pt x="91182" y="108169"/>
                    <a:pt x="91182" y="108169"/>
                    <a:pt x="91182" y="108169"/>
                  </a:cubicBezTo>
                  <a:cubicBezTo>
                    <a:pt x="88602" y="108169"/>
                    <a:pt x="88602" y="108169"/>
                    <a:pt x="88602" y="108169"/>
                  </a:cubicBezTo>
                  <a:cubicBezTo>
                    <a:pt x="87311" y="109859"/>
                    <a:pt x="87311" y="109859"/>
                    <a:pt x="87311" y="109859"/>
                  </a:cubicBezTo>
                  <a:cubicBezTo>
                    <a:pt x="86451" y="113239"/>
                    <a:pt x="86451" y="113239"/>
                    <a:pt x="86451" y="113239"/>
                  </a:cubicBezTo>
                  <a:cubicBezTo>
                    <a:pt x="86021" y="114929"/>
                    <a:pt x="86021" y="114929"/>
                    <a:pt x="86021" y="114929"/>
                  </a:cubicBezTo>
                  <a:cubicBezTo>
                    <a:pt x="84301" y="115774"/>
                    <a:pt x="84301" y="115774"/>
                    <a:pt x="84301" y="115774"/>
                  </a:cubicBezTo>
                  <a:cubicBezTo>
                    <a:pt x="83440" y="118309"/>
                    <a:pt x="83440" y="118309"/>
                    <a:pt x="83440" y="118309"/>
                  </a:cubicBezTo>
                  <a:cubicBezTo>
                    <a:pt x="82150" y="120000"/>
                    <a:pt x="82150" y="120000"/>
                    <a:pt x="82150" y="120000"/>
                  </a:cubicBezTo>
                  <a:cubicBezTo>
                    <a:pt x="81290" y="120000"/>
                    <a:pt x="81290" y="120000"/>
                    <a:pt x="81290" y="120000"/>
                  </a:cubicBezTo>
                  <a:cubicBezTo>
                    <a:pt x="77419" y="120000"/>
                    <a:pt x="77419" y="120000"/>
                    <a:pt x="77419" y="120000"/>
                  </a:cubicBezTo>
                  <a:cubicBezTo>
                    <a:pt x="73118" y="119154"/>
                    <a:pt x="73118" y="119154"/>
                    <a:pt x="73118" y="119154"/>
                  </a:cubicBezTo>
                  <a:cubicBezTo>
                    <a:pt x="69247" y="116619"/>
                    <a:pt x="69247" y="116619"/>
                    <a:pt x="69247" y="116619"/>
                  </a:cubicBezTo>
                  <a:cubicBezTo>
                    <a:pt x="66236" y="117464"/>
                    <a:pt x="66236" y="117464"/>
                    <a:pt x="66236" y="117464"/>
                  </a:cubicBezTo>
                  <a:cubicBezTo>
                    <a:pt x="66236" y="117464"/>
                    <a:pt x="64086" y="116619"/>
                    <a:pt x="62795" y="116619"/>
                  </a:cubicBezTo>
                  <a:cubicBezTo>
                    <a:pt x="61075" y="116619"/>
                    <a:pt x="57634" y="114929"/>
                    <a:pt x="57634" y="114929"/>
                  </a:cubicBezTo>
                  <a:cubicBezTo>
                    <a:pt x="53333" y="112394"/>
                    <a:pt x="53333" y="112394"/>
                    <a:pt x="53333" y="112394"/>
                  </a:cubicBezTo>
                  <a:cubicBezTo>
                    <a:pt x="50752" y="112394"/>
                    <a:pt x="50752" y="112394"/>
                    <a:pt x="50752" y="112394"/>
                  </a:cubicBezTo>
                  <a:cubicBezTo>
                    <a:pt x="46881" y="111549"/>
                    <a:pt x="46881" y="111549"/>
                    <a:pt x="46881" y="111549"/>
                  </a:cubicBezTo>
                  <a:cubicBezTo>
                    <a:pt x="46881" y="111549"/>
                    <a:pt x="46451" y="109859"/>
                    <a:pt x="46021" y="109014"/>
                  </a:cubicBezTo>
                  <a:cubicBezTo>
                    <a:pt x="46021" y="108169"/>
                    <a:pt x="44731" y="106478"/>
                    <a:pt x="44731" y="106478"/>
                  </a:cubicBezTo>
                  <a:cubicBezTo>
                    <a:pt x="44731" y="104788"/>
                    <a:pt x="44731" y="104788"/>
                    <a:pt x="44731" y="104788"/>
                  </a:cubicBezTo>
                  <a:cubicBezTo>
                    <a:pt x="43870" y="100563"/>
                    <a:pt x="43870" y="100563"/>
                    <a:pt x="43870" y="100563"/>
                  </a:cubicBezTo>
                  <a:cubicBezTo>
                    <a:pt x="43010" y="97183"/>
                    <a:pt x="43010" y="97183"/>
                    <a:pt x="43010" y="97183"/>
                  </a:cubicBezTo>
                  <a:cubicBezTo>
                    <a:pt x="43870" y="94647"/>
                    <a:pt x="43870" y="94647"/>
                    <a:pt x="43870" y="94647"/>
                  </a:cubicBezTo>
                  <a:cubicBezTo>
                    <a:pt x="43010" y="93802"/>
                    <a:pt x="43010" y="93802"/>
                    <a:pt x="43010" y="93802"/>
                  </a:cubicBezTo>
                  <a:cubicBezTo>
                    <a:pt x="43010" y="93802"/>
                    <a:pt x="41290" y="94647"/>
                    <a:pt x="40430" y="94647"/>
                  </a:cubicBezTo>
                  <a:cubicBezTo>
                    <a:pt x="40000" y="95492"/>
                    <a:pt x="37419" y="96338"/>
                    <a:pt x="37419" y="96338"/>
                  </a:cubicBezTo>
                  <a:cubicBezTo>
                    <a:pt x="36559" y="97183"/>
                    <a:pt x="36559" y="97183"/>
                    <a:pt x="36559" y="97183"/>
                  </a:cubicBezTo>
                  <a:cubicBezTo>
                    <a:pt x="33118" y="97183"/>
                    <a:pt x="33118" y="97183"/>
                    <a:pt x="33118" y="97183"/>
                  </a:cubicBezTo>
                  <a:cubicBezTo>
                    <a:pt x="29677" y="98028"/>
                    <a:pt x="29677" y="98028"/>
                    <a:pt x="29677" y="98028"/>
                  </a:cubicBezTo>
                  <a:cubicBezTo>
                    <a:pt x="28387" y="99718"/>
                    <a:pt x="28387" y="99718"/>
                    <a:pt x="28387" y="99718"/>
                  </a:cubicBezTo>
                  <a:cubicBezTo>
                    <a:pt x="25806" y="102253"/>
                    <a:pt x="25806" y="102253"/>
                    <a:pt x="25806" y="102253"/>
                  </a:cubicBezTo>
                  <a:cubicBezTo>
                    <a:pt x="25806" y="105633"/>
                    <a:pt x="25806" y="105633"/>
                    <a:pt x="25806" y="105633"/>
                  </a:cubicBezTo>
                  <a:cubicBezTo>
                    <a:pt x="24516" y="109014"/>
                    <a:pt x="24516" y="109014"/>
                    <a:pt x="24516" y="109014"/>
                  </a:cubicBezTo>
                  <a:cubicBezTo>
                    <a:pt x="22365" y="109014"/>
                    <a:pt x="22365" y="109014"/>
                    <a:pt x="22365" y="109014"/>
                  </a:cubicBezTo>
                  <a:cubicBezTo>
                    <a:pt x="20215" y="105633"/>
                    <a:pt x="20215" y="105633"/>
                    <a:pt x="20215" y="105633"/>
                  </a:cubicBezTo>
                  <a:cubicBezTo>
                    <a:pt x="19354" y="107323"/>
                    <a:pt x="19354" y="107323"/>
                    <a:pt x="19354" y="107323"/>
                  </a:cubicBezTo>
                  <a:cubicBezTo>
                    <a:pt x="16774" y="106478"/>
                    <a:pt x="16774" y="106478"/>
                    <a:pt x="16774" y="106478"/>
                  </a:cubicBezTo>
                  <a:cubicBezTo>
                    <a:pt x="16344" y="107323"/>
                    <a:pt x="16344" y="107323"/>
                    <a:pt x="16344" y="107323"/>
                  </a:cubicBezTo>
                  <a:cubicBezTo>
                    <a:pt x="16344" y="107323"/>
                    <a:pt x="16344" y="106478"/>
                    <a:pt x="16344" y="106478"/>
                  </a:cubicBezTo>
                  <a:cubicBezTo>
                    <a:pt x="16344" y="105633"/>
                    <a:pt x="16774" y="103098"/>
                    <a:pt x="16774" y="103098"/>
                  </a:cubicBezTo>
                  <a:cubicBezTo>
                    <a:pt x="16774" y="103098"/>
                    <a:pt x="16774" y="102253"/>
                    <a:pt x="16774" y="101408"/>
                  </a:cubicBezTo>
                  <a:cubicBezTo>
                    <a:pt x="16774" y="101408"/>
                    <a:pt x="16344" y="100563"/>
                    <a:pt x="16344" y="100563"/>
                  </a:cubicBezTo>
                  <a:cubicBezTo>
                    <a:pt x="15913" y="99718"/>
                    <a:pt x="15913" y="99718"/>
                    <a:pt x="15913" y="99718"/>
                  </a:cubicBezTo>
                  <a:cubicBezTo>
                    <a:pt x="15913" y="99718"/>
                    <a:pt x="15483" y="98028"/>
                    <a:pt x="15483" y="98028"/>
                  </a:cubicBezTo>
                  <a:cubicBezTo>
                    <a:pt x="15053" y="98873"/>
                    <a:pt x="14623" y="98873"/>
                    <a:pt x="14623" y="98873"/>
                  </a:cubicBezTo>
                  <a:cubicBezTo>
                    <a:pt x="14623" y="98873"/>
                    <a:pt x="14623" y="100563"/>
                    <a:pt x="14623" y="100563"/>
                  </a:cubicBezTo>
                  <a:cubicBezTo>
                    <a:pt x="14193" y="101408"/>
                    <a:pt x="13763" y="101408"/>
                    <a:pt x="13763" y="101408"/>
                  </a:cubicBezTo>
                  <a:cubicBezTo>
                    <a:pt x="13763" y="101408"/>
                    <a:pt x="13763" y="101408"/>
                    <a:pt x="13763" y="101408"/>
                  </a:cubicBezTo>
                  <a:cubicBezTo>
                    <a:pt x="13333" y="101408"/>
                    <a:pt x="13333" y="101408"/>
                    <a:pt x="13333" y="101408"/>
                  </a:cubicBezTo>
                  <a:cubicBezTo>
                    <a:pt x="12903" y="103098"/>
                    <a:pt x="12903" y="103098"/>
                    <a:pt x="12903" y="103098"/>
                  </a:cubicBezTo>
                  <a:cubicBezTo>
                    <a:pt x="12473" y="103943"/>
                    <a:pt x="12473" y="103943"/>
                    <a:pt x="12473" y="103943"/>
                  </a:cubicBezTo>
                  <a:cubicBezTo>
                    <a:pt x="12473" y="103943"/>
                    <a:pt x="12473" y="103943"/>
                    <a:pt x="12473" y="103943"/>
                  </a:cubicBezTo>
                  <a:cubicBezTo>
                    <a:pt x="12473" y="103943"/>
                    <a:pt x="12473" y="103943"/>
                    <a:pt x="12473" y="103943"/>
                  </a:cubicBezTo>
                  <a:cubicBezTo>
                    <a:pt x="12473" y="103943"/>
                    <a:pt x="12043" y="103943"/>
                    <a:pt x="12043" y="104788"/>
                  </a:cubicBezTo>
                  <a:cubicBezTo>
                    <a:pt x="12043" y="104788"/>
                    <a:pt x="11612" y="104788"/>
                    <a:pt x="11182" y="104788"/>
                  </a:cubicBezTo>
                  <a:cubicBezTo>
                    <a:pt x="11182" y="104788"/>
                    <a:pt x="10322" y="104788"/>
                    <a:pt x="10322" y="104788"/>
                  </a:cubicBezTo>
                  <a:cubicBezTo>
                    <a:pt x="9892" y="103943"/>
                    <a:pt x="9892" y="103943"/>
                    <a:pt x="9892" y="103943"/>
                  </a:cubicBezTo>
                  <a:cubicBezTo>
                    <a:pt x="8602" y="103098"/>
                    <a:pt x="8602" y="103098"/>
                    <a:pt x="8602" y="103098"/>
                  </a:cubicBezTo>
                  <a:cubicBezTo>
                    <a:pt x="8602" y="103098"/>
                    <a:pt x="8602" y="103098"/>
                    <a:pt x="8602" y="103098"/>
                  </a:cubicBezTo>
                  <a:cubicBezTo>
                    <a:pt x="7741" y="102253"/>
                    <a:pt x="7741" y="102253"/>
                    <a:pt x="7741" y="102253"/>
                  </a:cubicBezTo>
                  <a:cubicBezTo>
                    <a:pt x="7311" y="101408"/>
                    <a:pt x="7311" y="101408"/>
                    <a:pt x="7311" y="101408"/>
                  </a:cubicBezTo>
                  <a:cubicBezTo>
                    <a:pt x="7311" y="99718"/>
                    <a:pt x="7311" y="99718"/>
                    <a:pt x="7311" y="99718"/>
                  </a:cubicBezTo>
                  <a:cubicBezTo>
                    <a:pt x="6451" y="98028"/>
                    <a:pt x="6451" y="98028"/>
                    <a:pt x="6451" y="98028"/>
                  </a:cubicBezTo>
                  <a:cubicBezTo>
                    <a:pt x="4731" y="97183"/>
                    <a:pt x="4731" y="97183"/>
                    <a:pt x="4731" y="97183"/>
                  </a:cubicBezTo>
                  <a:cubicBezTo>
                    <a:pt x="3440" y="96338"/>
                    <a:pt x="3440" y="96338"/>
                    <a:pt x="3440" y="96338"/>
                  </a:cubicBezTo>
                  <a:cubicBezTo>
                    <a:pt x="2580" y="96338"/>
                    <a:pt x="2580" y="96338"/>
                    <a:pt x="2580" y="96338"/>
                  </a:cubicBezTo>
                  <a:cubicBezTo>
                    <a:pt x="2580" y="96338"/>
                    <a:pt x="860" y="96338"/>
                    <a:pt x="860" y="96338"/>
                  </a:cubicBezTo>
                  <a:cubicBezTo>
                    <a:pt x="860" y="96338"/>
                    <a:pt x="430" y="96338"/>
                    <a:pt x="430" y="96338"/>
                  </a:cubicBezTo>
                  <a:cubicBezTo>
                    <a:pt x="430" y="96338"/>
                    <a:pt x="430" y="96338"/>
                    <a:pt x="430" y="96338"/>
                  </a:cubicBezTo>
                  <a:cubicBezTo>
                    <a:pt x="430" y="96338"/>
                    <a:pt x="430" y="96338"/>
                    <a:pt x="430" y="96338"/>
                  </a:cubicBezTo>
                  <a:cubicBezTo>
                    <a:pt x="430" y="96338"/>
                    <a:pt x="430" y="96338"/>
                    <a:pt x="430" y="96338"/>
                  </a:cubicBezTo>
                  <a:cubicBezTo>
                    <a:pt x="860" y="96338"/>
                    <a:pt x="860" y="96338"/>
                    <a:pt x="860" y="96338"/>
                  </a:cubicBezTo>
                  <a:cubicBezTo>
                    <a:pt x="860" y="96338"/>
                    <a:pt x="860" y="95492"/>
                    <a:pt x="860" y="95492"/>
                  </a:cubicBezTo>
                  <a:cubicBezTo>
                    <a:pt x="860" y="95492"/>
                    <a:pt x="860" y="95492"/>
                    <a:pt x="860" y="95492"/>
                  </a:cubicBezTo>
                  <a:cubicBezTo>
                    <a:pt x="860" y="95492"/>
                    <a:pt x="1290" y="96338"/>
                    <a:pt x="1290" y="96338"/>
                  </a:cubicBezTo>
                  <a:cubicBezTo>
                    <a:pt x="1290" y="96338"/>
                    <a:pt x="1290" y="96338"/>
                    <a:pt x="1290" y="96338"/>
                  </a:cubicBezTo>
                  <a:cubicBezTo>
                    <a:pt x="1290" y="96338"/>
                    <a:pt x="1290" y="96338"/>
                    <a:pt x="1290" y="96338"/>
                  </a:cubicBezTo>
                  <a:cubicBezTo>
                    <a:pt x="1290" y="96338"/>
                    <a:pt x="1720" y="95492"/>
                    <a:pt x="1720" y="95492"/>
                  </a:cubicBezTo>
                  <a:cubicBezTo>
                    <a:pt x="1720" y="95492"/>
                    <a:pt x="1720" y="95492"/>
                    <a:pt x="1720" y="95492"/>
                  </a:cubicBezTo>
                  <a:cubicBezTo>
                    <a:pt x="1720" y="95492"/>
                    <a:pt x="1720" y="95492"/>
                    <a:pt x="1720" y="95492"/>
                  </a:cubicBezTo>
                  <a:cubicBezTo>
                    <a:pt x="1720" y="95492"/>
                    <a:pt x="1720" y="95492"/>
                    <a:pt x="1720" y="95492"/>
                  </a:cubicBezTo>
                  <a:cubicBezTo>
                    <a:pt x="1720" y="95492"/>
                    <a:pt x="1720" y="95492"/>
                    <a:pt x="1720" y="95492"/>
                  </a:cubicBezTo>
                  <a:cubicBezTo>
                    <a:pt x="1720" y="95492"/>
                    <a:pt x="1720" y="95492"/>
                    <a:pt x="1720" y="95492"/>
                  </a:cubicBezTo>
                  <a:cubicBezTo>
                    <a:pt x="1720" y="95492"/>
                    <a:pt x="1720" y="95492"/>
                    <a:pt x="2150" y="95492"/>
                  </a:cubicBezTo>
                  <a:cubicBezTo>
                    <a:pt x="2150" y="95492"/>
                    <a:pt x="2150" y="95492"/>
                    <a:pt x="2150" y="94647"/>
                  </a:cubicBezTo>
                  <a:cubicBezTo>
                    <a:pt x="2150" y="94647"/>
                    <a:pt x="2150" y="94647"/>
                    <a:pt x="2150" y="94647"/>
                  </a:cubicBezTo>
                  <a:cubicBezTo>
                    <a:pt x="2150" y="94647"/>
                    <a:pt x="2150" y="94647"/>
                    <a:pt x="1720" y="94647"/>
                  </a:cubicBezTo>
                  <a:cubicBezTo>
                    <a:pt x="1720" y="94647"/>
                    <a:pt x="1720" y="94647"/>
                    <a:pt x="1720" y="94647"/>
                  </a:cubicBezTo>
                  <a:cubicBezTo>
                    <a:pt x="1720" y="94647"/>
                    <a:pt x="1720" y="94647"/>
                    <a:pt x="1720" y="93802"/>
                  </a:cubicBezTo>
                  <a:cubicBezTo>
                    <a:pt x="1720" y="93802"/>
                    <a:pt x="2150" y="93802"/>
                    <a:pt x="2150" y="93802"/>
                  </a:cubicBezTo>
                  <a:cubicBezTo>
                    <a:pt x="2150" y="93802"/>
                    <a:pt x="2150" y="93802"/>
                    <a:pt x="1720" y="93802"/>
                  </a:cubicBezTo>
                  <a:cubicBezTo>
                    <a:pt x="1720" y="93802"/>
                    <a:pt x="1720" y="93802"/>
                    <a:pt x="1720" y="93802"/>
                  </a:cubicBezTo>
                  <a:cubicBezTo>
                    <a:pt x="1720" y="92957"/>
                    <a:pt x="1720" y="93802"/>
                    <a:pt x="1720" y="93802"/>
                  </a:cubicBezTo>
                  <a:cubicBezTo>
                    <a:pt x="1720" y="92957"/>
                    <a:pt x="1720" y="92957"/>
                    <a:pt x="1720" y="92957"/>
                  </a:cubicBezTo>
                  <a:cubicBezTo>
                    <a:pt x="1720" y="92957"/>
                    <a:pt x="1720" y="92957"/>
                    <a:pt x="1720" y="92957"/>
                  </a:cubicBezTo>
                  <a:cubicBezTo>
                    <a:pt x="1720" y="92957"/>
                    <a:pt x="1720" y="92957"/>
                    <a:pt x="1720" y="92957"/>
                  </a:cubicBezTo>
                  <a:cubicBezTo>
                    <a:pt x="1720" y="92957"/>
                    <a:pt x="1720" y="92957"/>
                    <a:pt x="1720" y="92957"/>
                  </a:cubicBezTo>
                  <a:cubicBezTo>
                    <a:pt x="1720" y="92957"/>
                    <a:pt x="1720" y="92957"/>
                    <a:pt x="1720" y="92957"/>
                  </a:cubicBezTo>
                  <a:cubicBezTo>
                    <a:pt x="1290" y="92957"/>
                    <a:pt x="1290" y="92957"/>
                    <a:pt x="1290" y="92957"/>
                  </a:cubicBezTo>
                  <a:cubicBezTo>
                    <a:pt x="1290" y="92957"/>
                    <a:pt x="1290" y="92957"/>
                    <a:pt x="1290" y="92957"/>
                  </a:cubicBezTo>
                  <a:cubicBezTo>
                    <a:pt x="1290" y="92112"/>
                    <a:pt x="1290" y="92112"/>
                    <a:pt x="1290" y="92112"/>
                  </a:cubicBezTo>
                  <a:cubicBezTo>
                    <a:pt x="1290" y="92112"/>
                    <a:pt x="1290" y="92112"/>
                    <a:pt x="1290" y="92112"/>
                  </a:cubicBezTo>
                  <a:cubicBezTo>
                    <a:pt x="1290" y="92112"/>
                    <a:pt x="1290" y="92112"/>
                    <a:pt x="1290" y="92112"/>
                  </a:cubicBezTo>
                  <a:cubicBezTo>
                    <a:pt x="1290" y="92112"/>
                    <a:pt x="1290" y="91267"/>
                    <a:pt x="1290" y="91267"/>
                  </a:cubicBezTo>
                  <a:cubicBezTo>
                    <a:pt x="1290" y="91267"/>
                    <a:pt x="1290" y="91267"/>
                    <a:pt x="1290" y="91267"/>
                  </a:cubicBezTo>
                  <a:cubicBezTo>
                    <a:pt x="1290" y="91267"/>
                    <a:pt x="1290" y="91267"/>
                    <a:pt x="1290" y="91267"/>
                  </a:cubicBezTo>
                  <a:cubicBezTo>
                    <a:pt x="1290" y="91267"/>
                    <a:pt x="1290" y="91267"/>
                    <a:pt x="1290" y="91267"/>
                  </a:cubicBezTo>
                  <a:cubicBezTo>
                    <a:pt x="1290" y="91267"/>
                    <a:pt x="1290" y="91267"/>
                    <a:pt x="1290" y="91267"/>
                  </a:cubicBezTo>
                  <a:cubicBezTo>
                    <a:pt x="1290" y="91267"/>
                    <a:pt x="1290" y="91267"/>
                    <a:pt x="1290" y="91267"/>
                  </a:cubicBezTo>
                  <a:cubicBezTo>
                    <a:pt x="1290" y="90422"/>
                    <a:pt x="1290" y="91267"/>
                    <a:pt x="1290" y="90422"/>
                  </a:cubicBezTo>
                  <a:cubicBezTo>
                    <a:pt x="1290" y="90422"/>
                    <a:pt x="1290" y="90422"/>
                    <a:pt x="1290" y="90422"/>
                  </a:cubicBezTo>
                  <a:cubicBezTo>
                    <a:pt x="1290" y="90422"/>
                    <a:pt x="1290" y="90422"/>
                    <a:pt x="1290" y="90422"/>
                  </a:cubicBezTo>
                  <a:cubicBezTo>
                    <a:pt x="1290" y="90422"/>
                    <a:pt x="860" y="90422"/>
                    <a:pt x="860" y="89577"/>
                  </a:cubicBezTo>
                  <a:cubicBezTo>
                    <a:pt x="860" y="89577"/>
                    <a:pt x="860" y="89577"/>
                    <a:pt x="860" y="89577"/>
                  </a:cubicBezTo>
                  <a:cubicBezTo>
                    <a:pt x="860" y="89577"/>
                    <a:pt x="860" y="89577"/>
                    <a:pt x="860" y="89577"/>
                  </a:cubicBezTo>
                  <a:cubicBezTo>
                    <a:pt x="860" y="89577"/>
                    <a:pt x="860" y="89577"/>
                    <a:pt x="860" y="89577"/>
                  </a:cubicBezTo>
                  <a:cubicBezTo>
                    <a:pt x="860" y="90422"/>
                    <a:pt x="860" y="90422"/>
                    <a:pt x="860" y="90422"/>
                  </a:cubicBezTo>
                  <a:cubicBezTo>
                    <a:pt x="860" y="91267"/>
                    <a:pt x="860" y="91267"/>
                    <a:pt x="860" y="91267"/>
                  </a:cubicBezTo>
                  <a:cubicBezTo>
                    <a:pt x="430" y="91267"/>
                    <a:pt x="430" y="91267"/>
                    <a:pt x="430" y="91267"/>
                  </a:cubicBezTo>
                  <a:cubicBezTo>
                    <a:pt x="430" y="90422"/>
                    <a:pt x="430" y="90422"/>
                    <a:pt x="430" y="90422"/>
                  </a:cubicBezTo>
                  <a:cubicBezTo>
                    <a:pt x="860" y="87887"/>
                    <a:pt x="860" y="87887"/>
                    <a:pt x="860" y="87887"/>
                  </a:cubicBezTo>
                  <a:cubicBezTo>
                    <a:pt x="1720" y="86197"/>
                    <a:pt x="1720" y="86197"/>
                    <a:pt x="1720" y="86197"/>
                  </a:cubicBezTo>
                  <a:cubicBezTo>
                    <a:pt x="1720" y="86197"/>
                    <a:pt x="1720" y="84507"/>
                    <a:pt x="2150" y="84507"/>
                  </a:cubicBezTo>
                  <a:cubicBezTo>
                    <a:pt x="2150" y="83661"/>
                    <a:pt x="2150" y="82816"/>
                    <a:pt x="2150" y="82816"/>
                  </a:cubicBezTo>
                  <a:cubicBezTo>
                    <a:pt x="3010" y="81971"/>
                    <a:pt x="3010" y="81971"/>
                    <a:pt x="3010" y="81971"/>
                  </a:cubicBezTo>
                  <a:cubicBezTo>
                    <a:pt x="3010" y="81971"/>
                    <a:pt x="3440" y="81126"/>
                    <a:pt x="3440" y="81126"/>
                  </a:cubicBezTo>
                  <a:cubicBezTo>
                    <a:pt x="3440" y="80281"/>
                    <a:pt x="3010" y="79436"/>
                    <a:pt x="3010" y="79436"/>
                  </a:cubicBezTo>
                  <a:cubicBezTo>
                    <a:pt x="3010" y="78591"/>
                    <a:pt x="3440" y="77746"/>
                    <a:pt x="3440" y="77746"/>
                  </a:cubicBezTo>
                  <a:cubicBezTo>
                    <a:pt x="3010" y="77746"/>
                    <a:pt x="3010" y="76901"/>
                    <a:pt x="2580" y="76901"/>
                  </a:cubicBezTo>
                  <a:cubicBezTo>
                    <a:pt x="2580" y="76901"/>
                    <a:pt x="2580" y="76901"/>
                    <a:pt x="2580" y="76901"/>
                  </a:cubicBezTo>
                  <a:cubicBezTo>
                    <a:pt x="2580" y="76901"/>
                    <a:pt x="2580" y="76901"/>
                    <a:pt x="2580" y="76901"/>
                  </a:cubicBezTo>
                  <a:cubicBezTo>
                    <a:pt x="2580" y="76901"/>
                    <a:pt x="2580" y="76901"/>
                    <a:pt x="2580" y="76901"/>
                  </a:cubicBezTo>
                  <a:cubicBezTo>
                    <a:pt x="2580" y="76901"/>
                    <a:pt x="2580" y="76901"/>
                    <a:pt x="2580" y="76901"/>
                  </a:cubicBezTo>
                  <a:cubicBezTo>
                    <a:pt x="2580" y="76901"/>
                    <a:pt x="2580" y="76901"/>
                    <a:pt x="2580" y="76901"/>
                  </a:cubicBezTo>
                  <a:cubicBezTo>
                    <a:pt x="2580" y="76901"/>
                    <a:pt x="2580" y="76901"/>
                    <a:pt x="2580" y="76901"/>
                  </a:cubicBezTo>
                  <a:cubicBezTo>
                    <a:pt x="2580" y="76901"/>
                    <a:pt x="2580" y="76901"/>
                    <a:pt x="2580" y="76901"/>
                  </a:cubicBezTo>
                  <a:cubicBezTo>
                    <a:pt x="2580" y="76901"/>
                    <a:pt x="2580" y="76901"/>
                    <a:pt x="2580" y="76901"/>
                  </a:cubicBezTo>
                  <a:cubicBezTo>
                    <a:pt x="2580" y="76901"/>
                    <a:pt x="2580" y="76901"/>
                    <a:pt x="2580" y="76901"/>
                  </a:cubicBezTo>
                  <a:cubicBezTo>
                    <a:pt x="2580" y="76901"/>
                    <a:pt x="2580" y="76901"/>
                    <a:pt x="2580" y="76901"/>
                  </a:cubicBezTo>
                  <a:cubicBezTo>
                    <a:pt x="2580" y="76901"/>
                    <a:pt x="2580" y="76901"/>
                    <a:pt x="2580" y="76901"/>
                  </a:cubicBezTo>
                  <a:cubicBezTo>
                    <a:pt x="2580" y="76901"/>
                    <a:pt x="2580" y="76901"/>
                    <a:pt x="2580" y="76901"/>
                  </a:cubicBezTo>
                  <a:cubicBezTo>
                    <a:pt x="2580" y="76901"/>
                    <a:pt x="2580" y="76901"/>
                    <a:pt x="2580" y="76901"/>
                  </a:cubicBezTo>
                  <a:cubicBezTo>
                    <a:pt x="2580" y="76901"/>
                    <a:pt x="2580" y="76901"/>
                    <a:pt x="2580" y="76901"/>
                  </a:cubicBezTo>
                  <a:cubicBezTo>
                    <a:pt x="2580" y="76901"/>
                    <a:pt x="2580" y="76901"/>
                    <a:pt x="2580" y="76056"/>
                  </a:cubicBezTo>
                  <a:cubicBezTo>
                    <a:pt x="2580" y="76056"/>
                    <a:pt x="2580" y="76056"/>
                    <a:pt x="2580" y="76056"/>
                  </a:cubicBezTo>
                  <a:cubicBezTo>
                    <a:pt x="2580" y="76056"/>
                    <a:pt x="2580" y="76056"/>
                    <a:pt x="2580" y="76056"/>
                  </a:cubicBezTo>
                  <a:cubicBezTo>
                    <a:pt x="2580" y="76056"/>
                    <a:pt x="2580" y="76056"/>
                    <a:pt x="2580" y="76056"/>
                  </a:cubicBezTo>
                  <a:cubicBezTo>
                    <a:pt x="2580" y="76056"/>
                    <a:pt x="2580" y="76056"/>
                    <a:pt x="2580" y="76056"/>
                  </a:cubicBezTo>
                  <a:cubicBezTo>
                    <a:pt x="2580" y="76056"/>
                    <a:pt x="2580" y="76056"/>
                    <a:pt x="2580" y="76056"/>
                  </a:cubicBezTo>
                  <a:cubicBezTo>
                    <a:pt x="2580" y="76056"/>
                    <a:pt x="2580" y="76056"/>
                    <a:pt x="2580" y="76056"/>
                  </a:cubicBezTo>
                  <a:cubicBezTo>
                    <a:pt x="2580" y="76056"/>
                    <a:pt x="2580" y="76056"/>
                    <a:pt x="2580" y="76056"/>
                  </a:cubicBezTo>
                  <a:cubicBezTo>
                    <a:pt x="3440" y="74366"/>
                    <a:pt x="4301" y="72676"/>
                    <a:pt x="4301" y="72676"/>
                  </a:cubicBezTo>
                  <a:cubicBezTo>
                    <a:pt x="4301" y="72676"/>
                    <a:pt x="5161" y="71830"/>
                    <a:pt x="6021" y="72676"/>
                  </a:cubicBezTo>
                  <a:cubicBezTo>
                    <a:pt x="6451" y="73521"/>
                    <a:pt x="7311" y="75211"/>
                    <a:pt x="7741" y="76056"/>
                  </a:cubicBezTo>
                  <a:cubicBezTo>
                    <a:pt x="7741" y="76056"/>
                    <a:pt x="8172" y="76901"/>
                    <a:pt x="8602" y="76901"/>
                  </a:cubicBezTo>
                  <a:cubicBezTo>
                    <a:pt x="9032" y="76901"/>
                    <a:pt x="9462" y="77746"/>
                    <a:pt x="9462" y="77746"/>
                  </a:cubicBezTo>
                  <a:cubicBezTo>
                    <a:pt x="9462" y="78591"/>
                    <a:pt x="9892" y="77746"/>
                    <a:pt x="9892" y="79436"/>
                  </a:cubicBezTo>
                  <a:cubicBezTo>
                    <a:pt x="9462" y="81126"/>
                    <a:pt x="9462" y="82816"/>
                    <a:pt x="9892" y="82816"/>
                  </a:cubicBezTo>
                  <a:cubicBezTo>
                    <a:pt x="10752" y="81971"/>
                    <a:pt x="11182" y="81126"/>
                    <a:pt x="11182" y="81971"/>
                  </a:cubicBezTo>
                  <a:cubicBezTo>
                    <a:pt x="11182" y="82816"/>
                    <a:pt x="11612" y="81971"/>
                    <a:pt x="11182" y="83661"/>
                  </a:cubicBezTo>
                  <a:cubicBezTo>
                    <a:pt x="11182" y="85352"/>
                    <a:pt x="10752" y="86197"/>
                    <a:pt x="11182" y="86197"/>
                  </a:cubicBezTo>
                  <a:cubicBezTo>
                    <a:pt x="12043" y="87042"/>
                    <a:pt x="12903" y="87887"/>
                    <a:pt x="13333" y="87042"/>
                  </a:cubicBezTo>
                  <a:cubicBezTo>
                    <a:pt x="13763" y="85352"/>
                    <a:pt x="13333" y="87042"/>
                    <a:pt x="13763" y="85352"/>
                  </a:cubicBezTo>
                  <a:cubicBezTo>
                    <a:pt x="14193" y="82816"/>
                    <a:pt x="14193" y="83661"/>
                    <a:pt x="14623" y="82816"/>
                  </a:cubicBezTo>
                  <a:cubicBezTo>
                    <a:pt x="14623" y="81126"/>
                    <a:pt x="14623" y="81971"/>
                    <a:pt x="15053" y="80281"/>
                  </a:cubicBezTo>
                  <a:cubicBezTo>
                    <a:pt x="15053" y="78591"/>
                    <a:pt x="15483" y="79436"/>
                    <a:pt x="15053" y="78591"/>
                  </a:cubicBezTo>
                  <a:cubicBezTo>
                    <a:pt x="15053" y="78591"/>
                    <a:pt x="15053" y="77746"/>
                    <a:pt x="14623" y="76901"/>
                  </a:cubicBezTo>
                  <a:cubicBezTo>
                    <a:pt x="14623" y="75211"/>
                    <a:pt x="13763" y="76056"/>
                    <a:pt x="15053" y="75211"/>
                  </a:cubicBezTo>
                  <a:cubicBezTo>
                    <a:pt x="15913" y="74366"/>
                    <a:pt x="16344" y="74366"/>
                    <a:pt x="16344" y="74366"/>
                  </a:cubicBezTo>
                  <a:cubicBezTo>
                    <a:pt x="16344" y="73521"/>
                    <a:pt x="17634" y="73521"/>
                    <a:pt x="17634" y="73521"/>
                  </a:cubicBezTo>
                  <a:cubicBezTo>
                    <a:pt x="17634" y="73521"/>
                    <a:pt x="18924" y="73521"/>
                    <a:pt x="18924" y="73521"/>
                  </a:cubicBezTo>
                  <a:cubicBezTo>
                    <a:pt x="19354" y="73521"/>
                    <a:pt x="21075" y="73521"/>
                    <a:pt x="21075" y="74366"/>
                  </a:cubicBezTo>
                  <a:cubicBezTo>
                    <a:pt x="21075" y="75211"/>
                    <a:pt x="21935" y="75211"/>
                    <a:pt x="21935" y="75211"/>
                  </a:cubicBezTo>
                  <a:cubicBezTo>
                    <a:pt x="21935" y="75211"/>
                    <a:pt x="22795" y="75211"/>
                    <a:pt x="23225" y="76901"/>
                  </a:cubicBezTo>
                  <a:cubicBezTo>
                    <a:pt x="23225" y="79436"/>
                    <a:pt x="23225" y="81126"/>
                    <a:pt x="23655" y="80281"/>
                  </a:cubicBezTo>
                  <a:cubicBezTo>
                    <a:pt x="24086" y="80281"/>
                    <a:pt x="24946" y="81971"/>
                    <a:pt x="24946" y="81126"/>
                  </a:cubicBezTo>
                  <a:cubicBezTo>
                    <a:pt x="25376" y="80281"/>
                    <a:pt x="25806" y="79436"/>
                    <a:pt x="26236" y="79436"/>
                  </a:cubicBezTo>
                  <a:cubicBezTo>
                    <a:pt x="26666" y="79436"/>
                    <a:pt x="25806" y="78591"/>
                    <a:pt x="27096" y="78591"/>
                  </a:cubicBezTo>
                  <a:cubicBezTo>
                    <a:pt x="28817" y="79436"/>
                    <a:pt x="28387" y="80281"/>
                    <a:pt x="29247" y="78591"/>
                  </a:cubicBezTo>
                  <a:cubicBezTo>
                    <a:pt x="29677" y="76901"/>
                    <a:pt x="29677" y="76901"/>
                    <a:pt x="30537" y="76056"/>
                  </a:cubicBezTo>
                  <a:cubicBezTo>
                    <a:pt x="30967" y="75211"/>
                    <a:pt x="30967" y="75211"/>
                    <a:pt x="31397" y="74366"/>
                  </a:cubicBezTo>
                  <a:cubicBezTo>
                    <a:pt x="31397" y="74366"/>
                    <a:pt x="33118" y="74366"/>
                    <a:pt x="33118" y="74366"/>
                  </a:cubicBezTo>
                  <a:cubicBezTo>
                    <a:pt x="33548" y="73521"/>
                    <a:pt x="33978" y="71830"/>
                    <a:pt x="34408" y="71830"/>
                  </a:cubicBezTo>
                  <a:cubicBezTo>
                    <a:pt x="34408" y="71830"/>
                    <a:pt x="36129" y="71830"/>
                    <a:pt x="36559" y="71830"/>
                  </a:cubicBezTo>
                  <a:cubicBezTo>
                    <a:pt x="36989" y="71830"/>
                    <a:pt x="37849" y="71830"/>
                    <a:pt x="38279" y="70985"/>
                  </a:cubicBezTo>
                  <a:cubicBezTo>
                    <a:pt x="38279" y="70140"/>
                    <a:pt x="38279" y="70140"/>
                    <a:pt x="38709" y="69295"/>
                  </a:cubicBezTo>
                  <a:cubicBezTo>
                    <a:pt x="39569" y="69295"/>
                    <a:pt x="40000" y="69295"/>
                    <a:pt x="40860" y="69295"/>
                  </a:cubicBezTo>
                  <a:cubicBezTo>
                    <a:pt x="41720" y="69295"/>
                    <a:pt x="41720" y="69295"/>
                    <a:pt x="42150" y="69295"/>
                  </a:cubicBezTo>
                  <a:cubicBezTo>
                    <a:pt x="42580" y="69295"/>
                    <a:pt x="43010" y="70985"/>
                    <a:pt x="43010" y="68450"/>
                  </a:cubicBezTo>
                  <a:cubicBezTo>
                    <a:pt x="42580" y="65915"/>
                    <a:pt x="42150" y="65915"/>
                    <a:pt x="42580" y="65070"/>
                  </a:cubicBezTo>
                  <a:cubicBezTo>
                    <a:pt x="43440" y="65070"/>
                    <a:pt x="44301" y="65070"/>
                    <a:pt x="44301" y="65070"/>
                  </a:cubicBezTo>
                  <a:cubicBezTo>
                    <a:pt x="44731" y="65070"/>
                    <a:pt x="46451" y="65915"/>
                    <a:pt x="46881" y="65915"/>
                  </a:cubicBezTo>
                  <a:cubicBezTo>
                    <a:pt x="46881" y="65915"/>
                    <a:pt x="47311" y="67605"/>
                    <a:pt x="47311" y="67605"/>
                  </a:cubicBezTo>
                  <a:cubicBezTo>
                    <a:pt x="47741" y="67605"/>
                    <a:pt x="48172" y="68450"/>
                    <a:pt x="48602" y="67605"/>
                  </a:cubicBezTo>
                  <a:cubicBezTo>
                    <a:pt x="48602" y="67605"/>
                    <a:pt x="49032" y="65915"/>
                    <a:pt x="49462" y="65915"/>
                  </a:cubicBezTo>
                  <a:cubicBezTo>
                    <a:pt x="49892" y="65915"/>
                    <a:pt x="51182" y="65915"/>
                    <a:pt x="51182" y="65915"/>
                  </a:cubicBezTo>
                  <a:cubicBezTo>
                    <a:pt x="51182" y="65915"/>
                    <a:pt x="52903" y="66760"/>
                    <a:pt x="52903" y="66760"/>
                  </a:cubicBezTo>
                  <a:cubicBezTo>
                    <a:pt x="52903" y="66760"/>
                    <a:pt x="52473" y="68450"/>
                    <a:pt x="52473" y="69295"/>
                  </a:cubicBezTo>
                  <a:cubicBezTo>
                    <a:pt x="52473" y="70140"/>
                    <a:pt x="52473" y="70985"/>
                    <a:pt x="52903" y="71830"/>
                  </a:cubicBezTo>
                  <a:cubicBezTo>
                    <a:pt x="52903" y="71830"/>
                    <a:pt x="53763" y="73521"/>
                    <a:pt x="53763" y="73521"/>
                  </a:cubicBezTo>
                  <a:cubicBezTo>
                    <a:pt x="53763" y="73521"/>
                    <a:pt x="55913" y="75211"/>
                    <a:pt x="55913" y="75211"/>
                  </a:cubicBezTo>
                  <a:cubicBezTo>
                    <a:pt x="55913" y="75211"/>
                    <a:pt x="56344" y="76056"/>
                    <a:pt x="56344" y="72676"/>
                  </a:cubicBezTo>
                  <a:cubicBezTo>
                    <a:pt x="56344" y="69295"/>
                    <a:pt x="56344" y="68450"/>
                    <a:pt x="56344" y="68450"/>
                  </a:cubicBezTo>
                  <a:cubicBezTo>
                    <a:pt x="56344" y="65070"/>
                    <a:pt x="56344" y="65070"/>
                    <a:pt x="56344" y="65070"/>
                  </a:cubicBezTo>
                  <a:cubicBezTo>
                    <a:pt x="56344" y="65070"/>
                    <a:pt x="56344" y="64225"/>
                    <a:pt x="55913" y="64225"/>
                  </a:cubicBezTo>
                  <a:cubicBezTo>
                    <a:pt x="55913" y="64225"/>
                    <a:pt x="55483" y="64225"/>
                    <a:pt x="55483" y="64225"/>
                  </a:cubicBezTo>
                  <a:cubicBezTo>
                    <a:pt x="55483" y="64225"/>
                    <a:pt x="53763" y="63380"/>
                    <a:pt x="53333" y="63380"/>
                  </a:cubicBezTo>
                  <a:cubicBezTo>
                    <a:pt x="52903" y="63380"/>
                    <a:pt x="53333" y="61690"/>
                    <a:pt x="53333" y="60845"/>
                  </a:cubicBezTo>
                  <a:cubicBezTo>
                    <a:pt x="53333" y="60845"/>
                    <a:pt x="54193" y="59154"/>
                    <a:pt x="54193" y="59154"/>
                  </a:cubicBezTo>
                  <a:cubicBezTo>
                    <a:pt x="54193" y="56619"/>
                    <a:pt x="54193" y="56619"/>
                    <a:pt x="54193" y="56619"/>
                  </a:cubicBezTo>
                  <a:cubicBezTo>
                    <a:pt x="52903" y="52394"/>
                    <a:pt x="52903" y="52394"/>
                    <a:pt x="52903" y="52394"/>
                  </a:cubicBezTo>
                  <a:cubicBezTo>
                    <a:pt x="51612" y="49859"/>
                    <a:pt x="51612" y="49859"/>
                    <a:pt x="51612" y="49859"/>
                  </a:cubicBezTo>
                  <a:cubicBezTo>
                    <a:pt x="50752" y="45633"/>
                    <a:pt x="50752" y="45633"/>
                    <a:pt x="50752" y="45633"/>
                  </a:cubicBezTo>
                  <a:cubicBezTo>
                    <a:pt x="50752" y="45633"/>
                    <a:pt x="50752" y="45633"/>
                    <a:pt x="50752" y="45633"/>
                  </a:cubicBezTo>
                  <a:cubicBezTo>
                    <a:pt x="50752" y="45633"/>
                    <a:pt x="50752" y="45633"/>
                    <a:pt x="50752" y="45633"/>
                  </a:cubicBezTo>
                  <a:cubicBezTo>
                    <a:pt x="52043" y="43943"/>
                    <a:pt x="52043" y="43943"/>
                    <a:pt x="52043" y="43943"/>
                  </a:cubicBezTo>
                  <a:cubicBezTo>
                    <a:pt x="52903" y="42253"/>
                    <a:pt x="54193" y="40563"/>
                    <a:pt x="54193" y="40563"/>
                  </a:cubicBezTo>
                  <a:cubicBezTo>
                    <a:pt x="54193" y="40563"/>
                    <a:pt x="54193" y="40563"/>
                    <a:pt x="54623" y="40563"/>
                  </a:cubicBezTo>
                  <a:cubicBezTo>
                    <a:pt x="55483" y="38873"/>
                    <a:pt x="55483" y="38873"/>
                    <a:pt x="55483" y="38873"/>
                  </a:cubicBezTo>
                  <a:cubicBezTo>
                    <a:pt x="55483" y="38873"/>
                    <a:pt x="57634" y="37183"/>
                    <a:pt x="57634" y="37183"/>
                  </a:cubicBezTo>
                  <a:cubicBezTo>
                    <a:pt x="57634" y="37183"/>
                    <a:pt x="58064" y="36338"/>
                    <a:pt x="58064" y="36338"/>
                  </a:cubicBezTo>
                  <a:cubicBezTo>
                    <a:pt x="58494" y="36338"/>
                    <a:pt x="58494" y="36338"/>
                    <a:pt x="58494" y="36338"/>
                  </a:cubicBezTo>
                  <a:cubicBezTo>
                    <a:pt x="60645" y="32112"/>
                    <a:pt x="60645" y="32112"/>
                    <a:pt x="60645" y="32112"/>
                  </a:cubicBezTo>
                  <a:cubicBezTo>
                    <a:pt x="60645" y="27887"/>
                    <a:pt x="60645" y="27887"/>
                    <a:pt x="60645" y="27887"/>
                  </a:cubicBezTo>
                  <a:cubicBezTo>
                    <a:pt x="61075" y="26197"/>
                    <a:pt x="61075" y="26197"/>
                    <a:pt x="61075" y="26197"/>
                  </a:cubicBezTo>
                  <a:cubicBezTo>
                    <a:pt x="61075" y="25352"/>
                    <a:pt x="61075" y="23661"/>
                    <a:pt x="61075" y="23661"/>
                  </a:cubicBezTo>
                  <a:cubicBezTo>
                    <a:pt x="63655" y="23661"/>
                    <a:pt x="63655" y="23661"/>
                    <a:pt x="63655" y="23661"/>
                  </a:cubicBezTo>
                  <a:cubicBezTo>
                    <a:pt x="63655" y="23661"/>
                    <a:pt x="64086" y="24507"/>
                    <a:pt x="64516" y="25352"/>
                  </a:cubicBezTo>
                  <a:cubicBezTo>
                    <a:pt x="64946" y="25352"/>
                    <a:pt x="65376" y="24507"/>
                    <a:pt x="65376" y="24507"/>
                  </a:cubicBezTo>
                  <a:cubicBezTo>
                    <a:pt x="65806" y="24507"/>
                    <a:pt x="66236" y="22816"/>
                    <a:pt x="66236" y="22816"/>
                  </a:cubicBezTo>
                  <a:cubicBezTo>
                    <a:pt x="66236" y="20281"/>
                    <a:pt x="66236" y="20281"/>
                    <a:pt x="66236" y="20281"/>
                  </a:cubicBezTo>
                  <a:cubicBezTo>
                    <a:pt x="65806" y="16056"/>
                    <a:pt x="65806" y="16056"/>
                    <a:pt x="65806" y="16056"/>
                  </a:cubicBezTo>
                  <a:cubicBezTo>
                    <a:pt x="65806" y="13521"/>
                    <a:pt x="65806" y="13521"/>
                    <a:pt x="65806" y="13521"/>
                  </a:cubicBezTo>
                  <a:cubicBezTo>
                    <a:pt x="65806" y="13521"/>
                    <a:pt x="65806" y="13521"/>
                    <a:pt x="65806" y="13521"/>
                  </a:cubicBezTo>
                  <a:cubicBezTo>
                    <a:pt x="66236" y="13521"/>
                    <a:pt x="67956" y="16056"/>
                    <a:pt x="68817" y="16901"/>
                  </a:cubicBezTo>
                  <a:cubicBezTo>
                    <a:pt x="69247" y="17746"/>
                    <a:pt x="70537" y="20281"/>
                    <a:pt x="70537" y="20281"/>
                  </a:cubicBezTo>
                  <a:cubicBezTo>
                    <a:pt x="70537" y="20281"/>
                    <a:pt x="72688" y="21126"/>
                    <a:pt x="73118" y="21126"/>
                  </a:cubicBezTo>
                  <a:cubicBezTo>
                    <a:pt x="73118" y="21126"/>
                    <a:pt x="75268" y="21971"/>
                    <a:pt x="75268" y="21971"/>
                  </a:cubicBezTo>
                  <a:cubicBezTo>
                    <a:pt x="75698" y="20281"/>
                    <a:pt x="75698" y="20281"/>
                    <a:pt x="75698" y="20281"/>
                  </a:cubicBezTo>
                  <a:cubicBezTo>
                    <a:pt x="76989" y="18591"/>
                    <a:pt x="76989" y="18591"/>
                    <a:pt x="76989" y="18591"/>
                  </a:cubicBezTo>
                  <a:cubicBezTo>
                    <a:pt x="78709" y="21126"/>
                    <a:pt x="78709" y="21126"/>
                    <a:pt x="78709" y="21126"/>
                  </a:cubicBezTo>
                  <a:cubicBezTo>
                    <a:pt x="80430" y="20281"/>
                    <a:pt x="80430" y="20281"/>
                    <a:pt x="80430" y="20281"/>
                  </a:cubicBezTo>
                  <a:close/>
                  <a:moveTo>
                    <a:pt x="2150" y="76901"/>
                  </a:moveTo>
                  <a:cubicBezTo>
                    <a:pt x="2150" y="76901"/>
                    <a:pt x="2150" y="76901"/>
                    <a:pt x="2150" y="76901"/>
                  </a:cubicBezTo>
                  <a:cubicBezTo>
                    <a:pt x="2150" y="76901"/>
                    <a:pt x="2150" y="76901"/>
                    <a:pt x="2150" y="76901"/>
                  </a:cubicBezTo>
                  <a:cubicBezTo>
                    <a:pt x="2150" y="76901"/>
                    <a:pt x="2150" y="76901"/>
                    <a:pt x="2150" y="76901"/>
                  </a:cubicBezTo>
                  <a:close/>
                  <a:moveTo>
                    <a:pt x="430" y="96338"/>
                  </a:moveTo>
                  <a:cubicBezTo>
                    <a:pt x="430" y="96338"/>
                    <a:pt x="430" y="96338"/>
                    <a:pt x="430" y="96338"/>
                  </a:cubicBezTo>
                  <a:cubicBezTo>
                    <a:pt x="430" y="96338"/>
                    <a:pt x="430" y="96338"/>
                    <a:pt x="430" y="96338"/>
                  </a:cubicBezTo>
                  <a:cubicBezTo>
                    <a:pt x="430" y="96338"/>
                    <a:pt x="430" y="96338"/>
                    <a:pt x="430" y="96338"/>
                  </a:cubicBezTo>
                  <a:cubicBezTo>
                    <a:pt x="430" y="96338"/>
                    <a:pt x="430" y="96338"/>
                    <a:pt x="430" y="96338"/>
                  </a:cubicBezTo>
                  <a:close/>
                  <a:moveTo>
                    <a:pt x="430" y="96338"/>
                  </a:moveTo>
                  <a:cubicBezTo>
                    <a:pt x="430" y="96338"/>
                    <a:pt x="430" y="96338"/>
                    <a:pt x="430" y="96338"/>
                  </a:cubicBezTo>
                  <a:cubicBezTo>
                    <a:pt x="430" y="96338"/>
                    <a:pt x="430" y="95492"/>
                    <a:pt x="430" y="95492"/>
                  </a:cubicBezTo>
                  <a:cubicBezTo>
                    <a:pt x="430" y="95492"/>
                    <a:pt x="430" y="95492"/>
                    <a:pt x="430" y="95492"/>
                  </a:cubicBezTo>
                  <a:cubicBezTo>
                    <a:pt x="430" y="95492"/>
                    <a:pt x="860" y="95492"/>
                    <a:pt x="860" y="94647"/>
                  </a:cubicBezTo>
                  <a:cubicBezTo>
                    <a:pt x="860" y="94647"/>
                    <a:pt x="860" y="94647"/>
                    <a:pt x="860" y="94647"/>
                  </a:cubicBezTo>
                  <a:cubicBezTo>
                    <a:pt x="860" y="94647"/>
                    <a:pt x="860" y="94647"/>
                    <a:pt x="860" y="94647"/>
                  </a:cubicBezTo>
                  <a:cubicBezTo>
                    <a:pt x="860" y="94647"/>
                    <a:pt x="860" y="94647"/>
                    <a:pt x="860" y="94647"/>
                  </a:cubicBezTo>
                  <a:cubicBezTo>
                    <a:pt x="430" y="94647"/>
                    <a:pt x="430" y="94647"/>
                    <a:pt x="430" y="94647"/>
                  </a:cubicBezTo>
                  <a:cubicBezTo>
                    <a:pt x="0" y="96338"/>
                    <a:pt x="0" y="96338"/>
                    <a:pt x="0" y="96338"/>
                  </a:cubicBezTo>
                  <a:lnTo>
                    <a:pt x="430" y="96338"/>
                  </a:lnTo>
                  <a:close/>
                </a:path>
              </a:pathLst>
            </a:custGeom>
            <a:grpFill/>
            <a:ln w="3175" cap="flat" cmpd="sng">
              <a:solidFill>
                <a:schemeClr val="tx1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defTabSz="457178"/>
              <a:endParaRPr kern="0">
                <a:solidFill>
                  <a:srgbClr val="7F7F7F"/>
                </a:solidFill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34" name="Shape 2041">
              <a:extLst>
                <a:ext uri="{FF2B5EF4-FFF2-40B4-BE49-F238E27FC236}">
                  <a16:creationId xmlns:a16="http://schemas.microsoft.com/office/drawing/2014/main" id="{F0B44224-02D2-4BB4-B603-195166BBEAA0}"/>
                </a:ext>
              </a:extLst>
            </p:cNvPr>
            <p:cNvSpPr/>
            <p:nvPr/>
          </p:nvSpPr>
          <p:spPr>
            <a:xfrm>
              <a:off x="3808896" y="2714110"/>
              <a:ext cx="1185185" cy="1190072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59769" y="105055"/>
                  </a:moveTo>
                  <a:cubicBezTo>
                    <a:pt x="60230" y="104386"/>
                    <a:pt x="60230" y="104386"/>
                    <a:pt x="60230" y="104386"/>
                  </a:cubicBezTo>
                  <a:cubicBezTo>
                    <a:pt x="60230" y="104386"/>
                    <a:pt x="60230" y="103048"/>
                    <a:pt x="59769" y="102825"/>
                  </a:cubicBezTo>
                  <a:cubicBezTo>
                    <a:pt x="59538" y="102602"/>
                    <a:pt x="59307" y="102379"/>
                    <a:pt x="59307" y="102379"/>
                  </a:cubicBezTo>
                  <a:cubicBezTo>
                    <a:pt x="59307" y="102379"/>
                    <a:pt x="59307" y="101486"/>
                    <a:pt x="59307" y="101040"/>
                  </a:cubicBezTo>
                  <a:cubicBezTo>
                    <a:pt x="59307" y="100817"/>
                    <a:pt x="59307" y="99925"/>
                    <a:pt x="59307" y="99702"/>
                  </a:cubicBezTo>
                  <a:cubicBezTo>
                    <a:pt x="59307" y="99479"/>
                    <a:pt x="59538" y="98587"/>
                    <a:pt x="59538" y="98364"/>
                  </a:cubicBezTo>
                  <a:cubicBezTo>
                    <a:pt x="59538" y="98364"/>
                    <a:pt x="59307" y="98364"/>
                    <a:pt x="59769" y="97918"/>
                  </a:cubicBezTo>
                  <a:cubicBezTo>
                    <a:pt x="60230" y="97249"/>
                    <a:pt x="60230" y="96802"/>
                    <a:pt x="60230" y="96802"/>
                  </a:cubicBezTo>
                  <a:cubicBezTo>
                    <a:pt x="61153" y="95687"/>
                    <a:pt x="61153" y="95687"/>
                    <a:pt x="61153" y="95687"/>
                  </a:cubicBezTo>
                  <a:cubicBezTo>
                    <a:pt x="61153" y="95687"/>
                    <a:pt x="61846" y="94572"/>
                    <a:pt x="62076" y="94572"/>
                  </a:cubicBezTo>
                  <a:cubicBezTo>
                    <a:pt x="62307" y="94795"/>
                    <a:pt x="63230" y="94572"/>
                    <a:pt x="63461" y="94572"/>
                  </a:cubicBezTo>
                  <a:cubicBezTo>
                    <a:pt x="63692" y="94572"/>
                    <a:pt x="64615" y="95464"/>
                    <a:pt x="65076" y="94572"/>
                  </a:cubicBezTo>
                  <a:cubicBezTo>
                    <a:pt x="65538" y="93903"/>
                    <a:pt x="65769" y="93457"/>
                    <a:pt x="65769" y="93234"/>
                  </a:cubicBezTo>
                  <a:cubicBezTo>
                    <a:pt x="66000" y="93011"/>
                    <a:pt x="66230" y="92342"/>
                    <a:pt x="66923" y="92342"/>
                  </a:cubicBezTo>
                  <a:cubicBezTo>
                    <a:pt x="67615" y="92118"/>
                    <a:pt x="69230" y="92118"/>
                    <a:pt x="69230" y="92118"/>
                  </a:cubicBezTo>
                  <a:cubicBezTo>
                    <a:pt x="69923" y="92342"/>
                    <a:pt x="69923" y="92342"/>
                    <a:pt x="69923" y="92342"/>
                  </a:cubicBezTo>
                  <a:cubicBezTo>
                    <a:pt x="71769" y="93011"/>
                    <a:pt x="71769" y="93011"/>
                    <a:pt x="71769" y="93011"/>
                  </a:cubicBezTo>
                  <a:cubicBezTo>
                    <a:pt x="71769" y="93011"/>
                    <a:pt x="72461" y="93011"/>
                    <a:pt x="72923" y="93011"/>
                  </a:cubicBezTo>
                  <a:cubicBezTo>
                    <a:pt x="73153" y="93011"/>
                    <a:pt x="73384" y="93011"/>
                    <a:pt x="73384" y="93011"/>
                  </a:cubicBezTo>
                  <a:cubicBezTo>
                    <a:pt x="74076" y="93903"/>
                    <a:pt x="74076" y="93903"/>
                    <a:pt x="74076" y="93903"/>
                  </a:cubicBezTo>
                  <a:cubicBezTo>
                    <a:pt x="74076" y="93903"/>
                    <a:pt x="75000" y="94349"/>
                    <a:pt x="75230" y="94349"/>
                  </a:cubicBezTo>
                  <a:cubicBezTo>
                    <a:pt x="75461" y="94349"/>
                    <a:pt x="77307" y="93903"/>
                    <a:pt x="77307" y="93903"/>
                  </a:cubicBezTo>
                  <a:cubicBezTo>
                    <a:pt x="77307" y="93903"/>
                    <a:pt x="78000" y="93680"/>
                    <a:pt x="78230" y="93903"/>
                  </a:cubicBezTo>
                  <a:cubicBezTo>
                    <a:pt x="78461" y="94126"/>
                    <a:pt x="79153" y="94349"/>
                    <a:pt x="79384" y="94572"/>
                  </a:cubicBezTo>
                  <a:cubicBezTo>
                    <a:pt x="79384" y="94795"/>
                    <a:pt x="81230" y="95687"/>
                    <a:pt x="81692" y="95910"/>
                  </a:cubicBezTo>
                  <a:cubicBezTo>
                    <a:pt x="81923" y="96133"/>
                    <a:pt x="82846" y="95910"/>
                    <a:pt x="82846" y="95910"/>
                  </a:cubicBezTo>
                  <a:cubicBezTo>
                    <a:pt x="83307" y="97026"/>
                    <a:pt x="83307" y="97026"/>
                    <a:pt x="83307" y="97026"/>
                  </a:cubicBezTo>
                  <a:cubicBezTo>
                    <a:pt x="85615" y="97695"/>
                    <a:pt x="85615" y="97695"/>
                    <a:pt x="85615" y="97695"/>
                  </a:cubicBezTo>
                  <a:cubicBezTo>
                    <a:pt x="86538" y="97695"/>
                    <a:pt x="86538" y="97695"/>
                    <a:pt x="86538" y="97695"/>
                  </a:cubicBezTo>
                  <a:cubicBezTo>
                    <a:pt x="89769" y="98810"/>
                    <a:pt x="89769" y="98810"/>
                    <a:pt x="89769" y="98810"/>
                  </a:cubicBezTo>
                  <a:cubicBezTo>
                    <a:pt x="91846" y="97249"/>
                    <a:pt x="91846" y="97249"/>
                    <a:pt x="91846" y="97249"/>
                  </a:cubicBezTo>
                  <a:cubicBezTo>
                    <a:pt x="91846" y="97249"/>
                    <a:pt x="92307" y="97472"/>
                    <a:pt x="92538" y="97472"/>
                  </a:cubicBezTo>
                  <a:cubicBezTo>
                    <a:pt x="92769" y="97472"/>
                    <a:pt x="93230" y="95687"/>
                    <a:pt x="93230" y="95687"/>
                  </a:cubicBezTo>
                  <a:cubicBezTo>
                    <a:pt x="93230" y="95687"/>
                    <a:pt x="93230" y="95241"/>
                    <a:pt x="93461" y="95241"/>
                  </a:cubicBezTo>
                  <a:cubicBezTo>
                    <a:pt x="93923" y="95241"/>
                    <a:pt x="95538" y="94572"/>
                    <a:pt x="95538" y="94572"/>
                  </a:cubicBezTo>
                  <a:cubicBezTo>
                    <a:pt x="95538" y="94349"/>
                    <a:pt x="95307" y="93457"/>
                    <a:pt x="96000" y="93234"/>
                  </a:cubicBezTo>
                  <a:cubicBezTo>
                    <a:pt x="96461" y="93011"/>
                    <a:pt x="97384" y="92342"/>
                    <a:pt x="97384" y="92342"/>
                  </a:cubicBezTo>
                  <a:cubicBezTo>
                    <a:pt x="97615" y="92118"/>
                    <a:pt x="97153" y="91672"/>
                    <a:pt x="97846" y="91449"/>
                  </a:cubicBezTo>
                  <a:cubicBezTo>
                    <a:pt x="98307" y="91449"/>
                    <a:pt x="99000" y="91226"/>
                    <a:pt x="99461" y="91226"/>
                  </a:cubicBezTo>
                  <a:cubicBezTo>
                    <a:pt x="99461" y="91226"/>
                    <a:pt x="99461" y="91226"/>
                    <a:pt x="99461" y="91226"/>
                  </a:cubicBezTo>
                  <a:cubicBezTo>
                    <a:pt x="99461" y="91003"/>
                    <a:pt x="99461" y="91003"/>
                    <a:pt x="99461" y="91003"/>
                  </a:cubicBezTo>
                  <a:cubicBezTo>
                    <a:pt x="99461" y="91003"/>
                    <a:pt x="99461" y="91003"/>
                    <a:pt x="99461" y="91003"/>
                  </a:cubicBezTo>
                  <a:cubicBezTo>
                    <a:pt x="99692" y="91003"/>
                    <a:pt x="99692" y="91003"/>
                    <a:pt x="99692" y="91003"/>
                  </a:cubicBezTo>
                  <a:cubicBezTo>
                    <a:pt x="99692" y="91003"/>
                    <a:pt x="99692" y="91003"/>
                    <a:pt x="99692" y="91003"/>
                  </a:cubicBezTo>
                  <a:cubicBezTo>
                    <a:pt x="99692" y="91003"/>
                    <a:pt x="99692" y="91003"/>
                    <a:pt x="99692" y="91003"/>
                  </a:cubicBezTo>
                  <a:cubicBezTo>
                    <a:pt x="99692" y="91003"/>
                    <a:pt x="99692" y="91003"/>
                    <a:pt x="99692" y="91003"/>
                  </a:cubicBezTo>
                  <a:cubicBezTo>
                    <a:pt x="99692" y="91003"/>
                    <a:pt x="99692" y="91003"/>
                    <a:pt x="99692" y="91003"/>
                  </a:cubicBezTo>
                  <a:cubicBezTo>
                    <a:pt x="99692" y="91003"/>
                    <a:pt x="99692" y="91003"/>
                    <a:pt x="99692" y="91003"/>
                  </a:cubicBezTo>
                  <a:cubicBezTo>
                    <a:pt x="99923" y="90780"/>
                    <a:pt x="99923" y="90780"/>
                    <a:pt x="99923" y="90780"/>
                  </a:cubicBezTo>
                  <a:cubicBezTo>
                    <a:pt x="99923" y="90780"/>
                    <a:pt x="99923" y="90780"/>
                    <a:pt x="99923" y="90780"/>
                  </a:cubicBezTo>
                  <a:cubicBezTo>
                    <a:pt x="99923" y="90780"/>
                    <a:pt x="99923" y="90780"/>
                    <a:pt x="99923" y="90780"/>
                  </a:cubicBezTo>
                  <a:cubicBezTo>
                    <a:pt x="100153" y="90780"/>
                    <a:pt x="100153" y="90780"/>
                    <a:pt x="100153" y="90780"/>
                  </a:cubicBezTo>
                  <a:cubicBezTo>
                    <a:pt x="100153" y="90780"/>
                    <a:pt x="100153" y="90780"/>
                    <a:pt x="100153" y="90780"/>
                  </a:cubicBezTo>
                  <a:cubicBezTo>
                    <a:pt x="100153" y="90780"/>
                    <a:pt x="100153" y="90780"/>
                    <a:pt x="100153" y="90780"/>
                  </a:cubicBezTo>
                  <a:cubicBezTo>
                    <a:pt x="100153" y="90780"/>
                    <a:pt x="100153" y="90780"/>
                    <a:pt x="100153" y="90780"/>
                  </a:cubicBezTo>
                  <a:cubicBezTo>
                    <a:pt x="100153" y="90780"/>
                    <a:pt x="100153" y="90780"/>
                    <a:pt x="100153" y="90780"/>
                  </a:cubicBezTo>
                  <a:cubicBezTo>
                    <a:pt x="100153" y="90780"/>
                    <a:pt x="100153" y="90780"/>
                    <a:pt x="100153" y="90780"/>
                  </a:cubicBezTo>
                  <a:cubicBezTo>
                    <a:pt x="100153" y="90780"/>
                    <a:pt x="100153" y="90780"/>
                    <a:pt x="100153" y="90780"/>
                  </a:cubicBezTo>
                  <a:cubicBezTo>
                    <a:pt x="100153" y="90780"/>
                    <a:pt x="100153" y="90780"/>
                    <a:pt x="100153" y="90780"/>
                  </a:cubicBezTo>
                  <a:cubicBezTo>
                    <a:pt x="100384" y="90780"/>
                    <a:pt x="100384" y="90780"/>
                    <a:pt x="100384" y="90780"/>
                  </a:cubicBezTo>
                  <a:cubicBezTo>
                    <a:pt x="100384" y="90780"/>
                    <a:pt x="100384" y="90780"/>
                    <a:pt x="100384" y="90780"/>
                  </a:cubicBezTo>
                  <a:cubicBezTo>
                    <a:pt x="100384" y="90780"/>
                    <a:pt x="100384" y="90780"/>
                    <a:pt x="100384" y="90780"/>
                  </a:cubicBezTo>
                  <a:cubicBezTo>
                    <a:pt x="100384" y="90780"/>
                    <a:pt x="100384" y="90780"/>
                    <a:pt x="100384" y="90780"/>
                  </a:cubicBezTo>
                  <a:cubicBezTo>
                    <a:pt x="100384" y="90557"/>
                    <a:pt x="100384" y="90557"/>
                    <a:pt x="100384" y="90557"/>
                  </a:cubicBezTo>
                  <a:cubicBezTo>
                    <a:pt x="100384" y="90557"/>
                    <a:pt x="100384" y="90557"/>
                    <a:pt x="100384" y="90557"/>
                  </a:cubicBezTo>
                  <a:cubicBezTo>
                    <a:pt x="100384" y="90557"/>
                    <a:pt x="100384" y="90557"/>
                    <a:pt x="100384" y="90557"/>
                  </a:cubicBezTo>
                  <a:cubicBezTo>
                    <a:pt x="100384" y="90557"/>
                    <a:pt x="100384" y="90557"/>
                    <a:pt x="100384" y="90557"/>
                  </a:cubicBezTo>
                  <a:cubicBezTo>
                    <a:pt x="100384" y="90557"/>
                    <a:pt x="100384" y="90557"/>
                    <a:pt x="100384" y="90557"/>
                  </a:cubicBezTo>
                  <a:cubicBezTo>
                    <a:pt x="100384" y="90557"/>
                    <a:pt x="100384" y="90557"/>
                    <a:pt x="100384" y="90557"/>
                  </a:cubicBezTo>
                  <a:cubicBezTo>
                    <a:pt x="100615" y="90557"/>
                    <a:pt x="100615" y="90557"/>
                    <a:pt x="100615" y="90557"/>
                  </a:cubicBezTo>
                  <a:cubicBezTo>
                    <a:pt x="100615" y="90557"/>
                    <a:pt x="100615" y="90557"/>
                    <a:pt x="100615" y="90557"/>
                  </a:cubicBezTo>
                  <a:cubicBezTo>
                    <a:pt x="100615" y="90557"/>
                    <a:pt x="100615" y="90557"/>
                    <a:pt x="100615" y="90557"/>
                  </a:cubicBezTo>
                  <a:cubicBezTo>
                    <a:pt x="100615" y="90557"/>
                    <a:pt x="100615" y="90557"/>
                    <a:pt x="100615" y="90557"/>
                  </a:cubicBezTo>
                  <a:cubicBezTo>
                    <a:pt x="100615" y="90557"/>
                    <a:pt x="100615" y="90557"/>
                    <a:pt x="100615" y="90557"/>
                  </a:cubicBezTo>
                  <a:cubicBezTo>
                    <a:pt x="100615" y="90557"/>
                    <a:pt x="100615" y="90557"/>
                    <a:pt x="100615" y="90557"/>
                  </a:cubicBezTo>
                  <a:cubicBezTo>
                    <a:pt x="100615" y="90557"/>
                    <a:pt x="100615" y="90557"/>
                    <a:pt x="100615" y="90557"/>
                  </a:cubicBezTo>
                  <a:cubicBezTo>
                    <a:pt x="100615" y="90557"/>
                    <a:pt x="100615" y="90557"/>
                    <a:pt x="100615" y="90557"/>
                  </a:cubicBezTo>
                  <a:cubicBezTo>
                    <a:pt x="100846" y="90334"/>
                    <a:pt x="101076" y="90334"/>
                    <a:pt x="101076" y="90334"/>
                  </a:cubicBezTo>
                  <a:cubicBezTo>
                    <a:pt x="102461" y="89219"/>
                    <a:pt x="102461" y="89219"/>
                    <a:pt x="102461" y="89219"/>
                  </a:cubicBezTo>
                  <a:cubicBezTo>
                    <a:pt x="103153" y="86765"/>
                    <a:pt x="103153" y="86765"/>
                    <a:pt x="103153" y="86765"/>
                  </a:cubicBezTo>
                  <a:cubicBezTo>
                    <a:pt x="102230" y="86096"/>
                    <a:pt x="102230" y="86096"/>
                    <a:pt x="102230" y="86096"/>
                  </a:cubicBezTo>
                  <a:cubicBezTo>
                    <a:pt x="100153" y="86096"/>
                    <a:pt x="100153" y="86096"/>
                    <a:pt x="100153" y="86096"/>
                  </a:cubicBezTo>
                  <a:cubicBezTo>
                    <a:pt x="97846" y="85204"/>
                    <a:pt x="97846" y="85204"/>
                    <a:pt x="97846" y="85204"/>
                  </a:cubicBezTo>
                  <a:cubicBezTo>
                    <a:pt x="96692" y="83420"/>
                    <a:pt x="96692" y="83420"/>
                    <a:pt x="96692" y="83420"/>
                  </a:cubicBezTo>
                  <a:cubicBezTo>
                    <a:pt x="96000" y="83420"/>
                    <a:pt x="96000" y="83420"/>
                    <a:pt x="96000" y="83420"/>
                  </a:cubicBezTo>
                  <a:cubicBezTo>
                    <a:pt x="95769" y="81858"/>
                    <a:pt x="95307" y="82527"/>
                    <a:pt x="96230" y="81412"/>
                  </a:cubicBezTo>
                  <a:cubicBezTo>
                    <a:pt x="97153" y="80074"/>
                    <a:pt x="97153" y="80074"/>
                    <a:pt x="97153" y="80074"/>
                  </a:cubicBezTo>
                  <a:cubicBezTo>
                    <a:pt x="96923" y="77843"/>
                    <a:pt x="96923" y="77843"/>
                    <a:pt x="96923" y="77843"/>
                  </a:cubicBezTo>
                  <a:cubicBezTo>
                    <a:pt x="96230" y="77174"/>
                    <a:pt x="96230" y="77174"/>
                    <a:pt x="96230" y="77174"/>
                  </a:cubicBezTo>
                  <a:cubicBezTo>
                    <a:pt x="95076" y="76505"/>
                    <a:pt x="95076" y="76505"/>
                    <a:pt x="95076" y="76505"/>
                  </a:cubicBezTo>
                  <a:cubicBezTo>
                    <a:pt x="95076" y="76505"/>
                    <a:pt x="94384" y="75613"/>
                    <a:pt x="94153" y="75390"/>
                  </a:cubicBezTo>
                  <a:cubicBezTo>
                    <a:pt x="94153" y="75390"/>
                    <a:pt x="94153" y="74944"/>
                    <a:pt x="94153" y="74944"/>
                  </a:cubicBezTo>
                  <a:cubicBezTo>
                    <a:pt x="93923" y="74721"/>
                    <a:pt x="94846" y="74721"/>
                    <a:pt x="94846" y="74721"/>
                  </a:cubicBezTo>
                  <a:cubicBezTo>
                    <a:pt x="95076" y="74721"/>
                    <a:pt x="95769" y="74498"/>
                    <a:pt x="96000" y="74498"/>
                  </a:cubicBezTo>
                  <a:cubicBezTo>
                    <a:pt x="96230" y="74498"/>
                    <a:pt x="97153" y="73605"/>
                    <a:pt x="97153" y="73605"/>
                  </a:cubicBezTo>
                  <a:cubicBezTo>
                    <a:pt x="97153" y="73605"/>
                    <a:pt x="97615" y="72713"/>
                    <a:pt x="98076" y="72490"/>
                  </a:cubicBezTo>
                  <a:cubicBezTo>
                    <a:pt x="98307" y="72267"/>
                    <a:pt x="98769" y="70483"/>
                    <a:pt x="98769" y="70260"/>
                  </a:cubicBezTo>
                  <a:cubicBezTo>
                    <a:pt x="98769" y="70260"/>
                    <a:pt x="98307" y="69144"/>
                    <a:pt x="98076" y="69144"/>
                  </a:cubicBezTo>
                  <a:cubicBezTo>
                    <a:pt x="96000" y="68252"/>
                    <a:pt x="96461" y="67806"/>
                    <a:pt x="95538" y="67360"/>
                  </a:cubicBezTo>
                  <a:cubicBezTo>
                    <a:pt x="95538" y="66245"/>
                    <a:pt x="95538" y="66245"/>
                    <a:pt x="95538" y="66245"/>
                  </a:cubicBezTo>
                  <a:cubicBezTo>
                    <a:pt x="96692" y="65353"/>
                    <a:pt x="96692" y="65353"/>
                    <a:pt x="96692" y="65353"/>
                  </a:cubicBezTo>
                  <a:cubicBezTo>
                    <a:pt x="96923" y="65130"/>
                    <a:pt x="97384" y="64907"/>
                    <a:pt x="97615" y="64907"/>
                  </a:cubicBezTo>
                  <a:cubicBezTo>
                    <a:pt x="97846" y="64460"/>
                    <a:pt x="97846" y="64460"/>
                    <a:pt x="97846" y="64460"/>
                  </a:cubicBezTo>
                  <a:cubicBezTo>
                    <a:pt x="97846" y="64460"/>
                    <a:pt x="97384" y="64014"/>
                    <a:pt x="97384" y="64014"/>
                  </a:cubicBezTo>
                  <a:cubicBezTo>
                    <a:pt x="97384" y="64014"/>
                    <a:pt x="97153" y="63791"/>
                    <a:pt x="96923" y="63791"/>
                  </a:cubicBezTo>
                  <a:cubicBezTo>
                    <a:pt x="96923" y="63791"/>
                    <a:pt x="96692" y="63568"/>
                    <a:pt x="96692" y="63568"/>
                  </a:cubicBezTo>
                  <a:cubicBezTo>
                    <a:pt x="96692" y="63568"/>
                    <a:pt x="96461" y="63345"/>
                    <a:pt x="96230" y="63345"/>
                  </a:cubicBezTo>
                  <a:cubicBezTo>
                    <a:pt x="96000" y="63345"/>
                    <a:pt x="96230" y="62899"/>
                    <a:pt x="96461" y="62899"/>
                  </a:cubicBezTo>
                  <a:cubicBezTo>
                    <a:pt x="96461" y="62676"/>
                    <a:pt x="96461" y="62230"/>
                    <a:pt x="96461" y="62230"/>
                  </a:cubicBezTo>
                  <a:cubicBezTo>
                    <a:pt x="96461" y="62230"/>
                    <a:pt x="95769" y="62230"/>
                    <a:pt x="95538" y="62230"/>
                  </a:cubicBezTo>
                  <a:cubicBezTo>
                    <a:pt x="95538" y="62007"/>
                    <a:pt x="95538" y="62007"/>
                    <a:pt x="95538" y="62007"/>
                  </a:cubicBezTo>
                  <a:cubicBezTo>
                    <a:pt x="95538" y="62007"/>
                    <a:pt x="95769" y="61338"/>
                    <a:pt x="96000" y="61338"/>
                  </a:cubicBezTo>
                  <a:cubicBezTo>
                    <a:pt x="96000" y="61115"/>
                    <a:pt x="96000" y="60892"/>
                    <a:pt x="96000" y="60892"/>
                  </a:cubicBezTo>
                  <a:cubicBezTo>
                    <a:pt x="96000" y="60892"/>
                    <a:pt x="96000" y="60669"/>
                    <a:pt x="96000" y="60223"/>
                  </a:cubicBezTo>
                  <a:cubicBezTo>
                    <a:pt x="96230" y="60000"/>
                    <a:pt x="96000" y="60000"/>
                    <a:pt x="96000" y="60000"/>
                  </a:cubicBezTo>
                  <a:cubicBezTo>
                    <a:pt x="96000" y="60000"/>
                    <a:pt x="95769" y="59776"/>
                    <a:pt x="95538" y="59776"/>
                  </a:cubicBezTo>
                  <a:cubicBezTo>
                    <a:pt x="95538" y="59776"/>
                    <a:pt x="95538" y="59776"/>
                    <a:pt x="95769" y="59553"/>
                  </a:cubicBezTo>
                  <a:cubicBezTo>
                    <a:pt x="96000" y="59107"/>
                    <a:pt x="96000" y="59330"/>
                    <a:pt x="96000" y="59330"/>
                  </a:cubicBezTo>
                  <a:cubicBezTo>
                    <a:pt x="96000" y="58884"/>
                    <a:pt x="96000" y="58884"/>
                    <a:pt x="96000" y="58884"/>
                  </a:cubicBezTo>
                  <a:cubicBezTo>
                    <a:pt x="95538" y="58661"/>
                    <a:pt x="95538" y="58661"/>
                    <a:pt x="95538" y="58661"/>
                  </a:cubicBezTo>
                  <a:cubicBezTo>
                    <a:pt x="94846" y="58215"/>
                    <a:pt x="94846" y="58215"/>
                    <a:pt x="94846" y="58215"/>
                  </a:cubicBezTo>
                  <a:cubicBezTo>
                    <a:pt x="94846" y="58215"/>
                    <a:pt x="93923" y="58215"/>
                    <a:pt x="93923" y="58215"/>
                  </a:cubicBezTo>
                  <a:cubicBezTo>
                    <a:pt x="93923" y="58215"/>
                    <a:pt x="93230" y="58215"/>
                    <a:pt x="93230" y="58215"/>
                  </a:cubicBezTo>
                  <a:cubicBezTo>
                    <a:pt x="92769" y="58438"/>
                    <a:pt x="92769" y="58438"/>
                    <a:pt x="92769" y="58438"/>
                  </a:cubicBezTo>
                  <a:cubicBezTo>
                    <a:pt x="92538" y="58661"/>
                    <a:pt x="92538" y="58661"/>
                    <a:pt x="92538" y="58661"/>
                  </a:cubicBezTo>
                  <a:cubicBezTo>
                    <a:pt x="91846" y="58884"/>
                    <a:pt x="91846" y="58884"/>
                    <a:pt x="91846" y="58884"/>
                  </a:cubicBezTo>
                  <a:cubicBezTo>
                    <a:pt x="91153" y="59107"/>
                    <a:pt x="91153" y="59107"/>
                    <a:pt x="91153" y="59107"/>
                  </a:cubicBezTo>
                  <a:cubicBezTo>
                    <a:pt x="91153" y="59107"/>
                    <a:pt x="90923" y="59553"/>
                    <a:pt x="90692" y="59776"/>
                  </a:cubicBezTo>
                  <a:cubicBezTo>
                    <a:pt x="90692" y="59776"/>
                    <a:pt x="90692" y="60000"/>
                    <a:pt x="90692" y="60000"/>
                  </a:cubicBezTo>
                  <a:cubicBezTo>
                    <a:pt x="91153" y="60223"/>
                    <a:pt x="91153" y="60223"/>
                    <a:pt x="91153" y="60223"/>
                  </a:cubicBezTo>
                  <a:cubicBezTo>
                    <a:pt x="91153" y="60669"/>
                    <a:pt x="91153" y="60669"/>
                    <a:pt x="91153" y="60669"/>
                  </a:cubicBezTo>
                  <a:cubicBezTo>
                    <a:pt x="91384" y="60669"/>
                    <a:pt x="91384" y="60669"/>
                    <a:pt x="91384" y="60669"/>
                  </a:cubicBezTo>
                  <a:cubicBezTo>
                    <a:pt x="91153" y="61115"/>
                    <a:pt x="91153" y="61115"/>
                    <a:pt x="91153" y="61115"/>
                  </a:cubicBezTo>
                  <a:cubicBezTo>
                    <a:pt x="91153" y="61115"/>
                    <a:pt x="90923" y="61115"/>
                    <a:pt x="90692" y="61338"/>
                  </a:cubicBezTo>
                  <a:cubicBezTo>
                    <a:pt x="90461" y="61561"/>
                    <a:pt x="90461" y="61784"/>
                    <a:pt x="90461" y="61784"/>
                  </a:cubicBezTo>
                  <a:cubicBezTo>
                    <a:pt x="89769" y="62007"/>
                    <a:pt x="89769" y="62007"/>
                    <a:pt x="89769" y="62007"/>
                  </a:cubicBezTo>
                  <a:cubicBezTo>
                    <a:pt x="89307" y="61784"/>
                    <a:pt x="89307" y="61784"/>
                    <a:pt x="89307" y="61784"/>
                  </a:cubicBezTo>
                  <a:cubicBezTo>
                    <a:pt x="88846" y="62007"/>
                    <a:pt x="88846" y="62007"/>
                    <a:pt x="88846" y="62007"/>
                  </a:cubicBezTo>
                  <a:cubicBezTo>
                    <a:pt x="88615" y="62007"/>
                    <a:pt x="88615" y="62007"/>
                    <a:pt x="88615" y="62007"/>
                  </a:cubicBezTo>
                  <a:cubicBezTo>
                    <a:pt x="88615" y="61561"/>
                    <a:pt x="88615" y="61561"/>
                    <a:pt x="88615" y="61561"/>
                  </a:cubicBezTo>
                  <a:cubicBezTo>
                    <a:pt x="88384" y="61338"/>
                    <a:pt x="88384" y="61338"/>
                    <a:pt x="88384" y="61338"/>
                  </a:cubicBezTo>
                  <a:cubicBezTo>
                    <a:pt x="88615" y="61115"/>
                    <a:pt x="88615" y="61115"/>
                    <a:pt x="88615" y="61115"/>
                  </a:cubicBezTo>
                  <a:cubicBezTo>
                    <a:pt x="88615" y="61115"/>
                    <a:pt x="88846" y="60892"/>
                    <a:pt x="88846" y="60892"/>
                  </a:cubicBezTo>
                  <a:cubicBezTo>
                    <a:pt x="89076" y="60892"/>
                    <a:pt x="89307" y="60669"/>
                    <a:pt x="89307" y="60669"/>
                  </a:cubicBezTo>
                  <a:cubicBezTo>
                    <a:pt x="89769" y="60669"/>
                    <a:pt x="89769" y="60669"/>
                    <a:pt x="89769" y="60669"/>
                  </a:cubicBezTo>
                  <a:cubicBezTo>
                    <a:pt x="89769" y="60223"/>
                    <a:pt x="89769" y="60223"/>
                    <a:pt x="89769" y="60223"/>
                  </a:cubicBezTo>
                  <a:cubicBezTo>
                    <a:pt x="90000" y="59776"/>
                    <a:pt x="90000" y="59776"/>
                    <a:pt x="90000" y="59776"/>
                  </a:cubicBezTo>
                  <a:cubicBezTo>
                    <a:pt x="90000" y="59107"/>
                    <a:pt x="90000" y="59107"/>
                    <a:pt x="90000" y="59107"/>
                  </a:cubicBezTo>
                  <a:cubicBezTo>
                    <a:pt x="89769" y="58884"/>
                    <a:pt x="89769" y="58884"/>
                    <a:pt x="89769" y="58884"/>
                  </a:cubicBezTo>
                  <a:cubicBezTo>
                    <a:pt x="89538" y="58661"/>
                    <a:pt x="89538" y="58661"/>
                    <a:pt x="89538" y="58661"/>
                  </a:cubicBezTo>
                  <a:cubicBezTo>
                    <a:pt x="89538" y="58438"/>
                    <a:pt x="89538" y="58438"/>
                    <a:pt x="89538" y="58438"/>
                  </a:cubicBezTo>
                  <a:cubicBezTo>
                    <a:pt x="89538" y="57992"/>
                    <a:pt x="89538" y="57992"/>
                    <a:pt x="89538" y="57992"/>
                  </a:cubicBezTo>
                  <a:cubicBezTo>
                    <a:pt x="89769" y="57769"/>
                    <a:pt x="89769" y="57769"/>
                    <a:pt x="89769" y="57769"/>
                  </a:cubicBezTo>
                  <a:cubicBezTo>
                    <a:pt x="89769" y="57769"/>
                    <a:pt x="90000" y="57546"/>
                    <a:pt x="90000" y="57323"/>
                  </a:cubicBezTo>
                  <a:cubicBezTo>
                    <a:pt x="90000" y="57323"/>
                    <a:pt x="90000" y="56877"/>
                    <a:pt x="90000" y="56877"/>
                  </a:cubicBezTo>
                  <a:cubicBezTo>
                    <a:pt x="90000" y="56877"/>
                    <a:pt x="90000" y="56654"/>
                    <a:pt x="90000" y="56654"/>
                  </a:cubicBezTo>
                  <a:cubicBezTo>
                    <a:pt x="90923" y="55762"/>
                    <a:pt x="90923" y="55762"/>
                    <a:pt x="90923" y="55762"/>
                  </a:cubicBezTo>
                  <a:cubicBezTo>
                    <a:pt x="91384" y="55315"/>
                    <a:pt x="91384" y="55315"/>
                    <a:pt x="91384" y="55315"/>
                  </a:cubicBezTo>
                  <a:cubicBezTo>
                    <a:pt x="91384" y="55315"/>
                    <a:pt x="91846" y="55315"/>
                    <a:pt x="91846" y="55092"/>
                  </a:cubicBezTo>
                  <a:cubicBezTo>
                    <a:pt x="91846" y="55092"/>
                    <a:pt x="92307" y="55092"/>
                    <a:pt x="92307" y="55092"/>
                  </a:cubicBezTo>
                  <a:cubicBezTo>
                    <a:pt x="92307" y="55092"/>
                    <a:pt x="92538" y="54869"/>
                    <a:pt x="92538" y="54869"/>
                  </a:cubicBezTo>
                  <a:cubicBezTo>
                    <a:pt x="92769" y="54646"/>
                    <a:pt x="92769" y="54423"/>
                    <a:pt x="92769" y="54423"/>
                  </a:cubicBezTo>
                  <a:cubicBezTo>
                    <a:pt x="92769" y="54423"/>
                    <a:pt x="92769" y="54200"/>
                    <a:pt x="92769" y="54200"/>
                  </a:cubicBezTo>
                  <a:cubicBezTo>
                    <a:pt x="92769" y="54200"/>
                    <a:pt x="92769" y="53977"/>
                    <a:pt x="92769" y="53977"/>
                  </a:cubicBezTo>
                  <a:cubicBezTo>
                    <a:pt x="92769" y="53977"/>
                    <a:pt x="92769" y="53754"/>
                    <a:pt x="92769" y="53754"/>
                  </a:cubicBezTo>
                  <a:cubicBezTo>
                    <a:pt x="92769" y="53531"/>
                    <a:pt x="93000" y="53531"/>
                    <a:pt x="93000" y="53531"/>
                  </a:cubicBezTo>
                  <a:cubicBezTo>
                    <a:pt x="93000" y="53085"/>
                    <a:pt x="93000" y="53085"/>
                    <a:pt x="93000" y="53085"/>
                  </a:cubicBezTo>
                  <a:cubicBezTo>
                    <a:pt x="93000" y="53085"/>
                    <a:pt x="92769" y="52862"/>
                    <a:pt x="92769" y="52639"/>
                  </a:cubicBezTo>
                  <a:cubicBezTo>
                    <a:pt x="92769" y="52639"/>
                    <a:pt x="92769" y="52639"/>
                    <a:pt x="92769" y="52416"/>
                  </a:cubicBezTo>
                  <a:cubicBezTo>
                    <a:pt x="93000" y="52193"/>
                    <a:pt x="93230" y="52193"/>
                    <a:pt x="93230" y="52193"/>
                  </a:cubicBezTo>
                  <a:cubicBezTo>
                    <a:pt x="93692" y="52193"/>
                    <a:pt x="93692" y="52193"/>
                    <a:pt x="93692" y="52193"/>
                  </a:cubicBezTo>
                  <a:cubicBezTo>
                    <a:pt x="93692" y="52193"/>
                    <a:pt x="93923" y="51970"/>
                    <a:pt x="94153" y="51970"/>
                  </a:cubicBezTo>
                  <a:cubicBezTo>
                    <a:pt x="94153" y="51970"/>
                    <a:pt x="94384" y="51747"/>
                    <a:pt x="94384" y="51747"/>
                  </a:cubicBezTo>
                  <a:cubicBezTo>
                    <a:pt x="94615" y="51301"/>
                    <a:pt x="94615" y="51301"/>
                    <a:pt x="94615" y="51301"/>
                  </a:cubicBezTo>
                  <a:cubicBezTo>
                    <a:pt x="94846" y="51301"/>
                    <a:pt x="94846" y="51301"/>
                    <a:pt x="94846" y="51301"/>
                  </a:cubicBezTo>
                  <a:cubicBezTo>
                    <a:pt x="95076" y="51078"/>
                    <a:pt x="95076" y="51078"/>
                    <a:pt x="95076" y="51078"/>
                  </a:cubicBezTo>
                  <a:cubicBezTo>
                    <a:pt x="95076" y="50631"/>
                    <a:pt x="95076" y="50631"/>
                    <a:pt x="95076" y="50631"/>
                  </a:cubicBezTo>
                  <a:cubicBezTo>
                    <a:pt x="95538" y="50408"/>
                    <a:pt x="95538" y="50408"/>
                    <a:pt x="95538" y="50408"/>
                  </a:cubicBezTo>
                  <a:cubicBezTo>
                    <a:pt x="95538" y="50185"/>
                    <a:pt x="95538" y="50185"/>
                    <a:pt x="95538" y="50185"/>
                  </a:cubicBezTo>
                  <a:cubicBezTo>
                    <a:pt x="95769" y="49962"/>
                    <a:pt x="95769" y="49962"/>
                    <a:pt x="95769" y="49962"/>
                  </a:cubicBezTo>
                  <a:cubicBezTo>
                    <a:pt x="96000" y="49962"/>
                    <a:pt x="96000" y="49962"/>
                    <a:pt x="96000" y="49962"/>
                  </a:cubicBezTo>
                  <a:cubicBezTo>
                    <a:pt x="96461" y="49516"/>
                    <a:pt x="96461" y="49516"/>
                    <a:pt x="96461" y="49516"/>
                  </a:cubicBezTo>
                  <a:cubicBezTo>
                    <a:pt x="96923" y="49293"/>
                    <a:pt x="96923" y="49293"/>
                    <a:pt x="96923" y="49293"/>
                  </a:cubicBezTo>
                  <a:cubicBezTo>
                    <a:pt x="96923" y="49293"/>
                    <a:pt x="97153" y="48847"/>
                    <a:pt x="97153" y="48624"/>
                  </a:cubicBezTo>
                  <a:cubicBezTo>
                    <a:pt x="97153" y="48401"/>
                    <a:pt x="97153" y="48401"/>
                    <a:pt x="97384" y="48178"/>
                  </a:cubicBezTo>
                  <a:cubicBezTo>
                    <a:pt x="97384" y="48178"/>
                    <a:pt x="97615" y="48178"/>
                    <a:pt x="97846" y="47955"/>
                  </a:cubicBezTo>
                  <a:cubicBezTo>
                    <a:pt x="97846" y="47955"/>
                    <a:pt x="97846" y="47732"/>
                    <a:pt x="97846" y="47732"/>
                  </a:cubicBezTo>
                  <a:cubicBezTo>
                    <a:pt x="98076" y="47732"/>
                    <a:pt x="98076" y="47732"/>
                    <a:pt x="98076" y="47732"/>
                  </a:cubicBezTo>
                  <a:cubicBezTo>
                    <a:pt x="98076" y="47286"/>
                    <a:pt x="98076" y="47286"/>
                    <a:pt x="98076" y="47286"/>
                  </a:cubicBezTo>
                  <a:cubicBezTo>
                    <a:pt x="98076" y="47063"/>
                    <a:pt x="98076" y="47063"/>
                    <a:pt x="98076" y="47063"/>
                  </a:cubicBezTo>
                  <a:cubicBezTo>
                    <a:pt x="98076" y="47063"/>
                    <a:pt x="97615" y="47286"/>
                    <a:pt x="97615" y="47286"/>
                  </a:cubicBezTo>
                  <a:cubicBezTo>
                    <a:pt x="97615" y="47286"/>
                    <a:pt x="97384" y="47286"/>
                    <a:pt x="97153" y="47286"/>
                  </a:cubicBezTo>
                  <a:cubicBezTo>
                    <a:pt x="97153" y="47286"/>
                    <a:pt x="96923" y="47286"/>
                    <a:pt x="96692" y="47286"/>
                  </a:cubicBezTo>
                  <a:cubicBezTo>
                    <a:pt x="96461" y="47063"/>
                    <a:pt x="96692" y="47063"/>
                    <a:pt x="96692" y="47063"/>
                  </a:cubicBezTo>
                  <a:cubicBezTo>
                    <a:pt x="96692" y="47063"/>
                    <a:pt x="96923" y="47063"/>
                    <a:pt x="96923" y="46840"/>
                  </a:cubicBezTo>
                  <a:cubicBezTo>
                    <a:pt x="96923" y="46840"/>
                    <a:pt x="97153" y="46394"/>
                    <a:pt x="97153" y="46394"/>
                  </a:cubicBezTo>
                  <a:cubicBezTo>
                    <a:pt x="97384" y="46394"/>
                    <a:pt x="97384" y="46394"/>
                    <a:pt x="97384" y="46394"/>
                  </a:cubicBezTo>
                  <a:cubicBezTo>
                    <a:pt x="97615" y="46171"/>
                    <a:pt x="97615" y="46171"/>
                    <a:pt x="97615" y="46171"/>
                  </a:cubicBezTo>
                  <a:cubicBezTo>
                    <a:pt x="97615" y="46171"/>
                    <a:pt x="97846" y="46171"/>
                    <a:pt x="97846" y="46171"/>
                  </a:cubicBezTo>
                  <a:cubicBezTo>
                    <a:pt x="97846" y="46171"/>
                    <a:pt x="97615" y="45947"/>
                    <a:pt x="97615" y="45947"/>
                  </a:cubicBezTo>
                  <a:cubicBezTo>
                    <a:pt x="97615" y="45501"/>
                    <a:pt x="97615" y="45501"/>
                    <a:pt x="97615" y="45501"/>
                  </a:cubicBezTo>
                  <a:cubicBezTo>
                    <a:pt x="98076" y="45724"/>
                    <a:pt x="98076" y="45724"/>
                    <a:pt x="98076" y="45724"/>
                  </a:cubicBezTo>
                  <a:cubicBezTo>
                    <a:pt x="98769" y="45724"/>
                    <a:pt x="98769" y="45724"/>
                    <a:pt x="98769" y="45724"/>
                  </a:cubicBezTo>
                  <a:cubicBezTo>
                    <a:pt x="99000" y="45501"/>
                    <a:pt x="99000" y="45501"/>
                    <a:pt x="99000" y="45501"/>
                  </a:cubicBezTo>
                  <a:cubicBezTo>
                    <a:pt x="99000" y="45501"/>
                    <a:pt x="99230" y="45947"/>
                    <a:pt x="99230" y="45947"/>
                  </a:cubicBezTo>
                  <a:cubicBezTo>
                    <a:pt x="99230" y="46171"/>
                    <a:pt x="99230" y="46394"/>
                    <a:pt x="99461" y="46394"/>
                  </a:cubicBezTo>
                  <a:cubicBezTo>
                    <a:pt x="99461" y="46394"/>
                    <a:pt x="99923" y="46617"/>
                    <a:pt x="99923" y="46617"/>
                  </a:cubicBezTo>
                  <a:cubicBezTo>
                    <a:pt x="99923" y="46617"/>
                    <a:pt x="99923" y="46394"/>
                    <a:pt x="100153" y="46394"/>
                  </a:cubicBezTo>
                  <a:cubicBezTo>
                    <a:pt x="100153" y="46394"/>
                    <a:pt x="100384" y="46394"/>
                    <a:pt x="100384" y="46394"/>
                  </a:cubicBezTo>
                  <a:cubicBezTo>
                    <a:pt x="100615" y="46394"/>
                    <a:pt x="100846" y="46394"/>
                    <a:pt x="100846" y="46394"/>
                  </a:cubicBezTo>
                  <a:cubicBezTo>
                    <a:pt x="100846" y="46394"/>
                    <a:pt x="101076" y="46394"/>
                    <a:pt x="101307" y="46394"/>
                  </a:cubicBezTo>
                  <a:cubicBezTo>
                    <a:pt x="101307" y="46171"/>
                    <a:pt x="101307" y="46171"/>
                    <a:pt x="101307" y="46171"/>
                  </a:cubicBezTo>
                  <a:cubicBezTo>
                    <a:pt x="101307" y="46171"/>
                    <a:pt x="101307" y="45947"/>
                    <a:pt x="101307" y="45947"/>
                  </a:cubicBezTo>
                  <a:cubicBezTo>
                    <a:pt x="101307" y="45947"/>
                    <a:pt x="101538" y="45501"/>
                    <a:pt x="101538" y="45501"/>
                  </a:cubicBezTo>
                  <a:cubicBezTo>
                    <a:pt x="101538" y="45501"/>
                    <a:pt x="101769" y="45501"/>
                    <a:pt x="101769" y="45501"/>
                  </a:cubicBezTo>
                  <a:cubicBezTo>
                    <a:pt x="101769" y="45501"/>
                    <a:pt x="102000" y="45501"/>
                    <a:pt x="102000" y="45501"/>
                  </a:cubicBezTo>
                  <a:cubicBezTo>
                    <a:pt x="102000" y="45501"/>
                    <a:pt x="102000" y="45278"/>
                    <a:pt x="102000" y="45278"/>
                  </a:cubicBezTo>
                  <a:cubicBezTo>
                    <a:pt x="102000" y="45278"/>
                    <a:pt x="102000" y="45055"/>
                    <a:pt x="102000" y="45055"/>
                  </a:cubicBezTo>
                  <a:cubicBezTo>
                    <a:pt x="102000" y="45055"/>
                    <a:pt x="102230" y="45055"/>
                    <a:pt x="102230" y="45055"/>
                  </a:cubicBezTo>
                  <a:cubicBezTo>
                    <a:pt x="102230" y="44609"/>
                    <a:pt x="102230" y="44609"/>
                    <a:pt x="102230" y="44609"/>
                  </a:cubicBezTo>
                  <a:cubicBezTo>
                    <a:pt x="102230" y="44609"/>
                    <a:pt x="102692" y="44609"/>
                    <a:pt x="102692" y="44609"/>
                  </a:cubicBezTo>
                  <a:cubicBezTo>
                    <a:pt x="102923" y="44609"/>
                    <a:pt x="102692" y="44609"/>
                    <a:pt x="102692" y="44609"/>
                  </a:cubicBezTo>
                  <a:cubicBezTo>
                    <a:pt x="103384" y="44386"/>
                    <a:pt x="103384" y="44386"/>
                    <a:pt x="103384" y="44386"/>
                  </a:cubicBezTo>
                  <a:cubicBezTo>
                    <a:pt x="103384" y="44386"/>
                    <a:pt x="103384" y="44386"/>
                    <a:pt x="103384" y="44609"/>
                  </a:cubicBezTo>
                  <a:cubicBezTo>
                    <a:pt x="102923" y="43940"/>
                    <a:pt x="102230" y="43048"/>
                    <a:pt x="102230" y="43048"/>
                  </a:cubicBezTo>
                  <a:cubicBezTo>
                    <a:pt x="102692" y="42156"/>
                    <a:pt x="102692" y="42156"/>
                    <a:pt x="102692" y="42156"/>
                  </a:cubicBezTo>
                  <a:cubicBezTo>
                    <a:pt x="102692" y="42156"/>
                    <a:pt x="102923" y="40594"/>
                    <a:pt x="102923" y="40148"/>
                  </a:cubicBezTo>
                  <a:cubicBezTo>
                    <a:pt x="102923" y="39925"/>
                    <a:pt x="102923" y="38587"/>
                    <a:pt x="102923" y="38587"/>
                  </a:cubicBezTo>
                  <a:cubicBezTo>
                    <a:pt x="102923" y="38587"/>
                    <a:pt x="102000" y="38364"/>
                    <a:pt x="102692" y="37695"/>
                  </a:cubicBezTo>
                  <a:cubicBezTo>
                    <a:pt x="103384" y="36802"/>
                    <a:pt x="104076" y="35687"/>
                    <a:pt x="104076" y="35687"/>
                  </a:cubicBezTo>
                  <a:cubicBezTo>
                    <a:pt x="104076" y="33457"/>
                    <a:pt x="104076" y="33457"/>
                    <a:pt x="104076" y="33457"/>
                  </a:cubicBezTo>
                  <a:cubicBezTo>
                    <a:pt x="104076" y="33457"/>
                    <a:pt x="103384" y="32788"/>
                    <a:pt x="104307" y="32342"/>
                  </a:cubicBezTo>
                  <a:cubicBezTo>
                    <a:pt x="105230" y="31672"/>
                    <a:pt x="106846" y="29665"/>
                    <a:pt x="106846" y="29665"/>
                  </a:cubicBezTo>
                  <a:cubicBezTo>
                    <a:pt x="108461" y="27881"/>
                    <a:pt x="108461" y="27881"/>
                    <a:pt x="108461" y="27881"/>
                  </a:cubicBezTo>
                  <a:cubicBezTo>
                    <a:pt x="105692" y="27211"/>
                    <a:pt x="105692" y="27211"/>
                    <a:pt x="105692" y="27211"/>
                  </a:cubicBezTo>
                  <a:cubicBezTo>
                    <a:pt x="104076" y="26988"/>
                    <a:pt x="104076" y="26988"/>
                    <a:pt x="104076" y="26988"/>
                  </a:cubicBezTo>
                  <a:cubicBezTo>
                    <a:pt x="102923" y="26319"/>
                    <a:pt x="102923" y="26319"/>
                    <a:pt x="102923" y="26319"/>
                  </a:cubicBezTo>
                  <a:cubicBezTo>
                    <a:pt x="102230" y="25204"/>
                    <a:pt x="102230" y="25204"/>
                    <a:pt x="102230" y="25204"/>
                  </a:cubicBezTo>
                  <a:cubicBezTo>
                    <a:pt x="101538" y="25650"/>
                    <a:pt x="101538" y="25650"/>
                    <a:pt x="101538" y="25650"/>
                  </a:cubicBezTo>
                  <a:cubicBezTo>
                    <a:pt x="100846" y="26096"/>
                    <a:pt x="100846" y="26096"/>
                    <a:pt x="100846" y="26096"/>
                  </a:cubicBezTo>
                  <a:cubicBezTo>
                    <a:pt x="99230" y="25873"/>
                    <a:pt x="99230" y="25873"/>
                    <a:pt x="99230" y="25873"/>
                  </a:cubicBezTo>
                  <a:cubicBezTo>
                    <a:pt x="98076" y="24758"/>
                    <a:pt x="98076" y="24758"/>
                    <a:pt x="98076" y="24758"/>
                  </a:cubicBezTo>
                  <a:cubicBezTo>
                    <a:pt x="97153" y="25427"/>
                    <a:pt x="97153" y="25427"/>
                    <a:pt x="97153" y="25427"/>
                  </a:cubicBezTo>
                  <a:cubicBezTo>
                    <a:pt x="96230" y="24758"/>
                    <a:pt x="96230" y="24758"/>
                    <a:pt x="96230" y="24758"/>
                  </a:cubicBezTo>
                  <a:cubicBezTo>
                    <a:pt x="95538" y="23643"/>
                    <a:pt x="95538" y="23643"/>
                    <a:pt x="95538" y="23643"/>
                  </a:cubicBezTo>
                  <a:cubicBezTo>
                    <a:pt x="95307" y="22750"/>
                    <a:pt x="95307" y="22750"/>
                    <a:pt x="95307" y="22750"/>
                  </a:cubicBezTo>
                  <a:cubicBezTo>
                    <a:pt x="94153" y="21635"/>
                    <a:pt x="94153" y="21635"/>
                    <a:pt x="94153" y="21635"/>
                  </a:cubicBezTo>
                  <a:cubicBezTo>
                    <a:pt x="93692" y="21635"/>
                    <a:pt x="93692" y="21635"/>
                    <a:pt x="93692" y="21635"/>
                  </a:cubicBezTo>
                  <a:cubicBezTo>
                    <a:pt x="93692" y="21858"/>
                    <a:pt x="93461" y="21858"/>
                    <a:pt x="93461" y="21858"/>
                  </a:cubicBezTo>
                  <a:cubicBezTo>
                    <a:pt x="93461" y="21858"/>
                    <a:pt x="92769" y="21635"/>
                    <a:pt x="92769" y="21635"/>
                  </a:cubicBezTo>
                  <a:cubicBezTo>
                    <a:pt x="92769" y="21189"/>
                    <a:pt x="92769" y="21189"/>
                    <a:pt x="92769" y="21189"/>
                  </a:cubicBezTo>
                  <a:cubicBezTo>
                    <a:pt x="92538" y="20966"/>
                    <a:pt x="92538" y="20966"/>
                    <a:pt x="92538" y="20966"/>
                  </a:cubicBezTo>
                  <a:cubicBezTo>
                    <a:pt x="92076" y="20966"/>
                    <a:pt x="92076" y="20966"/>
                    <a:pt x="92076" y="20966"/>
                  </a:cubicBezTo>
                  <a:cubicBezTo>
                    <a:pt x="91615" y="21189"/>
                    <a:pt x="91615" y="21189"/>
                    <a:pt x="91615" y="21189"/>
                  </a:cubicBezTo>
                  <a:cubicBezTo>
                    <a:pt x="91384" y="21412"/>
                    <a:pt x="91384" y="21412"/>
                    <a:pt x="91384" y="21412"/>
                  </a:cubicBezTo>
                  <a:cubicBezTo>
                    <a:pt x="91384" y="21412"/>
                    <a:pt x="91384" y="21412"/>
                    <a:pt x="91384" y="21412"/>
                  </a:cubicBezTo>
                  <a:cubicBezTo>
                    <a:pt x="91153" y="21635"/>
                    <a:pt x="91153" y="21635"/>
                    <a:pt x="91153" y="21635"/>
                  </a:cubicBezTo>
                  <a:cubicBezTo>
                    <a:pt x="90923" y="21635"/>
                    <a:pt x="90923" y="21635"/>
                    <a:pt x="90923" y="21635"/>
                  </a:cubicBezTo>
                  <a:cubicBezTo>
                    <a:pt x="90923" y="21635"/>
                    <a:pt x="90923" y="21635"/>
                    <a:pt x="90923" y="21635"/>
                  </a:cubicBezTo>
                  <a:cubicBezTo>
                    <a:pt x="90923" y="21635"/>
                    <a:pt x="90692" y="21635"/>
                    <a:pt x="90692" y="21635"/>
                  </a:cubicBezTo>
                  <a:cubicBezTo>
                    <a:pt x="90230" y="21635"/>
                    <a:pt x="90230" y="21635"/>
                    <a:pt x="90230" y="21635"/>
                  </a:cubicBezTo>
                  <a:cubicBezTo>
                    <a:pt x="90230" y="21412"/>
                    <a:pt x="90230" y="21412"/>
                    <a:pt x="90230" y="21412"/>
                  </a:cubicBezTo>
                  <a:cubicBezTo>
                    <a:pt x="90230" y="21189"/>
                    <a:pt x="90230" y="21189"/>
                    <a:pt x="90230" y="21189"/>
                  </a:cubicBezTo>
                  <a:cubicBezTo>
                    <a:pt x="89769" y="20966"/>
                    <a:pt x="89769" y="20966"/>
                    <a:pt x="89769" y="20966"/>
                  </a:cubicBezTo>
                  <a:cubicBezTo>
                    <a:pt x="89538" y="20966"/>
                    <a:pt x="89538" y="20966"/>
                    <a:pt x="89538" y="20966"/>
                  </a:cubicBezTo>
                  <a:cubicBezTo>
                    <a:pt x="89538" y="20966"/>
                    <a:pt x="89307" y="20743"/>
                    <a:pt x="89307" y="20743"/>
                  </a:cubicBezTo>
                  <a:cubicBezTo>
                    <a:pt x="89076" y="20743"/>
                    <a:pt x="89076" y="20520"/>
                    <a:pt x="89076" y="20520"/>
                  </a:cubicBezTo>
                  <a:cubicBezTo>
                    <a:pt x="88846" y="20297"/>
                    <a:pt x="88846" y="20297"/>
                    <a:pt x="88846" y="20297"/>
                  </a:cubicBezTo>
                  <a:cubicBezTo>
                    <a:pt x="89307" y="20297"/>
                    <a:pt x="89307" y="20297"/>
                    <a:pt x="89307" y="20297"/>
                  </a:cubicBezTo>
                  <a:cubicBezTo>
                    <a:pt x="89307" y="20297"/>
                    <a:pt x="89307" y="20074"/>
                    <a:pt x="89307" y="20074"/>
                  </a:cubicBezTo>
                  <a:cubicBezTo>
                    <a:pt x="89307" y="20074"/>
                    <a:pt x="89307" y="20074"/>
                    <a:pt x="89307" y="20074"/>
                  </a:cubicBezTo>
                  <a:cubicBezTo>
                    <a:pt x="89307" y="20074"/>
                    <a:pt x="89076" y="20074"/>
                    <a:pt x="89076" y="20074"/>
                  </a:cubicBezTo>
                  <a:cubicBezTo>
                    <a:pt x="88615" y="20074"/>
                    <a:pt x="88615" y="20074"/>
                    <a:pt x="88615" y="20074"/>
                  </a:cubicBezTo>
                  <a:cubicBezTo>
                    <a:pt x="88384" y="20297"/>
                    <a:pt x="88384" y="20297"/>
                    <a:pt x="88384" y="20297"/>
                  </a:cubicBezTo>
                  <a:cubicBezTo>
                    <a:pt x="87923" y="20297"/>
                    <a:pt x="87923" y="20297"/>
                    <a:pt x="87923" y="20297"/>
                  </a:cubicBezTo>
                  <a:cubicBezTo>
                    <a:pt x="87461" y="20520"/>
                    <a:pt x="87461" y="20520"/>
                    <a:pt x="87461" y="20520"/>
                  </a:cubicBezTo>
                  <a:cubicBezTo>
                    <a:pt x="86769" y="20520"/>
                    <a:pt x="86769" y="20520"/>
                    <a:pt x="86769" y="20520"/>
                  </a:cubicBezTo>
                  <a:cubicBezTo>
                    <a:pt x="86538" y="20074"/>
                    <a:pt x="86538" y="20074"/>
                    <a:pt x="86538" y="20074"/>
                  </a:cubicBezTo>
                  <a:cubicBezTo>
                    <a:pt x="86307" y="19628"/>
                    <a:pt x="86307" y="19628"/>
                    <a:pt x="86307" y="19628"/>
                  </a:cubicBezTo>
                  <a:cubicBezTo>
                    <a:pt x="86076" y="19405"/>
                    <a:pt x="86076" y="19405"/>
                    <a:pt x="86076" y="19405"/>
                  </a:cubicBezTo>
                  <a:cubicBezTo>
                    <a:pt x="85846" y="19405"/>
                    <a:pt x="85846" y="19405"/>
                    <a:pt x="85846" y="19405"/>
                  </a:cubicBezTo>
                  <a:cubicBezTo>
                    <a:pt x="85153" y="19182"/>
                    <a:pt x="85153" y="19182"/>
                    <a:pt x="85153" y="19182"/>
                  </a:cubicBezTo>
                  <a:cubicBezTo>
                    <a:pt x="85384" y="18736"/>
                    <a:pt x="85384" y="18736"/>
                    <a:pt x="85384" y="18736"/>
                  </a:cubicBezTo>
                  <a:cubicBezTo>
                    <a:pt x="85384" y="18736"/>
                    <a:pt x="85153" y="18289"/>
                    <a:pt x="85153" y="18289"/>
                  </a:cubicBezTo>
                  <a:cubicBezTo>
                    <a:pt x="84923" y="18289"/>
                    <a:pt x="84692" y="18289"/>
                    <a:pt x="84692" y="18289"/>
                  </a:cubicBezTo>
                  <a:cubicBezTo>
                    <a:pt x="84230" y="17843"/>
                    <a:pt x="84230" y="17843"/>
                    <a:pt x="84230" y="17843"/>
                  </a:cubicBezTo>
                  <a:cubicBezTo>
                    <a:pt x="84230" y="17843"/>
                    <a:pt x="84230" y="17620"/>
                    <a:pt x="84000" y="17397"/>
                  </a:cubicBezTo>
                  <a:cubicBezTo>
                    <a:pt x="83769" y="17397"/>
                    <a:pt x="83769" y="17174"/>
                    <a:pt x="83538" y="17174"/>
                  </a:cubicBezTo>
                  <a:cubicBezTo>
                    <a:pt x="83307" y="17174"/>
                    <a:pt x="82846" y="17174"/>
                    <a:pt x="82846" y="17174"/>
                  </a:cubicBezTo>
                  <a:cubicBezTo>
                    <a:pt x="82846" y="17174"/>
                    <a:pt x="82615" y="16728"/>
                    <a:pt x="82384" y="16728"/>
                  </a:cubicBezTo>
                  <a:cubicBezTo>
                    <a:pt x="82384" y="16728"/>
                    <a:pt x="81461" y="16728"/>
                    <a:pt x="81461" y="16728"/>
                  </a:cubicBezTo>
                  <a:cubicBezTo>
                    <a:pt x="81461" y="16728"/>
                    <a:pt x="81692" y="16059"/>
                    <a:pt x="81692" y="16059"/>
                  </a:cubicBezTo>
                  <a:cubicBezTo>
                    <a:pt x="81692" y="15836"/>
                    <a:pt x="81692" y="15167"/>
                    <a:pt x="81692" y="15167"/>
                  </a:cubicBezTo>
                  <a:cubicBezTo>
                    <a:pt x="81692" y="14944"/>
                    <a:pt x="81692" y="14944"/>
                    <a:pt x="81692" y="14944"/>
                  </a:cubicBezTo>
                  <a:cubicBezTo>
                    <a:pt x="81692" y="14944"/>
                    <a:pt x="81461" y="14721"/>
                    <a:pt x="81692" y="14275"/>
                  </a:cubicBezTo>
                  <a:cubicBezTo>
                    <a:pt x="81923" y="13828"/>
                    <a:pt x="81692" y="14052"/>
                    <a:pt x="81923" y="13605"/>
                  </a:cubicBezTo>
                  <a:cubicBezTo>
                    <a:pt x="82153" y="12936"/>
                    <a:pt x="82153" y="12713"/>
                    <a:pt x="82153" y="12713"/>
                  </a:cubicBezTo>
                  <a:cubicBezTo>
                    <a:pt x="81692" y="12490"/>
                    <a:pt x="81692" y="12490"/>
                    <a:pt x="81692" y="12490"/>
                  </a:cubicBezTo>
                  <a:cubicBezTo>
                    <a:pt x="81692" y="12490"/>
                    <a:pt x="81461" y="12267"/>
                    <a:pt x="81230" y="12490"/>
                  </a:cubicBezTo>
                  <a:cubicBezTo>
                    <a:pt x="81230" y="12936"/>
                    <a:pt x="81000" y="12936"/>
                    <a:pt x="81000" y="12936"/>
                  </a:cubicBezTo>
                  <a:cubicBezTo>
                    <a:pt x="80538" y="13605"/>
                    <a:pt x="80538" y="13605"/>
                    <a:pt x="80538" y="13605"/>
                  </a:cubicBezTo>
                  <a:cubicBezTo>
                    <a:pt x="80538" y="14275"/>
                    <a:pt x="80538" y="14275"/>
                    <a:pt x="80538" y="14275"/>
                  </a:cubicBezTo>
                  <a:cubicBezTo>
                    <a:pt x="80538" y="14275"/>
                    <a:pt x="80769" y="14498"/>
                    <a:pt x="80076" y="14498"/>
                  </a:cubicBezTo>
                  <a:cubicBezTo>
                    <a:pt x="79615" y="14498"/>
                    <a:pt x="79153" y="14498"/>
                    <a:pt x="79153" y="14498"/>
                  </a:cubicBezTo>
                  <a:cubicBezTo>
                    <a:pt x="79153" y="14498"/>
                    <a:pt x="79615" y="14944"/>
                    <a:pt x="78923" y="14944"/>
                  </a:cubicBezTo>
                  <a:cubicBezTo>
                    <a:pt x="78461" y="14944"/>
                    <a:pt x="77769" y="14944"/>
                    <a:pt x="77769" y="14944"/>
                  </a:cubicBezTo>
                  <a:cubicBezTo>
                    <a:pt x="77307" y="14498"/>
                    <a:pt x="77307" y="14498"/>
                    <a:pt x="77307" y="14498"/>
                  </a:cubicBezTo>
                  <a:cubicBezTo>
                    <a:pt x="76384" y="14721"/>
                    <a:pt x="76384" y="14721"/>
                    <a:pt x="76384" y="14721"/>
                  </a:cubicBezTo>
                  <a:cubicBezTo>
                    <a:pt x="76384" y="14721"/>
                    <a:pt x="76384" y="14498"/>
                    <a:pt x="76384" y="14052"/>
                  </a:cubicBezTo>
                  <a:cubicBezTo>
                    <a:pt x="76384" y="13828"/>
                    <a:pt x="76153" y="13382"/>
                    <a:pt x="76384" y="13382"/>
                  </a:cubicBezTo>
                  <a:cubicBezTo>
                    <a:pt x="76615" y="13382"/>
                    <a:pt x="76846" y="13159"/>
                    <a:pt x="76846" y="13159"/>
                  </a:cubicBezTo>
                  <a:cubicBezTo>
                    <a:pt x="76615" y="12490"/>
                    <a:pt x="76615" y="12490"/>
                    <a:pt x="76615" y="12490"/>
                  </a:cubicBezTo>
                  <a:cubicBezTo>
                    <a:pt x="76615" y="12490"/>
                    <a:pt x="76615" y="12490"/>
                    <a:pt x="76615" y="12490"/>
                  </a:cubicBezTo>
                  <a:cubicBezTo>
                    <a:pt x="76615" y="12490"/>
                    <a:pt x="76384" y="12490"/>
                    <a:pt x="76384" y="12267"/>
                  </a:cubicBezTo>
                  <a:cubicBezTo>
                    <a:pt x="76384" y="12044"/>
                    <a:pt x="76615" y="11598"/>
                    <a:pt x="76615" y="11598"/>
                  </a:cubicBezTo>
                  <a:cubicBezTo>
                    <a:pt x="76846" y="11375"/>
                    <a:pt x="76846" y="10929"/>
                    <a:pt x="76846" y="10929"/>
                  </a:cubicBezTo>
                  <a:cubicBezTo>
                    <a:pt x="76615" y="10929"/>
                    <a:pt x="76615" y="10929"/>
                    <a:pt x="76615" y="10929"/>
                  </a:cubicBezTo>
                  <a:cubicBezTo>
                    <a:pt x="76615" y="10929"/>
                    <a:pt x="76153" y="11152"/>
                    <a:pt x="76153" y="10706"/>
                  </a:cubicBezTo>
                  <a:cubicBezTo>
                    <a:pt x="76153" y="10483"/>
                    <a:pt x="75923" y="10037"/>
                    <a:pt x="75923" y="10037"/>
                  </a:cubicBezTo>
                  <a:cubicBezTo>
                    <a:pt x="75923" y="10037"/>
                    <a:pt x="75461" y="9814"/>
                    <a:pt x="75461" y="9814"/>
                  </a:cubicBezTo>
                  <a:cubicBezTo>
                    <a:pt x="75230" y="9814"/>
                    <a:pt x="75230" y="9814"/>
                    <a:pt x="75000" y="10037"/>
                  </a:cubicBezTo>
                  <a:cubicBezTo>
                    <a:pt x="75000" y="10037"/>
                    <a:pt x="74307" y="9814"/>
                    <a:pt x="74307" y="9814"/>
                  </a:cubicBezTo>
                  <a:cubicBezTo>
                    <a:pt x="74307" y="9814"/>
                    <a:pt x="73615" y="9814"/>
                    <a:pt x="73615" y="9814"/>
                  </a:cubicBezTo>
                  <a:cubicBezTo>
                    <a:pt x="73384" y="9814"/>
                    <a:pt x="73153" y="10260"/>
                    <a:pt x="73153" y="10260"/>
                  </a:cubicBezTo>
                  <a:cubicBezTo>
                    <a:pt x="72692" y="9591"/>
                    <a:pt x="72692" y="9591"/>
                    <a:pt x="72692" y="9591"/>
                  </a:cubicBezTo>
                  <a:cubicBezTo>
                    <a:pt x="72923" y="8921"/>
                    <a:pt x="72923" y="8921"/>
                    <a:pt x="72923" y="8921"/>
                  </a:cubicBezTo>
                  <a:cubicBezTo>
                    <a:pt x="72923" y="8921"/>
                    <a:pt x="72461" y="8475"/>
                    <a:pt x="72461" y="8252"/>
                  </a:cubicBezTo>
                  <a:cubicBezTo>
                    <a:pt x="72461" y="8252"/>
                    <a:pt x="72230" y="7806"/>
                    <a:pt x="72230" y="7806"/>
                  </a:cubicBezTo>
                  <a:cubicBezTo>
                    <a:pt x="71769" y="7806"/>
                    <a:pt x="71769" y="7806"/>
                    <a:pt x="71769" y="7806"/>
                  </a:cubicBezTo>
                  <a:cubicBezTo>
                    <a:pt x="71538" y="7583"/>
                    <a:pt x="71538" y="7583"/>
                    <a:pt x="71538" y="7583"/>
                  </a:cubicBezTo>
                  <a:cubicBezTo>
                    <a:pt x="71538" y="7583"/>
                    <a:pt x="71076" y="7583"/>
                    <a:pt x="70846" y="7583"/>
                  </a:cubicBezTo>
                  <a:cubicBezTo>
                    <a:pt x="70615" y="7583"/>
                    <a:pt x="70615" y="7583"/>
                    <a:pt x="70384" y="7583"/>
                  </a:cubicBezTo>
                  <a:cubicBezTo>
                    <a:pt x="70384" y="7583"/>
                    <a:pt x="69923" y="7137"/>
                    <a:pt x="69923" y="7137"/>
                  </a:cubicBezTo>
                  <a:cubicBezTo>
                    <a:pt x="69923" y="6914"/>
                    <a:pt x="69923" y="6691"/>
                    <a:pt x="69923" y="6468"/>
                  </a:cubicBezTo>
                  <a:cubicBezTo>
                    <a:pt x="69692" y="6245"/>
                    <a:pt x="69461" y="5799"/>
                    <a:pt x="69461" y="5576"/>
                  </a:cubicBezTo>
                  <a:cubicBezTo>
                    <a:pt x="69461" y="5576"/>
                    <a:pt x="69692" y="5130"/>
                    <a:pt x="69692" y="5130"/>
                  </a:cubicBezTo>
                  <a:cubicBezTo>
                    <a:pt x="69461" y="4907"/>
                    <a:pt x="69000" y="4460"/>
                    <a:pt x="69000" y="4460"/>
                  </a:cubicBezTo>
                  <a:cubicBezTo>
                    <a:pt x="68769" y="4014"/>
                    <a:pt x="68769" y="4014"/>
                    <a:pt x="68769" y="4014"/>
                  </a:cubicBezTo>
                  <a:cubicBezTo>
                    <a:pt x="68769" y="4014"/>
                    <a:pt x="68076" y="4460"/>
                    <a:pt x="67846" y="4460"/>
                  </a:cubicBezTo>
                  <a:cubicBezTo>
                    <a:pt x="67615" y="4460"/>
                    <a:pt x="67153" y="4237"/>
                    <a:pt x="67153" y="4460"/>
                  </a:cubicBezTo>
                  <a:cubicBezTo>
                    <a:pt x="67153" y="4460"/>
                    <a:pt x="67384" y="4907"/>
                    <a:pt x="67153" y="4907"/>
                  </a:cubicBezTo>
                  <a:cubicBezTo>
                    <a:pt x="66923" y="4907"/>
                    <a:pt x="66461" y="4907"/>
                    <a:pt x="66230" y="4684"/>
                  </a:cubicBezTo>
                  <a:cubicBezTo>
                    <a:pt x="66000" y="4460"/>
                    <a:pt x="66000" y="4237"/>
                    <a:pt x="66000" y="4014"/>
                  </a:cubicBezTo>
                  <a:cubicBezTo>
                    <a:pt x="65769" y="4014"/>
                    <a:pt x="65769" y="3568"/>
                    <a:pt x="65538" y="3568"/>
                  </a:cubicBezTo>
                  <a:cubicBezTo>
                    <a:pt x="65307" y="3568"/>
                    <a:pt x="65076" y="3568"/>
                    <a:pt x="65076" y="3345"/>
                  </a:cubicBezTo>
                  <a:cubicBezTo>
                    <a:pt x="65076" y="3345"/>
                    <a:pt x="65076" y="2676"/>
                    <a:pt x="65076" y="2676"/>
                  </a:cubicBezTo>
                  <a:cubicBezTo>
                    <a:pt x="65076" y="2230"/>
                    <a:pt x="65076" y="2230"/>
                    <a:pt x="65076" y="2230"/>
                  </a:cubicBezTo>
                  <a:cubicBezTo>
                    <a:pt x="65076" y="2230"/>
                    <a:pt x="65076" y="1561"/>
                    <a:pt x="64846" y="1561"/>
                  </a:cubicBezTo>
                  <a:cubicBezTo>
                    <a:pt x="64846" y="1338"/>
                    <a:pt x="64615" y="1115"/>
                    <a:pt x="64615" y="1115"/>
                  </a:cubicBezTo>
                  <a:cubicBezTo>
                    <a:pt x="64615" y="446"/>
                    <a:pt x="64615" y="446"/>
                    <a:pt x="64615" y="446"/>
                  </a:cubicBezTo>
                  <a:cubicBezTo>
                    <a:pt x="64846" y="223"/>
                    <a:pt x="64846" y="223"/>
                    <a:pt x="64846" y="223"/>
                  </a:cubicBezTo>
                  <a:cubicBezTo>
                    <a:pt x="64846" y="223"/>
                    <a:pt x="64846" y="0"/>
                    <a:pt x="65076" y="0"/>
                  </a:cubicBezTo>
                  <a:cubicBezTo>
                    <a:pt x="59769" y="892"/>
                    <a:pt x="59769" y="892"/>
                    <a:pt x="59769" y="892"/>
                  </a:cubicBezTo>
                  <a:cubicBezTo>
                    <a:pt x="57461" y="1115"/>
                    <a:pt x="57461" y="1115"/>
                    <a:pt x="57461" y="1115"/>
                  </a:cubicBezTo>
                  <a:cubicBezTo>
                    <a:pt x="56538" y="2230"/>
                    <a:pt x="56538" y="2230"/>
                    <a:pt x="56538" y="2230"/>
                  </a:cubicBezTo>
                  <a:cubicBezTo>
                    <a:pt x="56076" y="3345"/>
                    <a:pt x="56076" y="3345"/>
                    <a:pt x="56076" y="3345"/>
                  </a:cubicBezTo>
                  <a:cubicBezTo>
                    <a:pt x="56307" y="5130"/>
                    <a:pt x="56307" y="5130"/>
                    <a:pt x="56307" y="5130"/>
                  </a:cubicBezTo>
                  <a:cubicBezTo>
                    <a:pt x="55615" y="6245"/>
                    <a:pt x="55615" y="6245"/>
                    <a:pt x="55615" y="6245"/>
                  </a:cubicBezTo>
                  <a:cubicBezTo>
                    <a:pt x="55615" y="7583"/>
                    <a:pt x="55615" y="7583"/>
                    <a:pt x="55615" y="7583"/>
                  </a:cubicBezTo>
                  <a:cubicBezTo>
                    <a:pt x="55615" y="9591"/>
                    <a:pt x="55615" y="9591"/>
                    <a:pt x="55615" y="9591"/>
                  </a:cubicBezTo>
                  <a:cubicBezTo>
                    <a:pt x="54461" y="10260"/>
                    <a:pt x="54461" y="10260"/>
                    <a:pt x="54461" y="10260"/>
                  </a:cubicBezTo>
                  <a:cubicBezTo>
                    <a:pt x="52846" y="11821"/>
                    <a:pt x="52846" y="11821"/>
                    <a:pt x="52846" y="11821"/>
                  </a:cubicBezTo>
                  <a:cubicBezTo>
                    <a:pt x="50538" y="12713"/>
                    <a:pt x="50538" y="12713"/>
                    <a:pt x="50538" y="12713"/>
                  </a:cubicBezTo>
                  <a:cubicBezTo>
                    <a:pt x="47538" y="13382"/>
                    <a:pt x="47538" y="13382"/>
                    <a:pt x="47538" y="13382"/>
                  </a:cubicBezTo>
                  <a:cubicBezTo>
                    <a:pt x="45230" y="14052"/>
                    <a:pt x="45230" y="14052"/>
                    <a:pt x="45230" y="14052"/>
                  </a:cubicBezTo>
                  <a:cubicBezTo>
                    <a:pt x="43153" y="15167"/>
                    <a:pt x="43153" y="15167"/>
                    <a:pt x="43153" y="15167"/>
                  </a:cubicBezTo>
                  <a:cubicBezTo>
                    <a:pt x="42692" y="16728"/>
                    <a:pt x="42692" y="16728"/>
                    <a:pt x="42692" y="16728"/>
                  </a:cubicBezTo>
                  <a:cubicBezTo>
                    <a:pt x="42461" y="18736"/>
                    <a:pt x="42461" y="18736"/>
                    <a:pt x="42461" y="18736"/>
                  </a:cubicBezTo>
                  <a:cubicBezTo>
                    <a:pt x="40846" y="19405"/>
                    <a:pt x="40846" y="19405"/>
                    <a:pt x="40846" y="19405"/>
                  </a:cubicBezTo>
                  <a:cubicBezTo>
                    <a:pt x="40846" y="19405"/>
                    <a:pt x="40153" y="19851"/>
                    <a:pt x="39692" y="19628"/>
                  </a:cubicBezTo>
                  <a:cubicBezTo>
                    <a:pt x="39000" y="19628"/>
                    <a:pt x="37615" y="19182"/>
                    <a:pt x="37615" y="19182"/>
                  </a:cubicBezTo>
                  <a:cubicBezTo>
                    <a:pt x="37615" y="19182"/>
                    <a:pt x="36000" y="18289"/>
                    <a:pt x="35307" y="18289"/>
                  </a:cubicBezTo>
                  <a:cubicBezTo>
                    <a:pt x="34615" y="18066"/>
                    <a:pt x="33461" y="16951"/>
                    <a:pt x="33461" y="16951"/>
                  </a:cubicBezTo>
                  <a:cubicBezTo>
                    <a:pt x="32307" y="17843"/>
                    <a:pt x="32307" y="17843"/>
                    <a:pt x="32307" y="17843"/>
                  </a:cubicBezTo>
                  <a:cubicBezTo>
                    <a:pt x="32307" y="17843"/>
                    <a:pt x="31615" y="17174"/>
                    <a:pt x="31615" y="16728"/>
                  </a:cubicBezTo>
                  <a:cubicBezTo>
                    <a:pt x="31615" y="16505"/>
                    <a:pt x="31615" y="16505"/>
                    <a:pt x="31615" y="16059"/>
                  </a:cubicBezTo>
                  <a:cubicBezTo>
                    <a:pt x="31615" y="15390"/>
                    <a:pt x="31615" y="14275"/>
                    <a:pt x="31615" y="14275"/>
                  </a:cubicBezTo>
                  <a:cubicBezTo>
                    <a:pt x="30000" y="13605"/>
                    <a:pt x="30000" y="13605"/>
                    <a:pt x="30000" y="13605"/>
                  </a:cubicBezTo>
                  <a:cubicBezTo>
                    <a:pt x="28384" y="13382"/>
                    <a:pt x="28384" y="13382"/>
                    <a:pt x="28384" y="13382"/>
                  </a:cubicBezTo>
                  <a:cubicBezTo>
                    <a:pt x="28384" y="13382"/>
                    <a:pt x="28384" y="13828"/>
                    <a:pt x="27923" y="13382"/>
                  </a:cubicBezTo>
                  <a:cubicBezTo>
                    <a:pt x="27230" y="12936"/>
                    <a:pt x="27230" y="12044"/>
                    <a:pt x="27230" y="12044"/>
                  </a:cubicBezTo>
                  <a:cubicBezTo>
                    <a:pt x="25846" y="11375"/>
                    <a:pt x="25846" y="11375"/>
                    <a:pt x="25846" y="11375"/>
                  </a:cubicBezTo>
                  <a:cubicBezTo>
                    <a:pt x="25384" y="13159"/>
                    <a:pt x="25384" y="13159"/>
                    <a:pt x="25384" y="13159"/>
                  </a:cubicBezTo>
                  <a:cubicBezTo>
                    <a:pt x="27000" y="14498"/>
                    <a:pt x="27000" y="14498"/>
                    <a:pt x="27000" y="14498"/>
                  </a:cubicBezTo>
                  <a:cubicBezTo>
                    <a:pt x="27461" y="15390"/>
                    <a:pt x="27461" y="15390"/>
                    <a:pt x="27461" y="15390"/>
                  </a:cubicBezTo>
                  <a:cubicBezTo>
                    <a:pt x="27000" y="16728"/>
                    <a:pt x="27000" y="16728"/>
                    <a:pt x="27000" y="16728"/>
                  </a:cubicBezTo>
                  <a:cubicBezTo>
                    <a:pt x="27461" y="17843"/>
                    <a:pt x="27461" y="17843"/>
                    <a:pt x="27461" y="17843"/>
                  </a:cubicBezTo>
                  <a:cubicBezTo>
                    <a:pt x="27692" y="18736"/>
                    <a:pt x="27692" y="18736"/>
                    <a:pt x="27692" y="18736"/>
                  </a:cubicBezTo>
                  <a:cubicBezTo>
                    <a:pt x="27692" y="18736"/>
                    <a:pt x="27923" y="18736"/>
                    <a:pt x="27923" y="19405"/>
                  </a:cubicBezTo>
                  <a:cubicBezTo>
                    <a:pt x="27923" y="19851"/>
                    <a:pt x="27692" y="22081"/>
                    <a:pt x="27692" y="22081"/>
                  </a:cubicBezTo>
                  <a:cubicBezTo>
                    <a:pt x="27692" y="23866"/>
                    <a:pt x="27692" y="23866"/>
                    <a:pt x="27692" y="23866"/>
                  </a:cubicBezTo>
                  <a:cubicBezTo>
                    <a:pt x="28384" y="25650"/>
                    <a:pt x="28384" y="25650"/>
                    <a:pt x="28384" y="25650"/>
                  </a:cubicBezTo>
                  <a:cubicBezTo>
                    <a:pt x="28384" y="25650"/>
                    <a:pt x="27230" y="26319"/>
                    <a:pt x="26769" y="26319"/>
                  </a:cubicBezTo>
                  <a:cubicBezTo>
                    <a:pt x="26307" y="26319"/>
                    <a:pt x="25153" y="25873"/>
                    <a:pt x="25153" y="25873"/>
                  </a:cubicBezTo>
                  <a:cubicBezTo>
                    <a:pt x="24692" y="24758"/>
                    <a:pt x="24692" y="24758"/>
                    <a:pt x="24692" y="24758"/>
                  </a:cubicBezTo>
                  <a:cubicBezTo>
                    <a:pt x="21923" y="24981"/>
                    <a:pt x="21923" y="24981"/>
                    <a:pt x="21923" y="24981"/>
                  </a:cubicBezTo>
                  <a:cubicBezTo>
                    <a:pt x="20307" y="24758"/>
                    <a:pt x="20307" y="24758"/>
                    <a:pt x="20307" y="24758"/>
                  </a:cubicBezTo>
                  <a:cubicBezTo>
                    <a:pt x="18923" y="25650"/>
                    <a:pt x="18923" y="25650"/>
                    <a:pt x="18923" y="25650"/>
                  </a:cubicBezTo>
                  <a:cubicBezTo>
                    <a:pt x="18000" y="25427"/>
                    <a:pt x="18000" y="25427"/>
                    <a:pt x="18000" y="25427"/>
                  </a:cubicBezTo>
                  <a:cubicBezTo>
                    <a:pt x="17076" y="24535"/>
                    <a:pt x="17076" y="24535"/>
                    <a:pt x="17076" y="24535"/>
                  </a:cubicBezTo>
                  <a:cubicBezTo>
                    <a:pt x="16846" y="23197"/>
                    <a:pt x="16846" y="23197"/>
                    <a:pt x="16846" y="23197"/>
                  </a:cubicBezTo>
                  <a:cubicBezTo>
                    <a:pt x="16384" y="22081"/>
                    <a:pt x="16384" y="22081"/>
                    <a:pt x="16384" y="22081"/>
                  </a:cubicBezTo>
                  <a:cubicBezTo>
                    <a:pt x="15461" y="20966"/>
                    <a:pt x="15461" y="20966"/>
                    <a:pt x="15461" y="20966"/>
                  </a:cubicBezTo>
                  <a:cubicBezTo>
                    <a:pt x="12461" y="21189"/>
                    <a:pt x="12461" y="21189"/>
                    <a:pt x="12461" y="21189"/>
                  </a:cubicBezTo>
                  <a:cubicBezTo>
                    <a:pt x="11307" y="21412"/>
                    <a:pt x="11307" y="21412"/>
                    <a:pt x="11307" y="21412"/>
                  </a:cubicBezTo>
                  <a:cubicBezTo>
                    <a:pt x="10615" y="22081"/>
                    <a:pt x="10615" y="22081"/>
                    <a:pt x="10615" y="22081"/>
                  </a:cubicBezTo>
                  <a:cubicBezTo>
                    <a:pt x="9230" y="21858"/>
                    <a:pt x="9230" y="21858"/>
                    <a:pt x="9230" y="21858"/>
                  </a:cubicBezTo>
                  <a:cubicBezTo>
                    <a:pt x="8769" y="22527"/>
                    <a:pt x="8769" y="22527"/>
                    <a:pt x="8769" y="22527"/>
                  </a:cubicBezTo>
                  <a:cubicBezTo>
                    <a:pt x="7153" y="22081"/>
                    <a:pt x="7153" y="22081"/>
                    <a:pt x="7153" y="22081"/>
                  </a:cubicBezTo>
                  <a:cubicBezTo>
                    <a:pt x="5538" y="22304"/>
                    <a:pt x="5538" y="22304"/>
                    <a:pt x="5538" y="22304"/>
                  </a:cubicBezTo>
                  <a:cubicBezTo>
                    <a:pt x="4384" y="22081"/>
                    <a:pt x="4384" y="22081"/>
                    <a:pt x="4384" y="22081"/>
                  </a:cubicBezTo>
                  <a:cubicBezTo>
                    <a:pt x="2307" y="22527"/>
                    <a:pt x="2307" y="22527"/>
                    <a:pt x="2307" y="22527"/>
                  </a:cubicBezTo>
                  <a:cubicBezTo>
                    <a:pt x="1153" y="23420"/>
                    <a:pt x="1153" y="23420"/>
                    <a:pt x="1153" y="23420"/>
                  </a:cubicBezTo>
                  <a:cubicBezTo>
                    <a:pt x="0" y="25204"/>
                    <a:pt x="0" y="25204"/>
                    <a:pt x="0" y="25204"/>
                  </a:cubicBezTo>
                  <a:cubicBezTo>
                    <a:pt x="0" y="25204"/>
                    <a:pt x="461" y="25204"/>
                    <a:pt x="923" y="25204"/>
                  </a:cubicBezTo>
                  <a:cubicBezTo>
                    <a:pt x="1153" y="25204"/>
                    <a:pt x="3230" y="25427"/>
                    <a:pt x="3230" y="25427"/>
                  </a:cubicBezTo>
                  <a:cubicBezTo>
                    <a:pt x="3692" y="26096"/>
                    <a:pt x="3692" y="26096"/>
                    <a:pt x="3692" y="26096"/>
                  </a:cubicBezTo>
                  <a:cubicBezTo>
                    <a:pt x="2307" y="26765"/>
                    <a:pt x="2307" y="26765"/>
                    <a:pt x="2307" y="26765"/>
                  </a:cubicBezTo>
                  <a:cubicBezTo>
                    <a:pt x="3461" y="27211"/>
                    <a:pt x="3461" y="27211"/>
                    <a:pt x="3461" y="27211"/>
                  </a:cubicBezTo>
                  <a:cubicBezTo>
                    <a:pt x="3692" y="27657"/>
                    <a:pt x="3692" y="27657"/>
                    <a:pt x="3692" y="27657"/>
                  </a:cubicBezTo>
                  <a:cubicBezTo>
                    <a:pt x="3692" y="28327"/>
                    <a:pt x="3692" y="28327"/>
                    <a:pt x="3692" y="28327"/>
                  </a:cubicBezTo>
                  <a:cubicBezTo>
                    <a:pt x="1153" y="28550"/>
                    <a:pt x="1153" y="28550"/>
                    <a:pt x="1153" y="28550"/>
                  </a:cubicBezTo>
                  <a:cubicBezTo>
                    <a:pt x="1153" y="28550"/>
                    <a:pt x="461" y="28327"/>
                    <a:pt x="461" y="28773"/>
                  </a:cubicBezTo>
                  <a:cubicBezTo>
                    <a:pt x="230" y="29219"/>
                    <a:pt x="1153" y="29442"/>
                    <a:pt x="1153" y="29442"/>
                  </a:cubicBezTo>
                  <a:cubicBezTo>
                    <a:pt x="2307" y="30111"/>
                    <a:pt x="2307" y="30111"/>
                    <a:pt x="2307" y="30111"/>
                  </a:cubicBezTo>
                  <a:cubicBezTo>
                    <a:pt x="2076" y="32342"/>
                    <a:pt x="2076" y="32342"/>
                    <a:pt x="2076" y="32342"/>
                  </a:cubicBezTo>
                  <a:cubicBezTo>
                    <a:pt x="3000" y="32342"/>
                    <a:pt x="3000" y="32342"/>
                    <a:pt x="3000" y="32342"/>
                  </a:cubicBezTo>
                  <a:cubicBezTo>
                    <a:pt x="4384" y="32342"/>
                    <a:pt x="4384" y="32342"/>
                    <a:pt x="4384" y="32342"/>
                  </a:cubicBezTo>
                  <a:cubicBezTo>
                    <a:pt x="4384" y="32342"/>
                    <a:pt x="4615" y="31895"/>
                    <a:pt x="5307" y="31672"/>
                  </a:cubicBezTo>
                  <a:cubicBezTo>
                    <a:pt x="5769" y="31672"/>
                    <a:pt x="6461" y="31672"/>
                    <a:pt x="6461" y="31672"/>
                  </a:cubicBezTo>
                  <a:cubicBezTo>
                    <a:pt x="6461" y="31672"/>
                    <a:pt x="6461" y="31449"/>
                    <a:pt x="6923" y="32565"/>
                  </a:cubicBezTo>
                  <a:cubicBezTo>
                    <a:pt x="7153" y="33457"/>
                    <a:pt x="7153" y="33457"/>
                    <a:pt x="7153" y="33457"/>
                  </a:cubicBezTo>
                  <a:cubicBezTo>
                    <a:pt x="8076" y="33680"/>
                    <a:pt x="8076" y="33680"/>
                    <a:pt x="8076" y="33680"/>
                  </a:cubicBezTo>
                  <a:cubicBezTo>
                    <a:pt x="8538" y="33903"/>
                    <a:pt x="8538" y="33903"/>
                    <a:pt x="8538" y="33903"/>
                  </a:cubicBezTo>
                  <a:cubicBezTo>
                    <a:pt x="8538" y="33903"/>
                    <a:pt x="9461" y="34349"/>
                    <a:pt x="9923" y="34572"/>
                  </a:cubicBezTo>
                  <a:cubicBezTo>
                    <a:pt x="10384" y="34795"/>
                    <a:pt x="11307" y="35687"/>
                    <a:pt x="11307" y="35687"/>
                  </a:cubicBezTo>
                  <a:cubicBezTo>
                    <a:pt x="11769" y="35910"/>
                    <a:pt x="11769" y="35910"/>
                    <a:pt x="11769" y="35910"/>
                  </a:cubicBezTo>
                  <a:cubicBezTo>
                    <a:pt x="11769" y="37026"/>
                    <a:pt x="11769" y="37026"/>
                    <a:pt x="11769" y="37026"/>
                  </a:cubicBezTo>
                  <a:cubicBezTo>
                    <a:pt x="11769" y="37026"/>
                    <a:pt x="12692" y="37249"/>
                    <a:pt x="13384" y="37249"/>
                  </a:cubicBezTo>
                  <a:cubicBezTo>
                    <a:pt x="14076" y="37249"/>
                    <a:pt x="15692" y="37026"/>
                    <a:pt x="15692" y="37026"/>
                  </a:cubicBezTo>
                  <a:cubicBezTo>
                    <a:pt x="16153" y="37918"/>
                    <a:pt x="16153" y="37918"/>
                    <a:pt x="16153" y="37918"/>
                  </a:cubicBezTo>
                  <a:cubicBezTo>
                    <a:pt x="16615" y="37918"/>
                    <a:pt x="18692" y="38587"/>
                    <a:pt x="18692" y="38587"/>
                  </a:cubicBezTo>
                  <a:cubicBezTo>
                    <a:pt x="18000" y="39479"/>
                    <a:pt x="18000" y="39479"/>
                    <a:pt x="18000" y="39479"/>
                  </a:cubicBezTo>
                  <a:cubicBezTo>
                    <a:pt x="17307" y="40148"/>
                    <a:pt x="17307" y="40148"/>
                    <a:pt x="17307" y="40148"/>
                  </a:cubicBezTo>
                  <a:cubicBezTo>
                    <a:pt x="17076" y="40817"/>
                    <a:pt x="17076" y="40817"/>
                    <a:pt x="17076" y="40817"/>
                  </a:cubicBezTo>
                  <a:cubicBezTo>
                    <a:pt x="17076" y="40817"/>
                    <a:pt x="17307" y="40817"/>
                    <a:pt x="18230" y="41040"/>
                  </a:cubicBezTo>
                  <a:cubicBezTo>
                    <a:pt x="19153" y="41263"/>
                    <a:pt x="19846" y="41710"/>
                    <a:pt x="19846" y="41710"/>
                  </a:cubicBezTo>
                  <a:cubicBezTo>
                    <a:pt x="19384" y="42825"/>
                    <a:pt x="19384" y="42825"/>
                    <a:pt x="19384" y="42825"/>
                  </a:cubicBezTo>
                  <a:cubicBezTo>
                    <a:pt x="20538" y="43717"/>
                    <a:pt x="20538" y="43717"/>
                    <a:pt x="20538" y="43717"/>
                  </a:cubicBezTo>
                  <a:cubicBezTo>
                    <a:pt x="20538" y="43717"/>
                    <a:pt x="21000" y="44386"/>
                    <a:pt x="21000" y="44609"/>
                  </a:cubicBezTo>
                  <a:cubicBezTo>
                    <a:pt x="20769" y="44832"/>
                    <a:pt x="20769" y="45278"/>
                    <a:pt x="20769" y="45278"/>
                  </a:cubicBezTo>
                  <a:cubicBezTo>
                    <a:pt x="20076" y="45055"/>
                    <a:pt x="20076" y="45055"/>
                    <a:pt x="20076" y="45055"/>
                  </a:cubicBezTo>
                  <a:cubicBezTo>
                    <a:pt x="20076" y="45055"/>
                    <a:pt x="20076" y="45501"/>
                    <a:pt x="19846" y="45055"/>
                  </a:cubicBezTo>
                  <a:cubicBezTo>
                    <a:pt x="19384" y="44609"/>
                    <a:pt x="19153" y="44163"/>
                    <a:pt x="19153" y="44163"/>
                  </a:cubicBezTo>
                  <a:cubicBezTo>
                    <a:pt x="18923" y="45055"/>
                    <a:pt x="18923" y="45055"/>
                    <a:pt x="18923" y="45055"/>
                  </a:cubicBezTo>
                  <a:cubicBezTo>
                    <a:pt x="18923" y="45055"/>
                    <a:pt x="19153" y="45947"/>
                    <a:pt x="19384" y="46171"/>
                  </a:cubicBezTo>
                  <a:cubicBezTo>
                    <a:pt x="19846" y="46171"/>
                    <a:pt x="19846" y="45947"/>
                    <a:pt x="19846" y="46617"/>
                  </a:cubicBezTo>
                  <a:cubicBezTo>
                    <a:pt x="19846" y="47063"/>
                    <a:pt x="20076" y="48178"/>
                    <a:pt x="20307" y="48401"/>
                  </a:cubicBezTo>
                  <a:cubicBezTo>
                    <a:pt x="20538" y="48847"/>
                    <a:pt x="20538" y="49962"/>
                    <a:pt x="20769" y="50185"/>
                  </a:cubicBezTo>
                  <a:cubicBezTo>
                    <a:pt x="21230" y="50185"/>
                    <a:pt x="21461" y="50408"/>
                    <a:pt x="21461" y="50408"/>
                  </a:cubicBezTo>
                  <a:cubicBezTo>
                    <a:pt x="21923" y="50855"/>
                    <a:pt x="21923" y="50855"/>
                    <a:pt x="21923" y="50855"/>
                  </a:cubicBezTo>
                  <a:cubicBezTo>
                    <a:pt x="23307" y="51970"/>
                    <a:pt x="23307" y="51970"/>
                    <a:pt x="23307" y="51970"/>
                  </a:cubicBezTo>
                  <a:cubicBezTo>
                    <a:pt x="23307" y="51970"/>
                    <a:pt x="24230" y="52639"/>
                    <a:pt x="24692" y="52862"/>
                  </a:cubicBezTo>
                  <a:cubicBezTo>
                    <a:pt x="25153" y="53085"/>
                    <a:pt x="25384" y="53085"/>
                    <a:pt x="25384" y="53085"/>
                  </a:cubicBezTo>
                  <a:cubicBezTo>
                    <a:pt x="26538" y="54200"/>
                    <a:pt x="26538" y="54200"/>
                    <a:pt x="26538" y="54200"/>
                  </a:cubicBezTo>
                  <a:cubicBezTo>
                    <a:pt x="26538" y="54200"/>
                    <a:pt x="27230" y="55315"/>
                    <a:pt x="27000" y="55315"/>
                  </a:cubicBezTo>
                  <a:cubicBezTo>
                    <a:pt x="26769" y="55315"/>
                    <a:pt x="27000" y="55539"/>
                    <a:pt x="26538" y="55539"/>
                  </a:cubicBezTo>
                  <a:cubicBezTo>
                    <a:pt x="25846" y="55539"/>
                    <a:pt x="26076" y="55985"/>
                    <a:pt x="25615" y="55539"/>
                  </a:cubicBezTo>
                  <a:cubicBezTo>
                    <a:pt x="24923" y="55092"/>
                    <a:pt x="24461" y="54423"/>
                    <a:pt x="23769" y="54423"/>
                  </a:cubicBezTo>
                  <a:cubicBezTo>
                    <a:pt x="23076" y="54423"/>
                    <a:pt x="23076" y="54423"/>
                    <a:pt x="23076" y="54423"/>
                  </a:cubicBezTo>
                  <a:cubicBezTo>
                    <a:pt x="24461" y="55539"/>
                    <a:pt x="24461" y="55539"/>
                    <a:pt x="24461" y="55539"/>
                  </a:cubicBezTo>
                  <a:cubicBezTo>
                    <a:pt x="25153" y="55762"/>
                    <a:pt x="25153" y="55762"/>
                    <a:pt x="25153" y="55762"/>
                  </a:cubicBezTo>
                  <a:cubicBezTo>
                    <a:pt x="26076" y="56654"/>
                    <a:pt x="26076" y="56654"/>
                    <a:pt x="26076" y="56654"/>
                  </a:cubicBezTo>
                  <a:cubicBezTo>
                    <a:pt x="26307" y="56654"/>
                    <a:pt x="26307" y="56654"/>
                    <a:pt x="26307" y="56654"/>
                  </a:cubicBezTo>
                  <a:cubicBezTo>
                    <a:pt x="26307" y="56654"/>
                    <a:pt x="26538" y="57100"/>
                    <a:pt x="26538" y="57323"/>
                  </a:cubicBezTo>
                  <a:cubicBezTo>
                    <a:pt x="26538" y="57546"/>
                    <a:pt x="26307" y="58215"/>
                    <a:pt x="26076" y="58438"/>
                  </a:cubicBezTo>
                  <a:cubicBezTo>
                    <a:pt x="26076" y="58884"/>
                    <a:pt x="26076" y="59330"/>
                    <a:pt x="26076" y="59330"/>
                  </a:cubicBezTo>
                  <a:cubicBezTo>
                    <a:pt x="25384" y="57769"/>
                    <a:pt x="25384" y="57769"/>
                    <a:pt x="25384" y="57769"/>
                  </a:cubicBezTo>
                  <a:cubicBezTo>
                    <a:pt x="25384" y="57769"/>
                    <a:pt x="25615" y="57323"/>
                    <a:pt x="25153" y="57100"/>
                  </a:cubicBezTo>
                  <a:cubicBezTo>
                    <a:pt x="24692" y="57100"/>
                    <a:pt x="24230" y="57323"/>
                    <a:pt x="24230" y="57323"/>
                  </a:cubicBezTo>
                  <a:cubicBezTo>
                    <a:pt x="24230" y="57323"/>
                    <a:pt x="24000" y="57769"/>
                    <a:pt x="24230" y="57992"/>
                  </a:cubicBezTo>
                  <a:cubicBezTo>
                    <a:pt x="24692" y="58215"/>
                    <a:pt x="24923" y="58438"/>
                    <a:pt x="24923" y="58661"/>
                  </a:cubicBezTo>
                  <a:cubicBezTo>
                    <a:pt x="25153" y="58884"/>
                    <a:pt x="25153" y="59107"/>
                    <a:pt x="25153" y="59107"/>
                  </a:cubicBezTo>
                  <a:cubicBezTo>
                    <a:pt x="25153" y="59107"/>
                    <a:pt x="25615" y="59107"/>
                    <a:pt x="25615" y="59553"/>
                  </a:cubicBezTo>
                  <a:cubicBezTo>
                    <a:pt x="25615" y="60223"/>
                    <a:pt x="25384" y="60892"/>
                    <a:pt x="25384" y="60892"/>
                  </a:cubicBezTo>
                  <a:cubicBezTo>
                    <a:pt x="25384" y="60892"/>
                    <a:pt x="24923" y="60892"/>
                    <a:pt x="25615" y="61338"/>
                  </a:cubicBezTo>
                  <a:cubicBezTo>
                    <a:pt x="26307" y="61784"/>
                    <a:pt x="26538" y="62007"/>
                    <a:pt x="26769" y="62230"/>
                  </a:cubicBezTo>
                  <a:cubicBezTo>
                    <a:pt x="27000" y="62453"/>
                    <a:pt x="27923" y="63568"/>
                    <a:pt x="27923" y="63568"/>
                  </a:cubicBezTo>
                  <a:cubicBezTo>
                    <a:pt x="28615" y="64460"/>
                    <a:pt x="28615" y="64460"/>
                    <a:pt x="28615" y="64460"/>
                  </a:cubicBezTo>
                  <a:cubicBezTo>
                    <a:pt x="28615" y="64460"/>
                    <a:pt x="28615" y="64907"/>
                    <a:pt x="28615" y="64907"/>
                  </a:cubicBezTo>
                  <a:cubicBezTo>
                    <a:pt x="28384" y="64907"/>
                    <a:pt x="27923" y="64907"/>
                    <a:pt x="27923" y="64907"/>
                  </a:cubicBezTo>
                  <a:cubicBezTo>
                    <a:pt x="27923" y="64907"/>
                    <a:pt x="27692" y="64907"/>
                    <a:pt x="27461" y="64684"/>
                  </a:cubicBezTo>
                  <a:cubicBezTo>
                    <a:pt x="27230" y="64237"/>
                    <a:pt x="26769" y="63568"/>
                    <a:pt x="26769" y="63568"/>
                  </a:cubicBezTo>
                  <a:cubicBezTo>
                    <a:pt x="26307" y="63345"/>
                    <a:pt x="26307" y="63345"/>
                    <a:pt x="26307" y="63345"/>
                  </a:cubicBezTo>
                  <a:cubicBezTo>
                    <a:pt x="25846" y="63568"/>
                    <a:pt x="25846" y="63568"/>
                    <a:pt x="25846" y="63568"/>
                  </a:cubicBezTo>
                  <a:cubicBezTo>
                    <a:pt x="25846" y="63568"/>
                    <a:pt x="25384" y="64460"/>
                    <a:pt x="25384" y="64460"/>
                  </a:cubicBezTo>
                  <a:cubicBezTo>
                    <a:pt x="25384" y="64684"/>
                    <a:pt x="24692" y="66022"/>
                    <a:pt x="24692" y="66022"/>
                  </a:cubicBezTo>
                  <a:cubicBezTo>
                    <a:pt x="24230" y="68698"/>
                    <a:pt x="24230" y="68698"/>
                    <a:pt x="24230" y="68698"/>
                  </a:cubicBezTo>
                  <a:cubicBezTo>
                    <a:pt x="24230" y="68698"/>
                    <a:pt x="24230" y="71821"/>
                    <a:pt x="24000" y="72044"/>
                  </a:cubicBezTo>
                  <a:cubicBezTo>
                    <a:pt x="24000" y="72267"/>
                    <a:pt x="23076" y="74498"/>
                    <a:pt x="23076" y="74498"/>
                  </a:cubicBezTo>
                  <a:cubicBezTo>
                    <a:pt x="23076" y="74498"/>
                    <a:pt x="23076" y="74721"/>
                    <a:pt x="23076" y="75390"/>
                  </a:cubicBezTo>
                  <a:cubicBezTo>
                    <a:pt x="22846" y="76059"/>
                    <a:pt x="22615" y="77174"/>
                    <a:pt x="22615" y="77174"/>
                  </a:cubicBezTo>
                  <a:cubicBezTo>
                    <a:pt x="22615" y="77174"/>
                    <a:pt x="22384" y="78066"/>
                    <a:pt x="22384" y="78513"/>
                  </a:cubicBezTo>
                  <a:cubicBezTo>
                    <a:pt x="22153" y="78959"/>
                    <a:pt x="21461" y="80743"/>
                    <a:pt x="21461" y="80743"/>
                  </a:cubicBezTo>
                  <a:cubicBezTo>
                    <a:pt x="21230" y="82750"/>
                    <a:pt x="21230" y="82750"/>
                    <a:pt x="21230" y="82750"/>
                  </a:cubicBezTo>
                  <a:cubicBezTo>
                    <a:pt x="19384" y="86542"/>
                    <a:pt x="19384" y="86542"/>
                    <a:pt x="19384" y="86542"/>
                  </a:cubicBezTo>
                  <a:cubicBezTo>
                    <a:pt x="18000" y="87657"/>
                    <a:pt x="18000" y="87657"/>
                    <a:pt x="18000" y="87657"/>
                  </a:cubicBezTo>
                  <a:cubicBezTo>
                    <a:pt x="17307" y="88104"/>
                    <a:pt x="17307" y="88104"/>
                    <a:pt x="17307" y="88104"/>
                  </a:cubicBezTo>
                  <a:cubicBezTo>
                    <a:pt x="18000" y="88327"/>
                    <a:pt x="18461" y="88550"/>
                    <a:pt x="18692" y="89219"/>
                  </a:cubicBezTo>
                  <a:cubicBezTo>
                    <a:pt x="19153" y="90334"/>
                    <a:pt x="20076" y="92118"/>
                    <a:pt x="20076" y="92118"/>
                  </a:cubicBezTo>
                  <a:cubicBezTo>
                    <a:pt x="23076" y="93234"/>
                    <a:pt x="23076" y="93234"/>
                    <a:pt x="23076" y="93234"/>
                  </a:cubicBezTo>
                  <a:cubicBezTo>
                    <a:pt x="23076" y="93234"/>
                    <a:pt x="24692" y="94572"/>
                    <a:pt x="24923" y="95018"/>
                  </a:cubicBezTo>
                  <a:cubicBezTo>
                    <a:pt x="25153" y="95241"/>
                    <a:pt x="28615" y="96356"/>
                    <a:pt x="28615" y="96356"/>
                  </a:cubicBezTo>
                  <a:cubicBezTo>
                    <a:pt x="30923" y="98364"/>
                    <a:pt x="30923" y="98364"/>
                    <a:pt x="30923" y="98364"/>
                  </a:cubicBezTo>
                  <a:cubicBezTo>
                    <a:pt x="34384" y="98364"/>
                    <a:pt x="34384" y="98364"/>
                    <a:pt x="34384" y="98364"/>
                  </a:cubicBezTo>
                  <a:cubicBezTo>
                    <a:pt x="36692" y="98810"/>
                    <a:pt x="36692" y="98810"/>
                    <a:pt x="36692" y="98810"/>
                  </a:cubicBezTo>
                  <a:cubicBezTo>
                    <a:pt x="37846" y="97472"/>
                    <a:pt x="37846" y="97472"/>
                    <a:pt x="37846" y="97472"/>
                  </a:cubicBezTo>
                  <a:cubicBezTo>
                    <a:pt x="37846" y="97472"/>
                    <a:pt x="43615" y="100148"/>
                    <a:pt x="43846" y="100148"/>
                  </a:cubicBezTo>
                  <a:cubicBezTo>
                    <a:pt x="44076" y="100148"/>
                    <a:pt x="44076" y="100817"/>
                    <a:pt x="44307" y="101486"/>
                  </a:cubicBezTo>
                  <a:cubicBezTo>
                    <a:pt x="44307" y="101486"/>
                    <a:pt x="44307" y="101486"/>
                    <a:pt x="44307" y="101486"/>
                  </a:cubicBezTo>
                  <a:cubicBezTo>
                    <a:pt x="44307" y="101486"/>
                    <a:pt x="44307" y="101486"/>
                    <a:pt x="44307" y="101486"/>
                  </a:cubicBezTo>
                  <a:cubicBezTo>
                    <a:pt x="44538" y="101486"/>
                    <a:pt x="44538" y="101486"/>
                    <a:pt x="44538" y="101486"/>
                  </a:cubicBezTo>
                  <a:cubicBezTo>
                    <a:pt x="44538" y="101486"/>
                    <a:pt x="44307" y="101263"/>
                    <a:pt x="44307" y="101263"/>
                  </a:cubicBezTo>
                  <a:cubicBezTo>
                    <a:pt x="44307" y="101040"/>
                    <a:pt x="44307" y="101040"/>
                    <a:pt x="44307" y="101040"/>
                  </a:cubicBezTo>
                  <a:cubicBezTo>
                    <a:pt x="44538" y="101040"/>
                    <a:pt x="44538" y="101040"/>
                    <a:pt x="44538" y="101040"/>
                  </a:cubicBezTo>
                  <a:cubicBezTo>
                    <a:pt x="44538" y="101040"/>
                    <a:pt x="44538" y="101040"/>
                    <a:pt x="44538" y="101040"/>
                  </a:cubicBezTo>
                  <a:cubicBezTo>
                    <a:pt x="44538" y="101040"/>
                    <a:pt x="44538" y="101040"/>
                    <a:pt x="44538" y="101040"/>
                  </a:cubicBezTo>
                  <a:cubicBezTo>
                    <a:pt x="44769" y="101040"/>
                    <a:pt x="44769" y="101040"/>
                    <a:pt x="44769" y="101040"/>
                  </a:cubicBezTo>
                  <a:cubicBezTo>
                    <a:pt x="45000" y="100817"/>
                    <a:pt x="45000" y="100817"/>
                    <a:pt x="45000" y="100817"/>
                  </a:cubicBezTo>
                  <a:cubicBezTo>
                    <a:pt x="45000" y="100817"/>
                    <a:pt x="45000" y="100817"/>
                    <a:pt x="45000" y="100817"/>
                  </a:cubicBezTo>
                  <a:cubicBezTo>
                    <a:pt x="45000" y="100594"/>
                    <a:pt x="44769" y="100594"/>
                    <a:pt x="44769" y="100594"/>
                  </a:cubicBezTo>
                  <a:cubicBezTo>
                    <a:pt x="44769" y="100594"/>
                    <a:pt x="45000" y="100594"/>
                    <a:pt x="45000" y="100371"/>
                  </a:cubicBezTo>
                  <a:cubicBezTo>
                    <a:pt x="45000" y="100371"/>
                    <a:pt x="45000" y="100371"/>
                    <a:pt x="45000" y="100371"/>
                  </a:cubicBezTo>
                  <a:cubicBezTo>
                    <a:pt x="45230" y="100371"/>
                    <a:pt x="45230" y="100371"/>
                    <a:pt x="45230" y="100371"/>
                  </a:cubicBezTo>
                  <a:cubicBezTo>
                    <a:pt x="45230" y="100371"/>
                    <a:pt x="45230" y="100371"/>
                    <a:pt x="45230" y="100371"/>
                  </a:cubicBezTo>
                  <a:cubicBezTo>
                    <a:pt x="45230" y="100371"/>
                    <a:pt x="45230" y="100371"/>
                    <a:pt x="45230" y="100371"/>
                  </a:cubicBezTo>
                  <a:cubicBezTo>
                    <a:pt x="45461" y="100371"/>
                    <a:pt x="45461" y="100371"/>
                    <a:pt x="45461" y="100371"/>
                  </a:cubicBezTo>
                  <a:cubicBezTo>
                    <a:pt x="45461" y="100371"/>
                    <a:pt x="45461" y="100371"/>
                    <a:pt x="45461" y="100371"/>
                  </a:cubicBezTo>
                  <a:cubicBezTo>
                    <a:pt x="45692" y="100371"/>
                    <a:pt x="45692" y="100371"/>
                    <a:pt x="45692" y="100371"/>
                  </a:cubicBezTo>
                  <a:cubicBezTo>
                    <a:pt x="45692" y="100371"/>
                    <a:pt x="45692" y="100371"/>
                    <a:pt x="45692" y="100371"/>
                  </a:cubicBezTo>
                  <a:cubicBezTo>
                    <a:pt x="45692" y="100371"/>
                    <a:pt x="45923" y="100371"/>
                    <a:pt x="45923" y="100371"/>
                  </a:cubicBezTo>
                  <a:cubicBezTo>
                    <a:pt x="45923" y="100371"/>
                    <a:pt x="45923" y="100594"/>
                    <a:pt x="45923" y="100594"/>
                  </a:cubicBezTo>
                  <a:cubicBezTo>
                    <a:pt x="45923" y="100594"/>
                    <a:pt x="45923" y="100594"/>
                    <a:pt x="45923" y="100594"/>
                  </a:cubicBezTo>
                  <a:cubicBezTo>
                    <a:pt x="45923" y="100594"/>
                    <a:pt x="46153" y="100594"/>
                    <a:pt x="46153" y="100594"/>
                  </a:cubicBezTo>
                  <a:cubicBezTo>
                    <a:pt x="46153" y="100594"/>
                    <a:pt x="46153" y="100817"/>
                    <a:pt x="46153" y="100817"/>
                  </a:cubicBezTo>
                  <a:cubicBezTo>
                    <a:pt x="46153" y="100817"/>
                    <a:pt x="46384" y="100817"/>
                    <a:pt x="46384" y="100817"/>
                  </a:cubicBezTo>
                  <a:cubicBezTo>
                    <a:pt x="46384" y="100817"/>
                    <a:pt x="46615" y="100817"/>
                    <a:pt x="46615" y="100817"/>
                  </a:cubicBezTo>
                  <a:cubicBezTo>
                    <a:pt x="46615" y="100817"/>
                    <a:pt x="46615" y="100817"/>
                    <a:pt x="46615" y="101040"/>
                  </a:cubicBezTo>
                  <a:cubicBezTo>
                    <a:pt x="46846" y="101040"/>
                    <a:pt x="46846" y="101040"/>
                    <a:pt x="46846" y="101040"/>
                  </a:cubicBezTo>
                  <a:cubicBezTo>
                    <a:pt x="46846" y="100817"/>
                    <a:pt x="47076" y="100817"/>
                    <a:pt x="47076" y="100817"/>
                  </a:cubicBezTo>
                  <a:cubicBezTo>
                    <a:pt x="47076" y="101040"/>
                    <a:pt x="47076" y="101040"/>
                    <a:pt x="47076" y="101040"/>
                  </a:cubicBezTo>
                  <a:cubicBezTo>
                    <a:pt x="47307" y="101040"/>
                    <a:pt x="47307" y="101040"/>
                    <a:pt x="47307" y="101040"/>
                  </a:cubicBezTo>
                  <a:cubicBezTo>
                    <a:pt x="47538" y="101040"/>
                    <a:pt x="47538" y="101040"/>
                    <a:pt x="47538" y="101040"/>
                  </a:cubicBezTo>
                  <a:cubicBezTo>
                    <a:pt x="47538" y="101263"/>
                    <a:pt x="47538" y="101263"/>
                    <a:pt x="47538" y="101263"/>
                  </a:cubicBezTo>
                  <a:cubicBezTo>
                    <a:pt x="47307" y="101263"/>
                    <a:pt x="47307" y="101263"/>
                    <a:pt x="47307" y="101263"/>
                  </a:cubicBezTo>
                  <a:cubicBezTo>
                    <a:pt x="47307" y="101263"/>
                    <a:pt x="47307" y="101263"/>
                    <a:pt x="47307" y="101263"/>
                  </a:cubicBezTo>
                  <a:cubicBezTo>
                    <a:pt x="47307" y="101486"/>
                    <a:pt x="47307" y="101486"/>
                    <a:pt x="47307" y="101486"/>
                  </a:cubicBezTo>
                  <a:cubicBezTo>
                    <a:pt x="47538" y="101486"/>
                    <a:pt x="47538" y="101486"/>
                    <a:pt x="47538" y="101486"/>
                  </a:cubicBezTo>
                  <a:cubicBezTo>
                    <a:pt x="47538" y="101486"/>
                    <a:pt x="47538" y="101486"/>
                    <a:pt x="47538" y="101486"/>
                  </a:cubicBezTo>
                  <a:cubicBezTo>
                    <a:pt x="48000" y="101710"/>
                    <a:pt x="48000" y="101710"/>
                    <a:pt x="48000" y="101710"/>
                  </a:cubicBezTo>
                  <a:cubicBezTo>
                    <a:pt x="47769" y="101710"/>
                    <a:pt x="47769" y="101710"/>
                    <a:pt x="47769" y="101710"/>
                  </a:cubicBezTo>
                  <a:cubicBezTo>
                    <a:pt x="47769" y="101710"/>
                    <a:pt x="47769" y="101710"/>
                    <a:pt x="47769" y="101710"/>
                  </a:cubicBezTo>
                  <a:cubicBezTo>
                    <a:pt x="47769" y="101710"/>
                    <a:pt x="47538" y="101710"/>
                    <a:pt x="47538" y="101710"/>
                  </a:cubicBezTo>
                  <a:cubicBezTo>
                    <a:pt x="47538" y="101710"/>
                    <a:pt x="47307" y="101710"/>
                    <a:pt x="47307" y="101710"/>
                  </a:cubicBezTo>
                  <a:cubicBezTo>
                    <a:pt x="47307" y="101933"/>
                    <a:pt x="47307" y="101933"/>
                    <a:pt x="47307" y="101933"/>
                  </a:cubicBezTo>
                  <a:cubicBezTo>
                    <a:pt x="47307" y="102379"/>
                    <a:pt x="47307" y="102379"/>
                    <a:pt x="47307" y="102379"/>
                  </a:cubicBezTo>
                  <a:cubicBezTo>
                    <a:pt x="47076" y="102379"/>
                    <a:pt x="47076" y="102379"/>
                    <a:pt x="47076" y="102379"/>
                  </a:cubicBezTo>
                  <a:cubicBezTo>
                    <a:pt x="47076" y="102602"/>
                    <a:pt x="47076" y="102602"/>
                    <a:pt x="47076" y="102602"/>
                  </a:cubicBezTo>
                  <a:cubicBezTo>
                    <a:pt x="47076" y="102602"/>
                    <a:pt x="47076" y="102602"/>
                    <a:pt x="47076" y="102602"/>
                  </a:cubicBezTo>
                  <a:cubicBezTo>
                    <a:pt x="47076" y="102602"/>
                    <a:pt x="47076" y="102602"/>
                    <a:pt x="47076" y="102602"/>
                  </a:cubicBezTo>
                  <a:cubicBezTo>
                    <a:pt x="47076" y="102602"/>
                    <a:pt x="47076" y="102602"/>
                    <a:pt x="46846" y="102602"/>
                  </a:cubicBezTo>
                  <a:cubicBezTo>
                    <a:pt x="46846" y="102602"/>
                    <a:pt x="46846" y="102602"/>
                    <a:pt x="46846" y="102602"/>
                  </a:cubicBezTo>
                  <a:cubicBezTo>
                    <a:pt x="46615" y="102379"/>
                    <a:pt x="46615" y="102379"/>
                    <a:pt x="46615" y="102379"/>
                  </a:cubicBezTo>
                  <a:cubicBezTo>
                    <a:pt x="46615" y="102602"/>
                    <a:pt x="46615" y="102602"/>
                    <a:pt x="46615" y="102602"/>
                  </a:cubicBezTo>
                  <a:cubicBezTo>
                    <a:pt x="46615" y="102825"/>
                    <a:pt x="46615" y="102825"/>
                    <a:pt x="46615" y="102825"/>
                  </a:cubicBezTo>
                  <a:cubicBezTo>
                    <a:pt x="46615" y="102825"/>
                    <a:pt x="46615" y="102825"/>
                    <a:pt x="46615" y="102825"/>
                  </a:cubicBezTo>
                  <a:cubicBezTo>
                    <a:pt x="46384" y="102825"/>
                    <a:pt x="46384" y="102825"/>
                    <a:pt x="46384" y="102825"/>
                  </a:cubicBezTo>
                  <a:cubicBezTo>
                    <a:pt x="46153" y="102825"/>
                    <a:pt x="46153" y="102825"/>
                    <a:pt x="46153" y="102825"/>
                  </a:cubicBezTo>
                  <a:cubicBezTo>
                    <a:pt x="45923" y="102825"/>
                    <a:pt x="45923" y="102825"/>
                    <a:pt x="45923" y="102825"/>
                  </a:cubicBezTo>
                  <a:cubicBezTo>
                    <a:pt x="45923" y="102825"/>
                    <a:pt x="45923" y="102825"/>
                    <a:pt x="45923" y="102825"/>
                  </a:cubicBezTo>
                  <a:cubicBezTo>
                    <a:pt x="45692" y="103048"/>
                    <a:pt x="45692" y="103048"/>
                    <a:pt x="45692" y="103048"/>
                  </a:cubicBezTo>
                  <a:cubicBezTo>
                    <a:pt x="45692" y="103048"/>
                    <a:pt x="45692" y="103048"/>
                    <a:pt x="45692" y="103048"/>
                  </a:cubicBezTo>
                  <a:cubicBezTo>
                    <a:pt x="45692" y="103048"/>
                    <a:pt x="45692" y="103048"/>
                    <a:pt x="45692" y="103048"/>
                  </a:cubicBezTo>
                  <a:cubicBezTo>
                    <a:pt x="45692" y="103048"/>
                    <a:pt x="45692" y="103048"/>
                    <a:pt x="45692" y="103048"/>
                  </a:cubicBezTo>
                  <a:cubicBezTo>
                    <a:pt x="45461" y="102825"/>
                    <a:pt x="45461" y="102825"/>
                    <a:pt x="45461" y="102825"/>
                  </a:cubicBezTo>
                  <a:cubicBezTo>
                    <a:pt x="45461" y="103048"/>
                    <a:pt x="45461" y="103048"/>
                    <a:pt x="45461" y="103048"/>
                  </a:cubicBezTo>
                  <a:cubicBezTo>
                    <a:pt x="45461" y="103048"/>
                    <a:pt x="45461" y="103048"/>
                    <a:pt x="45461" y="103048"/>
                  </a:cubicBezTo>
                  <a:cubicBezTo>
                    <a:pt x="45461" y="103048"/>
                    <a:pt x="45461" y="103048"/>
                    <a:pt x="45461" y="103048"/>
                  </a:cubicBezTo>
                  <a:cubicBezTo>
                    <a:pt x="48461" y="103717"/>
                    <a:pt x="48461" y="103717"/>
                    <a:pt x="48461" y="103717"/>
                  </a:cubicBezTo>
                  <a:cubicBezTo>
                    <a:pt x="49153" y="103940"/>
                    <a:pt x="49153" y="104386"/>
                    <a:pt x="49846" y="104832"/>
                  </a:cubicBezTo>
                  <a:cubicBezTo>
                    <a:pt x="51692" y="104163"/>
                    <a:pt x="51692" y="104163"/>
                    <a:pt x="51692" y="104163"/>
                  </a:cubicBezTo>
                  <a:cubicBezTo>
                    <a:pt x="54000" y="105724"/>
                    <a:pt x="54000" y="105724"/>
                    <a:pt x="54000" y="105724"/>
                  </a:cubicBezTo>
                  <a:cubicBezTo>
                    <a:pt x="56076" y="105055"/>
                    <a:pt x="56076" y="105055"/>
                    <a:pt x="56076" y="105055"/>
                  </a:cubicBezTo>
                  <a:cubicBezTo>
                    <a:pt x="58153" y="105055"/>
                    <a:pt x="58153" y="105055"/>
                    <a:pt x="58153" y="105055"/>
                  </a:cubicBezTo>
                  <a:cubicBezTo>
                    <a:pt x="58153" y="104832"/>
                    <a:pt x="59076" y="104832"/>
                    <a:pt x="59769" y="105055"/>
                  </a:cubicBezTo>
                  <a:cubicBezTo>
                    <a:pt x="59769" y="105055"/>
                    <a:pt x="59769" y="105055"/>
                    <a:pt x="59769" y="105055"/>
                  </a:cubicBezTo>
                  <a:close/>
                  <a:moveTo>
                    <a:pt x="44307" y="101710"/>
                  </a:moveTo>
                  <a:cubicBezTo>
                    <a:pt x="44307" y="101710"/>
                    <a:pt x="44307" y="101710"/>
                    <a:pt x="44307" y="101710"/>
                  </a:cubicBezTo>
                  <a:cubicBezTo>
                    <a:pt x="44307" y="101710"/>
                    <a:pt x="44307" y="101710"/>
                    <a:pt x="44307" y="101710"/>
                  </a:cubicBezTo>
                  <a:cubicBezTo>
                    <a:pt x="44307" y="101710"/>
                    <a:pt x="44538" y="101710"/>
                    <a:pt x="44538" y="101710"/>
                  </a:cubicBezTo>
                  <a:cubicBezTo>
                    <a:pt x="44538" y="101710"/>
                    <a:pt x="44538" y="101933"/>
                    <a:pt x="44538" y="101933"/>
                  </a:cubicBezTo>
                  <a:cubicBezTo>
                    <a:pt x="44538" y="101933"/>
                    <a:pt x="44538" y="101933"/>
                    <a:pt x="44538" y="101933"/>
                  </a:cubicBezTo>
                  <a:cubicBezTo>
                    <a:pt x="44538" y="101933"/>
                    <a:pt x="44538" y="101933"/>
                    <a:pt x="44769" y="102156"/>
                  </a:cubicBezTo>
                  <a:cubicBezTo>
                    <a:pt x="44769" y="102156"/>
                    <a:pt x="44538" y="102156"/>
                    <a:pt x="44538" y="102156"/>
                  </a:cubicBezTo>
                  <a:cubicBezTo>
                    <a:pt x="44538" y="102156"/>
                    <a:pt x="44538" y="102156"/>
                    <a:pt x="44538" y="102156"/>
                  </a:cubicBezTo>
                  <a:cubicBezTo>
                    <a:pt x="44307" y="102156"/>
                    <a:pt x="44307" y="102156"/>
                    <a:pt x="44307" y="102156"/>
                  </a:cubicBezTo>
                  <a:cubicBezTo>
                    <a:pt x="44307" y="102156"/>
                    <a:pt x="44307" y="102156"/>
                    <a:pt x="44307" y="102156"/>
                  </a:cubicBezTo>
                  <a:cubicBezTo>
                    <a:pt x="44307" y="101710"/>
                    <a:pt x="44307" y="101710"/>
                    <a:pt x="44307" y="101710"/>
                  </a:cubicBezTo>
                  <a:close/>
                  <a:moveTo>
                    <a:pt x="103846" y="45055"/>
                  </a:moveTo>
                  <a:cubicBezTo>
                    <a:pt x="103846" y="45055"/>
                    <a:pt x="103846" y="45055"/>
                    <a:pt x="103846" y="45055"/>
                  </a:cubicBezTo>
                  <a:cubicBezTo>
                    <a:pt x="103615" y="45055"/>
                    <a:pt x="103615" y="45055"/>
                    <a:pt x="103615" y="45055"/>
                  </a:cubicBezTo>
                  <a:cubicBezTo>
                    <a:pt x="103384" y="44832"/>
                    <a:pt x="103384" y="44832"/>
                    <a:pt x="103384" y="44832"/>
                  </a:cubicBezTo>
                  <a:cubicBezTo>
                    <a:pt x="103384" y="44832"/>
                    <a:pt x="103384" y="44832"/>
                    <a:pt x="103384" y="44832"/>
                  </a:cubicBezTo>
                  <a:cubicBezTo>
                    <a:pt x="103384" y="44832"/>
                    <a:pt x="103384" y="44832"/>
                    <a:pt x="103384" y="44832"/>
                  </a:cubicBezTo>
                  <a:cubicBezTo>
                    <a:pt x="103615" y="44832"/>
                    <a:pt x="103615" y="44609"/>
                    <a:pt x="103615" y="44609"/>
                  </a:cubicBezTo>
                  <a:cubicBezTo>
                    <a:pt x="103615" y="44832"/>
                    <a:pt x="103846" y="44832"/>
                    <a:pt x="103846" y="45055"/>
                  </a:cubicBezTo>
                  <a:close/>
                  <a:moveTo>
                    <a:pt x="113769" y="115985"/>
                  </a:moveTo>
                  <a:cubicBezTo>
                    <a:pt x="113769" y="115985"/>
                    <a:pt x="113769" y="115985"/>
                    <a:pt x="113769" y="115985"/>
                  </a:cubicBezTo>
                  <a:cubicBezTo>
                    <a:pt x="113307" y="116877"/>
                    <a:pt x="113307" y="116877"/>
                    <a:pt x="113307" y="116877"/>
                  </a:cubicBezTo>
                  <a:cubicBezTo>
                    <a:pt x="112846" y="117546"/>
                    <a:pt x="112846" y="117546"/>
                    <a:pt x="112846" y="117546"/>
                  </a:cubicBezTo>
                  <a:cubicBezTo>
                    <a:pt x="114000" y="117992"/>
                    <a:pt x="114000" y="117992"/>
                    <a:pt x="114000" y="117992"/>
                  </a:cubicBezTo>
                  <a:cubicBezTo>
                    <a:pt x="114692" y="118884"/>
                    <a:pt x="114692" y="118884"/>
                    <a:pt x="114692" y="118884"/>
                  </a:cubicBezTo>
                  <a:cubicBezTo>
                    <a:pt x="114692" y="118884"/>
                    <a:pt x="115153" y="119553"/>
                    <a:pt x="115615" y="119553"/>
                  </a:cubicBezTo>
                  <a:cubicBezTo>
                    <a:pt x="116076" y="119553"/>
                    <a:pt x="116769" y="120000"/>
                    <a:pt x="116769" y="120000"/>
                  </a:cubicBezTo>
                  <a:cubicBezTo>
                    <a:pt x="116769" y="120000"/>
                    <a:pt x="117230" y="119330"/>
                    <a:pt x="117230" y="118438"/>
                  </a:cubicBezTo>
                  <a:cubicBezTo>
                    <a:pt x="117461" y="117769"/>
                    <a:pt x="116538" y="116877"/>
                    <a:pt x="117923" y="116654"/>
                  </a:cubicBezTo>
                  <a:cubicBezTo>
                    <a:pt x="119307" y="116654"/>
                    <a:pt x="118384" y="115092"/>
                    <a:pt x="118384" y="115092"/>
                  </a:cubicBezTo>
                  <a:cubicBezTo>
                    <a:pt x="118384" y="113977"/>
                    <a:pt x="118384" y="113977"/>
                    <a:pt x="118384" y="113977"/>
                  </a:cubicBezTo>
                  <a:cubicBezTo>
                    <a:pt x="118153" y="112639"/>
                    <a:pt x="118153" y="112639"/>
                    <a:pt x="118153" y="112639"/>
                  </a:cubicBezTo>
                  <a:cubicBezTo>
                    <a:pt x="118384" y="112193"/>
                    <a:pt x="118384" y="112193"/>
                    <a:pt x="118384" y="112193"/>
                  </a:cubicBezTo>
                  <a:cubicBezTo>
                    <a:pt x="119076" y="111301"/>
                    <a:pt x="119076" y="111301"/>
                    <a:pt x="119076" y="111301"/>
                  </a:cubicBezTo>
                  <a:cubicBezTo>
                    <a:pt x="119769" y="110631"/>
                    <a:pt x="119769" y="110631"/>
                    <a:pt x="119769" y="110631"/>
                  </a:cubicBezTo>
                  <a:cubicBezTo>
                    <a:pt x="119769" y="110631"/>
                    <a:pt x="120000" y="109962"/>
                    <a:pt x="120000" y="109516"/>
                  </a:cubicBezTo>
                  <a:cubicBezTo>
                    <a:pt x="119769" y="109293"/>
                    <a:pt x="119076" y="108178"/>
                    <a:pt x="119076" y="108178"/>
                  </a:cubicBezTo>
                  <a:cubicBezTo>
                    <a:pt x="119769" y="105501"/>
                    <a:pt x="119769" y="105501"/>
                    <a:pt x="119769" y="105501"/>
                  </a:cubicBezTo>
                  <a:cubicBezTo>
                    <a:pt x="119538" y="105055"/>
                    <a:pt x="119538" y="105055"/>
                    <a:pt x="119538" y="105055"/>
                  </a:cubicBezTo>
                  <a:cubicBezTo>
                    <a:pt x="119307" y="104386"/>
                    <a:pt x="119307" y="104386"/>
                    <a:pt x="119307" y="104386"/>
                  </a:cubicBezTo>
                  <a:cubicBezTo>
                    <a:pt x="118846" y="102379"/>
                    <a:pt x="118846" y="102379"/>
                    <a:pt x="118846" y="102379"/>
                  </a:cubicBezTo>
                  <a:cubicBezTo>
                    <a:pt x="118846" y="99702"/>
                    <a:pt x="118846" y="99702"/>
                    <a:pt x="118846" y="99702"/>
                  </a:cubicBezTo>
                  <a:cubicBezTo>
                    <a:pt x="117461" y="100148"/>
                    <a:pt x="117461" y="100148"/>
                    <a:pt x="117461" y="100148"/>
                  </a:cubicBezTo>
                  <a:cubicBezTo>
                    <a:pt x="117923" y="101263"/>
                    <a:pt x="117923" y="101263"/>
                    <a:pt x="117923" y="101263"/>
                  </a:cubicBezTo>
                  <a:cubicBezTo>
                    <a:pt x="117461" y="103271"/>
                    <a:pt x="117461" y="103271"/>
                    <a:pt x="117461" y="103271"/>
                  </a:cubicBezTo>
                  <a:cubicBezTo>
                    <a:pt x="116307" y="103494"/>
                    <a:pt x="116307" y="103494"/>
                    <a:pt x="116307" y="103494"/>
                  </a:cubicBezTo>
                  <a:cubicBezTo>
                    <a:pt x="115846" y="103717"/>
                    <a:pt x="115846" y="103717"/>
                    <a:pt x="115846" y="103717"/>
                  </a:cubicBezTo>
                  <a:cubicBezTo>
                    <a:pt x="115153" y="104386"/>
                    <a:pt x="115153" y="104386"/>
                    <a:pt x="115153" y="104386"/>
                  </a:cubicBezTo>
                  <a:cubicBezTo>
                    <a:pt x="114000" y="104609"/>
                    <a:pt x="114000" y="104609"/>
                    <a:pt x="114000" y="104609"/>
                  </a:cubicBezTo>
                  <a:cubicBezTo>
                    <a:pt x="112846" y="105501"/>
                    <a:pt x="112846" y="105501"/>
                    <a:pt x="112846" y="105501"/>
                  </a:cubicBezTo>
                  <a:cubicBezTo>
                    <a:pt x="111923" y="106617"/>
                    <a:pt x="111923" y="106617"/>
                    <a:pt x="111923" y="106617"/>
                  </a:cubicBezTo>
                  <a:cubicBezTo>
                    <a:pt x="111230" y="107286"/>
                    <a:pt x="111230" y="107286"/>
                    <a:pt x="111230" y="107286"/>
                  </a:cubicBezTo>
                  <a:cubicBezTo>
                    <a:pt x="111230" y="107286"/>
                    <a:pt x="111230" y="107732"/>
                    <a:pt x="111692" y="108178"/>
                  </a:cubicBezTo>
                  <a:cubicBezTo>
                    <a:pt x="112153" y="108847"/>
                    <a:pt x="111000" y="111078"/>
                    <a:pt x="111000" y="111078"/>
                  </a:cubicBezTo>
                  <a:cubicBezTo>
                    <a:pt x="111923" y="111078"/>
                    <a:pt x="111923" y="111078"/>
                    <a:pt x="111923" y="111078"/>
                  </a:cubicBezTo>
                  <a:cubicBezTo>
                    <a:pt x="112153" y="112193"/>
                    <a:pt x="112153" y="112193"/>
                    <a:pt x="112153" y="112193"/>
                  </a:cubicBezTo>
                  <a:cubicBezTo>
                    <a:pt x="111461" y="113308"/>
                    <a:pt x="111461" y="113308"/>
                    <a:pt x="111461" y="113308"/>
                  </a:cubicBezTo>
                  <a:cubicBezTo>
                    <a:pt x="112153" y="113754"/>
                    <a:pt x="112153" y="113754"/>
                    <a:pt x="112153" y="113754"/>
                  </a:cubicBezTo>
                  <a:cubicBezTo>
                    <a:pt x="112846" y="113754"/>
                    <a:pt x="112846" y="113754"/>
                    <a:pt x="112846" y="113754"/>
                  </a:cubicBezTo>
                  <a:cubicBezTo>
                    <a:pt x="112153" y="115092"/>
                    <a:pt x="112153" y="115092"/>
                    <a:pt x="112153" y="115092"/>
                  </a:cubicBezTo>
                  <a:cubicBezTo>
                    <a:pt x="112153" y="115539"/>
                    <a:pt x="112153" y="115539"/>
                    <a:pt x="112153" y="115539"/>
                  </a:cubicBezTo>
                  <a:lnTo>
                    <a:pt x="113769" y="115985"/>
                  </a:lnTo>
                  <a:close/>
                </a:path>
              </a:pathLst>
            </a:custGeom>
            <a:solidFill>
              <a:srgbClr val="E4032D"/>
            </a:solidFill>
            <a:ln w="3175" cap="flat" cmpd="sng">
              <a:solidFill>
                <a:schemeClr val="tx1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defTabSz="457178"/>
              <a:endParaRPr kern="0" dirty="0">
                <a:solidFill>
                  <a:srgbClr val="7F7F7F"/>
                </a:solidFill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35" name="Shape 2042">
              <a:extLst>
                <a:ext uri="{FF2B5EF4-FFF2-40B4-BE49-F238E27FC236}">
                  <a16:creationId xmlns:a16="http://schemas.microsoft.com/office/drawing/2014/main" id="{D34452BF-F212-4AC9-A298-8E1414C9641D}"/>
                </a:ext>
              </a:extLst>
            </p:cNvPr>
            <p:cNvSpPr/>
            <p:nvPr/>
          </p:nvSpPr>
          <p:spPr>
            <a:xfrm>
              <a:off x="2979925" y="1055254"/>
              <a:ext cx="543118" cy="437886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24201" y="44848"/>
                  </a:moveTo>
                  <a:cubicBezTo>
                    <a:pt x="26218" y="46666"/>
                    <a:pt x="26218" y="46666"/>
                    <a:pt x="26218" y="46666"/>
                  </a:cubicBezTo>
                  <a:cubicBezTo>
                    <a:pt x="27731" y="45454"/>
                    <a:pt x="27731" y="45454"/>
                    <a:pt x="27731" y="45454"/>
                  </a:cubicBezTo>
                  <a:cubicBezTo>
                    <a:pt x="28739" y="44242"/>
                    <a:pt x="28739" y="44242"/>
                    <a:pt x="28739" y="44242"/>
                  </a:cubicBezTo>
                  <a:cubicBezTo>
                    <a:pt x="29747" y="45454"/>
                    <a:pt x="29747" y="45454"/>
                    <a:pt x="29747" y="45454"/>
                  </a:cubicBezTo>
                  <a:cubicBezTo>
                    <a:pt x="28235" y="47272"/>
                    <a:pt x="28235" y="47272"/>
                    <a:pt x="28235" y="47272"/>
                  </a:cubicBezTo>
                  <a:cubicBezTo>
                    <a:pt x="27226" y="48484"/>
                    <a:pt x="27226" y="48484"/>
                    <a:pt x="27226" y="48484"/>
                  </a:cubicBezTo>
                  <a:cubicBezTo>
                    <a:pt x="27226" y="50303"/>
                    <a:pt x="27226" y="50303"/>
                    <a:pt x="27226" y="50303"/>
                  </a:cubicBezTo>
                  <a:cubicBezTo>
                    <a:pt x="25210" y="49696"/>
                    <a:pt x="25210" y="49696"/>
                    <a:pt x="25210" y="49696"/>
                  </a:cubicBezTo>
                  <a:cubicBezTo>
                    <a:pt x="23193" y="47272"/>
                    <a:pt x="23193" y="47272"/>
                    <a:pt x="23193" y="47272"/>
                  </a:cubicBezTo>
                  <a:cubicBezTo>
                    <a:pt x="22184" y="46666"/>
                    <a:pt x="22184" y="46666"/>
                    <a:pt x="22184" y="46666"/>
                  </a:cubicBezTo>
                  <a:cubicBezTo>
                    <a:pt x="21176" y="46060"/>
                    <a:pt x="21176" y="46060"/>
                    <a:pt x="21176" y="46060"/>
                  </a:cubicBezTo>
                  <a:cubicBezTo>
                    <a:pt x="20672" y="44242"/>
                    <a:pt x="20672" y="44242"/>
                    <a:pt x="20672" y="44242"/>
                  </a:cubicBezTo>
                  <a:cubicBezTo>
                    <a:pt x="20168" y="44848"/>
                    <a:pt x="20168" y="44848"/>
                    <a:pt x="20168" y="44848"/>
                  </a:cubicBezTo>
                  <a:cubicBezTo>
                    <a:pt x="18151" y="45454"/>
                    <a:pt x="18151" y="45454"/>
                    <a:pt x="18151" y="45454"/>
                  </a:cubicBezTo>
                  <a:cubicBezTo>
                    <a:pt x="17647" y="46060"/>
                    <a:pt x="17647" y="46060"/>
                    <a:pt x="17647" y="46060"/>
                  </a:cubicBezTo>
                  <a:cubicBezTo>
                    <a:pt x="17142" y="44848"/>
                    <a:pt x="17142" y="44848"/>
                    <a:pt x="17142" y="44848"/>
                  </a:cubicBezTo>
                  <a:cubicBezTo>
                    <a:pt x="17647" y="43636"/>
                    <a:pt x="17647" y="43636"/>
                    <a:pt x="17647" y="43636"/>
                  </a:cubicBezTo>
                  <a:cubicBezTo>
                    <a:pt x="16134" y="43636"/>
                    <a:pt x="16134" y="43636"/>
                    <a:pt x="16134" y="43636"/>
                  </a:cubicBezTo>
                  <a:cubicBezTo>
                    <a:pt x="16134" y="43636"/>
                    <a:pt x="15630" y="44242"/>
                    <a:pt x="15126" y="44242"/>
                  </a:cubicBezTo>
                  <a:cubicBezTo>
                    <a:pt x="14621" y="44242"/>
                    <a:pt x="14117" y="44242"/>
                    <a:pt x="14117" y="44242"/>
                  </a:cubicBezTo>
                  <a:cubicBezTo>
                    <a:pt x="13613" y="43636"/>
                    <a:pt x="13109" y="43030"/>
                    <a:pt x="12605" y="43030"/>
                  </a:cubicBezTo>
                  <a:cubicBezTo>
                    <a:pt x="12100" y="42424"/>
                    <a:pt x="11596" y="41818"/>
                    <a:pt x="11596" y="41818"/>
                  </a:cubicBezTo>
                  <a:cubicBezTo>
                    <a:pt x="10588" y="42424"/>
                    <a:pt x="10588" y="42424"/>
                    <a:pt x="10588" y="42424"/>
                  </a:cubicBezTo>
                  <a:cubicBezTo>
                    <a:pt x="9579" y="43636"/>
                    <a:pt x="9579" y="43636"/>
                    <a:pt x="9579" y="43636"/>
                  </a:cubicBezTo>
                  <a:cubicBezTo>
                    <a:pt x="9579" y="43030"/>
                    <a:pt x="9579" y="43030"/>
                    <a:pt x="9579" y="43030"/>
                  </a:cubicBezTo>
                  <a:cubicBezTo>
                    <a:pt x="8571" y="42424"/>
                    <a:pt x="8571" y="42424"/>
                    <a:pt x="8571" y="42424"/>
                  </a:cubicBezTo>
                  <a:cubicBezTo>
                    <a:pt x="6554" y="42424"/>
                    <a:pt x="6554" y="42424"/>
                    <a:pt x="6554" y="42424"/>
                  </a:cubicBezTo>
                  <a:cubicBezTo>
                    <a:pt x="6050" y="42424"/>
                    <a:pt x="6050" y="42424"/>
                    <a:pt x="6050" y="42424"/>
                  </a:cubicBezTo>
                  <a:cubicBezTo>
                    <a:pt x="6050" y="42424"/>
                    <a:pt x="6050" y="42424"/>
                    <a:pt x="5042" y="42424"/>
                  </a:cubicBezTo>
                  <a:cubicBezTo>
                    <a:pt x="4537" y="41818"/>
                    <a:pt x="4537" y="41818"/>
                    <a:pt x="4537" y="41818"/>
                  </a:cubicBezTo>
                  <a:cubicBezTo>
                    <a:pt x="3025" y="41212"/>
                    <a:pt x="3025" y="41212"/>
                    <a:pt x="3025" y="41212"/>
                  </a:cubicBezTo>
                  <a:cubicBezTo>
                    <a:pt x="1512" y="40606"/>
                    <a:pt x="1512" y="40606"/>
                    <a:pt x="1512" y="40606"/>
                  </a:cubicBezTo>
                  <a:cubicBezTo>
                    <a:pt x="1512" y="40606"/>
                    <a:pt x="1008" y="40606"/>
                    <a:pt x="1008" y="41212"/>
                  </a:cubicBezTo>
                  <a:cubicBezTo>
                    <a:pt x="1008" y="42424"/>
                    <a:pt x="0" y="43030"/>
                    <a:pt x="0" y="43636"/>
                  </a:cubicBezTo>
                  <a:cubicBezTo>
                    <a:pt x="504" y="44242"/>
                    <a:pt x="1008" y="44242"/>
                    <a:pt x="1512" y="45454"/>
                  </a:cubicBezTo>
                  <a:cubicBezTo>
                    <a:pt x="2521" y="46060"/>
                    <a:pt x="2521" y="46060"/>
                    <a:pt x="2521" y="46060"/>
                  </a:cubicBezTo>
                  <a:cubicBezTo>
                    <a:pt x="4033" y="46060"/>
                    <a:pt x="4033" y="46060"/>
                    <a:pt x="4033" y="46060"/>
                  </a:cubicBezTo>
                  <a:cubicBezTo>
                    <a:pt x="4537" y="45454"/>
                    <a:pt x="4537" y="45454"/>
                    <a:pt x="4537" y="45454"/>
                  </a:cubicBezTo>
                  <a:cubicBezTo>
                    <a:pt x="6554" y="46060"/>
                    <a:pt x="6554" y="46060"/>
                    <a:pt x="6554" y="46060"/>
                  </a:cubicBezTo>
                  <a:cubicBezTo>
                    <a:pt x="7058" y="47272"/>
                    <a:pt x="7563" y="48484"/>
                    <a:pt x="8067" y="47878"/>
                  </a:cubicBezTo>
                  <a:cubicBezTo>
                    <a:pt x="8571" y="47272"/>
                    <a:pt x="8571" y="47272"/>
                    <a:pt x="8571" y="47272"/>
                  </a:cubicBezTo>
                  <a:cubicBezTo>
                    <a:pt x="9579" y="47878"/>
                    <a:pt x="9579" y="47878"/>
                    <a:pt x="9579" y="47878"/>
                  </a:cubicBezTo>
                  <a:cubicBezTo>
                    <a:pt x="9579" y="47878"/>
                    <a:pt x="10084" y="50303"/>
                    <a:pt x="11092" y="50303"/>
                  </a:cubicBezTo>
                  <a:cubicBezTo>
                    <a:pt x="11596" y="50909"/>
                    <a:pt x="12100" y="50909"/>
                    <a:pt x="12100" y="50909"/>
                  </a:cubicBezTo>
                  <a:cubicBezTo>
                    <a:pt x="14117" y="52121"/>
                    <a:pt x="14117" y="52121"/>
                    <a:pt x="14117" y="52121"/>
                  </a:cubicBezTo>
                  <a:cubicBezTo>
                    <a:pt x="15126" y="52121"/>
                    <a:pt x="15126" y="52121"/>
                    <a:pt x="15126" y="52121"/>
                  </a:cubicBezTo>
                  <a:cubicBezTo>
                    <a:pt x="15126" y="52121"/>
                    <a:pt x="16638" y="51515"/>
                    <a:pt x="16638" y="52121"/>
                  </a:cubicBezTo>
                  <a:cubicBezTo>
                    <a:pt x="16638" y="52727"/>
                    <a:pt x="17647" y="53333"/>
                    <a:pt x="17142" y="53939"/>
                  </a:cubicBezTo>
                  <a:cubicBezTo>
                    <a:pt x="17142" y="53939"/>
                    <a:pt x="17142" y="54545"/>
                    <a:pt x="17142" y="55151"/>
                  </a:cubicBezTo>
                  <a:cubicBezTo>
                    <a:pt x="17142" y="55757"/>
                    <a:pt x="17142" y="56363"/>
                    <a:pt x="17142" y="56363"/>
                  </a:cubicBezTo>
                  <a:cubicBezTo>
                    <a:pt x="15630" y="58181"/>
                    <a:pt x="15630" y="58181"/>
                    <a:pt x="15630" y="58181"/>
                  </a:cubicBezTo>
                  <a:cubicBezTo>
                    <a:pt x="15630" y="59393"/>
                    <a:pt x="15630" y="59393"/>
                    <a:pt x="15630" y="59393"/>
                  </a:cubicBezTo>
                  <a:cubicBezTo>
                    <a:pt x="15630" y="59393"/>
                    <a:pt x="15630" y="60606"/>
                    <a:pt x="15126" y="60606"/>
                  </a:cubicBezTo>
                  <a:cubicBezTo>
                    <a:pt x="15126" y="61212"/>
                    <a:pt x="14621" y="63030"/>
                    <a:pt x="14621" y="63030"/>
                  </a:cubicBezTo>
                  <a:cubicBezTo>
                    <a:pt x="16134" y="61818"/>
                    <a:pt x="16134" y="61818"/>
                    <a:pt x="16134" y="61818"/>
                  </a:cubicBezTo>
                  <a:cubicBezTo>
                    <a:pt x="16134" y="61818"/>
                    <a:pt x="16638" y="61818"/>
                    <a:pt x="16638" y="62424"/>
                  </a:cubicBezTo>
                  <a:cubicBezTo>
                    <a:pt x="16134" y="63636"/>
                    <a:pt x="15630" y="64242"/>
                    <a:pt x="15630" y="64242"/>
                  </a:cubicBezTo>
                  <a:cubicBezTo>
                    <a:pt x="15630" y="64242"/>
                    <a:pt x="16134" y="66060"/>
                    <a:pt x="16638" y="65454"/>
                  </a:cubicBezTo>
                  <a:cubicBezTo>
                    <a:pt x="17647" y="64848"/>
                    <a:pt x="17647" y="64848"/>
                    <a:pt x="17647" y="64848"/>
                  </a:cubicBezTo>
                  <a:cubicBezTo>
                    <a:pt x="18655" y="64242"/>
                    <a:pt x="18655" y="64242"/>
                    <a:pt x="18655" y="64242"/>
                  </a:cubicBezTo>
                  <a:cubicBezTo>
                    <a:pt x="20168" y="63636"/>
                    <a:pt x="20168" y="63636"/>
                    <a:pt x="20168" y="63636"/>
                  </a:cubicBezTo>
                  <a:cubicBezTo>
                    <a:pt x="20168" y="63636"/>
                    <a:pt x="20168" y="63636"/>
                    <a:pt x="20672" y="63030"/>
                  </a:cubicBezTo>
                  <a:cubicBezTo>
                    <a:pt x="21680" y="63030"/>
                    <a:pt x="23193" y="63030"/>
                    <a:pt x="23193" y="63030"/>
                  </a:cubicBezTo>
                  <a:cubicBezTo>
                    <a:pt x="23193" y="63030"/>
                    <a:pt x="23697" y="64848"/>
                    <a:pt x="23193" y="64848"/>
                  </a:cubicBezTo>
                  <a:cubicBezTo>
                    <a:pt x="22689" y="64848"/>
                    <a:pt x="20672" y="64242"/>
                    <a:pt x="20672" y="64242"/>
                  </a:cubicBezTo>
                  <a:cubicBezTo>
                    <a:pt x="19663" y="64848"/>
                    <a:pt x="19663" y="64848"/>
                    <a:pt x="19663" y="64848"/>
                  </a:cubicBezTo>
                  <a:cubicBezTo>
                    <a:pt x="18655" y="65454"/>
                    <a:pt x="18655" y="65454"/>
                    <a:pt x="18655" y="65454"/>
                  </a:cubicBezTo>
                  <a:cubicBezTo>
                    <a:pt x="17647" y="66666"/>
                    <a:pt x="17647" y="66666"/>
                    <a:pt x="17647" y="66666"/>
                  </a:cubicBezTo>
                  <a:cubicBezTo>
                    <a:pt x="17647" y="66666"/>
                    <a:pt x="16638" y="68484"/>
                    <a:pt x="17142" y="68484"/>
                  </a:cubicBezTo>
                  <a:cubicBezTo>
                    <a:pt x="17647" y="69090"/>
                    <a:pt x="16134" y="69696"/>
                    <a:pt x="16134" y="69696"/>
                  </a:cubicBezTo>
                  <a:cubicBezTo>
                    <a:pt x="15630" y="69696"/>
                    <a:pt x="15630" y="69696"/>
                    <a:pt x="15630" y="69696"/>
                  </a:cubicBezTo>
                  <a:cubicBezTo>
                    <a:pt x="15630" y="70303"/>
                    <a:pt x="15630" y="70303"/>
                    <a:pt x="15630" y="70303"/>
                  </a:cubicBezTo>
                  <a:cubicBezTo>
                    <a:pt x="15630" y="70303"/>
                    <a:pt x="15630" y="70303"/>
                    <a:pt x="16134" y="70909"/>
                  </a:cubicBezTo>
                  <a:cubicBezTo>
                    <a:pt x="16638" y="70909"/>
                    <a:pt x="18151" y="70909"/>
                    <a:pt x="18151" y="70909"/>
                  </a:cubicBezTo>
                  <a:cubicBezTo>
                    <a:pt x="18151" y="70909"/>
                    <a:pt x="19159" y="70303"/>
                    <a:pt x="18655" y="70909"/>
                  </a:cubicBezTo>
                  <a:cubicBezTo>
                    <a:pt x="18655" y="71515"/>
                    <a:pt x="18151" y="73333"/>
                    <a:pt x="18151" y="73333"/>
                  </a:cubicBezTo>
                  <a:cubicBezTo>
                    <a:pt x="18151" y="73333"/>
                    <a:pt x="17647" y="73939"/>
                    <a:pt x="16134" y="73939"/>
                  </a:cubicBezTo>
                  <a:cubicBezTo>
                    <a:pt x="15126" y="74545"/>
                    <a:pt x="13613" y="75151"/>
                    <a:pt x="13613" y="75151"/>
                  </a:cubicBezTo>
                  <a:cubicBezTo>
                    <a:pt x="12605" y="76969"/>
                    <a:pt x="12605" y="76969"/>
                    <a:pt x="12605" y="76969"/>
                  </a:cubicBezTo>
                  <a:cubicBezTo>
                    <a:pt x="12605" y="76969"/>
                    <a:pt x="13109" y="77575"/>
                    <a:pt x="11596" y="77575"/>
                  </a:cubicBezTo>
                  <a:cubicBezTo>
                    <a:pt x="10588" y="77575"/>
                    <a:pt x="9579" y="77575"/>
                    <a:pt x="9579" y="77575"/>
                  </a:cubicBezTo>
                  <a:cubicBezTo>
                    <a:pt x="8571" y="77575"/>
                    <a:pt x="8571" y="77575"/>
                    <a:pt x="8571" y="77575"/>
                  </a:cubicBezTo>
                  <a:cubicBezTo>
                    <a:pt x="8571" y="77575"/>
                    <a:pt x="7563" y="78181"/>
                    <a:pt x="7563" y="78181"/>
                  </a:cubicBezTo>
                  <a:cubicBezTo>
                    <a:pt x="7058" y="77575"/>
                    <a:pt x="6554" y="76969"/>
                    <a:pt x="6554" y="76969"/>
                  </a:cubicBezTo>
                  <a:cubicBezTo>
                    <a:pt x="7058" y="74545"/>
                    <a:pt x="7058" y="74545"/>
                    <a:pt x="7058" y="74545"/>
                  </a:cubicBezTo>
                  <a:cubicBezTo>
                    <a:pt x="6554" y="73939"/>
                    <a:pt x="6554" y="73939"/>
                    <a:pt x="6554" y="73939"/>
                  </a:cubicBezTo>
                  <a:cubicBezTo>
                    <a:pt x="6554" y="72121"/>
                    <a:pt x="6554" y="72121"/>
                    <a:pt x="6554" y="72121"/>
                  </a:cubicBezTo>
                  <a:cubicBezTo>
                    <a:pt x="6554" y="72121"/>
                    <a:pt x="5042" y="73333"/>
                    <a:pt x="5042" y="73939"/>
                  </a:cubicBezTo>
                  <a:cubicBezTo>
                    <a:pt x="4537" y="73939"/>
                    <a:pt x="4537" y="75151"/>
                    <a:pt x="4537" y="75151"/>
                  </a:cubicBezTo>
                  <a:cubicBezTo>
                    <a:pt x="3529" y="76969"/>
                    <a:pt x="3529" y="76969"/>
                    <a:pt x="3529" y="76969"/>
                  </a:cubicBezTo>
                  <a:cubicBezTo>
                    <a:pt x="3025" y="76969"/>
                    <a:pt x="3025" y="76969"/>
                    <a:pt x="3025" y="76969"/>
                  </a:cubicBezTo>
                  <a:cubicBezTo>
                    <a:pt x="3025" y="79393"/>
                    <a:pt x="3025" y="79393"/>
                    <a:pt x="3025" y="79393"/>
                  </a:cubicBezTo>
                  <a:cubicBezTo>
                    <a:pt x="2521" y="80606"/>
                    <a:pt x="2521" y="80606"/>
                    <a:pt x="2521" y="80606"/>
                  </a:cubicBezTo>
                  <a:cubicBezTo>
                    <a:pt x="2521" y="80606"/>
                    <a:pt x="2016" y="80606"/>
                    <a:pt x="2521" y="81212"/>
                  </a:cubicBezTo>
                  <a:cubicBezTo>
                    <a:pt x="3025" y="81212"/>
                    <a:pt x="5042" y="82424"/>
                    <a:pt x="5042" y="82424"/>
                  </a:cubicBezTo>
                  <a:cubicBezTo>
                    <a:pt x="5042" y="82424"/>
                    <a:pt x="5546" y="81818"/>
                    <a:pt x="6554" y="83030"/>
                  </a:cubicBezTo>
                  <a:cubicBezTo>
                    <a:pt x="7058" y="83636"/>
                    <a:pt x="8067" y="84242"/>
                    <a:pt x="8067" y="84242"/>
                  </a:cubicBezTo>
                  <a:cubicBezTo>
                    <a:pt x="8571" y="84242"/>
                    <a:pt x="8571" y="84242"/>
                    <a:pt x="8571" y="84242"/>
                  </a:cubicBezTo>
                  <a:cubicBezTo>
                    <a:pt x="10084" y="83636"/>
                    <a:pt x="10084" y="83636"/>
                    <a:pt x="10084" y="83636"/>
                  </a:cubicBezTo>
                  <a:cubicBezTo>
                    <a:pt x="11092" y="84848"/>
                    <a:pt x="11092" y="84848"/>
                    <a:pt x="11092" y="84848"/>
                  </a:cubicBezTo>
                  <a:cubicBezTo>
                    <a:pt x="13613" y="85454"/>
                    <a:pt x="13613" y="85454"/>
                    <a:pt x="13613" y="85454"/>
                  </a:cubicBezTo>
                  <a:cubicBezTo>
                    <a:pt x="13613" y="85454"/>
                    <a:pt x="14117" y="86666"/>
                    <a:pt x="14117" y="87272"/>
                  </a:cubicBezTo>
                  <a:cubicBezTo>
                    <a:pt x="14621" y="87272"/>
                    <a:pt x="15630" y="89090"/>
                    <a:pt x="15630" y="89090"/>
                  </a:cubicBezTo>
                  <a:cubicBezTo>
                    <a:pt x="15630" y="89090"/>
                    <a:pt x="15630" y="87878"/>
                    <a:pt x="16638" y="88484"/>
                  </a:cubicBezTo>
                  <a:cubicBezTo>
                    <a:pt x="18151" y="88484"/>
                    <a:pt x="18655" y="88484"/>
                    <a:pt x="18655" y="88484"/>
                  </a:cubicBezTo>
                  <a:cubicBezTo>
                    <a:pt x="18655" y="88484"/>
                    <a:pt x="19663" y="88484"/>
                    <a:pt x="20168" y="89090"/>
                  </a:cubicBezTo>
                  <a:cubicBezTo>
                    <a:pt x="20672" y="89696"/>
                    <a:pt x="22184" y="92727"/>
                    <a:pt x="22184" y="92727"/>
                  </a:cubicBezTo>
                  <a:cubicBezTo>
                    <a:pt x="23193" y="95757"/>
                    <a:pt x="23193" y="95757"/>
                    <a:pt x="23193" y="95757"/>
                  </a:cubicBezTo>
                  <a:cubicBezTo>
                    <a:pt x="24201" y="98181"/>
                    <a:pt x="24201" y="98181"/>
                    <a:pt x="24201" y="98181"/>
                  </a:cubicBezTo>
                  <a:cubicBezTo>
                    <a:pt x="24201" y="98181"/>
                    <a:pt x="24201" y="98787"/>
                    <a:pt x="25210" y="99393"/>
                  </a:cubicBezTo>
                  <a:cubicBezTo>
                    <a:pt x="26218" y="100606"/>
                    <a:pt x="26722" y="101818"/>
                    <a:pt x="26722" y="101818"/>
                  </a:cubicBezTo>
                  <a:cubicBezTo>
                    <a:pt x="26722" y="101818"/>
                    <a:pt x="26722" y="102424"/>
                    <a:pt x="27226" y="103030"/>
                  </a:cubicBezTo>
                  <a:cubicBezTo>
                    <a:pt x="27731" y="104242"/>
                    <a:pt x="28739" y="105454"/>
                    <a:pt x="28739" y="105454"/>
                  </a:cubicBezTo>
                  <a:cubicBezTo>
                    <a:pt x="28739" y="105454"/>
                    <a:pt x="28739" y="106060"/>
                    <a:pt x="29243" y="106666"/>
                  </a:cubicBezTo>
                  <a:cubicBezTo>
                    <a:pt x="30252" y="107272"/>
                    <a:pt x="31260" y="107272"/>
                    <a:pt x="31764" y="107878"/>
                  </a:cubicBezTo>
                  <a:cubicBezTo>
                    <a:pt x="32773" y="109090"/>
                    <a:pt x="33781" y="110303"/>
                    <a:pt x="33781" y="110303"/>
                  </a:cubicBezTo>
                  <a:cubicBezTo>
                    <a:pt x="33781" y="110303"/>
                    <a:pt x="36302" y="113333"/>
                    <a:pt x="37310" y="114545"/>
                  </a:cubicBezTo>
                  <a:cubicBezTo>
                    <a:pt x="38319" y="115757"/>
                    <a:pt x="39327" y="116969"/>
                    <a:pt x="39831" y="116969"/>
                  </a:cubicBezTo>
                  <a:cubicBezTo>
                    <a:pt x="40336" y="117575"/>
                    <a:pt x="42857" y="118181"/>
                    <a:pt x="42857" y="118181"/>
                  </a:cubicBezTo>
                  <a:cubicBezTo>
                    <a:pt x="42857" y="118181"/>
                    <a:pt x="44369" y="119999"/>
                    <a:pt x="44873" y="119393"/>
                  </a:cubicBezTo>
                  <a:cubicBezTo>
                    <a:pt x="45882" y="119393"/>
                    <a:pt x="43865" y="118787"/>
                    <a:pt x="46890" y="118787"/>
                  </a:cubicBezTo>
                  <a:cubicBezTo>
                    <a:pt x="49915" y="118787"/>
                    <a:pt x="51932" y="119999"/>
                    <a:pt x="51932" y="119999"/>
                  </a:cubicBezTo>
                  <a:cubicBezTo>
                    <a:pt x="53949" y="118181"/>
                    <a:pt x="53949" y="118181"/>
                    <a:pt x="53949" y="118181"/>
                  </a:cubicBezTo>
                  <a:cubicBezTo>
                    <a:pt x="53949" y="118181"/>
                    <a:pt x="53445" y="119393"/>
                    <a:pt x="53949" y="117575"/>
                  </a:cubicBezTo>
                  <a:cubicBezTo>
                    <a:pt x="54453" y="116363"/>
                    <a:pt x="54957" y="115151"/>
                    <a:pt x="54957" y="115151"/>
                  </a:cubicBezTo>
                  <a:cubicBezTo>
                    <a:pt x="54957" y="115151"/>
                    <a:pt x="54453" y="113939"/>
                    <a:pt x="55966" y="113939"/>
                  </a:cubicBezTo>
                  <a:cubicBezTo>
                    <a:pt x="56974" y="113939"/>
                    <a:pt x="60000" y="113333"/>
                    <a:pt x="60504" y="113333"/>
                  </a:cubicBezTo>
                  <a:cubicBezTo>
                    <a:pt x="61008" y="113333"/>
                    <a:pt x="61008" y="113939"/>
                    <a:pt x="61512" y="113333"/>
                  </a:cubicBezTo>
                  <a:cubicBezTo>
                    <a:pt x="61512" y="112727"/>
                    <a:pt x="66050" y="114545"/>
                    <a:pt x="66050" y="114545"/>
                  </a:cubicBezTo>
                  <a:cubicBezTo>
                    <a:pt x="66554" y="113333"/>
                    <a:pt x="66554" y="113333"/>
                    <a:pt x="66554" y="113333"/>
                  </a:cubicBezTo>
                  <a:cubicBezTo>
                    <a:pt x="67563" y="112727"/>
                    <a:pt x="67563" y="112727"/>
                    <a:pt x="67563" y="112727"/>
                  </a:cubicBezTo>
                  <a:cubicBezTo>
                    <a:pt x="68571" y="115151"/>
                    <a:pt x="68571" y="115151"/>
                    <a:pt x="68571" y="115151"/>
                  </a:cubicBezTo>
                  <a:cubicBezTo>
                    <a:pt x="70588" y="115151"/>
                    <a:pt x="70588" y="115151"/>
                    <a:pt x="70588" y="115151"/>
                  </a:cubicBezTo>
                  <a:cubicBezTo>
                    <a:pt x="70588" y="115151"/>
                    <a:pt x="72100" y="114545"/>
                    <a:pt x="73109" y="114545"/>
                  </a:cubicBezTo>
                  <a:cubicBezTo>
                    <a:pt x="73613" y="114545"/>
                    <a:pt x="75630" y="113333"/>
                    <a:pt x="75630" y="113333"/>
                  </a:cubicBezTo>
                  <a:cubicBezTo>
                    <a:pt x="75630" y="113333"/>
                    <a:pt x="76134" y="112121"/>
                    <a:pt x="76638" y="112121"/>
                  </a:cubicBezTo>
                  <a:cubicBezTo>
                    <a:pt x="77142" y="111515"/>
                    <a:pt x="78655" y="111515"/>
                    <a:pt x="79159" y="111515"/>
                  </a:cubicBezTo>
                  <a:cubicBezTo>
                    <a:pt x="80168" y="111515"/>
                    <a:pt x="81680" y="110909"/>
                    <a:pt x="81680" y="110909"/>
                  </a:cubicBezTo>
                  <a:cubicBezTo>
                    <a:pt x="82689" y="109696"/>
                    <a:pt x="82689" y="109696"/>
                    <a:pt x="82689" y="109696"/>
                  </a:cubicBezTo>
                  <a:cubicBezTo>
                    <a:pt x="82689" y="109696"/>
                    <a:pt x="83193" y="109090"/>
                    <a:pt x="84201" y="109090"/>
                  </a:cubicBezTo>
                  <a:cubicBezTo>
                    <a:pt x="84705" y="109696"/>
                    <a:pt x="86722" y="109696"/>
                    <a:pt x="86722" y="109696"/>
                  </a:cubicBezTo>
                  <a:cubicBezTo>
                    <a:pt x="88235" y="108484"/>
                    <a:pt x="88235" y="108484"/>
                    <a:pt x="88235" y="108484"/>
                  </a:cubicBezTo>
                  <a:cubicBezTo>
                    <a:pt x="89747" y="107878"/>
                    <a:pt x="89747" y="107878"/>
                    <a:pt x="89747" y="107878"/>
                  </a:cubicBezTo>
                  <a:cubicBezTo>
                    <a:pt x="89747" y="107878"/>
                    <a:pt x="89747" y="107272"/>
                    <a:pt x="90252" y="107878"/>
                  </a:cubicBezTo>
                  <a:cubicBezTo>
                    <a:pt x="90756" y="108484"/>
                    <a:pt x="91764" y="109696"/>
                    <a:pt x="91764" y="109696"/>
                  </a:cubicBezTo>
                  <a:cubicBezTo>
                    <a:pt x="93781" y="110303"/>
                    <a:pt x="93781" y="110303"/>
                    <a:pt x="93781" y="110303"/>
                  </a:cubicBezTo>
                  <a:cubicBezTo>
                    <a:pt x="95294" y="109696"/>
                    <a:pt x="95294" y="109696"/>
                    <a:pt x="95294" y="109696"/>
                  </a:cubicBezTo>
                  <a:cubicBezTo>
                    <a:pt x="96302" y="108484"/>
                    <a:pt x="96302" y="108484"/>
                    <a:pt x="96302" y="108484"/>
                  </a:cubicBezTo>
                  <a:cubicBezTo>
                    <a:pt x="96302" y="108484"/>
                    <a:pt x="96302" y="107878"/>
                    <a:pt x="97815" y="107878"/>
                  </a:cubicBezTo>
                  <a:cubicBezTo>
                    <a:pt x="99327" y="107878"/>
                    <a:pt x="99831" y="107878"/>
                    <a:pt x="99831" y="107878"/>
                  </a:cubicBezTo>
                  <a:cubicBezTo>
                    <a:pt x="99831" y="107878"/>
                    <a:pt x="101344" y="107878"/>
                    <a:pt x="101344" y="107272"/>
                  </a:cubicBezTo>
                  <a:cubicBezTo>
                    <a:pt x="101344" y="106666"/>
                    <a:pt x="101344" y="105454"/>
                    <a:pt x="101848" y="104848"/>
                  </a:cubicBezTo>
                  <a:cubicBezTo>
                    <a:pt x="101848" y="104242"/>
                    <a:pt x="103865" y="101818"/>
                    <a:pt x="103865" y="101818"/>
                  </a:cubicBezTo>
                  <a:cubicBezTo>
                    <a:pt x="104873" y="101212"/>
                    <a:pt x="104873" y="101212"/>
                    <a:pt x="104873" y="101212"/>
                  </a:cubicBezTo>
                  <a:cubicBezTo>
                    <a:pt x="104369" y="99393"/>
                    <a:pt x="104369" y="99393"/>
                    <a:pt x="104369" y="99393"/>
                  </a:cubicBezTo>
                  <a:cubicBezTo>
                    <a:pt x="104873" y="98181"/>
                    <a:pt x="104873" y="98181"/>
                    <a:pt x="104873" y="98181"/>
                  </a:cubicBezTo>
                  <a:cubicBezTo>
                    <a:pt x="104873" y="98181"/>
                    <a:pt x="106386" y="97575"/>
                    <a:pt x="105882" y="98787"/>
                  </a:cubicBezTo>
                  <a:cubicBezTo>
                    <a:pt x="105378" y="99999"/>
                    <a:pt x="105882" y="100606"/>
                    <a:pt x="105882" y="100606"/>
                  </a:cubicBezTo>
                  <a:cubicBezTo>
                    <a:pt x="105882" y="100606"/>
                    <a:pt x="106386" y="99999"/>
                    <a:pt x="106890" y="99999"/>
                  </a:cubicBezTo>
                  <a:cubicBezTo>
                    <a:pt x="107899" y="99999"/>
                    <a:pt x="107899" y="99393"/>
                    <a:pt x="108403" y="99393"/>
                  </a:cubicBezTo>
                  <a:cubicBezTo>
                    <a:pt x="109411" y="99999"/>
                    <a:pt x="109915" y="99393"/>
                    <a:pt x="109915" y="99393"/>
                  </a:cubicBezTo>
                  <a:cubicBezTo>
                    <a:pt x="109915" y="99393"/>
                    <a:pt x="109411" y="98181"/>
                    <a:pt x="109915" y="98181"/>
                  </a:cubicBezTo>
                  <a:cubicBezTo>
                    <a:pt x="110420" y="98787"/>
                    <a:pt x="111428" y="98787"/>
                    <a:pt x="111428" y="98787"/>
                  </a:cubicBezTo>
                  <a:cubicBezTo>
                    <a:pt x="111428" y="98787"/>
                    <a:pt x="111932" y="98787"/>
                    <a:pt x="111932" y="98181"/>
                  </a:cubicBezTo>
                  <a:cubicBezTo>
                    <a:pt x="111932" y="98181"/>
                    <a:pt x="110420" y="96969"/>
                    <a:pt x="110924" y="96969"/>
                  </a:cubicBezTo>
                  <a:cubicBezTo>
                    <a:pt x="111428" y="97575"/>
                    <a:pt x="112436" y="96969"/>
                    <a:pt x="112436" y="96969"/>
                  </a:cubicBezTo>
                  <a:cubicBezTo>
                    <a:pt x="112436" y="96969"/>
                    <a:pt x="113949" y="97575"/>
                    <a:pt x="112436" y="96363"/>
                  </a:cubicBezTo>
                  <a:cubicBezTo>
                    <a:pt x="111428" y="94545"/>
                    <a:pt x="112941" y="94545"/>
                    <a:pt x="112941" y="94545"/>
                  </a:cubicBezTo>
                  <a:cubicBezTo>
                    <a:pt x="112941" y="94545"/>
                    <a:pt x="114453" y="95151"/>
                    <a:pt x="113949" y="95151"/>
                  </a:cubicBezTo>
                  <a:cubicBezTo>
                    <a:pt x="113445" y="94545"/>
                    <a:pt x="111428" y="91515"/>
                    <a:pt x="111428" y="91515"/>
                  </a:cubicBezTo>
                  <a:cubicBezTo>
                    <a:pt x="111428" y="90909"/>
                    <a:pt x="111428" y="90909"/>
                    <a:pt x="111428" y="90909"/>
                  </a:cubicBezTo>
                  <a:cubicBezTo>
                    <a:pt x="111428" y="89696"/>
                    <a:pt x="111428" y="89696"/>
                    <a:pt x="111428" y="89696"/>
                  </a:cubicBezTo>
                  <a:cubicBezTo>
                    <a:pt x="111428" y="89696"/>
                    <a:pt x="112436" y="90303"/>
                    <a:pt x="112941" y="90909"/>
                  </a:cubicBezTo>
                  <a:cubicBezTo>
                    <a:pt x="112941" y="90909"/>
                    <a:pt x="112941" y="90909"/>
                    <a:pt x="113445" y="91515"/>
                  </a:cubicBezTo>
                  <a:cubicBezTo>
                    <a:pt x="114453" y="92121"/>
                    <a:pt x="113949" y="93333"/>
                    <a:pt x="114453" y="93333"/>
                  </a:cubicBezTo>
                  <a:cubicBezTo>
                    <a:pt x="114957" y="93939"/>
                    <a:pt x="116470" y="93333"/>
                    <a:pt x="116470" y="93333"/>
                  </a:cubicBezTo>
                  <a:cubicBezTo>
                    <a:pt x="117478" y="91515"/>
                    <a:pt x="117478" y="91515"/>
                    <a:pt x="117478" y="91515"/>
                  </a:cubicBezTo>
                  <a:cubicBezTo>
                    <a:pt x="117478" y="91515"/>
                    <a:pt x="119495" y="89090"/>
                    <a:pt x="118991" y="89090"/>
                  </a:cubicBezTo>
                  <a:cubicBezTo>
                    <a:pt x="118487" y="88484"/>
                    <a:pt x="115966" y="89696"/>
                    <a:pt x="115966" y="89696"/>
                  </a:cubicBezTo>
                  <a:cubicBezTo>
                    <a:pt x="116974" y="87272"/>
                    <a:pt x="116974" y="87272"/>
                    <a:pt x="116974" y="87272"/>
                  </a:cubicBezTo>
                  <a:cubicBezTo>
                    <a:pt x="115462" y="86666"/>
                    <a:pt x="115462" y="86666"/>
                    <a:pt x="115462" y="86666"/>
                  </a:cubicBezTo>
                  <a:cubicBezTo>
                    <a:pt x="114957" y="86060"/>
                    <a:pt x="114957" y="86060"/>
                    <a:pt x="114957" y="86060"/>
                  </a:cubicBezTo>
                  <a:cubicBezTo>
                    <a:pt x="114957" y="86060"/>
                    <a:pt x="116470" y="86060"/>
                    <a:pt x="116470" y="86060"/>
                  </a:cubicBezTo>
                  <a:cubicBezTo>
                    <a:pt x="116974" y="86060"/>
                    <a:pt x="117983" y="85454"/>
                    <a:pt x="117983" y="85454"/>
                  </a:cubicBezTo>
                  <a:cubicBezTo>
                    <a:pt x="117983" y="84242"/>
                    <a:pt x="117983" y="84242"/>
                    <a:pt x="117983" y="84242"/>
                  </a:cubicBezTo>
                  <a:cubicBezTo>
                    <a:pt x="116470" y="83030"/>
                    <a:pt x="116470" y="83030"/>
                    <a:pt x="116470" y="83030"/>
                  </a:cubicBezTo>
                  <a:cubicBezTo>
                    <a:pt x="116974" y="82424"/>
                    <a:pt x="116974" y="82424"/>
                    <a:pt x="116974" y="82424"/>
                  </a:cubicBezTo>
                  <a:cubicBezTo>
                    <a:pt x="117478" y="81212"/>
                    <a:pt x="117478" y="81212"/>
                    <a:pt x="117478" y="81212"/>
                  </a:cubicBezTo>
                  <a:cubicBezTo>
                    <a:pt x="118487" y="80606"/>
                    <a:pt x="118487" y="80606"/>
                    <a:pt x="118487" y="80606"/>
                  </a:cubicBezTo>
                  <a:cubicBezTo>
                    <a:pt x="120000" y="76969"/>
                    <a:pt x="120000" y="76969"/>
                    <a:pt x="120000" y="76969"/>
                  </a:cubicBezTo>
                  <a:cubicBezTo>
                    <a:pt x="119495" y="75757"/>
                    <a:pt x="119495" y="75757"/>
                    <a:pt x="119495" y="75757"/>
                  </a:cubicBezTo>
                  <a:cubicBezTo>
                    <a:pt x="118487" y="75757"/>
                    <a:pt x="118487" y="75757"/>
                    <a:pt x="118487" y="75757"/>
                  </a:cubicBezTo>
                  <a:cubicBezTo>
                    <a:pt x="118487" y="73333"/>
                    <a:pt x="118487" y="73333"/>
                    <a:pt x="118487" y="73333"/>
                  </a:cubicBezTo>
                  <a:cubicBezTo>
                    <a:pt x="116470" y="72121"/>
                    <a:pt x="116470" y="72121"/>
                    <a:pt x="116470" y="72121"/>
                  </a:cubicBezTo>
                  <a:cubicBezTo>
                    <a:pt x="116470" y="72121"/>
                    <a:pt x="114957" y="70909"/>
                    <a:pt x="114957" y="70303"/>
                  </a:cubicBezTo>
                  <a:cubicBezTo>
                    <a:pt x="114957" y="70303"/>
                    <a:pt x="114957" y="69090"/>
                    <a:pt x="114453" y="69696"/>
                  </a:cubicBezTo>
                  <a:cubicBezTo>
                    <a:pt x="113949" y="69696"/>
                    <a:pt x="113445" y="69090"/>
                    <a:pt x="113445" y="69090"/>
                  </a:cubicBezTo>
                  <a:cubicBezTo>
                    <a:pt x="113445" y="69090"/>
                    <a:pt x="113445" y="67272"/>
                    <a:pt x="113445" y="67272"/>
                  </a:cubicBezTo>
                  <a:cubicBezTo>
                    <a:pt x="113445" y="67272"/>
                    <a:pt x="114453" y="66666"/>
                    <a:pt x="114453" y="66060"/>
                  </a:cubicBezTo>
                  <a:cubicBezTo>
                    <a:pt x="114957" y="65454"/>
                    <a:pt x="114453" y="64242"/>
                    <a:pt x="114453" y="64242"/>
                  </a:cubicBezTo>
                  <a:cubicBezTo>
                    <a:pt x="113949" y="64242"/>
                    <a:pt x="112941" y="64848"/>
                    <a:pt x="112941" y="64848"/>
                  </a:cubicBezTo>
                  <a:cubicBezTo>
                    <a:pt x="109915" y="65454"/>
                    <a:pt x="109915" y="65454"/>
                    <a:pt x="109915" y="65454"/>
                  </a:cubicBezTo>
                  <a:cubicBezTo>
                    <a:pt x="108907" y="64848"/>
                    <a:pt x="108907" y="64848"/>
                    <a:pt x="108907" y="64848"/>
                  </a:cubicBezTo>
                  <a:cubicBezTo>
                    <a:pt x="108907" y="64848"/>
                    <a:pt x="109411" y="64848"/>
                    <a:pt x="109411" y="64242"/>
                  </a:cubicBezTo>
                  <a:cubicBezTo>
                    <a:pt x="109915" y="63636"/>
                    <a:pt x="109915" y="63030"/>
                    <a:pt x="110420" y="62424"/>
                  </a:cubicBezTo>
                  <a:cubicBezTo>
                    <a:pt x="110924" y="61818"/>
                    <a:pt x="110924" y="62424"/>
                    <a:pt x="111428" y="61212"/>
                  </a:cubicBezTo>
                  <a:cubicBezTo>
                    <a:pt x="112436" y="60606"/>
                    <a:pt x="113445" y="59393"/>
                    <a:pt x="113445" y="59393"/>
                  </a:cubicBezTo>
                  <a:cubicBezTo>
                    <a:pt x="113445" y="57575"/>
                    <a:pt x="113445" y="57575"/>
                    <a:pt x="113445" y="57575"/>
                  </a:cubicBezTo>
                  <a:cubicBezTo>
                    <a:pt x="112941" y="55757"/>
                    <a:pt x="112941" y="55757"/>
                    <a:pt x="112941" y="55757"/>
                  </a:cubicBezTo>
                  <a:cubicBezTo>
                    <a:pt x="112941" y="55757"/>
                    <a:pt x="112436" y="55151"/>
                    <a:pt x="111932" y="55151"/>
                  </a:cubicBezTo>
                  <a:cubicBezTo>
                    <a:pt x="111428" y="55151"/>
                    <a:pt x="111932" y="56363"/>
                    <a:pt x="110924" y="55151"/>
                  </a:cubicBezTo>
                  <a:cubicBezTo>
                    <a:pt x="110420" y="54545"/>
                    <a:pt x="110420" y="54545"/>
                    <a:pt x="109915" y="53333"/>
                  </a:cubicBezTo>
                  <a:cubicBezTo>
                    <a:pt x="109411" y="52727"/>
                    <a:pt x="109411" y="51515"/>
                    <a:pt x="109411" y="51515"/>
                  </a:cubicBezTo>
                  <a:cubicBezTo>
                    <a:pt x="109411" y="51515"/>
                    <a:pt x="108403" y="50909"/>
                    <a:pt x="108907" y="50909"/>
                  </a:cubicBezTo>
                  <a:cubicBezTo>
                    <a:pt x="109915" y="50909"/>
                    <a:pt x="110420" y="51515"/>
                    <a:pt x="110924" y="50909"/>
                  </a:cubicBezTo>
                  <a:cubicBezTo>
                    <a:pt x="111428" y="50303"/>
                    <a:pt x="111428" y="50909"/>
                    <a:pt x="111428" y="50303"/>
                  </a:cubicBezTo>
                  <a:cubicBezTo>
                    <a:pt x="111428" y="49696"/>
                    <a:pt x="111932" y="47878"/>
                    <a:pt x="111932" y="47878"/>
                  </a:cubicBezTo>
                  <a:cubicBezTo>
                    <a:pt x="111932" y="47272"/>
                    <a:pt x="111932" y="47272"/>
                    <a:pt x="112941" y="46666"/>
                  </a:cubicBezTo>
                  <a:cubicBezTo>
                    <a:pt x="114453" y="46060"/>
                    <a:pt x="113949" y="46060"/>
                    <a:pt x="114957" y="46060"/>
                  </a:cubicBezTo>
                  <a:cubicBezTo>
                    <a:pt x="115462" y="45454"/>
                    <a:pt x="115966" y="44848"/>
                    <a:pt x="115462" y="44848"/>
                  </a:cubicBezTo>
                  <a:cubicBezTo>
                    <a:pt x="115462" y="44242"/>
                    <a:pt x="114453" y="44242"/>
                    <a:pt x="114453" y="44242"/>
                  </a:cubicBezTo>
                  <a:cubicBezTo>
                    <a:pt x="113949" y="43636"/>
                    <a:pt x="112941" y="44848"/>
                    <a:pt x="112941" y="44848"/>
                  </a:cubicBezTo>
                  <a:cubicBezTo>
                    <a:pt x="112941" y="44848"/>
                    <a:pt x="111932" y="45454"/>
                    <a:pt x="111428" y="46060"/>
                  </a:cubicBezTo>
                  <a:cubicBezTo>
                    <a:pt x="110924" y="46666"/>
                    <a:pt x="110420" y="46060"/>
                    <a:pt x="109915" y="46060"/>
                  </a:cubicBezTo>
                  <a:cubicBezTo>
                    <a:pt x="109411" y="46060"/>
                    <a:pt x="109411" y="46060"/>
                    <a:pt x="109411" y="46060"/>
                  </a:cubicBezTo>
                  <a:cubicBezTo>
                    <a:pt x="109411" y="46060"/>
                    <a:pt x="108403" y="45454"/>
                    <a:pt x="107899" y="46666"/>
                  </a:cubicBezTo>
                  <a:cubicBezTo>
                    <a:pt x="107899" y="47878"/>
                    <a:pt x="106890" y="49090"/>
                    <a:pt x="106890" y="49090"/>
                  </a:cubicBezTo>
                  <a:cubicBezTo>
                    <a:pt x="106890" y="49090"/>
                    <a:pt x="106386" y="49696"/>
                    <a:pt x="106386" y="48484"/>
                  </a:cubicBezTo>
                  <a:cubicBezTo>
                    <a:pt x="106386" y="47878"/>
                    <a:pt x="105882" y="46060"/>
                    <a:pt x="105882" y="46060"/>
                  </a:cubicBezTo>
                  <a:cubicBezTo>
                    <a:pt x="105882" y="46060"/>
                    <a:pt x="105882" y="46060"/>
                    <a:pt x="105882" y="46060"/>
                  </a:cubicBezTo>
                  <a:cubicBezTo>
                    <a:pt x="105378" y="46060"/>
                    <a:pt x="103865" y="45454"/>
                    <a:pt x="103865" y="45454"/>
                  </a:cubicBezTo>
                  <a:cubicBezTo>
                    <a:pt x="103865" y="45454"/>
                    <a:pt x="104369" y="45454"/>
                    <a:pt x="104369" y="44242"/>
                  </a:cubicBezTo>
                  <a:cubicBezTo>
                    <a:pt x="103865" y="43636"/>
                    <a:pt x="103865" y="43030"/>
                    <a:pt x="103865" y="43030"/>
                  </a:cubicBezTo>
                  <a:cubicBezTo>
                    <a:pt x="104369" y="43030"/>
                    <a:pt x="104873" y="43030"/>
                    <a:pt x="104873" y="43030"/>
                  </a:cubicBezTo>
                  <a:cubicBezTo>
                    <a:pt x="105378" y="43030"/>
                    <a:pt x="105378" y="43030"/>
                    <a:pt x="105378" y="41818"/>
                  </a:cubicBezTo>
                  <a:cubicBezTo>
                    <a:pt x="105378" y="40000"/>
                    <a:pt x="104873" y="39393"/>
                    <a:pt x="104873" y="39393"/>
                  </a:cubicBezTo>
                  <a:cubicBezTo>
                    <a:pt x="104873" y="39393"/>
                    <a:pt x="104369" y="38787"/>
                    <a:pt x="104369" y="38787"/>
                  </a:cubicBezTo>
                  <a:cubicBezTo>
                    <a:pt x="104369" y="36363"/>
                    <a:pt x="104369" y="36363"/>
                    <a:pt x="104369" y="36363"/>
                  </a:cubicBezTo>
                  <a:cubicBezTo>
                    <a:pt x="104369" y="36363"/>
                    <a:pt x="104369" y="35757"/>
                    <a:pt x="103865" y="35151"/>
                  </a:cubicBezTo>
                  <a:cubicBezTo>
                    <a:pt x="103361" y="34545"/>
                    <a:pt x="103361" y="33939"/>
                    <a:pt x="102857" y="34545"/>
                  </a:cubicBezTo>
                  <a:cubicBezTo>
                    <a:pt x="102857" y="34545"/>
                    <a:pt x="102352" y="35151"/>
                    <a:pt x="101848" y="35151"/>
                  </a:cubicBezTo>
                  <a:cubicBezTo>
                    <a:pt x="101344" y="34545"/>
                    <a:pt x="100336" y="33939"/>
                    <a:pt x="100336" y="33939"/>
                  </a:cubicBezTo>
                  <a:cubicBezTo>
                    <a:pt x="98319" y="32727"/>
                    <a:pt x="98319" y="32727"/>
                    <a:pt x="98319" y="32727"/>
                  </a:cubicBezTo>
                  <a:cubicBezTo>
                    <a:pt x="98319" y="32727"/>
                    <a:pt x="98319" y="32727"/>
                    <a:pt x="97815" y="33333"/>
                  </a:cubicBezTo>
                  <a:cubicBezTo>
                    <a:pt x="97815" y="33939"/>
                    <a:pt x="97310" y="33333"/>
                    <a:pt x="97310" y="34545"/>
                  </a:cubicBezTo>
                  <a:cubicBezTo>
                    <a:pt x="97815" y="35151"/>
                    <a:pt x="97815" y="35757"/>
                    <a:pt x="97815" y="36363"/>
                  </a:cubicBezTo>
                  <a:cubicBezTo>
                    <a:pt x="97310" y="36969"/>
                    <a:pt x="97310" y="37575"/>
                    <a:pt x="97310" y="38787"/>
                  </a:cubicBezTo>
                  <a:cubicBezTo>
                    <a:pt x="96806" y="39393"/>
                    <a:pt x="96302" y="39393"/>
                    <a:pt x="96302" y="40000"/>
                  </a:cubicBezTo>
                  <a:cubicBezTo>
                    <a:pt x="96302" y="40606"/>
                    <a:pt x="96806" y="40606"/>
                    <a:pt x="96806" y="41212"/>
                  </a:cubicBezTo>
                  <a:cubicBezTo>
                    <a:pt x="96806" y="41212"/>
                    <a:pt x="96302" y="42424"/>
                    <a:pt x="95798" y="42424"/>
                  </a:cubicBezTo>
                  <a:cubicBezTo>
                    <a:pt x="95798" y="43030"/>
                    <a:pt x="95294" y="43636"/>
                    <a:pt x="94789" y="43636"/>
                  </a:cubicBezTo>
                  <a:cubicBezTo>
                    <a:pt x="94789" y="43030"/>
                    <a:pt x="94285" y="43030"/>
                    <a:pt x="93781" y="43030"/>
                  </a:cubicBezTo>
                  <a:cubicBezTo>
                    <a:pt x="93277" y="43030"/>
                    <a:pt x="92773" y="43636"/>
                    <a:pt x="92773" y="43636"/>
                  </a:cubicBezTo>
                  <a:cubicBezTo>
                    <a:pt x="92773" y="43636"/>
                    <a:pt x="92268" y="44242"/>
                    <a:pt x="91764" y="43636"/>
                  </a:cubicBezTo>
                  <a:cubicBezTo>
                    <a:pt x="90756" y="43030"/>
                    <a:pt x="90252" y="42424"/>
                    <a:pt x="90252" y="42424"/>
                  </a:cubicBezTo>
                  <a:cubicBezTo>
                    <a:pt x="90252" y="41212"/>
                    <a:pt x="90252" y="41212"/>
                    <a:pt x="90252" y="41212"/>
                  </a:cubicBezTo>
                  <a:cubicBezTo>
                    <a:pt x="90252" y="41212"/>
                    <a:pt x="92268" y="41818"/>
                    <a:pt x="89747" y="40000"/>
                  </a:cubicBezTo>
                  <a:cubicBezTo>
                    <a:pt x="87731" y="38787"/>
                    <a:pt x="87731" y="38787"/>
                    <a:pt x="87731" y="38787"/>
                  </a:cubicBezTo>
                  <a:cubicBezTo>
                    <a:pt x="87731" y="38787"/>
                    <a:pt x="87731" y="39393"/>
                    <a:pt x="87226" y="40000"/>
                  </a:cubicBezTo>
                  <a:cubicBezTo>
                    <a:pt x="86722" y="40000"/>
                    <a:pt x="86722" y="40606"/>
                    <a:pt x="86722" y="40606"/>
                  </a:cubicBezTo>
                  <a:cubicBezTo>
                    <a:pt x="86218" y="41818"/>
                    <a:pt x="86218" y="41818"/>
                    <a:pt x="86218" y="41818"/>
                  </a:cubicBezTo>
                  <a:cubicBezTo>
                    <a:pt x="85714" y="41818"/>
                    <a:pt x="85714" y="41818"/>
                    <a:pt x="85714" y="41818"/>
                  </a:cubicBezTo>
                  <a:cubicBezTo>
                    <a:pt x="84705" y="43636"/>
                    <a:pt x="84705" y="43636"/>
                    <a:pt x="84705" y="43636"/>
                  </a:cubicBezTo>
                  <a:cubicBezTo>
                    <a:pt x="84705" y="43636"/>
                    <a:pt x="84201" y="44242"/>
                    <a:pt x="83697" y="44242"/>
                  </a:cubicBezTo>
                  <a:cubicBezTo>
                    <a:pt x="83697" y="44242"/>
                    <a:pt x="83193" y="44242"/>
                    <a:pt x="83193" y="44242"/>
                  </a:cubicBezTo>
                  <a:cubicBezTo>
                    <a:pt x="82689" y="44242"/>
                    <a:pt x="82184" y="44242"/>
                    <a:pt x="82184" y="43636"/>
                  </a:cubicBezTo>
                  <a:cubicBezTo>
                    <a:pt x="81680" y="43636"/>
                    <a:pt x="81680" y="43636"/>
                    <a:pt x="81680" y="43030"/>
                  </a:cubicBezTo>
                  <a:cubicBezTo>
                    <a:pt x="81680" y="42424"/>
                    <a:pt x="81680" y="41212"/>
                    <a:pt x="81176" y="40606"/>
                  </a:cubicBezTo>
                  <a:cubicBezTo>
                    <a:pt x="81176" y="40000"/>
                    <a:pt x="81176" y="40000"/>
                    <a:pt x="80672" y="38787"/>
                  </a:cubicBezTo>
                  <a:cubicBezTo>
                    <a:pt x="80168" y="38181"/>
                    <a:pt x="79663" y="36969"/>
                    <a:pt x="79663" y="36969"/>
                  </a:cubicBezTo>
                  <a:cubicBezTo>
                    <a:pt x="77142" y="35151"/>
                    <a:pt x="77142" y="35151"/>
                    <a:pt x="77142" y="35151"/>
                  </a:cubicBezTo>
                  <a:cubicBezTo>
                    <a:pt x="77142" y="35151"/>
                    <a:pt x="77647" y="34545"/>
                    <a:pt x="76638" y="34545"/>
                  </a:cubicBezTo>
                  <a:cubicBezTo>
                    <a:pt x="76134" y="35151"/>
                    <a:pt x="75126" y="36363"/>
                    <a:pt x="75126" y="36363"/>
                  </a:cubicBezTo>
                  <a:cubicBezTo>
                    <a:pt x="75126" y="36363"/>
                    <a:pt x="75126" y="37575"/>
                    <a:pt x="75126" y="38181"/>
                  </a:cubicBezTo>
                  <a:cubicBezTo>
                    <a:pt x="75126" y="38181"/>
                    <a:pt x="74621" y="38787"/>
                    <a:pt x="74621" y="39393"/>
                  </a:cubicBezTo>
                  <a:cubicBezTo>
                    <a:pt x="75126" y="40606"/>
                    <a:pt x="75630" y="41818"/>
                    <a:pt x="75126" y="42424"/>
                  </a:cubicBezTo>
                  <a:cubicBezTo>
                    <a:pt x="75126" y="42424"/>
                    <a:pt x="74621" y="43636"/>
                    <a:pt x="74621" y="44848"/>
                  </a:cubicBezTo>
                  <a:cubicBezTo>
                    <a:pt x="74621" y="46060"/>
                    <a:pt x="75126" y="47272"/>
                    <a:pt x="74621" y="47272"/>
                  </a:cubicBezTo>
                  <a:cubicBezTo>
                    <a:pt x="74117" y="47878"/>
                    <a:pt x="74117" y="48484"/>
                    <a:pt x="74117" y="48484"/>
                  </a:cubicBezTo>
                  <a:cubicBezTo>
                    <a:pt x="73613" y="48484"/>
                    <a:pt x="73613" y="48484"/>
                    <a:pt x="73613" y="48484"/>
                  </a:cubicBezTo>
                  <a:cubicBezTo>
                    <a:pt x="73613" y="48484"/>
                    <a:pt x="73613" y="47878"/>
                    <a:pt x="74117" y="46060"/>
                  </a:cubicBezTo>
                  <a:cubicBezTo>
                    <a:pt x="74117" y="44242"/>
                    <a:pt x="73613" y="43636"/>
                    <a:pt x="73613" y="43030"/>
                  </a:cubicBezTo>
                  <a:cubicBezTo>
                    <a:pt x="73109" y="43030"/>
                    <a:pt x="73109" y="43030"/>
                    <a:pt x="73109" y="42424"/>
                  </a:cubicBezTo>
                  <a:cubicBezTo>
                    <a:pt x="73109" y="41818"/>
                    <a:pt x="73109" y="41212"/>
                    <a:pt x="73109" y="41212"/>
                  </a:cubicBezTo>
                  <a:cubicBezTo>
                    <a:pt x="73109" y="41212"/>
                    <a:pt x="72100" y="40000"/>
                    <a:pt x="72100" y="39393"/>
                  </a:cubicBezTo>
                  <a:cubicBezTo>
                    <a:pt x="72100" y="38787"/>
                    <a:pt x="72605" y="38181"/>
                    <a:pt x="72605" y="36969"/>
                  </a:cubicBezTo>
                  <a:cubicBezTo>
                    <a:pt x="72605" y="35151"/>
                    <a:pt x="73109" y="35151"/>
                    <a:pt x="72605" y="34545"/>
                  </a:cubicBezTo>
                  <a:cubicBezTo>
                    <a:pt x="72100" y="33939"/>
                    <a:pt x="72605" y="33333"/>
                    <a:pt x="72100" y="32727"/>
                  </a:cubicBezTo>
                  <a:cubicBezTo>
                    <a:pt x="71596" y="32727"/>
                    <a:pt x="71596" y="33333"/>
                    <a:pt x="71092" y="32727"/>
                  </a:cubicBezTo>
                  <a:cubicBezTo>
                    <a:pt x="71092" y="32727"/>
                    <a:pt x="71092" y="33333"/>
                    <a:pt x="71092" y="33333"/>
                  </a:cubicBezTo>
                  <a:cubicBezTo>
                    <a:pt x="71596" y="32121"/>
                    <a:pt x="71596" y="32121"/>
                    <a:pt x="71596" y="32121"/>
                  </a:cubicBezTo>
                  <a:cubicBezTo>
                    <a:pt x="71596" y="32121"/>
                    <a:pt x="72100" y="29696"/>
                    <a:pt x="71596" y="30909"/>
                  </a:cubicBezTo>
                  <a:cubicBezTo>
                    <a:pt x="71092" y="31515"/>
                    <a:pt x="69579" y="32121"/>
                    <a:pt x="69579" y="31515"/>
                  </a:cubicBezTo>
                  <a:cubicBezTo>
                    <a:pt x="70084" y="30909"/>
                    <a:pt x="69579" y="30303"/>
                    <a:pt x="69579" y="30303"/>
                  </a:cubicBezTo>
                  <a:cubicBezTo>
                    <a:pt x="69579" y="30303"/>
                    <a:pt x="67563" y="30303"/>
                    <a:pt x="67563" y="30303"/>
                  </a:cubicBezTo>
                  <a:cubicBezTo>
                    <a:pt x="67563" y="30303"/>
                    <a:pt x="67563" y="29696"/>
                    <a:pt x="67563" y="30909"/>
                  </a:cubicBezTo>
                  <a:cubicBezTo>
                    <a:pt x="67563" y="31515"/>
                    <a:pt x="68067" y="32727"/>
                    <a:pt x="67058" y="32727"/>
                  </a:cubicBezTo>
                  <a:cubicBezTo>
                    <a:pt x="66050" y="33333"/>
                    <a:pt x="65546" y="33333"/>
                    <a:pt x="65546" y="33333"/>
                  </a:cubicBezTo>
                  <a:cubicBezTo>
                    <a:pt x="65546" y="32727"/>
                    <a:pt x="64537" y="32121"/>
                    <a:pt x="64537" y="32121"/>
                  </a:cubicBezTo>
                  <a:cubicBezTo>
                    <a:pt x="64537" y="32121"/>
                    <a:pt x="64033" y="32121"/>
                    <a:pt x="63529" y="32121"/>
                  </a:cubicBezTo>
                  <a:cubicBezTo>
                    <a:pt x="63529" y="32727"/>
                    <a:pt x="62521" y="32727"/>
                    <a:pt x="62521" y="32727"/>
                  </a:cubicBezTo>
                  <a:cubicBezTo>
                    <a:pt x="62521" y="33939"/>
                    <a:pt x="62521" y="33939"/>
                    <a:pt x="62521" y="33939"/>
                  </a:cubicBezTo>
                  <a:cubicBezTo>
                    <a:pt x="62521" y="34545"/>
                    <a:pt x="62521" y="34545"/>
                    <a:pt x="62521" y="34545"/>
                  </a:cubicBezTo>
                  <a:cubicBezTo>
                    <a:pt x="62521" y="34545"/>
                    <a:pt x="62016" y="34545"/>
                    <a:pt x="62016" y="34545"/>
                  </a:cubicBezTo>
                  <a:cubicBezTo>
                    <a:pt x="61512" y="35151"/>
                    <a:pt x="61008" y="35151"/>
                    <a:pt x="61512" y="35757"/>
                  </a:cubicBezTo>
                  <a:cubicBezTo>
                    <a:pt x="61512" y="35757"/>
                    <a:pt x="61512" y="35757"/>
                    <a:pt x="61512" y="36969"/>
                  </a:cubicBezTo>
                  <a:cubicBezTo>
                    <a:pt x="61512" y="37575"/>
                    <a:pt x="61512" y="37575"/>
                    <a:pt x="61512" y="38181"/>
                  </a:cubicBezTo>
                  <a:cubicBezTo>
                    <a:pt x="61008" y="38787"/>
                    <a:pt x="61008" y="39393"/>
                    <a:pt x="60504" y="40000"/>
                  </a:cubicBezTo>
                  <a:cubicBezTo>
                    <a:pt x="60504" y="40000"/>
                    <a:pt x="60000" y="40606"/>
                    <a:pt x="60000" y="40606"/>
                  </a:cubicBezTo>
                  <a:cubicBezTo>
                    <a:pt x="59495" y="41212"/>
                    <a:pt x="59495" y="41212"/>
                    <a:pt x="58991" y="41212"/>
                  </a:cubicBezTo>
                  <a:cubicBezTo>
                    <a:pt x="58487" y="41212"/>
                    <a:pt x="58487" y="41818"/>
                    <a:pt x="58487" y="41212"/>
                  </a:cubicBezTo>
                  <a:cubicBezTo>
                    <a:pt x="58487" y="40000"/>
                    <a:pt x="58487" y="39393"/>
                    <a:pt x="58487" y="38181"/>
                  </a:cubicBezTo>
                  <a:cubicBezTo>
                    <a:pt x="58487" y="37575"/>
                    <a:pt x="58991" y="37575"/>
                    <a:pt x="57983" y="36363"/>
                  </a:cubicBezTo>
                  <a:cubicBezTo>
                    <a:pt x="57478" y="35151"/>
                    <a:pt x="56974" y="35151"/>
                    <a:pt x="56974" y="34545"/>
                  </a:cubicBezTo>
                  <a:cubicBezTo>
                    <a:pt x="56974" y="34545"/>
                    <a:pt x="56974" y="33939"/>
                    <a:pt x="56974" y="33333"/>
                  </a:cubicBezTo>
                  <a:cubicBezTo>
                    <a:pt x="56974" y="32727"/>
                    <a:pt x="56974" y="33939"/>
                    <a:pt x="56974" y="31515"/>
                  </a:cubicBezTo>
                  <a:cubicBezTo>
                    <a:pt x="57478" y="29696"/>
                    <a:pt x="56974" y="29090"/>
                    <a:pt x="56974" y="29090"/>
                  </a:cubicBezTo>
                  <a:cubicBezTo>
                    <a:pt x="56974" y="29090"/>
                    <a:pt x="57478" y="26060"/>
                    <a:pt x="57478" y="26060"/>
                  </a:cubicBezTo>
                  <a:cubicBezTo>
                    <a:pt x="56974" y="26060"/>
                    <a:pt x="55462" y="26060"/>
                    <a:pt x="54957" y="26060"/>
                  </a:cubicBezTo>
                  <a:cubicBezTo>
                    <a:pt x="54453" y="26060"/>
                    <a:pt x="54453" y="26060"/>
                    <a:pt x="53949" y="26060"/>
                  </a:cubicBezTo>
                  <a:cubicBezTo>
                    <a:pt x="53949" y="26666"/>
                    <a:pt x="53445" y="26060"/>
                    <a:pt x="53445" y="27272"/>
                  </a:cubicBezTo>
                  <a:cubicBezTo>
                    <a:pt x="52941" y="28484"/>
                    <a:pt x="52436" y="28484"/>
                    <a:pt x="52436" y="29696"/>
                  </a:cubicBezTo>
                  <a:cubicBezTo>
                    <a:pt x="52436" y="30303"/>
                    <a:pt x="52436" y="31515"/>
                    <a:pt x="52436" y="31515"/>
                  </a:cubicBezTo>
                  <a:cubicBezTo>
                    <a:pt x="52436" y="32121"/>
                    <a:pt x="51932" y="32727"/>
                    <a:pt x="51932" y="32727"/>
                  </a:cubicBezTo>
                  <a:cubicBezTo>
                    <a:pt x="51932" y="32727"/>
                    <a:pt x="51932" y="33333"/>
                    <a:pt x="51932" y="34545"/>
                  </a:cubicBezTo>
                  <a:cubicBezTo>
                    <a:pt x="51428" y="35757"/>
                    <a:pt x="51428" y="36363"/>
                    <a:pt x="51428" y="36969"/>
                  </a:cubicBezTo>
                  <a:cubicBezTo>
                    <a:pt x="51428" y="36969"/>
                    <a:pt x="51428" y="36969"/>
                    <a:pt x="50924" y="37575"/>
                  </a:cubicBezTo>
                  <a:cubicBezTo>
                    <a:pt x="50420" y="38181"/>
                    <a:pt x="49411" y="40000"/>
                    <a:pt x="48907" y="40000"/>
                  </a:cubicBezTo>
                  <a:cubicBezTo>
                    <a:pt x="48907" y="40000"/>
                    <a:pt x="48907" y="40000"/>
                    <a:pt x="48403" y="40606"/>
                  </a:cubicBezTo>
                  <a:cubicBezTo>
                    <a:pt x="48403" y="40606"/>
                    <a:pt x="47394" y="42424"/>
                    <a:pt x="46890" y="42424"/>
                  </a:cubicBezTo>
                  <a:cubicBezTo>
                    <a:pt x="46386" y="43030"/>
                    <a:pt x="46890" y="43030"/>
                    <a:pt x="46386" y="43030"/>
                  </a:cubicBezTo>
                  <a:cubicBezTo>
                    <a:pt x="46386" y="42424"/>
                    <a:pt x="45882" y="42424"/>
                    <a:pt x="45882" y="41818"/>
                  </a:cubicBezTo>
                  <a:cubicBezTo>
                    <a:pt x="45882" y="40606"/>
                    <a:pt x="45882" y="40606"/>
                    <a:pt x="46386" y="39393"/>
                  </a:cubicBezTo>
                  <a:cubicBezTo>
                    <a:pt x="46386" y="38787"/>
                    <a:pt x="46890" y="37575"/>
                    <a:pt x="46890" y="37575"/>
                  </a:cubicBezTo>
                  <a:cubicBezTo>
                    <a:pt x="46890" y="37575"/>
                    <a:pt x="47394" y="36969"/>
                    <a:pt x="46890" y="36969"/>
                  </a:cubicBezTo>
                  <a:cubicBezTo>
                    <a:pt x="46386" y="36969"/>
                    <a:pt x="45882" y="36969"/>
                    <a:pt x="45378" y="36969"/>
                  </a:cubicBezTo>
                  <a:cubicBezTo>
                    <a:pt x="44369" y="36969"/>
                    <a:pt x="43361" y="37575"/>
                    <a:pt x="42857" y="38181"/>
                  </a:cubicBezTo>
                  <a:cubicBezTo>
                    <a:pt x="42352" y="38181"/>
                    <a:pt x="42352" y="38787"/>
                    <a:pt x="41344" y="40000"/>
                  </a:cubicBezTo>
                  <a:cubicBezTo>
                    <a:pt x="40336" y="40606"/>
                    <a:pt x="40336" y="40606"/>
                    <a:pt x="40336" y="40606"/>
                  </a:cubicBezTo>
                  <a:cubicBezTo>
                    <a:pt x="39831" y="41818"/>
                    <a:pt x="39831" y="41818"/>
                    <a:pt x="39831" y="41818"/>
                  </a:cubicBezTo>
                  <a:cubicBezTo>
                    <a:pt x="39831" y="42424"/>
                    <a:pt x="39831" y="42424"/>
                    <a:pt x="39831" y="42424"/>
                  </a:cubicBezTo>
                  <a:cubicBezTo>
                    <a:pt x="39831" y="42424"/>
                    <a:pt x="39831" y="41212"/>
                    <a:pt x="39831" y="41212"/>
                  </a:cubicBezTo>
                  <a:cubicBezTo>
                    <a:pt x="39831" y="41212"/>
                    <a:pt x="39327" y="41212"/>
                    <a:pt x="39327" y="41818"/>
                  </a:cubicBezTo>
                  <a:cubicBezTo>
                    <a:pt x="39327" y="41818"/>
                    <a:pt x="38823" y="42424"/>
                    <a:pt x="38823" y="42424"/>
                  </a:cubicBezTo>
                  <a:cubicBezTo>
                    <a:pt x="38319" y="43030"/>
                    <a:pt x="38319" y="43636"/>
                    <a:pt x="38319" y="44242"/>
                  </a:cubicBezTo>
                  <a:cubicBezTo>
                    <a:pt x="37815" y="44848"/>
                    <a:pt x="37815" y="46060"/>
                    <a:pt x="37310" y="46060"/>
                  </a:cubicBezTo>
                  <a:cubicBezTo>
                    <a:pt x="37310" y="46060"/>
                    <a:pt x="37310" y="46666"/>
                    <a:pt x="37310" y="46666"/>
                  </a:cubicBezTo>
                  <a:cubicBezTo>
                    <a:pt x="36806" y="46666"/>
                    <a:pt x="36302" y="47272"/>
                    <a:pt x="36302" y="47272"/>
                  </a:cubicBezTo>
                  <a:cubicBezTo>
                    <a:pt x="36302" y="47878"/>
                    <a:pt x="35798" y="46666"/>
                    <a:pt x="35798" y="45454"/>
                  </a:cubicBezTo>
                  <a:cubicBezTo>
                    <a:pt x="36302" y="44848"/>
                    <a:pt x="36302" y="44848"/>
                    <a:pt x="36302" y="44242"/>
                  </a:cubicBezTo>
                  <a:cubicBezTo>
                    <a:pt x="36806" y="44242"/>
                    <a:pt x="36806" y="43030"/>
                    <a:pt x="37310" y="43030"/>
                  </a:cubicBezTo>
                  <a:cubicBezTo>
                    <a:pt x="37310" y="43030"/>
                    <a:pt x="37310" y="43636"/>
                    <a:pt x="37310" y="42424"/>
                  </a:cubicBezTo>
                  <a:cubicBezTo>
                    <a:pt x="37815" y="41212"/>
                    <a:pt x="37815" y="40606"/>
                    <a:pt x="37815" y="40606"/>
                  </a:cubicBezTo>
                  <a:cubicBezTo>
                    <a:pt x="37815" y="40606"/>
                    <a:pt x="37815" y="40606"/>
                    <a:pt x="37815" y="40000"/>
                  </a:cubicBezTo>
                  <a:cubicBezTo>
                    <a:pt x="37310" y="39393"/>
                    <a:pt x="37310" y="40000"/>
                    <a:pt x="37310" y="39393"/>
                  </a:cubicBezTo>
                  <a:cubicBezTo>
                    <a:pt x="37815" y="38787"/>
                    <a:pt x="37815" y="38181"/>
                    <a:pt x="37815" y="37575"/>
                  </a:cubicBezTo>
                  <a:cubicBezTo>
                    <a:pt x="38319" y="37575"/>
                    <a:pt x="38319" y="36969"/>
                    <a:pt x="38319" y="36969"/>
                  </a:cubicBezTo>
                  <a:cubicBezTo>
                    <a:pt x="38319" y="36969"/>
                    <a:pt x="38319" y="36969"/>
                    <a:pt x="38319" y="36363"/>
                  </a:cubicBezTo>
                  <a:cubicBezTo>
                    <a:pt x="38319" y="36363"/>
                    <a:pt x="37815" y="35757"/>
                    <a:pt x="37815" y="35757"/>
                  </a:cubicBezTo>
                  <a:cubicBezTo>
                    <a:pt x="37815" y="35757"/>
                    <a:pt x="37815" y="35151"/>
                    <a:pt x="37815" y="35151"/>
                  </a:cubicBezTo>
                  <a:cubicBezTo>
                    <a:pt x="37815" y="35151"/>
                    <a:pt x="38319" y="34545"/>
                    <a:pt x="38319" y="33939"/>
                  </a:cubicBezTo>
                  <a:cubicBezTo>
                    <a:pt x="37815" y="33939"/>
                    <a:pt x="37815" y="33333"/>
                    <a:pt x="37310" y="32727"/>
                  </a:cubicBezTo>
                  <a:cubicBezTo>
                    <a:pt x="36806" y="32727"/>
                    <a:pt x="36806" y="32727"/>
                    <a:pt x="36806" y="32121"/>
                  </a:cubicBezTo>
                  <a:cubicBezTo>
                    <a:pt x="36806" y="32121"/>
                    <a:pt x="35798" y="31515"/>
                    <a:pt x="35798" y="31515"/>
                  </a:cubicBezTo>
                  <a:cubicBezTo>
                    <a:pt x="35798" y="31515"/>
                    <a:pt x="36302" y="30303"/>
                    <a:pt x="36302" y="30303"/>
                  </a:cubicBezTo>
                  <a:cubicBezTo>
                    <a:pt x="36302" y="30303"/>
                    <a:pt x="36302" y="29696"/>
                    <a:pt x="36806" y="29696"/>
                  </a:cubicBezTo>
                  <a:cubicBezTo>
                    <a:pt x="36806" y="30303"/>
                    <a:pt x="36806" y="30909"/>
                    <a:pt x="36806" y="30909"/>
                  </a:cubicBezTo>
                  <a:cubicBezTo>
                    <a:pt x="36806" y="31515"/>
                    <a:pt x="38319" y="32121"/>
                    <a:pt x="38319" y="32121"/>
                  </a:cubicBezTo>
                  <a:cubicBezTo>
                    <a:pt x="38319" y="32121"/>
                    <a:pt x="39327" y="31515"/>
                    <a:pt x="39327" y="31515"/>
                  </a:cubicBezTo>
                  <a:cubicBezTo>
                    <a:pt x="39831" y="31515"/>
                    <a:pt x="39831" y="30303"/>
                    <a:pt x="39831" y="30303"/>
                  </a:cubicBezTo>
                  <a:cubicBezTo>
                    <a:pt x="39831" y="30303"/>
                    <a:pt x="39327" y="30303"/>
                    <a:pt x="39831" y="29696"/>
                  </a:cubicBezTo>
                  <a:cubicBezTo>
                    <a:pt x="40336" y="29696"/>
                    <a:pt x="41344" y="29090"/>
                    <a:pt x="41344" y="29090"/>
                  </a:cubicBezTo>
                  <a:cubicBezTo>
                    <a:pt x="41344" y="28484"/>
                    <a:pt x="41848" y="28484"/>
                    <a:pt x="41848" y="28484"/>
                  </a:cubicBezTo>
                  <a:cubicBezTo>
                    <a:pt x="41848" y="28484"/>
                    <a:pt x="42352" y="27878"/>
                    <a:pt x="42352" y="27878"/>
                  </a:cubicBezTo>
                  <a:cubicBezTo>
                    <a:pt x="42352" y="27272"/>
                    <a:pt x="42857" y="27272"/>
                    <a:pt x="42352" y="26666"/>
                  </a:cubicBezTo>
                  <a:cubicBezTo>
                    <a:pt x="42352" y="26666"/>
                    <a:pt x="42352" y="26060"/>
                    <a:pt x="42352" y="25454"/>
                  </a:cubicBezTo>
                  <a:cubicBezTo>
                    <a:pt x="42352" y="25454"/>
                    <a:pt x="43361" y="26060"/>
                    <a:pt x="42352" y="24848"/>
                  </a:cubicBezTo>
                  <a:cubicBezTo>
                    <a:pt x="41344" y="24242"/>
                    <a:pt x="40336" y="23636"/>
                    <a:pt x="40840" y="23636"/>
                  </a:cubicBezTo>
                  <a:cubicBezTo>
                    <a:pt x="41344" y="23636"/>
                    <a:pt x="41848" y="23636"/>
                    <a:pt x="41848" y="23636"/>
                  </a:cubicBezTo>
                  <a:cubicBezTo>
                    <a:pt x="42352" y="23636"/>
                    <a:pt x="42857" y="24242"/>
                    <a:pt x="42857" y="23636"/>
                  </a:cubicBezTo>
                  <a:cubicBezTo>
                    <a:pt x="43361" y="23636"/>
                    <a:pt x="43361" y="23636"/>
                    <a:pt x="43361" y="23030"/>
                  </a:cubicBezTo>
                  <a:cubicBezTo>
                    <a:pt x="42857" y="22424"/>
                    <a:pt x="42857" y="22424"/>
                    <a:pt x="42857" y="22424"/>
                  </a:cubicBezTo>
                  <a:cubicBezTo>
                    <a:pt x="42352" y="21818"/>
                    <a:pt x="42352" y="21818"/>
                    <a:pt x="41848" y="21818"/>
                  </a:cubicBezTo>
                  <a:cubicBezTo>
                    <a:pt x="41848" y="21818"/>
                    <a:pt x="41344" y="22424"/>
                    <a:pt x="41848" y="21212"/>
                  </a:cubicBezTo>
                  <a:cubicBezTo>
                    <a:pt x="41848" y="20000"/>
                    <a:pt x="41848" y="20000"/>
                    <a:pt x="41848" y="19393"/>
                  </a:cubicBezTo>
                  <a:cubicBezTo>
                    <a:pt x="41848" y="19393"/>
                    <a:pt x="42857" y="19393"/>
                    <a:pt x="41848" y="19393"/>
                  </a:cubicBezTo>
                  <a:cubicBezTo>
                    <a:pt x="41344" y="18787"/>
                    <a:pt x="41344" y="18787"/>
                    <a:pt x="41344" y="18787"/>
                  </a:cubicBezTo>
                  <a:cubicBezTo>
                    <a:pt x="40840" y="18787"/>
                    <a:pt x="41344" y="18787"/>
                    <a:pt x="40336" y="18787"/>
                  </a:cubicBezTo>
                  <a:cubicBezTo>
                    <a:pt x="39831" y="18787"/>
                    <a:pt x="40336" y="17575"/>
                    <a:pt x="40336" y="17575"/>
                  </a:cubicBezTo>
                  <a:cubicBezTo>
                    <a:pt x="40336" y="16969"/>
                    <a:pt x="40840" y="14545"/>
                    <a:pt x="40840" y="14545"/>
                  </a:cubicBezTo>
                  <a:cubicBezTo>
                    <a:pt x="40336" y="13939"/>
                    <a:pt x="40336" y="13939"/>
                    <a:pt x="40336" y="13939"/>
                  </a:cubicBezTo>
                  <a:cubicBezTo>
                    <a:pt x="40336" y="13939"/>
                    <a:pt x="39831" y="12727"/>
                    <a:pt x="39831" y="12727"/>
                  </a:cubicBezTo>
                  <a:cubicBezTo>
                    <a:pt x="39831" y="12121"/>
                    <a:pt x="39831" y="11515"/>
                    <a:pt x="39327" y="11515"/>
                  </a:cubicBezTo>
                  <a:cubicBezTo>
                    <a:pt x="39327" y="11515"/>
                    <a:pt x="38823" y="10909"/>
                    <a:pt x="38823" y="10909"/>
                  </a:cubicBezTo>
                  <a:cubicBezTo>
                    <a:pt x="38823" y="10909"/>
                    <a:pt x="38319" y="10909"/>
                    <a:pt x="38319" y="10303"/>
                  </a:cubicBezTo>
                  <a:cubicBezTo>
                    <a:pt x="38319" y="9696"/>
                    <a:pt x="38319" y="9090"/>
                    <a:pt x="38319" y="9090"/>
                  </a:cubicBezTo>
                  <a:cubicBezTo>
                    <a:pt x="38319" y="8484"/>
                    <a:pt x="38319" y="7878"/>
                    <a:pt x="38319" y="7878"/>
                  </a:cubicBezTo>
                  <a:cubicBezTo>
                    <a:pt x="37310" y="4848"/>
                    <a:pt x="37310" y="4848"/>
                    <a:pt x="37310" y="4848"/>
                  </a:cubicBezTo>
                  <a:cubicBezTo>
                    <a:pt x="37310" y="4242"/>
                    <a:pt x="37310" y="4242"/>
                    <a:pt x="37310" y="4242"/>
                  </a:cubicBezTo>
                  <a:cubicBezTo>
                    <a:pt x="36806" y="3030"/>
                    <a:pt x="36806" y="3030"/>
                    <a:pt x="36806" y="3030"/>
                  </a:cubicBezTo>
                  <a:cubicBezTo>
                    <a:pt x="36302" y="3030"/>
                    <a:pt x="36302" y="3030"/>
                    <a:pt x="36302" y="3030"/>
                  </a:cubicBezTo>
                  <a:cubicBezTo>
                    <a:pt x="36302" y="1818"/>
                    <a:pt x="36302" y="1818"/>
                    <a:pt x="36302" y="1818"/>
                  </a:cubicBezTo>
                  <a:cubicBezTo>
                    <a:pt x="36302" y="1818"/>
                    <a:pt x="35798" y="1818"/>
                    <a:pt x="35798" y="2424"/>
                  </a:cubicBezTo>
                  <a:cubicBezTo>
                    <a:pt x="35798" y="2424"/>
                    <a:pt x="35798" y="3030"/>
                    <a:pt x="35294" y="3030"/>
                  </a:cubicBezTo>
                  <a:cubicBezTo>
                    <a:pt x="34789" y="3030"/>
                    <a:pt x="34285" y="2424"/>
                    <a:pt x="34285" y="2424"/>
                  </a:cubicBezTo>
                  <a:cubicBezTo>
                    <a:pt x="34285" y="2424"/>
                    <a:pt x="34285" y="1818"/>
                    <a:pt x="34285" y="1212"/>
                  </a:cubicBezTo>
                  <a:cubicBezTo>
                    <a:pt x="33781" y="1212"/>
                    <a:pt x="32268" y="0"/>
                    <a:pt x="32268" y="0"/>
                  </a:cubicBezTo>
                  <a:cubicBezTo>
                    <a:pt x="32268" y="0"/>
                    <a:pt x="32268" y="0"/>
                    <a:pt x="32268" y="606"/>
                  </a:cubicBezTo>
                  <a:cubicBezTo>
                    <a:pt x="32268" y="606"/>
                    <a:pt x="31764" y="1212"/>
                    <a:pt x="31764" y="606"/>
                  </a:cubicBezTo>
                  <a:cubicBezTo>
                    <a:pt x="31260" y="606"/>
                    <a:pt x="30252" y="0"/>
                    <a:pt x="30252" y="0"/>
                  </a:cubicBezTo>
                  <a:cubicBezTo>
                    <a:pt x="30252" y="0"/>
                    <a:pt x="30252" y="606"/>
                    <a:pt x="30252" y="606"/>
                  </a:cubicBezTo>
                  <a:cubicBezTo>
                    <a:pt x="30252" y="1212"/>
                    <a:pt x="30756" y="1818"/>
                    <a:pt x="30756" y="1818"/>
                  </a:cubicBezTo>
                  <a:cubicBezTo>
                    <a:pt x="30252" y="1818"/>
                    <a:pt x="29747" y="1818"/>
                    <a:pt x="29747" y="1818"/>
                  </a:cubicBezTo>
                  <a:cubicBezTo>
                    <a:pt x="29747" y="1818"/>
                    <a:pt x="29747" y="1818"/>
                    <a:pt x="29243" y="1818"/>
                  </a:cubicBezTo>
                  <a:cubicBezTo>
                    <a:pt x="29243" y="1212"/>
                    <a:pt x="28739" y="1212"/>
                    <a:pt x="28739" y="1212"/>
                  </a:cubicBezTo>
                  <a:cubicBezTo>
                    <a:pt x="28739" y="1818"/>
                    <a:pt x="28235" y="1818"/>
                    <a:pt x="28235" y="3030"/>
                  </a:cubicBezTo>
                  <a:cubicBezTo>
                    <a:pt x="28739" y="3636"/>
                    <a:pt x="28235" y="3636"/>
                    <a:pt x="28739" y="4242"/>
                  </a:cubicBezTo>
                  <a:cubicBezTo>
                    <a:pt x="29243" y="4242"/>
                    <a:pt x="29243" y="4242"/>
                    <a:pt x="29747" y="4848"/>
                  </a:cubicBezTo>
                  <a:cubicBezTo>
                    <a:pt x="30252" y="4848"/>
                    <a:pt x="30252" y="4848"/>
                    <a:pt x="30756" y="4848"/>
                  </a:cubicBezTo>
                  <a:cubicBezTo>
                    <a:pt x="30756" y="4848"/>
                    <a:pt x="31260" y="4848"/>
                    <a:pt x="31764" y="4848"/>
                  </a:cubicBezTo>
                  <a:cubicBezTo>
                    <a:pt x="31764" y="4848"/>
                    <a:pt x="32268" y="4242"/>
                    <a:pt x="32268" y="4242"/>
                  </a:cubicBezTo>
                  <a:cubicBezTo>
                    <a:pt x="32268" y="4242"/>
                    <a:pt x="32268" y="4848"/>
                    <a:pt x="32268" y="4848"/>
                  </a:cubicBezTo>
                  <a:cubicBezTo>
                    <a:pt x="32268" y="4848"/>
                    <a:pt x="31764" y="4848"/>
                    <a:pt x="32268" y="5454"/>
                  </a:cubicBezTo>
                  <a:cubicBezTo>
                    <a:pt x="32268" y="5454"/>
                    <a:pt x="32268" y="5454"/>
                    <a:pt x="32268" y="5454"/>
                  </a:cubicBezTo>
                  <a:cubicBezTo>
                    <a:pt x="32773" y="6060"/>
                    <a:pt x="32773" y="6060"/>
                    <a:pt x="32773" y="6060"/>
                  </a:cubicBezTo>
                  <a:cubicBezTo>
                    <a:pt x="32773" y="6060"/>
                    <a:pt x="32773" y="6060"/>
                    <a:pt x="32773" y="6060"/>
                  </a:cubicBezTo>
                  <a:cubicBezTo>
                    <a:pt x="32773" y="6060"/>
                    <a:pt x="32773" y="6666"/>
                    <a:pt x="32773" y="6666"/>
                  </a:cubicBezTo>
                  <a:cubicBezTo>
                    <a:pt x="32773" y="7272"/>
                    <a:pt x="32773" y="7272"/>
                    <a:pt x="33277" y="7272"/>
                  </a:cubicBezTo>
                  <a:cubicBezTo>
                    <a:pt x="33781" y="7878"/>
                    <a:pt x="33781" y="7272"/>
                    <a:pt x="33781" y="7272"/>
                  </a:cubicBezTo>
                  <a:cubicBezTo>
                    <a:pt x="33781" y="7272"/>
                    <a:pt x="34789" y="8484"/>
                    <a:pt x="34285" y="8484"/>
                  </a:cubicBezTo>
                  <a:cubicBezTo>
                    <a:pt x="34285" y="8484"/>
                    <a:pt x="33781" y="7878"/>
                    <a:pt x="34285" y="8484"/>
                  </a:cubicBezTo>
                  <a:cubicBezTo>
                    <a:pt x="34789" y="9090"/>
                    <a:pt x="35294" y="9090"/>
                    <a:pt x="35294" y="9090"/>
                  </a:cubicBezTo>
                  <a:cubicBezTo>
                    <a:pt x="35294" y="9090"/>
                    <a:pt x="34789" y="9696"/>
                    <a:pt x="33781" y="9090"/>
                  </a:cubicBezTo>
                  <a:cubicBezTo>
                    <a:pt x="33277" y="9090"/>
                    <a:pt x="33277" y="9090"/>
                    <a:pt x="33277" y="9090"/>
                  </a:cubicBezTo>
                  <a:cubicBezTo>
                    <a:pt x="33277" y="9090"/>
                    <a:pt x="32773" y="8484"/>
                    <a:pt x="32773" y="8484"/>
                  </a:cubicBezTo>
                  <a:cubicBezTo>
                    <a:pt x="32268" y="7878"/>
                    <a:pt x="32268" y="7272"/>
                    <a:pt x="32268" y="7272"/>
                  </a:cubicBezTo>
                  <a:cubicBezTo>
                    <a:pt x="32268" y="7272"/>
                    <a:pt x="31764" y="6666"/>
                    <a:pt x="31260" y="6666"/>
                  </a:cubicBezTo>
                  <a:cubicBezTo>
                    <a:pt x="30756" y="6060"/>
                    <a:pt x="30252" y="6666"/>
                    <a:pt x="29747" y="6666"/>
                  </a:cubicBezTo>
                  <a:cubicBezTo>
                    <a:pt x="29747" y="6666"/>
                    <a:pt x="29243" y="7272"/>
                    <a:pt x="28739" y="7272"/>
                  </a:cubicBezTo>
                  <a:cubicBezTo>
                    <a:pt x="28739" y="7272"/>
                    <a:pt x="28739" y="7878"/>
                    <a:pt x="28739" y="8484"/>
                  </a:cubicBezTo>
                  <a:cubicBezTo>
                    <a:pt x="29243" y="9090"/>
                    <a:pt x="30252" y="11515"/>
                    <a:pt x="30252" y="11515"/>
                  </a:cubicBezTo>
                  <a:cubicBezTo>
                    <a:pt x="30252" y="11515"/>
                    <a:pt x="31260" y="12727"/>
                    <a:pt x="31260" y="12727"/>
                  </a:cubicBezTo>
                  <a:cubicBezTo>
                    <a:pt x="31260" y="12727"/>
                    <a:pt x="31764" y="13939"/>
                    <a:pt x="31764" y="13939"/>
                  </a:cubicBezTo>
                  <a:cubicBezTo>
                    <a:pt x="31764" y="13939"/>
                    <a:pt x="31764" y="13939"/>
                    <a:pt x="32268" y="14545"/>
                  </a:cubicBezTo>
                  <a:cubicBezTo>
                    <a:pt x="32773" y="14545"/>
                    <a:pt x="32268" y="14545"/>
                    <a:pt x="32268" y="14545"/>
                  </a:cubicBezTo>
                  <a:cubicBezTo>
                    <a:pt x="32268" y="15151"/>
                    <a:pt x="31764" y="15757"/>
                    <a:pt x="31764" y="16363"/>
                  </a:cubicBezTo>
                  <a:cubicBezTo>
                    <a:pt x="31764" y="16363"/>
                    <a:pt x="31764" y="15757"/>
                    <a:pt x="31764" y="16363"/>
                  </a:cubicBezTo>
                  <a:cubicBezTo>
                    <a:pt x="31764" y="17575"/>
                    <a:pt x="31764" y="18787"/>
                    <a:pt x="31764" y="18787"/>
                  </a:cubicBezTo>
                  <a:cubicBezTo>
                    <a:pt x="31260" y="20000"/>
                    <a:pt x="31260" y="20000"/>
                    <a:pt x="31260" y="20000"/>
                  </a:cubicBezTo>
                  <a:cubicBezTo>
                    <a:pt x="30756" y="20606"/>
                    <a:pt x="30756" y="20606"/>
                    <a:pt x="30756" y="20606"/>
                  </a:cubicBezTo>
                  <a:cubicBezTo>
                    <a:pt x="30756" y="20606"/>
                    <a:pt x="30756" y="20606"/>
                    <a:pt x="30756" y="20606"/>
                  </a:cubicBezTo>
                  <a:cubicBezTo>
                    <a:pt x="30252" y="20606"/>
                    <a:pt x="30756" y="20000"/>
                    <a:pt x="30756" y="20000"/>
                  </a:cubicBezTo>
                  <a:cubicBezTo>
                    <a:pt x="30756" y="19393"/>
                    <a:pt x="30756" y="19393"/>
                    <a:pt x="30756" y="19393"/>
                  </a:cubicBezTo>
                  <a:cubicBezTo>
                    <a:pt x="31260" y="18181"/>
                    <a:pt x="31260" y="18181"/>
                    <a:pt x="31260" y="18181"/>
                  </a:cubicBezTo>
                  <a:cubicBezTo>
                    <a:pt x="31260" y="18181"/>
                    <a:pt x="30756" y="17575"/>
                    <a:pt x="30252" y="17575"/>
                  </a:cubicBezTo>
                  <a:cubicBezTo>
                    <a:pt x="30252" y="16969"/>
                    <a:pt x="30252" y="17575"/>
                    <a:pt x="29747" y="17575"/>
                  </a:cubicBezTo>
                  <a:cubicBezTo>
                    <a:pt x="29747" y="17575"/>
                    <a:pt x="29243" y="18787"/>
                    <a:pt x="29243" y="18787"/>
                  </a:cubicBezTo>
                  <a:cubicBezTo>
                    <a:pt x="29243" y="18787"/>
                    <a:pt x="28739" y="18787"/>
                    <a:pt x="29243" y="18181"/>
                  </a:cubicBezTo>
                  <a:cubicBezTo>
                    <a:pt x="29243" y="18181"/>
                    <a:pt x="29243" y="16969"/>
                    <a:pt x="29747" y="16969"/>
                  </a:cubicBezTo>
                  <a:cubicBezTo>
                    <a:pt x="29747" y="16969"/>
                    <a:pt x="29747" y="16969"/>
                    <a:pt x="29747" y="16969"/>
                  </a:cubicBezTo>
                  <a:cubicBezTo>
                    <a:pt x="29747" y="16363"/>
                    <a:pt x="30252" y="16363"/>
                    <a:pt x="30252" y="15757"/>
                  </a:cubicBezTo>
                  <a:cubicBezTo>
                    <a:pt x="30252" y="15151"/>
                    <a:pt x="30252" y="15151"/>
                    <a:pt x="30252" y="14545"/>
                  </a:cubicBezTo>
                  <a:cubicBezTo>
                    <a:pt x="29747" y="14545"/>
                    <a:pt x="29747" y="13939"/>
                    <a:pt x="29747" y="13333"/>
                  </a:cubicBezTo>
                  <a:cubicBezTo>
                    <a:pt x="29243" y="13333"/>
                    <a:pt x="28739" y="13939"/>
                    <a:pt x="28739" y="13939"/>
                  </a:cubicBezTo>
                  <a:cubicBezTo>
                    <a:pt x="28739" y="14545"/>
                    <a:pt x="28739" y="14545"/>
                    <a:pt x="28739" y="14545"/>
                  </a:cubicBezTo>
                  <a:cubicBezTo>
                    <a:pt x="28235" y="15151"/>
                    <a:pt x="28235" y="15151"/>
                    <a:pt x="27731" y="15757"/>
                  </a:cubicBezTo>
                  <a:cubicBezTo>
                    <a:pt x="27226" y="16363"/>
                    <a:pt x="27226" y="16363"/>
                    <a:pt x="27226" y="16363"/>
                  </a:cubicBezTo>
                  <a:cubicBezTo>
                    <a:pt x="27226" y="16363"/>
                    <a:pt x="27731" y="15151"/>
                    <a:pt x="27731" y="15151"/>
                  </a:cubicBezTo>
                  <a:cubicBezTo>
                    <a:pt x="27731" y="15151"/>
                    <a:pt x="28235" y="14545"/>
                    <a:pt x="27731" y="14545"/>
                  </a:cubicBezTo>
                  <a:cubicBezTo>
                    <a:pt x="27731" y="14545"/>
                    <a:pt x="27731" y="14545"/>
                    <a:pt x="27731" y="13939"/>
                  </a:cubicBezTo>
                  <a:cubicBezTo>
                    <a:pt x="27731" y="13939"/>
                    <a:pt x="27731" y="13333"/>
                    <a:pt x="27731" y="13333"/>
                  </a:cubicBezTo>
                  <a:cubicBezTo>
                    <a:pt x="27731" y="13333"/>
                    <a:pt x="28235" y="13333"/>
                    <a:pt x="27731" y="13333"/>
                  </a:cubicBezTo>
                  <a:cubicBezTo>
                    <a:pt x="27226" y="13333"/>
                    <a:pt x="27226" y="13333"/>
                    <a:pt x="27226" y="13333"/>
                  </a:cubicBezTo>
                  <a:cubicBezTo>
                    <a:pt x="27226" y="13333"/>
                    <a:pt x="26722" y="13333"/>
                    <a:pt x="26722" y="13333"/>
                  </a:cubicBezTo>
                  <a:cubicBezTo>
                    <a:pt x="26722" y="12727"/>
                    <a:pt x="27226" y="12727"/>
                    <a:pt x="27226" y="12727"/>
                  </a:cubicBezTo>
                  <a:cubicBezTo>
                    <a:pt x="27226" y="12121"/>
                    <a:pt x="27731" y="11515"/>
                    <a:pt x="27731" y="11515"/>
                  </a:cubicBezTo>
                  <a:cubicBezTo>
                    <a:pt x="27731" y="11515"/>
                    <a:pt x="27226" y="10909"/>
                    <a:pt x="27226" y="10909"/>
                  </a:cubicBezTo>
                  <a:cubicBezTo>
                    <a:pt x="26722" y="10303"/>
                    <a:pt x="26722" y="9696"/>
                    <a:pt x="26722" y="9696"/>
                  </a:cubicBezTo>
                  <a:cubicBezTo>
                    <a:pt x="26722" y="9696"/>
                    <a:pt x="26722" y="10909"/>
                    <a:pt x="26722" y="9090"/>
                  </a:cubicBezTo>
                  <a:cubicBezTo>
                    <a:pt x="26218" y="7272"/>
                    <a:pt x="26218" y="7272"/>
                    <a:pt x="26218" y="7272"/>
                  </a:cubicBezTo>
                  <a:cubicBezTo>
                    <a:pt x="25714" y="6666"/>
                    <a:pt x="25714" y="6666"/>
                    <a:pt x="25714" y="6666"/>
                  </a:cubicBezTo>
                  <a:cubicBezTo>
                    <a:pt x="25714" y="6666"/>
                    <a:pt x="25714" y="6060"/>
                    <a:pt x="25210" y="6060"/>
                  </a:cubicBezTo>
                  <a:cubicBezTo>
                    <a:pt x="25210" y="5454"/>
                    <a:pt x="24201" y="4848"/>
                    <a:pt x="24201" y="4848"/>
                  </a:cubicBezTo>
                  <a:cubicBezTo>
                    <a:pt x="24201" y="4242"/>
                    <a:pt x="24201" y="4242"/>
                    <a:pt x="24201" y="4242"/>
                  </a:cubicBezTo>
                  <a:cubicBezTo>
                    <a:pt x="24201" y="4242"/>
                    <a:pt x="24201" y="3636"/>
                    <a:pt x="24201" y="3636"/>
                  </a:cubicBezTo>
                  <a:cubicBezTo>
                    <a:pt x="23697" y="3636"/>
                    <a:pt x="23193" y="3030"/>
                    <a:pt x="23193" y="3636"/>
                  </a:cubicBezTo>
                  <a:cubicBezTo>
                    <a:pt x="23193" y="4242"/>
                    <a:pt x="23193" y="4242"/>
                    <a:pt x="23193" y="4848"/>
                  </a:cubicBezTo>
                  <a:cubicBezTo>
                    <a:pt x="22689" y="4848"/>
                    <a:pt x="21680" y="4848"/>
                    <a:pt x="21680" y="4848"/>
                  </a:cubicBezTo>
                  <a:cubicBezTo>
                    <a:pt x="21680" y="4848"/>
                    <a:pt x="21680" y="5454"/>
                    <a:pt x="21680" y="5454"/>
                  </a:cubicBezTo>
                  <a:cubicBezTo>
                    <a:pt x="20672" y="6060"/>
                    <a:pt x="20672" y="6060"/>
                    <a:pt x="20672" y="6060"/>
                  </a:cubicBezTo>
                  <a:cubicBezTo>
                    <a:pt x="20672" y="6060"/>
                    <a:pt x="20672" y="5454"/>
                    <a:pt x="20672" y="6060"/>
                  </a:cubicBezTo>
                  <a:cubicBezTo>
                    <a:pt x="21176" y="6666"/>
                    <a:pt x="21176" y="7272"/>
                    <a:pt x="21176" y="7878"/>
                  </a:cubicBezTo>
                  <a:cubicBezTo>
                    <a:pt x="21176" y="7878"/>
                    <a:pt x="22184" y="8484"/>
                    <a:pt x="21680" y="8484"/>
                  </a:cubicBezTo>
                  <a:cubicBezTo>
                    <a:pt x="21680" y="8484"/>
                    <a:pt x="20672" y="8484"/>
                    <a:pt x="20672" y="8484"/>
                  </a:cubicBezTo>
                  <a:cubicBezTo>
                    <a:pt x="20672" y="8484"/>
                    <a:pt x="20168" y="7878"/>
                    <a:pt x="20168" y="7272"/>
                  </a:cubicBezTo>
                  <a:cubicBezTo>
                    <a:pt x="20168" y="7272"/>
                    <a:pt x="19663" y="6666"/>
                    <a:pt x="19159" y="6666"/>
                  </a:cubicBezTo>
                  <a:cubicBezTo>
                    <a:pt x="19159" y="6666"/>
                    <a:pt x="18655" y="6666"/>
                    <a:pt x="18151" y="7272"/>
                  </a:cubicBezTo>
                  <a:cubicBezTo>
                    <a:pt x="18151" y="7878"/>
                    <a:pt x="18151" y="7272"/>
                    <a:pt x="18151" y="8484"/>
                  </a:cubicBezTo>
                  <a:cubicBezTo>
                    <a:pt x="18151" y="9696"/>
                    <a:pt x="18151" y="10909"/>
                    <a:pt x="18151" y="10909"/>
                  </a:cubicBezTo>
                  <a:cubicBezTo>
                    <a:pt x="18151" y="10909"/>
                    <a:pt x="18655" y="11515"/>
                    <a:pt x="19159" y="12121"/>
                  </a:cubicBezTo>
                  <a:cubicBezTo>
                    <a:pt x="19159" y="12121"/>
                    <a:pt x="19663" y="13939"/>
                    <a:pt x="19663" y="13939"/>
                  </a:cubicBezTo>
                  <a:cubicBezTo>
                    <a:pt x="19663" y="14545"/>
                    <a:pt x="20168" y="15151"/>
                    <a:pt x="20168" y="15151"/>
                  </a:cubicBezTo>
                  <a:cubicBezTo>
                    <a:pt x="20168" y="15151"/>
                    <a:pt x="17647" y="13939"/>
                    <a:pt x="17647" y="13333"/>
                  </a:cubicBezTo>
                  <a:cubicBezTo>
                    <a:pt x="17647" y="12727"/>
                    <a:pt x="17647" y="11515"/>
                    <a:pt x="17142" y="11515"/>
                  </a:cubicBezTo>
                  <a:cubicBezTo>
                    <a:pt x="17142" y="11515"/>
                    <a:pt x="17142" y="10909"/>
                    <a:pt x="16638" y="11515"/>
                  </a:cubicBezTo>
                  <a:cubicBezTo>
                    <a:pt x="16134" y="11515"/>
                    <a:pt x="16134" y="11515"/>
                    <a:pt x="15630" y="11515"/>
                  </a:cubicBezTo>
                  <a:cubicBezTo>
                    <a:pt x="15630" y="12121"/>
                    <a:pt x="15630" y="12727"/>
                    <a:pt x="15630" y="12727"/>
                  </a:cubicBezTo>
                  <a:cubicBezTo>
                    <a:pt x="15630" y="12727"/>
                    <a:pt x="15630" y="13333"/>
                    <a:pt x="15630" y="13939"/>
                  </a:cubicBezTo>
                  <a:cubicBezTo>
                    <a:pt x="16134" y="15151"/>
                    <a:pt x="16134" y="15151"/>
                    <a:pt x="16134" y="15757"/>
                  </a:cubicBezTo>
                  <a:cubicBezTo>
                    <a:pt x="16638" y="16363"/>
                    <a:pt x="17142" y="16363"/>
                    <a:pt x="17142" y="16969"/>
                  </a:cubicBezTo>
                  <a:cubicBezTo>
                    <a:pt x="17142" y="16969"/>
                    <a:pt x="17647" y="17575"/>
                    <a:pt x="17647" y="17575"/>
                  </a:cubicBezTo>
                  <a:cubicBezTo>
                    <a:pt x="17647" y="17575"/>
                    <a:pt x="17142" y="18787"/>
                    <a:pt x="17142" y="18787"/>
                  </a:cubicBezTo>
                  <a:cubicBezTo>
                    <a:pt x="17142" y="19393"/>
                    <a:pt x="16638" y="20000"/>
                    <a:pt x="16638" y="20000"/>
                  </a:cubicBezTo>
                  <a:cubicBezTo>
                    <a:pt x="16638" y="20000"/>
                    <a:pt x="17647" y="20606"/>
                    <a:pt x="17647" y="20606"/>
                  </a:cubicBezTo>
                  <a:cubicBezTo>
                    <a:pt x="17647" y="20606"/>
                    <a:pt x="18151" y="21212"/>
                    <a:pt x="17647" y="21818"/>
                  </a:cubicBezTo>
                  <a:cubicBezTo>
                    <a:pt x="17142" y="21818"/>
                    <a:pt x="17142" y="21818"/>
                    <a:pt x="16638" y="21818"/>
                  </a:cubicBezTo>
                  <a:cubicBezTo>
                    <a:pt x="16638" y="21212"/>
                    <a:pt x="16134" y="21818"/>
                    <a:pt x="16134" y="20606"/>
                  </a:cubicBezTo>
                  <a:cubicBezTo>
                    <a:pt x="16638" y="20000"/>
                    <a:pt x="16638" y="19393"/>
                    <a:pt x="16638" y="19393"/>
                  </a:cubicBezTo>
                  <a:cubicBezTo>
                    <a:pt x="16134" y="19393"/>
                    <a:pt x="15630" y="18181"/>
                    <a:pt x="15630" y="18181"/>
                  </a:cubicBezTo>
                  <a:cubicBezTo>
                    <a:pt x="15630" y="18181"/>
                    <a:pt x="16638" y="20000"/>
                    <a:pt x="15126" y="16969"/>
                  </a:cubicBezTo>
                  <a:cubicBezTo>
                    <a:pt x="14117" y="14545"/>
                    <a:pt x="14117" y="14545"/>
                    <a:pt x="14117" y="14545"/>
                  </a:cubicBezTo>
                  <a:cubicBezTo>
                    <a:pt x="14117" y="13333"/>
                    <a:pt x="14117" y="13333"/>
                    <a:pt x="14117" y="13333"/>
                  </a:cubicBezTo>
                  <a:cubicBezTo>
                    <a:pt x="14117" y="13333"/>
                    <a:pt x="13613" y="13333"/>
                    <a:pt x="13613" y="13333"/>
                  </a:cubicBezTo>
                  <a:cubicBezTo>
                    <a:pt x="13613" y="13333"/>
                    <a:pt x="13109" y="12727"/>
                    <a:pt x="13109" y="12727"/>
                  </a:cubicBezTo>
                  <a:cubicBezTo>
                    <a:pt x="13109" y="12727"/>
                    <a:pt x="12100" y="12727"/>
                    <a:pt x="12100" y="12727"/>
                  </a:cubicBezTo>
                  <a:cubicBezTo>
                    <a:pt x="12100" y="13333"/>
                    <a:pt x="12100" y="13333"/>
                    <a:pt x="12100" y="13939"/>
                  </a:cubicBezTo>
                  <a:cubicBezTo>
                    <a:pt x="11596" y="13939"/>
                    <a:pt x="11596" y="15151"/>
                    <a:pt x="11596" y="15151"/>
                  </a:cubicBezTo>
                  <a:cubicBezTo>
                    <a:pt x="11092" y="15151"/>
                    <a:pt x="11092" y="16363"/>
                    <a:pt x="11092" y="16363"/>
                  </a:cubicBezTo>
                  <a:cubicBezTo>
                    <a:pt x="11092" y="16363"/>
                    <a:pt x="11596" y="16363"/>
                    <a:pt x="11596" y="16969"/>
                  </a:cubicBezTo>
                  <a:cubicBezTo>
                    <a:pt x="12100" y="17575"/>
                    <a:pt x="12100" y="18181"/>
                    <a:pt x="12100" y="18181"/>
                  </a:cubicBezTo>
                  <a:cubicBezTo>
                    <a:pt x="12100" y="18181"/>
                    <a:pt x="11596" y="17575"/>
                    <a:pt x="11596" y="17575"/>
                  </a:cubicBezTo>
                  <a:cubicBezTo>
                    <a:pt x="11092" y="17575"/>
                    <a:pt x="11092" y="17575"/>
                    <a:pt x="11092" y="17575"/>
                  </a:cubicBezTo>
                  <a:cubicBezTo>
                    <a:pt x="10588" y="18181"/>
                    <a:pt x="10588" y="18181"/>
                    <a:pt x="10588" y="18181"/>
                  </a:cubicBezTo>
                  <a:cubicBezTo>
                    <a:pt x="10588" y="18181"/>
                    <a:pt x="10588" y="18181"/>
                    <a:pt x="10588" y="18181"/>
                  </a:cubicBezTo>
                  <a:cubicBezTo>
                    <a:pt x="10588" y="18181"/>
                    <a:pt x="10588" y="19393"/>
                    <a:pt x="10588" y="19393"/>
                  </a:cubicBezTo>
                  <a:cubicBezTo>
                    <a:pt x="10588" y="19393"/>
                    <a:pt x="11092" y="20000"/>
                    <a:pt x="11092" y="20000"/>
                  </a:cubicBezTo>
                  <a:cubicBezTo>
                    <a:pt x="11092" y="20000"/>
                    <a:pt x="11092" y="20606"/>
                    <a:pt x="11092" y="20606"/>
                  </a:cubicBezTo>
                  <a:cubicBezTo>
                    <a:pt x="11092" y="20606"/>
                    <a:pt x="11596" y="21212"/>
                    <a:pt x="11596" y="21212"/>
                  </a:cubicBezTo>
                  <a:cubicBezTo>
                    <a:pt x="11596" y="21818"/>
                    <a:pt x="11596" y="21818"/>
                    <a:pt x="11596" y="21818"/>
                  </a:cubicBezTo>
                  <a:cubicBezTo>
                    <a:pt x="11596" y="21818"/>
                    <a:pt x="11596" y="21818"/>
                    <a:pt x="11596" y="21818"/>
                  </a:cubicBezTo>
                  <a:cubicBezTo>
                    <a:pt x="11092" y="21818"/>
                    <a:pt x="11596" y="22424"/>
                    <a:pt x="11092" y="21818"/>
                  </a:cubicBezTo>
                  <a:cubicBezTo>
                    <a:pt x="10588" y="21212"/>
                    <a:pt x="10588" y="21818"/>
                    <a:pt x="10084" y="21212"/>
                  </a:cubicBezTo>
                  <a:cubicBezTo>
                    <a:pt x="10084" y="20000"/>
                    <a:pt x="10084" y="20000"/>
                    <a:pt x="10084" y="20000"/>
                  </a:cubicBezTo>
                  <a:cubicBezTo>
                    <a:pt x="10084" y="20000"/>
                    <a:pt x="10588" y="19393"/>
                    <a:pt x="9579" y="18787"/>
                  </a:cubicBezTo>
                  <a:cubicBezTo>
                    <a:pt x="9075" y="17575"/>
                    <a:pt x="9075" y="16969"/>
                    <a:pt x="9075" y="16969"/>
                  </a:cubicBezTo>
                  <a:cubicBezTo>
                    <a:pt x="9075" y="16969"/>
                    <a:pt x="8571" y="16363"/>
                    <a:pt x="8067" y="16363"/>
                  </a:cubicBezTo>
                  <a:cubicBezTo>
                    <a:pt x="8067" y="16969"/>
                    <a:pt x="8067" y="16969"/>
                    <a:pt x="7563" y="16969"/>
                  </a:cubicBezTo>
                  <a:cubicBezTo>
                    <a:pt x="7058" y="17575"/>
                    <a:pt x="7058" y="17575"/>
                    <a:pt x="6554" y="17575"/>
                  </a:cubicBezTo>
                  <a:cubicBezTo>
                    <a:pt x="6554" y="17575"/>
                    <a:pt x="5546" y="17575"/>
                    <a:pt x="5546" y="17575"/>
                  </a:cubicBezTo>
                  <a:cubicBezTo>
                    <a:pt x="5546" y="17575"/>
                    <a:pt x="5546" y="17575"/>
                    <a:pt x="4537" y="18181"/>
                  </a:cubicBezTo>
                  <a:cubicBezTo>
                    <a:pt x="4033" y="19393"/>
                    <a:pt x="3529" y="19393"/>
                    <a:pt x="4033" y="19393"/>
                  </a:cubicBezTo>
                  <a:cubicBezTo>
                    <a:pt x="4537" y="20000"/>
                    <a:pt x="5546" y="20000"/>
                    <a:pt x="5546" y="20000"/>
                  </a:cubicBezTo>
                  <a:cubicBezTo>
                    <a:pt x="5546" y="20000"/>
                    <a:pt x="6050" y="20000"/>
                    <a:pt x="6554" y="20606"/>
                  </a:cubicBezTo>
                  <a:cubicBezTo>
                    <a:pt x="7058" y="20606"/>
                    <a:pt x="8067" y="21818"/>
                    <a:pt x="8067" y="21818"/>
                  </a:cubicBezTo>
                  <a:cubicBezTo>
                    <a:pt x="9075" y="23636"/>
                    <a:pt x="9075" y="23636"/>
                    <a:pt x="9075" y="23636"/>
                  </a:cubicBezTo>
                  <a:cubicBezTo>
                    <a:pt x="9075" y="23636"/>
                    <a:pt x="9075" y="24242"/>
                    <a:pt x="9075" y="24242"/>
                  </a:cubicBezTo>
                  <a:cubicBezTo>
                    <a:pt x="9075" y="24242"/>
                    <a:pt x="9075" y="24242"/>
                    <a:pt x="9075" y="24848"/>
                  </a:cubicBezTo>
                  <a:cubicBezTo>
                    <a:pt x="9075" y="24848"/>
                    <a:pt x="9075" y="25454"/>
                    <a:pt x="9075" y="25454"/>
                  </a:cubicBezTo>
                  <a:cubicBezTo>
                    <a:pt x="9075" y="25454"/>
                    <a:pt x="9579" y="26060"/>
                    <a:pt x="10084" y="26666"/>
                  </a:cubicBezTo>
                  <a:cubicBezTo>
                    <a:pt x="10588" y="26666"/>
                    <a:pt x="10588" y="26666"/>
                    <a:pt x="11092" y="26666"/>
                  </a:cubicBezTo>
                  <a:cubicBezTo>
                    <a:pt x="11596" y="26666"/>
                    <a:pt x="11092" y="26666"/>
                    <a:pt x="11596" y="26666"/>
                  </a:cubicBezTo>
                  <a:cubicBezTo>
                    <a:pt x="12605" y="26060"/>
                    <a:pt x="12605" y="26060"/>
                    <a:pt x="12605" y="26060"/>
                  </a:cubicBezTo>
                  <a:cubicBezTo>
                    <a:pt x="12605" y="26060"/>
                    <a:pt x="12605" y="26060"/>
                    <a:pt x="13109" y="26060"/>
                  </a:cubicBezTo>
                  <a:cubicBezTo>
                    <a:pt x="14117" y="26060"/>
                    <a:pt x="13613" y="26666"/>
                    <a:pt x="14117" y="26666"/>
                  </a:cubicBezTo>
                  <a:cubicBezTo>
                    <a:pt x="14117" y="26060"/>
                    <a:pt x="15126" y="26060"/>
                    <a:pt x="15126" y="26060"/>
                  </a:cubicBezTo>
                  <a:cubicBezTo>
                    <a:pt x="15630" y="26060"/>
                    <a:pt x="15630" y="25454"/>
                    <a:pt x="16134" y="26060"/>
                  </a:cubicBezTo>
                  <a:cubicBezTo>
                    <a:pt x="16134" y="26666"/>
                    <a:pt x="16134" y="26666"/>
                    <a:pt x="16134" y="27272"/>
                  </a:cubicBezTo>
                  <a:cubicBezTo>
                    <a:pt x="16638" y="27272"/>
                    <a:pt x="17142" y="27878"/>
                    <a:pt x="17142" y="27878"/>
                  </a:cubicBezTo>
                  <a:cubicBezTo>
                    <a:pt x="18151" y="27878"/>
                    <a:pt x="18151" y="27878"/>
                    <a:pt x="18151" y="27878"/>
                  </a:cubicBezTo>
                  <a:cubicBezTo>
                    <a:pt x="18151" y="27878"/>
                    <a:pt x="18151" y="27272"/>
                    <a:pt x="18655" y="27272"/>
                  </a:cubicBezTo>
                  <a:cubicBezTo>
                    <a:pt x="18655" y="26666"/>
                    <a:pt x="19159" y="26060"/>
                    <a:pt x="19159" y="26060"/>
                  </a:cubicBezTo>
                  <a:cubicBezTo>
                    <a:pt x="19159" y="26060"/>
                    <a:pt x="18655" y="26060"/>
                    <a:pt x="19159" y="26666"/>
                  </a:cubicBezTo>
                  <a:cubicBezTo>
                    <a:pt x="19663" y="26666"/>
                    <a:pt x="19663" y="26666"/>
                    <a:pt x="20168" y="27272"/>
                  </a:cubicBezTo>
                  <a:cubicBezTo>
                    <a:pt x="20168" y="27272"/>
                    <a:pt x="21176" y="26666"/>
                    <a:pt x="21176" y="26666"/>
                  </a:cubicBezTo>
                  <a:cubicBezTo>
                    <a:pt x="21680" y="26666"/>
                    <a:pt x="21680" y="26666"/>
                    <a:pt x="21680" y="26666"/>
                  </a:cubicBezTo>
                  <a:cubicBezTo>
                    <a:pt x="21680" y="26666"/>
                    <a:pt x="21176" y="27272"/>
                    <a:pt x="21680" y="27272"/>
                  </a:cubicBezTo>
                  <a:cubicBezTo>
                    <a:pt x="21680" y="27272"/>
                    <a:pt x="21176" y="27272"/>
                    <a:pt x="21680" y="27272"/>
                  </a:cubicBezTo>
                  <a:cubicBezTo>
                    <a:pt x="22184" y="27272"/>
                    <a:pt x="22689" y="26666"/>
                    <a:pt x="22689" y="26666"/>
                  </a:cubicBezTo>
                  <a:cubicBezTo>
                    <a:pt x="22689" y="26666"/>
                    <a:pt x="22184" y="27272"/>
                    <a:pt x="22184" y="27878"/>
                  </a:cubicBezTo>
                  <a:cubicBezTo>
                    <a:pt x="22184" y="27878"/>
                    <a:pt x="22184" y="28484"/>
                    <a:pt x="22184" y="28484"/>
                  </a:cubicBezTo>
                  <a:cubicBezTo>
                    <a:pt x="22184" y="28484"/>
                    <a:pt x="22184" y="29090"/>
                    <a:pt x="22689" y="29696"/>
                  </a:cubicBezTo>
                  <a:cubicBezTo>
                    <a:pt x="23193" y="29696"/>
                    <a:pt x="23697" y="29696"/>
                    <a:pt x="23697" y="29696"/>
                  </a:cubicBezTo>
                  <a:cubicBezTo>
                    <a:pt x="23697" y="29696"/>
                    <a:pt x="24705" y="29696"/>
                    <a:pt x="24705" y="29696"/>
                  </a:cubicBezTo>
                  <a:cubicBezTo>
                    <a:pt x="24705" y="30303"/>
                    <a:pt x="24705" y="29696"/>
                    <a:pt x="24705" y="30303"/>
                  </a:cubicBezTo>
                  <a:cubicBezTo>
                    <a:pt x="24705" y="30303"/>
                    <a:pt x="25210" y="29696"/>
                    <a:pt x="25210" y="29696"/>
                  </a:cubicBezTo>
                  <a:cubicBezTo>
                    <a:pt x="25714" y="29696"/>
                    <a:pt x="26218" y="29696"/>
                    <a:pt x="26218" y="29696"/>
                  </a:cubicBezTo>
                  <a:cubicBezTo>
                    <a:pt x="26218" y="30303"/>
                    <a:pt x="25714" y="30909"/>
                    <a:pt x="25714" y="30909"/>
                  </a:cubicBezTo>
                  <a:cubicBezTo>
                    <a:pt x="25714" y="30909"/>
                    <a:pt x="25714" y="30909"/>
                    <a:pt x="25714" y="31515"/>
                  </a:cubicBezTo>
                  <a:cubicBezTo>
                    <a:pt x="25714" y="31515"/>
                    <a:pt x="26722" y="31515"/>
                    <a:pt x="26722" y="31515"/>
                  </a:cubicBezTo>
                  <a:cubicBezTo>
                    <a:pt x="26722" y="31515"/>
                    <a:pt x="26722" y="30909"/>
                    <a:pt x="27226" y="31515"/>
                  </a:cubicBezTo>
                  <a:cubicBezTo>
                    <a:pt x="27226" y="32121"/>
                    <a:pt x="27226" y="32121"/>
                    <a:pt x="27226" y="32121"/>
                  </a:cubicBezTo>
                  <a:cubicBezTo>
                    <a:pt x="26722" y="32121"/>
                    <a:pt x="26722" y="31515"/>
                    <a:pt x="26722" y="32727"/>
                  </a:cubicBezTo>
                  <a:cubicBezTo>
                    <a:pt x="26218" y="33333"/>
                    <a:pt x="26722" y="33939"/>
                    <a:pt x="26722" y="33939"/>
                  </a:cubicBezTo>
                  <a:cubicBezTo>
                    <a:pt x="27226" y="35151"/>
                    <a:pt x="27226" y="35151"/>
                    <a:pt x="27226" y="35151"/>
                  </a:cubicBezTo>
                  <a:cubicBezTo>
                    <a:pt x="27226" y="35151"/>
                    <a:pt x="27731" y="35151"/>
                    <a:pt x="28235" y="35151"/>
                  </a:cubicBezTo>
                  <a:cubicBezTo>
                    <a:pt x="28235" y="35151"/>
                    <a:pt x="28235" y="35151"/>
                    <a:pt x="28235" y="35151"/>
                  </a:cubicBezTo>
                  <a:cubicBezTo>
                    <a:pt x="28739" y="34545"/>
                    <a:pt x="28739" y="34545"/>
                    <a:pt x="29243" y="34545"/>
                  </a:cubicBezTo>
                  <a:cubicBezTo>
                    <a:pt x="29243" y="34545"/>
                    <a:pt x="29747" y="35151"/>
                    <a:pt x="29747" y="35151"/>
                  </a:cubicBezTo>
                  <a:cubicBezTo>
                    <a:pt x="29747" y="35757"/>
                    <a:pt x="29747" y="35757"/>
                    <a:pt x="29747" y="35757"/>
                  </a:cubicBezTo>
                  <a:cubicBezTo>
                    <a:pt x="29747" y="35757"/>
                    <a:pt x="29747" y="36363"/>
                    <a:pt x="29747" y="36363"/>
                  </a:cubicBezTo>
                  <a:cubicBezTo>
                    <a:pt x="30252" y="36969"/>
                    <a:pt x="30756" y="36969"/>
                    <a:pt x="30756" y="36969"/>
                  </a:cubicBezTo>
                  <a:cubicBezTo>
                    <a:pt x="30756" y="36969"/>
                    <a:pt x="30756" y="36969"/>
                    <a:pt x="30756" y="37575"/>
                  </a:cubicBezTo>
                  <a:cubicBezTo>
                    <a:pt x="31260" y="38181"/>
                    <a:pt x="32268" y="38787"/>
                    <a:pt x="32268" y="38787"/>
                  </a:cubicBezTo>
                  <a:cubicBezTo>
                    <a:pt x="32268" y="38787"/>
                    <a:pt x="30756" y="38181"/>
                    <a:pt x="30756" y="38181"/>
                  </a:cubicBezTo>
                  <a:cubicBezTo>
                    <a:pt x="30252" y="38181"/>
                    <a:pt x="29243" y="38181"/>
                    <a:pt x="29243" y="38181"/>
                  </a:cubicBezTo>
                  <a:cubicBezTo>
                    <a:pt x="28739" y="38181"/>
                    <a:pt x="27731" y="38181"/>
                    <a:pt x="27731" y="38181"/>
                  </a:cubicBezTo>
                  <a:cubicBezTo>
                    <a:pt x="26218" y="38787"/>
                    <a:pt x="26218" y="38787"/>
                    <a:pt x="26218" y="38787"/>
                  </a:cubicBezTo>
                  <a:cubicBezTo>
                    <a:pt x="26218" y="38787"/>
                    <a:pt x="25210" y="39393"/>
                    <a:pt x="24705" y="39393"/>
                  </a:cubicBezTo>
                  <a:cubicBezTo>
                    <a:pt x="24705" y="39393"/>
                    <a:pt x="24201" y="39393"/>
                    <a:pt x="23697" y="39393"/>
                  </a:cubicBezTo>
                  <a:cubicBezTo>
                    <a:pt x="23697" y="40000"/>
                    <a:pt x="23193" y="40000"/>
                    <a:pt x="22689" y="40000"/>
                  </a:cubicBezTo>
                  <a:cubicBezTo>
                    <a:pt x="22689" y="40000"/>
                    <a:pt x="21680" y="40000"/>
                    <a:pt x="21176" y="40000"/>
                  </a:cubicBezTo>
                  <a:cubicBezTo>
                    <a:pt x="21176" y="40000"/>
                    <a:pt x="20672" y="40000"/>
                    <a:pt x="20672" y="40000"/>
                  </a:cubicBezTo>
                  <a:cubicBezTo>
                    <a:pt x="19159" y="40606"/>
                    <a:pt x="19159" y="40606"/>
                    <a:pt x="19159" y="40606"/>
                  </a:cubicBezTo>
                  <a:cubicBezTo>
                    <a:pt x="19663" y="41212"/>
                    <a:pt x="19663" y="41212"/>
                    <a:pt x="19663" y="41212"/>
                  </a:cubicBezTo>
                  <a:cubicBezTo>
                    <a:pt x="20672" y="41818"/>
                    <a:pt x="20672" y="41818"/>
                    <a:pt x="20672" y="41818"/>
                  </a:cubicBezTo>
                  <a:cubicBezTo>
                    <a:pt x="20672" y="41818"/>
                    <a:pt x="20672" y="41818"/>
                    <a:pt x="20672" y="41818"/>
                  </a:cubicBezTo>
                  <a:cubicBezTo>
                    <a:pt x="21176" y="41818"/>
                    <a:pt x="21680" y="42424"/>
                    <a:pt x="21680" y="42424"/>
                  </a:cubicBezTo>
                  <a:cubicBezTo>
                    <a:pt x="21680" y="42424"/>
                    <a:pt x="22184" y="43030"/>
                    <a:pt x="22689" y="43636"/>
                  </a:cubicBezTo>
                  <a:cubicBezTo>
                    <a:pt x="22689" y="43636"/>
                    <a:pt x="23193" y="44242"/>
                    <a:pt x="23193" y="44242"/>
                  </a:cubicBezTo>
                  <a:lnTo>
                    <a:pt x="24201" y="44848"/>
                  </a:lnTo>
                  <a:close/>
                </a:path>
              </a:pathLst>
            </a:custGeom>
            <a:grpFill/>
            <a:ln w="3175" cap="flat" cmpd="sng">
              <a:solidFill>
                <a:schemeClr val="tx1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defTabSz="457178"/>
              <a:endParaRPr kern="0">
                <a:solidFill>
                  <a:srgbClr val="7F7F7F"/>
                </a:solidFill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36" name="Shape 2043">
              <a:extLst>
                <a:ext uri="{FF2B5EF4-FFF2-40B4-BE49-F238E27FC236}">
                  <a16:creationId xmlns:a16="http://schemas.microsoft.com/office/drawing/2014/main" id="{4DDD8FC6-76DC-45D9-AF9C-3F11C22325EB}"/>
                </a:ext>
              </a:extLst>
            </p:cNvPr>
            <p:cNvSpPr/>
            <p:nvPr/>
          </p:nvSpPr>
          <p:spPr>
            <a:xfrm>
              <a:off x="5322812" y="2251718"/>
              <a:ext cx="802583" cy="65310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52840" y="9355"/>
                  </a:moveTo>
                  <a:cubicBezTo>
                    <a:pt x="53522" y="9355"/>
                    <a:pt x="56590" y="6508"/>
                    <a:pt x="56590" y="6508"/>
                  </a:cubicBezTo>
                  <a:cubicBezTo>
                    <a:pt x="56590" y="6508"/>
                    <a:pt x="58295" y="7322"/>
                    <a:pt x="59318" y="6915"/>
                  </a:cubicBezTo>
                  <a:cubicBezTo>
                    <a:pt x="60340" y="6915"/>
                    <a:pt x="63750" y="6508"/>
                    <a:pt x="63750" y="6508"/>
                  </a:cubicBezTo>
                  <a:cubicBezTo>
                    <a:pt x="63750" y="6508"/>
                    <a:pt x="65454" y="6508"/>
                    <a:pt x="66136" y="6508"/>
                  </a:cubicBezTo>
                  <a:cubicBezTo>
                    <a:pt x="66818" y="6508"/>
                    <a:pt x="69886" y="6101"/>
                    <a:pt x="70568" y="6101"/>
                  </a:cubicBezTo>
                  <a:cubicBezTo>
                    <a:pt x="71250" y="6101"/>
                    <a:pt x="73295" y="5694"/>
                    <a:pt x="73636" y="5288"/>
                  </a:cubicBezTo>
                  <a:cubicBezTo>
                    <a:pt x="74318" y="5288"/>
                    <a:pt x="78409" y="4881"/>
                    <a:pt x="78750" y="4881"/>
                  </a:cubicBezTo>
                  <a:cubicBezTo>
                    <a:pt x="79431" y="4881"/>
                    <a:pt x="85909" y="4067"/>
                    <a:pt x="85909" y="4067"/>
                  </a:cubicBezTo>
                  <a:cubicBezTo>
                    <a:pt x="88636" y="2033"/>
                    <a:pt x="88636" y="2033"/>
                    <a:pt x="88636" y="2033"/>
                  </a:cubicBezTo>
                  <a:cubicBezTo>
                    <a:pt x="91704" y="1220"/>
                    <a:pt x="91704" y="1220"/>
                    <a:pt x="91704" y="1220"/>
                  </a:cubicBezTo>
                  <a:cubicBezTo>
                    <a:pt x="91704" y="1220"/>
                    <a:pt x="92727" y="0"/>
                    <a:pt x="92727" y="406"/>
                  </a:cubicBezTo>
                  <a:cubicBezTo>
                    <a:pt x="93068" y="1220"/>
                    <a:pt x="93750" y="2440"/>
                    <a:pt x="93750" y="2440"/>
                  </a:cubicBezTo>
                  <a:cubicBezTo>
                    <a:pt x="93750" y="2440"/>
                    <a:pt x="97500" y="2440"/>
                    <a:pt x="97500" y="2440"/>
                  </a:cubicBezTo>
                  <a:cubicBezTo>
                    <a:pt x="97500" y="2847"/>
                    <a:pt x="98522" y="5288"/>
                    <a:pt x="98522" y="5288"/>
                  </a:cubicBezTo>
                  <a:cubicBezTo>
                    <a:pt x="99545" y="6508"/>
                    <a:pt x="99545" y="6508"/>
                    <a:pt x="99545" y="6508"/>
                  </a:cubicBezTo>
                  <a:cubicBezTo>
                    <a:pt x="99545" y="6508"/>
                    <a:pt x="99886" y="8542"/>
                    <a:pt x="99886" y="9762"/>
                  </a:cubicBezTo>
                  <a:cubicBezTo>
                    <a:pt x="100227" y="10576"/>
                    <a:pt x="102613" y="15457"/>
                    <a:pt x="102613" y="15457"/>
                  </a:cubicBezTo>
                  <a:cubicBezTo>
                    <a:pt x="104318" y="19932"/>
                    <a:pt x="104318" y="19932"/>
                    <a:pt x="104318" y="19932"/>
                  </a:cubicBezTo>
                  <a:cubicBezTo>
                    <a:pt x="107045" y="24406"/>
                    <a:pt x="107045" y="24406"/>
                    <a:pt x="107045" y="24406"/>
                  </a:cubicBezTo>
                  <a:cubicBezTo>
                    <a:pt x="107386" y="27661"/>
                    <a:pt x="107386" y="27661"/>
                    <a:pt x="107386" y="27661"/>
                  </a:cubicBezTo>
                  <a:cubicBezTo>
                    <a:pt x="107386" y="27661"/>
                    <a:pt x="108409" y="28881"/>
                    <a:pt x="108409" y="29694"/>
                  </a:cubicBezTo>
                  <a:cubicBezTo>
                    <a:pt x="108409" y="30101"/>
                    <a:pt x="108409" y="31322"/>
                    <a:pt x="108409" y="31728"/>
                  </a:cubicBezTo>
                  <a:cubicBezTo>
                    <a:pt x="108750" y="31728"/>
                    <a:pt x="109090" y="33762"/>
                    <a:pt x="108750" y="33762"/>
                  </a:cubicBezTo>
                  <a:cubicBezTo>
                    <a:pt x="108409" y="34169"/>
                    <a:pt x="107045" y="36610"/>
                    <a:pt x="107045" y="36610"/>
                  </a:cubicBezTo>
                  <a:cubicBezTo>
                    <a:pt x="105681" y="37423"/>
                    <a:pt x="105681" y="37423"/>
                    <a:pt x="105681" y="37423"/>
                  </a:cubicBezTo>
                  <a:cubicBezTo>
                    <a:pt x="103977" y="40271"/>
                    <a:pt x="103977" y="40271"/>
                    <a:pt x="103977" y="40271"/>
                  </a:cubicBezTo>
                  <a:cubicBezTo>
                    <a:pt x="102954" y="43932"/>
                    <a:pt x="102954" y="43932"/>
                    <a:pt x="102954" y="43932"/>
                  </a:cubicBezTo>
                  <a:cubicBezTo>
                    <a:pt x="102613" y="45152"/>
                    <a:pt x="102613" y="45152"/>
                    <a:pt x="102613" y="45152"/>
                  </a:cubicBezTo>
                  <a:cubicBezTo>
                    <a:pt x="102613" y="45152"/>
                    <a:pt x="102954" y="46372"/>
                    <a:pt x="103295" y="46372"/>
                  </a:cubicBezTo>
                  <a:cubicBezTo>
                    <a:pt x="103977" y="46372"/>
                    <a:pt x="106363" y="46779"/>
                    <a:pt x="106363" y="46779"/>
                  </a:cubicBezTo>
                  <a:cubicBezTo>
                    <a:pt x="108409" y="48406"/>
                    <a:pt x="108409" y="48406"/>
                    <a:pt x="108409" y="48406"/>
                  </a:cubicBezTo>
                  <a:cubicBezTo>
                    <a:pt x="108409" y="50033"/>
                    <a:pt x="108409" y="50033"/>
                    <a:pt x="108409" y="50033"/>
                  </a:cubicBezTo>
                  <a:cubicBezTo>
                    <a:pt x="108409" y="50033"/>
                    <a:pt x="108750" y="53288"/>
                    <a:pt x="108750" y="53694"/>
                  </a:cubicBezTo>
                  <a:cubicBezTo>
                    <a:pt x="108750" y="53694"/>
                    <a:pt x="108409" y="56542"/>
                    <a:pt x="108409" y="56542"/>
                  </a:cubicBezTo>
                  <a:cubicBezTo>
                    <a:pt x="108409" y="56542"/>
                    <a:pt x="109090" y="58169"/>
                    <a:pt x="109090" y="58576"/>
                  </a:cubicBezTo>
                  <a:cubicBezTo>
                    <a:pt x="109431" y="58983"/>
                    <a:pt x="110113" y="59796"/>
                    <a:pt x="110113" y="60203"/>
                  </a:cubicBezTo>
                  <a:cubicBezTo>
                    <a:pt x="110454" y="60203"/>
                    <a:pt x="110454" y="60610"/>
                    <a:pt x="110454" y="60610"/>
                  </a:cubicBezTo>
                  <a:cubicBezTo>
                    <a:pt x="111136" y="62644"/>
                    <a:pt x="111136" y="62644"/>
                    <a:pt x="111136" y="62644"/>
                  </a:cubicBezTo>
                  <a:cubicBezTo>
                    <a:pt x="111136" y="64271"/>
                    <a:pt x="111136" y="64271"/>
                    <a:pt x="111136" y="64271"/>
                  </a:cubicBezTo>
                  <a:cubicBezTo>
                    <a:pt x="111136" y="64271"/>
                    <a:pt x="111136" y="65491"/>
                    <a:pt x="111818" y="65491"/>
                  </a:cubicBezTo>
                  <a:cubicBezTo>
                    <a:pt x="112500" y="65491"/>
                    <a:pt x="112840" y="65898"/>
                    <a:pt x="112840" y="66711"/>
                  </a:cubicBezTo>
                  <a:cubicBezTo>
                    <a:pt x="112840" y="67525"/>
                    <a:pt x="114545" y="68338"/>
                    <a:pt x="114545" y="68338"/>
                  </a:cubicBezTo>
                  <a:cubicBezTo>
                    <a:pt x="114545" y="68338"/>
                    <a:pt x="114545" y="69966"/>
                    <a:pt x="114886" y="70372"/>
                  </a:cubicBezTo>
                  <a:cubicBezTo>
                    <a:pt x="115568" y="70779"/>
                    <a:pt x="116250" y="71186"/>
                    <a:pt x="117272" y="71186"/>
                  </a:cubicBezTo>
                  <a:cubicBezTo>
                    <a:pt x="118295" y="71593"/>
                    <a:pt x="117954" y="73220"/>
                    <a:pt x="118636" y="73627"/>
                  </a:cubicBezTo>
                  <a:cubicBezTo>
                    <a:pt x="119318" y="74033"/>
                    <a:pt x="120000" y="74847"/>
                    <a:pt x="119318" y="74847"/>
                  </a:cubicBezTo>
                  <a:cubicBezTo>
                    <a:pt x="118977" y="75254"/>
                    <a:pt x="117954" y="75254"/>
                    <a:pt x="117954" y="75254"/>
                  </a:cubicBezTo>
                  <a:cubicBezTo>
                    <a:pt x="117954" y="75254"/>
                    <a:pt x="117613" y="75661"/>
                    <a:pt x="117613" y="76474"/>
                  </a:cubicBezTo>
                  <a:cubicBezTo>
                    <a:pt x="117954" y="76881"/>
                    <a:pt x="117954" y="76881"/>
                    <a:pt x="117954" y="76881"/>
                  </a:cubicBezTo>
                  <a:cubicBezTo>
                    <a:pt x="119318" y="78915"/>
                    <a:pt x="119318" y="78915"/>
                    <a:pt x="119318" y="78915"/>
                  </a:cubicBezTo>
                  <a:cubicBezTo>
                    <a:pt x="119318" y="81355"/>
                    <a:pt x="119318" y="81355"/>
                    <a:pt x="119318" y="81355"/>
                  </a:cubicBezTo>
                  <a:cubicBezTo>
                    <a:pt x="119318" y="81355"/>
                    <a:pt x="119318" y="82169"/>
                    <a:pt x="119318" y="82983"/>
                  </a:cubicBezTo>
                  <a:cubicBezTo>
                    <a:pt x="119318" y="83389"/>
                    <a:pt x="118977" y="84203"/>
                    <a:pt x="118295" y="84203"/>
                  </a:cubicBezTo>
                  <a:cubicBezTo>
                    <a:pt x="117613" y="84203"/>
                    <a:pt x="117613" y="85423"/>
                    <a:pt x="117272" y="85423"/>
                  </a:cubicBezTo>
                  <a:cubicBezTo>
                    <a:pt x="116931" y="85830"/>
                    <a:pt x="116250" y="84610"/>
                    <a:pt x="115909" y="85830"/>
                  </a:cubicBezTo>
                  <a:cubicBezTo>
                    <a:pt x="115568" y="87457"/>
                    <a:pt x="114886" y="88677"/>
                    <a:pt x="114886" y="89084"/>
                  </a:cubicBezTo>
                  <a:cubicBezTo>
                    <a:pt x="114545" y="89491"/>
                    <a:pt x="113522" y="89898"/>
                    <a:pt x="113522" y="90711"/>
                  </a:cubicBezTo>
                  <a:cubicBezTo>
                    <a:pt x="113181" y="91525"/>
                    <a:pt x="113181" y="90711"/>
                    <a:pt x="112500" y="92745"/>
                  </a:cubicBezTo>
                  <a:cubicBezTo>
                    <a:pt x="111818" y="94779"/>
                    <a:pt x="111477" y="95593"/>
                    <a:pt x="111477" y="95593"/>
                  </a:cubicBezTo>
                  <a:cubicBezTo>
                    <a:pt x="108409" y="100474"/>
                    <a:pt x="108409" y="100474"/>
                    <a:pt x="108409" y="100474"/>
                  </a:cubicBezTo>
                  <a:cubicBezTo>
                    <a:pt x="108409" y="100474"/>
                    <a:pt x="106704" y="103728"/>
                    <a:pt x="106704" y="104135"/>
                  </a:cubicBezTo>
                  <a:cubicBezTo>
                    <a:pt x="106704" y="104542"/>
                    <a:pt x="106704" y="106169"/>
                    <a:pt x="106704" y="106169"/>
                  </a:cubicBezTo>
                  <a:cubicBezTo>
                    <a:pt x="108068" y="107796"/>
                    <a:pt x="108068" y="107796"/>
                    <a:pt x="108068" y="107796"/>
                  </a:cubicBezTo>
                  <a:cubicBezTo>
                    <a:pt x="108068" y="109423"/>
                    <a:pt x="108068" y="109423"/>
                    <a:pt x="108068" y="109423"/>
                  </a:cubicBezTo>
                  <a:cubicBezTo>
                    <a:pt x="108068" y="109423"/>
                    <a:pt x="108068" y="110644"/>
                    <a:pt x="108409" y="111050"/>
                  </a:cubicBezTo>
                  <a:cubicBezTo>
                    <a:pt x="108750" y="111050"/>
                    <a:pt x="108750" y="111050"/>
                    <a:pt x="108750" y="111050"/>
                  </a:cubicBezTo>
                  <a:cubicBezTo>
                    <a:pt x="108409" y="112271"/>
                    <a:pt x="108409" y="112271"/>
                    <a:pt x="108409" y="112271"/>
                  </a:cubicBezTo>
                  <a:cubicBezTo>
                    <a:pt x="108409" y="112271"/>
                    <a:pt x="108750" y="113491"/>
                    <a:pt x="109090" y="113491"/>
                  </a:cubicBezTo>
                  <a:cubicBezTo>
                    <a:pt x="109090" y="113491"/>
                    <a:pt x="109772" y="113898"/>
                    <a:pt x="109772" y="113898"/>
                  </a:cubicBezTo>
                  <a:cubicBezTo>
                    <a:pt x="109772" y="113898"/>
                    <a:pt x="110454" y="114711"/>
                    <a:pt x="110454" y="114711"/>
                  </a:cubicBezTo>
                  <a:cubicBezTo>
                    <a:pt x="110795" y="115118"/>
                    <a:pt x="110454" y="115932"/>
                    <a:pt x="110454" y="115932"/>
                  </a:cubicBezTo>
                  <a:cubicBezTo>
                    <a:pt x="110454" y="115932"/>
                    <a:pt x="110454" y="116338"/>
                    <a:pt x="110113" y="116338"/>
                  </a:cubicBezTo>
                  <a:cubicBezTo>
                    <a:pt x="109772" y="116338"/>
                    <a:pt x="109772" y="116338"/>
                    <a:pt x="109090" y="116338"/>
                  </a:cubicBezTo>
                  <a:cubicBezTo>
                    <a:pt x="108750" y="115932"/>
                    <a:pt x="107727" y="115932"/>
                    <a:pt x="107386" y="115932"/>
                  </a:cubicBezTo>
                  <a:cubicBezTo>
                    <a:pt x="107045" y="115932"/>
                    <a:pt x="107045" y="115932"/>
                    <a:pt x="107045" y="115932"/>
                  </a:cubicBezTo>
                  <a:cubicBezTo>
                    <a:pt x="106704" y="115932"/>
                    <a:pt x="106704" y="115932"/>
                    <a:pt x="106363" y="116338"/>
                  </a:cubicBezTo>
                  <a:cubicBezTo>
                    <a:pt x="106363" y="115932"/>
                    <a:pt x="106363" y="115932"/>
                    <a:pt x="106363" y="115932"/>
                  </a:cubicBezTo>
                  <a:cubicBezTo>
                    <a:pt x="106363" y="115525"/>
                    <a:pt x="106363" y="115118"/>
                    <a:pt x="106363" y="115118"/>
                  </a:cubicBezTo>
                  <a:cubicBezTo>
                    <a:pt x="106363" y="115118"/>
                    <a:pt x="105340" y="115118"/>
                    <a:pt x="105340" y="115118"/>
                  </a:cubicBezTo>
                  <a:cubicBezTo>
                    <a:pt x="105000" y="115118"/>
                    <a:pt x="104659" y="115118"/>
                    <a:pt x="104659" y="115118"/>
                  </a:cubicBezTo>
                  <a:cubicBezTo>
                    <a:pt x="104659" y="115118"/>
                    <a:pt x="103977" y="114711"/>
                    <a:pt x="103977" y="114711"/>
                  </a:cubicBezTo>
                  <a:cubicBezTo>
                    <a:pt x="103977" y="114711"/>
                    <a:pt x="103636" y="114711"/>
                    <a:pt x="103636" y="114711"/>
                  </a:cubicBezTo>
                  <a:cubicBezTo>
                    <a:pt x="103636" y="114305"/>
                    <a:pt x="103295" y="114711"/>
                    <a:pt x="103295" y="114711"/>
                  </a:cubicBezTo>
                  <a:cubicBezTo>
                    <a:pt x="102954" y="114711"/>
                    <a:pt x="102954" y="114711"/>
                    <a:pt x="102954" y="114711"/>
                  </a:cubicBezTo>
                  <a:cubicBezTo>
                    <a:pt x="102272" y="114711"/>
                    <a:pt x="102272" y="114711"/>
                    <a:pt x="102272" y="114711"/>
                  </a:cubicBezTo>
                  <a:cubicBezTo>
                    <a:pt x="102272" y="114711"/>
                    <a:pt x="102272" y="114305"/>
                    <a:pt x="102272" y="114305"/>
                  </a:cubicBezTo>
                  <a:cubicBezTo>
                    <a:pt x="102272" y="113898"/>
                    <a:pt x="101931" y="114305"/>
                    <a:pt x="101931" y="114305"/>
                  </a:cubicBezTo>
                  <a:cubicBezTo>
                    <a:pt x="101931" y="114305"/>
                    <a:pt x="101250" y="114305"/>
                    <a:pt x="101250" y="114305"/>
                  </a:cubicBezTo>
                  <a:cubicBezTo>
                    <a:pt x="101250" y="113898"/>
                    <a:pt x="100909" y="113898"/>
                    <a:pt x="100909" y="113898"/>
                  </a:cubicBezTo>
                  <a:cubicBezTo>
                    <a:pt x="100909" y="113898"/>
                    <a:pt x="99886" y="113898"/>
                    <a:pt x="99545" y="113898"/>
                  </a:cubicBezTo>
                  <a:cubicBezTo>
                    <a:pt x="99545" y="113491"/>
                    <a:pt x="99545" y="113491"/>
                    <a:pt x="99545" y="113491"/>
                  </a:cubicBezTo>
                  <a:cubicBezTo>
                    <a:pt x="99545" y="113491"/>
                    <a:pt x="99545" y="113084"/>
                    <a:pt x="99545" y="112677"/>
                  </a:cubicBezTo>
                  <a:cubicBezTo>
                    <a:pt x="99545" y="112677"/>
                    <a:pt x="99204" y="112677"/>
                    <a:pt x="99204" y="112271"/>
                  </a:cubicBezTo>
                  <a:cubicBezTo>
                    <a:pt x="99204" y="112271"/>
                    <a:pt x="98863" y="111864"/>
                    <a:pt x="98863" y="111864"/>
                  </a:cubicBezTo>
                  <a:cubicBezTo>
                    <a:pt x="98863" y="111457"/>
                    <a:pt x="98522" y="111457"/>
                    <a:pt x="98522" y="111050"/>
                  </a:cubicBezTo>
                  <a:cubicBezTo>
                    <a:pt x="98522" y="111050"/>
                    <a:pt x="98181" y="111457"/>
                    <a:pt x="98181" y="111457"/>
                  </a:cubicBezTo>
                  <a:cubicBezTo>
                    <a:pt x="97840" y="111457"/>
                    <a:pt x="97500" y="111050"/>
                    <a:pt x="97500" y="111050"/>
                  </a:cubicBezTo>
                  <a:cubicBezTo>
                    <a:pt x="97159" y="110644"/>
                    <a:pt x="97159" y="110644"/>
                    <a:pt x="97159" y="110644"/>
                  </a:cubicBezTo>
                  <a:cubicBezTo>
                    <a:pt x="97159" y="110644"/>
                    <a:pt x="96818" y="110644"/>
                    <a:pt x="96477" y="110644"/>
                  </a:cubicBezTo>
                  <a:cubicBezTo>
                    <a:pt x="96477" y="110644"/>
                    <a:pt x="96477" y="111457"/>
                    <a:pt x="96477" y="111457"/>
                  </a:cubicBezTo>
                  <a:cubicBezTo>
                    <a:pt x="96477" y="111457"/>
                    <a:pt x="96136" y="111457"/>
                    <a:pt x="95795" y="111050"/>
                  </a:cubicBezTo>
                  <a:cubicBezTo>
                    <a:pt x="95795" y="111050"/>
                    <a:pt x="95454" y="110644"/>
                    <a:pt x="95113" y="110644"/>
                  </a:cubicBezTo>
                  <a:cubicBezTo>
                    <a:pt x="95113" y="110644"/>
                    <a:pt x="94772" y="110644"/>
                    <a:pt x="94431" y="110237"/>
                  </a:cubicBezTo>
                  <a:cubicBezTo>
                    <a:pt x="94431" y="110237"/>
                    <a:pt x="94090" y="110237"/>
                    <a:pt x="94090" y="110237"/>
                  </a:cubicBezTo>
                  <a:cubicBezTo>
                    <a:pt x="94090" y="110237"/>
                    <a:pt x="92727" y="110644"/>
                    <a:pt x="92727" y="110644"/>
                  </a:cubicBezTo>
                  <a:cubicBezTo>
                    <a:pt x="92727" y="110644"/>
                    <a:pt x="92727" y="111050"/>
                    <a:pt x="92386" y="111050"/>
                  </a:cubicBezTo>
                  <a:cubicBezTo>
                    <a:pt x="92386" y="111457"/>
                    <a:pt x="92045" y="111050"/>
                    <a:pt x="92045" y="111050"/>
                  </a:cubicBezTo>
                  <a:cubicBezTo>
                    <a:pt x="92045" y="111050"/>
                    <a:pt x="91704" y="111050"/>
                    <a:pt x="91363" y="111050"/>
                  </a:cubicBezTo>
                  <a:cubicBezTo>
                    <a:pt x="91363" y="111050"/>
                    <a:pt x="91022" y="111050"/>
                    <a:pt x="91022" y="111050"/>
                  </a:cubicBezTo>
                  <a:cubicBezTo>
                    <a:pt x="91022" y="111050"/>
                    <a:pt x="90681" y="110644"/>
                    <a:pt x="90340" y="110644"/>
                  </a:cubicBezTo>
                  <a:cubicBezTo>
                    <a:pt x="90340" y="110644"/>
                    <a:pt x="90000" y="110644"/>
                    <a:pt x="90000" y="110644"/>
                  </a:cubicBezTo>
                  <a:cubicBezTo>
                    <a:pt x="90000" y="110644"/>
                    <a:pt x="89659" y="111050"/>
                    <a:pt x="89659" y="111050"/>
                  </a:cubicBezTo>
                  <a:cubicBezTo>
                    <a:pt x="89318" y="111457"/>
                    <a:pt x="89318" y="111457"/>
                    <a:pt x="89318" y="111457"/>
                  </a:cubicBezTo>
                  <a:cubicBezTo>
                    <a:pt x="89318" y="111864"/>
                    <a:pt x="89318" y="111864"/>
                    <a:pt x="89318" y="111864"/>
                  </a:cubicBezTo>
                  <a:cubicBezTo>
                    <a:pt x="88636" y="111457"/>
                    <a:pt x="88636" y="111457"/>
                    <a:pt x="88636" y="111457"/>
                  </a:cubicBezTo>
                  <a:cubicBezTo>
                    <a:pt x="88636" y="111457"/>
                    <a:pt x="88295" y="111457"/>
                    <a:pt x="87954" y="111457"/>
                  </a:cubicBezTo>
                  <a:cubicBezTo>
                    <a:pt x="87272" y="111864"/>
                    <a:pt x="87613" y="112271"/>
                    <a:pt x="87613" y="112271"/>
                  </a:cubicBezTo>
                  <a:cubicBezTo>
                    <a:pt x="87954" y="112271"/>
                    <a:pt x="88295" y="113084"/>
                    <a:pt x="88295" y="113084"/>
                  </a:cubicBezTo>
                  <a:cubicBezTo>
                    <a:pt x="88295" y="113084"/>
                    <a:pt x="87272" y="113491"/>
                    <a:pt x="87272" y="113491"/>
                  </a:cubicBezTo>
                  <a:cubicBezTo>
                    <a:pt x="86931" y="113898"/>
                    <a:pt x="86931" y="113898"/>
                    <a:pt x="86931" y="114305"/>
                  </a:cubicBezTo>
                  <a:cubicBezTo>
                    <a:pt x="86931" y="114305"/>
                    <a:pt x="86590" y="114711"/>
                    <a:pt x="86590" y="115118"/>
                  </a:cubicBezTo>
                  <a:cubicBezTo>
                    <a:pt x="86590" y="115118"/>
                    <a:pt x="86250" y="114711"/>
                    <a:pt x="85909" y="114711"/>
                  </a:cubicBezTo>
                  <a:cubicBezTo>
                    <a:pt x="85568" y="114711"/>
                    <a:pt x="85568" y="114305"/>
                    <a:pt x="85568" y="114305"/>
                  </a:cubicBezTo>
                  <a:cubicBezTo>
                    <a:pt x="85227" y="114711"/>
                    <a:pt x="85227" y="114711"/>
                    <a:pt x="85227" y="114711"/>
                  </a:cubicBezTo>
                  <a:cubicBezTo>
                    <a:pt x="84886" y="114711"/>
                    <a:pt x="84886" y="114711"/>
                    <a:pt x="84886" y="114711"/>
                  </a:cubicBezTo>
                  <a:cubicBezTo>
                    <a:pt x="84886" y="114711"/>
                    <a:pt x="84545" y="114305"/>
                    <a:pt x="84545" y="113898"/>
                  </a:cubicBezTo>
                  <a:cubicBezTo>
                    <a:pt x="84545" y="113898"/>
                    <a:pt x="84545" y="113898"/>
                    <a:pt x="84545" y="113898"/>
                  </a:cubicBezTo>
                  <a:cubicBezTo>
                    <a:pt x="84204" y="113898"/>
                    <a:pt x="83863" y="113898"/>
                    <a:pt x="83863" y="113491"/>
                  </a:cubicBezTo>
                  <a:cubicBezTo>
                    <a:pt x="83522" y="112677"/>
                    <a:pt x="83522" y="112677"/>
                    <a:pt x="83522" y="112677"/>
                  </a:cubicBezTo>
                  <a:cubicBezTo>
                    <a:pt x="83522" y="112677"/>
                    <a:pt x="82840" y="113084"/>
                    <a:pt x="82840" y="113491"/>
                  </a:cubicBezTo>
                  <a:cubicBezTo>
                    <a:pt x="82500" y="113491"/>
                    <a:pt x="82840" y="113491"/>
                    <a:pt x="82500" y="113084"/>
                  </a:cubicBezTo>
                  <a:cubicBezTo>
                    <a:pt x="82159" y="113084"/>
                    <a:pt x="82159" y="113491"/>
                    <a:pt x="82159" y="113491"/>
                  </a:cubicBezTo>
                  <a:cubicBezTo>
                    <a:pt x="82159" y="113491"/>
                    <a:pt x="82159" y="113491"/>
                    <a:pt x="82159" y="113491"/>
                  </a:cubicBezTo>
                  <a:cubicBezTo>
                    <a:pt x="82159" y="113898"/>
                    <a:pt x="81818" y="113898"/>
                    <a:pt x="81818" y="113898"/>
                  </a:cubicBezTo>
                  <a:cubicBezTo>
                    <a:pt x="81818" y="114305"/>
                    <a:pt x="81477" y="113898"/>
                    <a:pt x="81477" y="113898"/>
                  </a:cubicBezTo>
                  <a:cubicBezTo>
                    <a:pt x="81136" y="113898"/>
                    <a:pt x="80795" y="113898"/>
                    <a:pt x="80795" y="113898"/>
                  </a:cubicBezTo>
                  <a:cubicBezTo>
                    <a:pt x="80795" y="113898"/>
                    <a:pt x="80795" y="113491"/>
                    <a:pt x="80795" y="113491"/>
                  </a:cubicBezTo>
                  <a:cubicBezTo>
                    <a:pt x="80113" y="113898"/>
                    <a:pt x="80113" y="113898"/>
                    <a:pt x="80113" y="113898"/>
                  </a:cubicBezTo>
                  <a:cubicBezTo>
                    <a:pt x="80113" y="113898"/>
                    <a:pt x="80113" y="114305"/>
                    <a:pt x="80113" y="114305"/>
                  </a:cubicBezTo>
                  <a:cubicBezTo>
                    <a:pt x="80113" y="114305"/>
                    <a:pt x="79772" y="114305"/>
                    <a:pt x="79431" y="114711"/>
                  </a:cubicBezTo>
                  <a:cubicBezTo>
                    <a:pt x="78750" y="114711"/>
                    <a:pt x="79090" y="114305"/>
                    <a:pt x="78750" y="114711"/>
                  </a:cubicBezTo>
                  <a:cubicBezTo>
                    <a:pt x="78750" y="114711"/>
                    <a:pt x="78750" y="114711"/>
                    <a:pt x="78750" y="115118"/>
                  </a:cubicBezTo>
                  <a:cubicBezTo>
                    <a:pt x="78750" y="115118"/>
                    <a:pt x="79090" y="115118"/>
                    <a:pt x="78750" y="115525"/>
                  </a:cubicBezTo>
                  <a:cubicBezTo>
                    <a:pt x="78409" y="115932"/>
                    <a:pt x="78409" y="115525"/>
                    <a:pt x="78409" y="115525"/>
                  </a:cubicBezTo>
                  <a:cubicBezTo>
                    <a:pt x="78068" y="115525"/>
                    <a:pt x="77727" y="115932"/>
                    <a:pt x="77727" y="115932"/>
                  </a:cubicBezTo>
                  <a:cubicBezTo>
                    <a:pt x="77727" y="115932"/>
                    <a:pt x="77727" y="116338"/>
                    <a:pt x="77727" y="116338"/>
                  </a:cubicBezTo>
                  <a:cubicBezTo>
                    <a:pt x="77727" y="116338"/>
                    <a:pt x="77386" y="116338"/>
                    <a:pt x="77045" y="116338"/>
                  </a:cubicBezTo>
                  <a:cubicBezTo>
                    <a:pt x="76704" y="116338"/>
                    <a:pt x="77045" y="116745"/>
                    <a:pt x="77045" y="116745"/>
                  </a:cubicBezTo>
                  <a:cubicBezTo>
                    <a:pt x="77045" y="116745"/>
                    <a:pt x="77045" y="117152"/>
                    <a:pt x="76704" y="117559"/>
                  </a:cubicBezTo>
                  <a:cubicBezTo>
                    <a:pt x="76704" y="117559"/>
                    <a:pt x="76704" y="117966"/>
                    <a:pt x="76704" y="118372"/>
                  </a:cubicBezTo>
                  <a:cubicBezTo>
                    <a:pt x="76704" y="118372"/>
                    <a:pt x="76704" y="118372"/>
                    <a:pt x="76704" y="119186"/>
                  </a:cubicBezTo>
                  <a:cubicBezTo>
                    <a:pt x="76704" y="119593"/>
                    <a:pt x="76704" y="119593"/>
                    <a:pt x="76704" y="119593"/>
                  </a:cubicBezTo>
                  <a:cubicBezTo>
                    <a:pt x="76704" y="119593"/>
                    <a:pt x="76363" y="119593"/>
                    <a:pt x="76363" y="119593"/>
                  </a:cubicBezTo>
                  <a:cubicBezTo>
                    <a:pt x="76363" y="119186"/>
                    <a:pt x="76022" y="119593"/>
                    <a:pt x="76022" y="119593"/>
                  </a:cubicBezTo>
                  <a:cubicBezTo>
                    <a:pt x="76022" y="119593"/>
                    <a:pt x="75681" y="119186"/>
                    <a:pt x="75681" y="118779"/>
                  </a:cubicBezTo>
                  <a:cubicBezTo>
                    <a:pt x="75681" y="118779"/>
                    <a:pt x="75340" y="118779"/>
                    <a:pt x="75340" y="118779"/>
                  </a:cubicBezTo>
                  <a:cubicBezTo>
                    <a:pt x="75340" y="118779"/>
                    <a:pt x="74659" y="119186"/>
                    <a:pt x="74659" y="119186"/>
                  </a:cubicBezTo>
                  <a:cubicBezTo>
                    <a:pt x="74659" y="119186"/>
                    <a:pt x="74659" y="119593"/>
                    <a:pt x="74659" y="119593"/>
                  </a:cubicBezTo>
                  <a:cubicBezTo>
                    <a:pt x="74318" y="119593"/>
                    <a:pt x="73636" y="120000"/>
                    <a:pt x="73636" y="120000"/>
                  </a:cubicBezTo>
                  <a:cubicBezTo>
                    <a:pt x="73636" y="120000"/>
                    <a:pt x="73295" y="120000"/>
                    <a:pt x="73295" y="120000"/>
                  </a:cubicBezTo>
                  <a:cubicBezTo>
                    <a:pt x="72954" y="119593"/>
                    <a:pt x="72954" y="119593"/>
                    <a:pt x="72954" y="119593"/>
                  </a:cubicBezTo>
                  <a:cubicBezTo>
                    <a:pt x="72954" y="119186"/>
                    <a:pt x="72954" y="119186"/>
                    <a:pt x="72954" y="119186"/>
                  </a:cubicBezTo>
                  <a:cubicBezTo>
                    <a:pt x="73636" y="118372"/>
                    <a:pt x="73636" y="118372"/>
                    <a:pt x="73636" y="118372"/>
                  </a:cubicBezTo>
                  <a:cubicBezTo>
                    <a:pt x="73295" y="117152"/>
                    <a:pt x="73295" y="117152"/>
                    <a:pt x="73295" y="117152"/>
                  </a:cubicBezTo>
                  <a:cubicBezTo>
                    <a:pt x="72613" y="116338"/>
                    <a:pt x="72613" y="116338"/>
                    <a:pt x="72613" y="116338"/>
                  </a:cubicBezTo>
                  <a:cubicBezTo>
                    <a:pt x="72613" y="115932"/>
                    <a:pt x="72613" y="115932"/>
                    <a:pt x="72613" y="115932"/>
                  </a:cubicBezTo>
                  <a:cubicBezTo>
                    <a:pt x="71590" y="115932"/>
                    <a:pt x="71590" y="115932"/>
                    <a:pt x="71590" y="115932"/>
                  </a:cubicBezTo>
                  <a:cubicBezTo>
                    <a:pt x="70909" y="115525"/>
                    <a:pt x="70909" y="115525"/>
                    <a:pt x="70909" y="115525"/>
                  </a:cubicBezTo>
                  <a:cubicBezTo>
                    <a:pt x="70568" y="115118"/>
                    <a:pt x="70568" y="115118"/>
                    <a:pt x="70568" y="115118"/>
                  </a:cubicBezTo>
                  <a:cubicBezTo>
                    <a:pt x="69545" y="114305"/>
                    <a:pt x="69545" y="114305"/>
                    <a:pt x="69545" y="114305"/>
                  </a:cubicBezTo>
                  <a:cubicBezTo>
                    <a:pt x="68863" y="111864"/>
                    <a:pt x="68863" y="111864"/>
                    <a:pt x="68863" y="111864"/>
                  </a:cubicBezTo>
                  <a:cubicBezTo>
                    <a:pt x="67840" y="111864"/>
                    <a:pt x="67840" y="111864"/>
                    <a:pt x="67840" y="111864"/>
                  </a:cubicBezTo>
                  <a:cubicBezTo>
                    <a:pt x="67840" y="111864"/>
                    <a:pt x="67159" y="112677"/>
                    <a:pt x="67159" y="113084"/>
                  </a:cubicBezTo>
                  <a:cubicBezTo>
                    <a:pt x="67159" y="113491"/>
                    <a:pt x="66477" y="113491"/>
                    <a:pt x="66477" y="113491"/>
                  </a:cubicBezTo>
                  <a:cubicBezTo>
                    <a:pt x="65795" y="114711"/>
                    <a:pt x="65795" y="114711"/>
                    <a:pt x="65795" y="114711"/>
                  </a:cubicBezTo>
                  <a:cubicBezTo>
                    <a:pt x="65795" y="114711"/>
                    <a:pt x="65795" y="116338"/>
                    <a:pt x="65795" y="116745"/>
                  </a:cubicBezTo>
                  <a:cubicBezTo>
                    <a:pt x="65795" y="117152"/>
                    <a:pt x="65113" y="116338"/>
                    <a:pt x="65113" y="116338"/>
                  </a:cubicBezTo>
                  <a:cubicBezTo>
                    <a:pt x="65113" y="116338"/>
                    <a:pt x="64431" y="116745"/>
                    <a:pt x="64090" y="117152"/>
                  </a:cubicBezTo>
                  <a:cubicBezTo>
                    <a:pt x="63750" y="117559"/>
                    <a:pt x="63068" y="117559"/>
                    <a:pt x="63068" y="117559"/>
                  </a:cubicBezTo>
                  <a:cubicBezTo>
                    <a:pt x="63068" y="117559"/>
                    <a:pt x="62727" y="116745"/>
                    <a:pt x="62386" y="116338"/>
                  </a:cubicBezTo>
                  <a:cubicBezTo>
                    <a:pt x="62386" y="116338"/>
                    <a:pt x="62386" y="115932"/>
                    <a:pt x="62386" y="115118"/>
                  </a:cubicBezTo>
                  <a:cubicBezTo>
                    <a:pt x="62386" y="114711"/>
                    <a:pt x="61704" y="115525"/>
                    <a:pt x="61704" y="115525"/>
                  </a:cubicBezTo>
                  <a:cubicBezTo>
                    <a:pt x="61704" y="115525"/>
                    <a:pt x="61704" y="115525"/>
                    <a:pt x="61704" y="115525"/>
                  </a:cubicBezTo>
                  <a:cubicBezTo>
                    <a:pt x="61704" y="115118"/>
                    <a:pt x="61704" y="115118"/>
                    <a:pt x="61704" y="115118"/>
                  </a:cubicBezTo>
                  <a:cubicBezTo>
                    <a:pt x="61363" y="114305"/>
                    <a:pt x="61022" y="113898"/>
                    <a:pt x="61022" y="113898"/>
                  </a:cubicBezTo>
                  <a:cubicBezTo>
                    <a:pt x="61022" y="113898"/>
                    <a:pt x="60681" y="113084"/>
                    <a:pt x="60681" y="112271"/>
                  </a:cubicBezTo>
                  <a:cubicBezTo>
                    <a:pt x="60681" y="111864"/>
                    <a:pt x="59318" y="111050"/>
                    <a:pt x="59318" y="111050"/>
                  </a:cubicBezTo>
                  <a:cubicBezTo>
                    <a:pt x="59318" y="111050"/>
                    <a:pt x="59659" y="111864"/>
                    <a:pt x="58977" y="111050"/>
                  </a:cubicBezTo>
                  <a:cubicBezTo>
                    <a:pt x="58295" y="109830"/>
                    <a:pt x="57613" y="109830"/>
                    <a:pt x="57613" y="109830"/>
                  </a:cubicBezTo>
                  <a:cubicBezTo>
                    <a:pt x="57272" y="106576"/>
                    <a:pt x="57272" y="106576"/>
                    <a:pt x="57272" y="106576"/>
                  </a:cubicBezTo>
                  <a:cubicBezTo>
                    <a:pt x="54545" y="107389"/>
                    <a:pt x="54545" y="107389"/>
                    <a:pt x="54545" y="107389"/>
                  </a:cubicBezTo>
                  <a:cubicBezTo>
                    <a:pt x="54545" y="107389"/>
                    <a:pt x="52840" y="106576"/>
                    <a:pt x="52500" y="106169"/>
                  </a:cubicBezTo>
                  <a:cubicBezTo>
                    <a:pt x="52159" y="105762"/>
                    <a:pt x="51136" y="105355"/>
                    <a:pt x="51136" y="105355"/>
                  </a:cubicBezTo>
                  <a:cubicBezTo>
                    <a:pt x="50113" y="106576"/>
                    <a:pt x="50113" y="106576"/>
                    <a:pt x="50113" y="106576"/>
                  </a:cubicBezTo>
                  <a:cubicBezTo>
                    <a:pt x="49090" y="106576"/>
                    <a:pt x="49090" y="106576"/>
                    <a:pt x="49090" y="106576"/>
                  </a:cubicBezTo>
                  <a:cubicBezTo>
                    <a:pt x="49090" y="106576"/>
                    <a:pt x="47727" y="106169"/>
                    <a:pt x="47386" y="105762"/>
                  </a:cubicBezTo>
                  <a:cubicBezTo>
                    <a:pt x="46704" y="104949"/>
                    <a:pt x="47045" y="104542"/>
                    <a:pt x="46704" y="104542"/>
                  </a:cubicBezTo>
                  <a:cubicBezTo>
                    <a:pt x="46022" y="104542"/>
                    <a:pt x="45681" y="103728"/>
                    <a:pt x="45681" y="103728"/>
                  </a:cubicBezTo>
                  <a:cubicBezTo>
                    <a:pt x="45681" y="103728"/>
                    <a:pt x="46363" y="102508"/>
                    <a:pt x="46704" y="102101"/>
                  </a:cubicBezTo>
                  <a:cubicBezTo>
                    <a:pt x="46704" y="101694"/>
                    <a:pt x="47386" y="102101"/>
                    <a:pt x="47045" y="100881"/>
                  </a:cubicBezTo>
                  <a:cubicBezTo>
                    <a:pt x="46363" y="100067"/>
                    <a:pt x="46022" y="99661"/>
                    <a:pt x="46022" y="99661"/>
                  </a:cubicBezTo>
                  <a:cubicBezTo>
                    <a:pt x="46022" y="99661"/>
                    <a:pt x="46022" y="100474"/>
                    <a:pt x="45340" y="100881"/>
                  </a:cubicBezTo>
                  <a:cubicBezTo>
                    <a:pt x="44659" y="100881"/>
                    <a:pt x="43636" y="101288"/>
                    <a:pt x="43636" y="101288"/>
                  </a:cubicBezTo>
                  <a:cubicBezTo>
                    <a:pt x="39886" y="99254"/>
                    <a:pt x="39886" y="99254"/>
                    <a:pt x="39886" y="99254"/>
                  </a:cubicBezTo>
                  <a:cubicBezTo>
                    <a:pt x="39886" y="99254"/>
                    <a:pt x="38863" y="98847"/>
                    <a:pt x="38522" y="98847"/>
                  </a:cubicBezTo>
                  <a:cubicBezTo>
                    <a:pt x="38181" y="99254"/>
                    <a:pt x="36818" y="98847"/>
                    <a:pt x="36818" y="98847"/>
                  </a:cubicBezTo>
                  <a:cubicBezTo>
                    <a:pt x="37500" y="100474"/>
                    <a:pt x="37500" y="100474"/>
                    <a:pt x="37500" y="100474"/>
                  </a:cubicBezTo>
                  <a:cubicBezTo>
                    <a:pt x="38181" y="102915"/>
                    <a:pt x="38181" y="102915"/>
                    <a:pt x="38181" y="102915"/>
                  </a:cubicBezTo>
                  <a:cubicBezTo>
                    <a:pt x="36136" y="103728"/>
                    <a:pt x="36136" y="103728"/>
                    <a:pt x="36136" y="103728"/>
                  </a:cubicBezTo>
                  <a:cubicBezTo>
                    <a:pt x="35795" y="105762"/>
                    <a:pt x="35795" y="105762"/>
                    <a:pt x="35795" y="105762"/>
                  </a:cubicBezTo>
                  <a:cubicBezTo>
                    <a:pt x="35795" y="105762"/>
                    <a:pt x="33750" y="107389"/>
                    <a:pt x="33750" y="106576"/>
                  </a:cubicBezTo>
                  <a:cubicBezTo>
                    <a:pt x="33409" y="106169"/>
                    <a:pt x="33068" y="104542"/>
                    <a:pt x="33068" y="104542"/>
                  </a:cubicBezTo>
                  <a:cubicBezTo>
                    <a:pt x="33068" y="104542"/>
                    <a:pt x="32727" y="103728"/>
                    <a:pt x="32386" y="103322"/>
                  </a:cubicBezTo>
                  <a:cubicBezTo>
                    <a:pt x="31704" y="102915"/>
                    <a:pt x="31363" y="102508"/>
                    <a:pt x="31363" y="102508"/>
                  </a:cubicBezTo>
                  <a:cubicBezTo>
                    <a:pt x="30340" y="102101"/>
                    <a:pt x="30340" y="102101"/>
                    <a:pt x="30340" y="102101"/>
                  </a:cubicBezTo>
                  <a:cubicBezTo>
                    <a:pt x="30340" y="102101"/>
                    <a:pt x="30000" y="100474"/>
                    <a:pt x="29659" y="100474"/>
                  </a:cubicBezTo>
                  <a:cubicBezTo>
                    <a:pt x="29318" y="100474"/>
                    <a:pt x="28977" y="100474"/>
                    <a:pt x="28977" y="100474"/>
                  </a:cubicBezTo>
                  <a:cubicBezTo>
                    <a:pt x="28977" y="99254"/>
                    <a:pt x="28977" y="99254"/>
                    <a:pt x="28977" y="99254"/>
                  </a:cubicBezTo>
                  <a:cubicBezTo>
                    <a:pt x="29659" y="98033"/>
                    <a:pt x="29659" y="98033"/>
                    <a:pt x="29659" y="98033"/>
                  </a:cubicBezTo>
                  <a:cubicBezTo>
                    <a:pt x="29659" y="98033"/>
                    <a:pt x="30000" y="98440"/>
                    <a:pt x="30000" y="96813"/>
                  </a:cubicBezTo>
                  <a:cubicBezTo>
                    <a:pt x="30340" y="94779"/>
                    <a:pt x="29318" y="94779"/>
                    <a:pt x="29318" y="94779"/>
                  </a:cubicBezTo>
                  <a:cubicBezTo>
                    <a:pt x="28295" y="95186"/>
                    <a:pt x="28295" y="95186"/>
                    <a:pt x="28295" y="95186"/>
                  </a:cubicBezTo>
                  <a:cubicBezTo>
                    <a:pt x="26931" y="96000"/>
                    <a:pt x="26931" y="96000"/>
                    <a:pt x="26931" y="96000"/>
                  </a:cubicBezTo>
                  <a:cubicBezTo>
                    <a:pt x="26250" y="96000"/>
                    <a:pt x="26250" y="96000"/>
                    <a:pt x="26250" y="96000"/>
                  </a:cubicBezTo>
                  <a:cubicBezTo>
                    <a:pt x="25909" y="96000"/>
                    <a:pt x="25227" y="94779"/>
                    <a:pt x="25227" y="94779"/>
                  </a:cubicBezTo>
                  <a:cubicBezTo>
                    <a:pt x="25227" y="94779"/>
                    <a:pt x="25909" y="93559"/>
                    <a:pt x="24886" y="94779"/>
                  </a:cubicBezTo>
                  <a:cubicBezTo>
                    <a:pt x="23863" y="96000"/>
                    <a:pt x="23181" y="94372"/>
                    <a:pt x="23181" y="94372"/>
                  </a:cubicBezTo>
                  <a:cubicBezTo>
                    <a:pt x="22840" y="93966"/>
                    <a:pt x="22840" y="93966"/>
                    <a:pt x="22840" y="93966"/>
                  </a:cubicBezTo>
                  <a:cubicBezTo>
                    <a:pt x="22840" y="93966"/>
                    <a:pt x="22840" y="93966"/>
                    <a:pt x="22500" y="93966"/>
                  </a:cubicBezTo>
                  <a:cubicBezTo>
                    <a:pt x="22159" y="94372"/>
                    <a:pt x="21136" y="94372"/>
                    <a:pt x="21136" y="93966"/>
                  </a:cubicBezTo>
                  <a:cubicBezTo>
                    <a:pt x="20795" y="93152"/>
                    <a:pt x="20113" y="92745"/>
                    <a:pt x="20113" y="92745"/>
                  </a:cubicBezTo>
                  <a:cubicBezTo>
                    <a:pt x="19090" y="93152"/>
                    <a:pt x="19090" y="93152"/>
                    <a:pt x="19090" y="93152"/>
                  </a:cubicBezTo>
                  <a:cubicBezTo>
                    <a:pt x="19090" y="93152"/>
                    <a:pt x="18409" y="93152"/>
                    <a:pt x="18068" y="93152"/>
                  </a:cubicBezTo>
                  <a:cubicBezTo>
                    <a:pt x="18068" y="92745"/>
                    <a:pt x="18068" y="92338"/>
                    <a:pt x="17386" y="91932"/>
                  </a:cubicBezTo>
                  <a:cubicBezTo>
                    <a:pt x="16704" y="91525"/>
                    <a:pt x="16363" y="90305"/>
                    <a:pt x="16363" y="90305"/>
                  </a:cubicBezTo>
                  <a:cubicBezTo>
                    <a:pt x="16363" y="90305"/>
                    <a:pt x="16704" y="89491"/>
                    <a:pt x="16022" y="89491"/>
                  </a:cubicBezTo>
                  <a:cubicBezTo>
                    <a:pt x="15681" y="89491"/>
                    <a:pt x="15000" y="89084"/>
                    <a:pt x="15000" y="89084"/>
                  </a:cubicBezTo>
                  <a:cubicBezTo>
                    <a:pt x="15000" y="89084"/>
                    <a:pt x="13977" y="88271"/>
                    <a:pt x="13977" y="88677"/>
                  </a:cubicBezTo>
                  <a:cubicBezTo>
                    <a:pt x="13636" y="89084"/>
                    <a:pt x="13636" y="89898"/>
                    <a:pt x="13636" y="90305"/>
                  </a:cubicBezTo>
                  <a:cubicBezTo>
                    <a:pt x="13636" y="90305"/>
                    <a:pt x="13977" y="91525"/>
                    <a:pt x="13977" y="91525"/>
                  </a:cubicBezTo>
                  <a:cubicBezTo>
                    <a:pt x="13977" y="91525"/>
                    <a:pt x="12613" y="92338"/>
                    <a:pt x="12272" y="92338"/>
                  </a:cubicBezTo>
                  <a:cubicBezTo>
                    <a:pt x="11931" y="92338"/>
                    <a:pt x="11590" y="92745"/>
                    <a:pt x="11590" y="91932"/>
                  </a:cubicBezTo>
                  <a:cubicBezTo>
                    <a:pt x="11590" y="91525"/>
                    <a:pt x="12272" y="89491"/>
                    <a:pt x="12272" y="89491"/>
                  </a:cubicBezTo>
                  <a:cubicBezTo>
                    <a:pt x="12613" y="89084"/>
                    <a:pt x="12954" y="88677"/>
                    <a:pt x="12954" y="88677"/>
                  </a:cubicBezTo>
                  <a:cubicBezTo>
                    <a:pt x="12954" y="88677"/>
                    <a:pt x="12613" y="87864"/>
                    <a:pt x="12613" y="87457"/>
                  </a:cubicBezTo>
                  <a:cubicBezTo>
                    <a:pt x="12613" y="87050"/>
                    <a:pt x="12272" y="87050"/>
                    <a:pt x="12954" y="85830"/>
                  </a:cubicBezTo>
                  <a:cubicBezTo>
                    <a:pt x="13977" y="84610"/>
                    <a:pt x="13977" y="83796"/>
                    <a:pt x="13977" y="83796"/>
                  </a:cubicBezTo>
                  <a:cubicBezTo>
                    <a:pt x="13977" y="83796"/>
                    <a:pt x="13295" y="82576"/>
                    <a:pt x="12954" y="82169"/>
                  </a:cubicBezTo>
                  <a:cubicBezTo>
                    <a:pt x="12954" y="82169"/>
                    <a:pt x="11931" y="80542"/>
                    <a:pt x="11931" y="80542"/>
                  </a:cubicBezTo>
                  <a:cubicBezTo>
                    <a:pt x="11931" y="80135"/>
                    <a:pt x="11931" y="79322"/>
                    <a:pt x="11931" y="79322"/>
                  </a:cubicBezTo>
                  <a:cubicBezTo>
                    <a:pt x="11931" y="79322"/>
                    <a:pt x="11250" y="78508"/>
                    <a:pt x="10909" y="78508"/>
                  </a:cubicBezTo>
                  <a:cubicBezTo>
                    <a:pt x="10568" y="78508"/>
                    <a:pt x="9545" y="78101"/>
                    <a:pt x="9545" y="78101"/>
                  </a:cubicBezTo>
                  <a:cubicBezTo>
                    <a:pt x="9545" y="76881"/>
                    <a:pt x="9545" y="76881"/>
                    <a:pt x="9545" y="76881"/>
                  </a:cubicBezTo>
                  <a:cubicBezTo>
                    <a:pt x="9545" y="74847"/>
                    <a:pt x="9545" y="74847"/>
                    <a:pt x="9545" y="74847"/>
                  </a:cubicBezTo>
                  <a:cubicBezTo>
                    <a:pt x="8181" y="72813"/>
                    <a:pt x="8181" y="72813"/>
                    <a:pt x="8181" y="72813"/>
                  </a:cubicBezTo>
                  <a:cubicBezTo>
                    <a:pt x="7840" y="71593"/>
                    <a:pt x="7840" y="71593"/>
                    <a:pt x="7840" y="71593"/>
                  </a:cubicBezTo>
                  <a:cubicBezTo>
                    <a:pt x="7840" y="71593"/>
                    <a:pt x="8181" y="70779"/>
                    <a:pt x="8181" y="69966"/>
                  </a:cubicBezTo>
                  <a:cubicBezTo>
                    <a:pt x="8522" y="69559"/>
                    <a:pt x="8863" y="68338"/>
                    <a:pt x="8863" y="68338"/>
                  </a:cubicBezTo>
                  <a:cubicBezTo>
                    <a:pt x="8181" y="66711"/>
                    <a:pt x="8181" y="66711"/>
                    <a:pt x="8181" y="66711"/>
                  </a:cubicBezTo>
                  <a:cubicBezTo>
                    <a:pt x="8181" y="66711"/>
                    <a:pt x="7840" y="66305"/>
                    <a:pt x="8181" y="65898"/>
                  </a:cubicBezTo>
                  <a:cubicBezTo>
                    <a:pt x="8181" y="65491"/>
                    <a:pt x="7840" y="63050"/>
                    <a:pt x="7840" y="63050"/>
                  </a:cubicBezTo>
                  <a:cubicBezTo>
                    <a:pt x="7840" y="63050"/>
                    <a:pt x="7500" y="60610"/>
                    <a:pt x="7159" y="61016"/>
                  </a:cubicBezTo>
                  <a:cubicBezTo>
                    <a:pt x="6477" y="61016"/>
                    <a:pt x="6136" y="59389"/>
                    <a:pt x="6136" y="59389"/>
                  </a:cubicBezTo>
                  <a:cubicBezTo>
                    <a:pt x="6818" y="56542"/>
                    <a:pt x="6818" y="56542"/>
                    <a:pt x="6818" y="56542"/>
                  </a:cubicBezTo>
                  <a:cubicBezTo>
                    <a:pt x="6818" y="56542"/>
                    <a:pt x="7159" y="54508"/>
                    <a:pt x="6136" y="53694"/>
                  </a:cubicBezTo>
                  <a:cubicBezTo>
                    <a:pt x="5113" y="53288"/>
                    <a:pt x="3068" y="52067"/>
                    <a:pt x="2727" y="51661"/>
                  </a:cubicBezTo>
                  <a:cubicBezTo>
                    <a:pt x="2727" y="51661"/>
                    <a:pt x="1704" y="50440"/>
                    <a:pt x="1363" y="50033"/>
                  </a:cubicBezTo>
                  <a:cubicBezTo>
                    <a:pt x="1022" y="50033"/>
                    <a:pt x="681" y="49627"/>
                    <a:pt x="681" y="49627"/>
                  </a:cubicBezTo>
                  <a:cubicBezTo>
                    <a:pt x="1363" y="45966"/>
                    <a:pt x="1363" y="45966"/>
                    <a:pt x="1363" y="45966"/>
                  </a:cubicBezTo>
                  <a:cubicBezTo>
                    <a:pt x="3068" y="44338"/>
                    <a:pt x="3068" y="44338"/>
                    <a:pt x="3068" y="44338"/>
                  </a:cubicBezTo>
                  <a:cubicBezTo>
                    <a:pt x="3068" y="41084"/>
                    <a:pt x="3068" y="41084"/>
                    <a:pt x="3068" y="41084"/>
                  </a:cubicBezTo>
                  <a:cubicBezTo>
                    <a:pt x="3068" y="37423"/>
                    <a:pt x="3068" y="37423"/>
                    <a:pt x="3068" y="37423"/>
                  </a:cubicBezTo>
                  <a:cubicBezTo>
                    <a:pt x="3068" y="37423"/>
                    <a:pt x="3409" y="37016"/>
                    <a:pt x="2386" y="35389"/>
                  </a:cubicBezTo>
                  <a:cubicBezTo>
                    <a:pt x="1704" y="34169"/>
                    <a:pt x="1363" y="32542"/>
                    <a:pt x="1363" y="32542"/>
                  </a:cubicBezTo>
                  <a:cubicBezTo>
                    <a:pt x="1363" y="32135"/>
                    <a:pt x="1022" y="30508"/>
                    <a:pt x="681" y="30101"/>
                  </a:cubicBezTo>
                  <a:cubicBezTo>
                    <a:pt x="681" y="29694"/>
                    <a:pt x="681" y="29288"/>
                    <a:pt x="681" y="28474"/>
                  </a:cubicBezTo>
                  <a:cubicBezTo>
                    <a:pt x="1022" y="28067"/>
                    <a:pt x="0" y="26847"/>
                    <a:pt x="0" y="26847"/>
                  </a:cubicBezTo>
                  <a:cubicBezTo>
                    <a:pt x="0" y="26847"/>
                    <a:pt x="340" y="26033"/>
                    <a:pt x="681" y="26033"/>
                  </a:cubicBezTo>
                  <a:cubicBezTo>
                    <a:pt x="1022" y="26033"/>
                    <a:pt x="1363" y="25627"/>
                    <a:pt x="2045" y="25627"/>
                  </a:cubicBezTo>
                  <a:cubicBezTo>
                    <a:pt x="2727" y="25627"/>
                    <a:pt x="3068" y="24813"/>
                    <a:pt x="3750" y="24813"/>
                  </a:cubicBezTo>
                  <a:cubicBezTo>
                    <a:pt x="4090" y="24406"/>
                    <a:pt x="4090" y="23593"/>
                    <a:pt x="4431" y="23593"/>
                  </a:cubicBezTo>
                  <a:cubicBezTo>
                    <a:pt x="5113" y="23186"/>
                    <a:pt x="5795" y="23593"/>
                    <a:pt x="6818" y="22779"/>
                  </a:cubicBezTo>
                  <a:cubicBezTo>
                    <a:pt x="7840" y="22372"/>
                    <a:pt x="7840" y="21966"/>
                    <a:pt x="8522" y="21152"/>
                  </a:cubicBezTo>
                  <a:cubicBezTo>
                    <a:pt x="8863" y="20745"/>
                    <a:pt x="15340" y="18305"/>
                    <a:pt x="15340" y="18305"/>
                  </a:cubicBezTo>
                  <a:cubicBezTo>
                    <a:pt x="15340" y="18305"/>
                    <a:pt x="17045" y="17084"/>
                    <a:pt x="17727" y="17084"/>
                  </a:cubicBezTo>
                  <a:cubicBezTo>
                    <a:pt x="18068" y="16677"/>
                    <a:pt x="18068" y="16271"/>
                    <a:pt x="18750" y="16271"/>
                  </a:cubicBezTo>
                  <a:cubicBezTo>
                    <a:pt x="19090" y="16677"/>
                    <a:pt x="20454" y="16677"/>
                    <a:pt x="20454" y="16677"/>
                  </a:cubicBezTo>
                  <a:cubicBezTo>
                    <a:pt x="20454" y="16677"/>
                    <a:pt x="20795" y="15457"/>
                    <a:pt x="21136" y="15050"/>
                  </a:cubicBezTo>
                  <a:cubicBezTo>
                    <a:pt x="21477" y="14237"/>
                    <a:pt x="21818" y="13423"/>
                    <a:pt x="21818" y="13016"/>
                  </a:cubicBezTo>
                  <a:cubicBezTo>
                    <a:pt x="22159" y="12203"/>
                    <a:pt x="22500" y="11796"/>
                    <a:pt x="22840" y="11389"/>
                  </a:cubicBezTo>
                  <a:cubicBezTo>
                    <a:pt x="23181" y="10576"/>
                    <a:pt x="23522" y="10169"/>
                    <a:pt x="23522" y="10169"/>
                  </a:cubicBezTo>
                  <a:cubicBezTo>
                    <a:pt x="23863" y="10169"/>
                    <a:pt x="25909" y="8949"/>
                    <a:pt x="26250" y="8949"/>
                  </a:cubicBezTo>
                  <a:cubicBezTo>
                    <a:pt x="26590" y="8542"/>
                    <a:pt x="29318" y="7322"/>
                    <a:pt x="29318" y="6915"/>
                  </a:cubicBezTo>
                  <a:cubicBezTo>
                    <a:pt x="29318" y="6915"/>
                    <a:pt x="30340" y="5288"/>
                    <a:pt x="30340" y="4881"/>
                  </a:cubicBezTo>
                  <a:cubicBezTo>
                    <a:pt x="30340" y="4474"/>
                    <a:pt x="31704" y="4067"/>
                    <a:pt x="31704" y="4067"/>
                  </a:cubicBezTo>
                  <a:cubicBezTo>
                    <a:pt x="32045" y="4067"/>
                    <a:pt x="32045" y="4067"/>
                    <a:pt x="32386" y="3661"/>
                  </a:cubicBezTo>
                  <a:cubicBezTo>
                    <a:pt x="33068" y="3661"/>
                    <a:pt x="36136" y="2033"/>
                    <a:pt x="36136" y="2033"/>
                  </a:cubicBezTo>
                  <a:cubicBezTo>
                    <a:pt x="36136" y="2033"/>
                    <a:pt x="38863" y="813"/>
                    <a:pt x="38863" y="813"/>
                  </a:cubicBezTo>
                  <a:cubicBezTo>
                    <a:pt x="39204" y="1220"/>
                    <a:pt x="40909" y="813"/>
                    <a:pt x="41250" y="813"/>
                  </a:cubicBezTo>
                  <a:cubicBezTo>
                    <a:pt x="41250" y="1220"/>
                    <a:pt x="43295" y="813"/>
                    <a:pt x="43295" y="813"/>
                  </a:cubicBezTo>
                  <a:cubicBezTo>
                    <a:pt x="43295" y="813"/>
                    <a:pt x="43977" y="1220"/>
                    <a:pt x="43977" y="1627"/>
                  </a:cubicBezTo>
                  <a:cubicBezTo>
                    <a:pt x="43977" y="2033"/>
                    <a:pt x="43295" y="2440"/>
                    <a:pt x="43636" y="2847"/>
                  </a:cubicBezTo>
                  <a:cubicBezTo>
                    <a:pt x="43977" y="3254"/>
                    <a:pt x="45340" y="4474"/>
                    <a:pt x="45340" y="4474"/>
                  </a:cubicBezTo>
                  <a:cubicBezTo>
                    <a:pt x="45340" y="4474"/>
                    <a:pt x="45000" y="5694"/>
                    <a:pt x="45000" y="5694"/>
                  </a:cubicBezTo>
                  <a:cubicBezTo>
                    <a:pt x="45000" y="6101"/>
                    <a:pt x="45340" y="6508"/>
                    <a:pt x="45681" y="7322"/>
                  </a:cubicBezTo>
                  <a:cubicBezTo>
                    <a:pt x="46022" y="7728"/>
                    <a:pt x="46704" y="8542"/>
                    <a:pt x="46704" y="8542"/>
                  </a:cubicBezTo>
                  <a:cubicBezTo>
                    <a:pt x="46704" y="8542"/>
                    <a:pt x="46363" y="8949"/>
                    <a:pt x="47727" y="9762"/>
                  </a:cubicBezTo>
                  <a:cubicBezTo>
                    <a:pt x="49090" y="10576"/>
                    <a:pt x="50113" y="9762"/>
                    <a:pt x="50113" y="9762"/>
                  </a:cubicBezTo>
                  <a:cubicBezTo>
                    <a:pt x="50113" y="9762"/>
                    <a:pt x="51136" y="9762"/>
                    <a:pt x="51477" y="9762"/>
                  </a:cubicBezTo>
                  <a:cubicBezTo>
                    <a:pt x="51818" y="9762"/>
                    <a:pt x="52840" y="9355"/>
                    <a:pt x="52840" y="9355"/>
                  </a:cubicBezTo>
                  <a:close/>
                </a:path>
              </a:pathLst>
            </a:custGeom>
            <a:solidFill>
              <a:srgbClr val="E4032D"/>
            </a:solidFill>
            <a:ln w="3175" cap="flat" cmpd="sng">
              <a:solidFill>
                <a:schemeClr val="tx1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defTabSz="457178"/>
              <a:endParaRPr kern="0">
                <a:solidFill>
                  <a:srgbClr val="7F7F7F"/>
                </a:solidFill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37" name="Shape 2044">
              <a:extLst>
                <a:ext uri="{FF2B5EF4-FFF2-40B4-BE49-F238E27FC236}">
                  <a16:creationId xmlns:a16="http://schemas.microsoft.com/office/drawing/2014/main" id="{FAD7867D-D03D-4FB1-A853-CC55821B6C80}"/>
                </a:ext>
              </a:extLst>
            </p:cNvPr>
            <p:cNvSpPr/>
            <p:nvPr/>
          </p:nvSpPr>
          <p:spPr>
            <a:xfrm>
              <a:off x="3482366" y="2092972"/>
              <a:ext cx="378203" cy="415512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95421" y="111063"/>
                  </a:moveTo>
                  <a:cubicBezTo>
                    <a:pt x="92530" y="111063"/>
                    <a:pt x="92530" y="111063"/>
                    <a:pt x="92530" y="111063"/>
                  </a:cubicBezTo>
                  <a:cubicBezTo>
                    <a:pt x="92530" y="111063"/>
                    <a:pt x="91084" y="109148"/>
                    <a:pt x="90361" y="109148"/>
                  </a:cubicBezTo>
                  <a:cubicBezTo>
                    <a:pt x="89638" y="109148"/>
                    <a:pt x="88192" y="108510"/>
                    <a:pt x="88192" y="108510"/>
                  </a:cubicBezTo>
                  <a:cubicBezTo>
                    <a:pt x="87469" y="109787"/>
                    <a:pt x="87469" y="109787"/>
                    <a:pt x="87469" y="109787"/>
                  </a:cubicBezTo>
                  <a:cubicBezTo>
                    <a:pt x="87469" y="109787"/>
                    <a:pt x="86746" y="110425"/>
                    <a:pt x="86024" y="110425"/>
                  </a:cubicBezTo>
                  <a:cubicBezTo>
                    <a:pt x="86024" y="110425"/>
                    <a:pt x="85301" y="109787"/>
                    <a:pt x="85301" y="109787"/>
                  </a:cubicBezTo>
                  <a:cubicBezTo>
                    <a:pt x="85301" y="108510"/>
                    <a:pt x="85301" y="108510"/>
                    <a:pt x="85301" y="108510"/>
                  </a:cubicBezTo>
                  <a:cubicBezTo>
                    <a:pt x="83132" y="108510"/>
                    <a:pt x="83132" y="108510"/>
                    <a:pt x="83132" y="108510"/>
                  </a:cubicBezTo>
                  <a:cubicBezTo>
                    <a:pt x="83132" y="108510"/>
                    <a:pt x="83132" y="110425"/>
                    <a:pt x="82409" y="110425"/>
                  </a:cubicBezTo>
                  <a:cubicBezTo>
                    <a:pt x="81686" y="109787"/>
                    <a:pt x="80963" y="109787"/>
                    <a:pt x="79518" y="109787"/>
                  </a:cubicBezTo>
                  <a:cubicBezTo>
                    <a:pt x="78072" y="109148"/>
                    <a:pt x="75180" y="109787"/>
                    <a:pt x="75180" y="109787"/>
                  </a:cubicBezTo>
                  <a:cubicBezTo>
                    <a:pt x="73734" y="109148"/>
                    <a:pt x="73734" y="109148"/>
                    <a:pt x="73734" y="109148"/>
                  </a:cubicBezTo>
                  <a:cubicBezTo>
                    <a:pt x="71566" y="109148"/>
                    <a:pt x="71566" y="109148"/>
                    <a:pt x="71566" y="109148"/>
                  </a:cubicBezTo>
                  <a:cubicBezTo>
                    <a:pt x="68674" y="109148"/>
                    <a:pt x="68674" y="109148"/>
                    <a:pt x="68674" y="109148"/>
                  </a:cubicBezTo>
                  <a:cubicBezTo>
                    <a:pt x="67951" y="110425"/>
                    <a:pt x="67951" y="110425"/>
                    <a:pt x="67951" y="110425"/>
                  </a:cubicBezTo>
                  <a:cubicBezTo>
                    <a:pt x="68674" y="111063"/>
                    <a:pt x="68674" y="111063"/>
                    <a:pt x="68674" y="111063"/>
                  </a:cubicBezTo>
                  <a:cubicBezTo>
                    <a:pt x="66506" y="112340"/>
                    <a:pt x="66506" y="112340"/>
                    <a:pt x="66506" y="112340"/>
                  </a:cubicBezTo>
                  <a:cubicBezTo>
                    <a:pt x="63614" y="111702"/>
                    <a:pt x="63614" y="111702"/>
                    <a:pt x="63614" y="111702"/>
                  </a:cubicBezTo>
                  <a:cubicBezTo>
                    <a:pt x="62168" y="112978"/>
                    <a:pt x="62168" y="112978"/>
                    <a:pt x="62168" y="112978"/>
                  </a:cubicBezTo>
                  <a:cubicBezTo>
                    <a:pt x="61445" y="111702"/>
                    <a:pt x="61445" y="111702"/>
                    <a:pt x="61445" y="111702"/>
                  </a:cubicBezTo>
                  <a:cubicBezTo>
                    <a:pt x="57108" y="114255"/>
                    <a:pt x="57108" y="114255"/>
                    <a:pt x="57108" y="114255"/>
                  </a:cubicBezTo>
                  <a:cubicBezTo>
                    <a:pt x="57831" y="115531"/>
                    <a:pt x="57831" y="115531"/>
                    <a:pt x="57831" y="115531"/>
                  </a:cubicBezTo>
                  <a:cubicBezTo>
                    <a:pt x="54216" y="116170"/>
                    <a:pt x="54216" y="116170"/>
                    <a:pt x="54216" y="116170"/>
                  </a:cubicBezTo>
                  <a:cubicBezTo>
                    <a:pt x="52048" y="115531"/>
                    <a:pt x="52048" y="115531"/>
                    <a:pt x="52048" y="115531"/>
                  </a:cubicBezTo>
                  <a:cubicBezTo>
                    <a:pt x="52048" y="115531"/>
                    <a:pt x="50602" y="114893"/>
                    <a:pt x="50602" y="114255"/>
                  </a:cubicBezTo>
                  <a:cubicBezTo>
                    <a:pt x="51325" y="113617"/>
                    <a:pt x="51325" y="112978"/>
                    <a:pt x="51325" y="112978"/>
                  </a:cubicBezTo>
                  <a:cubicBezTo>
                    <a:pt x="51325" y="112978"/>
                    <a:pt x="49879" y="112340"/>
                    <a:pt x="49879" y="112978"/>
                  </a:cubicBezTo>
                  <a:cubicBezTo>
                    <a:pt x="49879" y="114255"/>
                    <a:pt x="49156" y="115531"/>
                    <a:pt x="49156" y="115531"/>
                  </a:cubicBezTo>
                  <a:cubicBezTo>
                    <a:pt x="46987" y="116808"/>
                    <a:pt x="46987" y="116808"/>
                    <a:pt x="46987" y="116808"/>
                  </a:cubicBezTo>
                  <a:cubicBezTo>
                    <a:pt x="44096" y="117446"/>
                    <a:pt x="44096" y="117446"/>
                    <a:pt x="44096" y="117446"/>
                  </a:cubicBezTo>
                  <a:cubicBezTo>
                    <a:pt x="43373" y="116808"/>
                    <a:pt x="43373" y="116808"/>
                    <a:pt x="43373" y="116808"/>
                  </a:cubicBezTo>
                  <a:cubicBezTo>
                    <a:pt x="43373" y="118723"/>
                    <a:pt x="43373" y="118723"/>
                    <a:pt x="43373" y="118723"/>
                  </a:cubicBezTo>
                  <a:cubicBezTo>
                    <a:pt x="39759" y="118723"/>
                    <a:pt x="39759" y="118723"/>
                    <a:pt x="39759" y="118723"/>
                  </a:cubicBezTo>
                  <a:cubicBezTo>
                    <a:pt x="37590" y="118723"/>
                    <a:pt x="37590" y="118723"/>
                    <a:pt x="37590" y="118723"/>
                  </a:cubicBezTo>
                  <a:cubicBezTo>
                    <a:pt x="36144" y="120000"/>
                    <a:pt x="36144" y="120000"/>
                    <a:pt x="36144" y="120000"/>
                  </a:cubicBezTo>
                  <a:cubicBezTo>
                    <a:pt x="33975" y="119361"/>
                    <a:pt x="33975" y="119361"/>
                    <a:pt x="33975" y="119361"/>
                  </a:cubicBezTo>
                  <a:cubicBezTo>
                    <a:pt x="30361" y="120000"/>
                    <a:pt x="30361" y="120000"/>
                    <a:pt x="30361" y="120000"/>
                  </a:cubicBezTo>
                  <a:cubicBezTo>
                    <a:pt x="29638" y="118723"/>
                    <a:pt x="29638" y="118723"/>
                    <a:pt x="29638" y="118723"/>
                  </a:cubicBezTo>
                  <a:cubicBezTo>
                    <a:pt x="24578" y="118723"/>
                    <a:pt x="24578" y="118723"/>
                    <a:pt x="24578" y="118723"/>
                  </a:cubicBezTo>
                  <a:cubicBezTo>
                    <a:pt x="22409" y="119361"/>
                    <a:pt x="22409" y="119361"/>
                    <a:pt x="22409" y="119361"/>
                  </a:cubicBezTo>
                  <a:cubicBezTo>
                    <a:pt x="21686" y="118085"/>
                    <a:pt x="21686" y="118085"/>
                    <a:pt x="21686" y="118085"/>
                  </a:cubicBezTo>
                  <a:cubicBezTo>
                    <a:pt x="20963" y="118085"/>
                    <a:pt x="20963" y="118085"/>
                    <a:pt x="20963" y="118085"/>
                  </a:cubicBezTo>
                  <a:cubicBezTo>
                    <a:pt x="20963" y="118085"/>
                    <a:pt x="19518" y="118085"/>
                    <a:pt x="18795" y="118085"/>
                  </a:cubicBezTo>
                  <a:cubicBezTo>
                    <a:pt x="18072" y="118085"/>
                    <a:pt x="13734" y="116808"/>
                    <a:pt x="13734" y="116808"/>
                  </a:cubicBezTo>
                  <a:cubicBezTo>
                    <a:pt x="12289" y="118085"/>
                    <a:pt x="12289" y="118085"/>
                    <a:pt x="12289" y="118085"/>
                  </a:cubicBezTo>
                  <a:cubicBezTo>
                    <a:pt x="12289" y="118085"/>
                    <a:pt x="10120" y="118085"/>
                    <a:pt x="10120" y="117446"/>
                  </a:cubicBezTo>
                  <a:cubicBezTo>
                    <a:pt x="10120" y="117446"/>
                    <a:pt x="10120" y="116808"/>
                    <a:pt x="10843" y="116170"/>
                  </a:cubicBezTo>
                  <a:cubicBezTo>
                    <a:pt x="11566" y="116170"/>
                    <a:pt x="12289" y="116170"/>
                    <a:pt x="13734" y="115531"/>
                  </a:cubicBezTo>
                  <a:cubicBezTo>
                    <a:pt x="15180" y="115531"/>
                    <a:pt x="15903" y="115531"/>
                    <a:pt x="15903" y="115531"/>
                  </a:cubicBezTo>
                  <a:cubicBezTo>
                    <a:pt x="16626" y="114893"/>
                    <a:pt x="16626" y="114893"/>
                    <a:pt x="16626" y="114893"/>
                  </a:cubicBezTo>
                  <a:cubicBezTo>
                    <a:pt x="16626" y="114255"/>
                    <a:pt x="17349" y="113617"/>
                    <a:pt x="15903" y="114255"/>
                  </a:cubicBezTo>
                  <a:cubicBezTo>
                    <a:pt x="15180" y="114255"/>
                    <a:pt x="15180" y="114255"/>
                    <a:pt x="15180" y="114255"/>
                  </a:cubicBezTo>
                  <a:cubicBezTo>
                    <a:pt x="14457" y="114893"/>
                    <a:pt x="13734" y="114893"/>
                    <a:pt x="13012" y="114893"/>
                  </a:cubicBezTo>
                  <a:cubicBezTo>
                    <a:pt x="13012" y="114893"/>
                    <a:pt x="11566" y="114893"/>
                    <a:pt x="11566" y="114893"/>
                  </a:cubicBezTo>
                  <a:cubicBezTo>
                    <a:pt x="11566" y="114893"/>
                    <a:pt x="10843" y="114255"/>
                    <a:pt x="11566" y="114255"/>
                  </a:cubicBezTo>
                  <a:cubicBezTo>
                    <a:pt x="12289" y="113617"/>
                    <a:pt x="12289" y="113617"/>
                    <a:pt x="13012" y="113617"/>
                  </a:cubicBezTo>
                  <a:cubicBezTo>
                    <a:pt x="14457" y="113617"/>
                    <a:pt x="15180" y="112978"/>
                    <a:pt x="16626" y="112978"/>
                  </a:cubicBezTo>
                  <a:cubicBezTo>
                    <a:pt x="18072" y="112978"/>
                    <a:pt x="18795" y="112978"/>
                    <a:pt x="18795" y="112978"/>
                  </a:cubicBezTo>
                  <a:cubicBezTo>
                    <a:pt x="19518" y="112340"/>
                    <a:pt x="20240" y="112340"/>
                    <a:pt x="20240" y="111702"/>
                  </a:cubicBezTo>
                  <a:cubicBezTo>
                    <a:pt x="20240" y="111063"/>
                    <a:pt x="19518" y="110425"/>
                    <a:pt x="19518" y="110425"/>
                  </a:cubicBezTo>
                  <a:cubicBezTo>
                    <a:pt x="19518" y="110425"/>
                    <a:pt x="18795" y="110425"/>
                    <a:pt x="18072" y="111063"/>
                  </a:cubicBezTo>
                  <a:cubicBezTo>
                    <a:pt x="17349" y="111063"/>
                    <a:pt x="16626" y="111702"/>
                    <a:pt x="15903" y="111702"/>
                  </a:cubicBezTo>
                  <a:cubicBezTo>
                    <a:pt x="15903" y="111702"/>
                    <a:pt x="15903" y="111702"/>
                    <a:pt x="15180" y="111702"/>
                  </a:cubicBezTo>
                  <a:cubicBezTo>
                    <a:pt x="14457" y="111702"/>
                    <a:pt x="13012" y="111063"/>
                    <a:pt x="13012" y="111063"/>
                  </a:cubicBezTo>
                  <a:cubicBezTo>
                    <a:pt x="12289" y="111063"/>
                    <a:pt x="11566" y="111063"/>
                    <a:pt x="10843" y="111063"/>
                  </a:cubicBezTo>
                  <a:cubicBezTo>
                    <a:pt x="10120" y="111063"/>
                    <a:pt x="10843" y="111063"/>
                    <a:pt x="9397" y="111063"/>
                  </a:cubicBezTo>
                  <a:cubicBezTo>
                    <a:pt x="7951" y="111702"/>
                    <a:pt x="8674" y="111702"/>
                    <a:pt x="6506" y="111702"/>
                  </a:cubicBezTo>
                  <a:cubicBezTo>
                    <a:pt x="5060" y="111702"/>
                    <a:pt x="2891" y="111063"/>
                    <a:pt x="2891" y="111063"/>
                  </a:cubicBezTo>
                  <a:cubicBezTo>
                    <a:pt x="2891" y="111063"/>
                    <a:pt x="1445" y="111702"/>
                    <a:pt x="2168" y="111063"/>
                  </a:cubicBezTo>
                  <a:cubicBezTo>
                    <a:pt x="3614" y="110425"/>
                    <a:pt x="5060" y="110425"/>
                    <a:pt x="5783" y="109787"/>
                  </a:cubicBezTo>
                  <a:cubicBezTo>
                    <a:pt x="6506" y="109787"/>
                    <a:pt x="7228" y="109787"/>
                    <a:pt x="6506" y="109148"/>
                  </a:cubicBezTo>
                  <a:cubicBezTo>
                    <a:pt x="6506" y="109148"/>
                    <a:pt x="6506" y="109148"/>
                    <a:pt x="6506" y="109148"/>
                  </a:cubicBezTo>
                  <a:cubicBezTo>
                    <a:pt x="7228" y="109148"/>
                    <a:pt x="8674" y="108510"/>
                    <a:pt x="8674" y="108510"/>
                  </a:cubicBezTo>
                  <a:cubicBezTo>
                    <a:pt x="10120" y="107872"/>
                    <a:pt x="10120" y="107872"/>
                    <a:pt x="10120" y="107872"/>
                  </a:cubicBezTo>
                  <a:cubicBezTo>
                    <a:pt x="10120" y="107872"/>
                    <a:pt x="10120" y="107234"/>
                    <a:pt x="11566" y="107234"/>
                  </a:cubicBezTo>
                  <a:cubicBezTo>
                    <a:pt x="13012" y="107234"/>
                    <a:pt x="13012" y="107234"/>
                    <a:pt x="13012" y="106595"/>
                  </a:cubicBezTo>
                  <a:cubicBezTo>
                    <a:pt x="13734" y="106595"/>
                    <a:pt x="13012" y="106595"/>
                    <a:pt x="13734" y="106595"/>
                  </a:cubicBezTo>
                  <a:cubicBezTo>
                    <a:pt x="15180" y="106595"/>
                    <a:pt x="15180" y="105957"/>
                    <a:pt x="15903" y="105957"/>
                  </a:cubicBezTo>
                  <a:cubicBezTo>
                    <a:pt x="17349" y="105957"/>
                    <a:pt x="18072" y="105319"/>
                    <a:pt x="17349" y="105319"/>
                  </a:cubicBezTo>
                  <a:cubicBezTo>
                    <a:pt x="16626" y="105319"/>
                    <a:pt x="16626" y="105319"/>
                    <a:pt x="15180" y="105319"/>
                  </a:cubicBezTo>
                  <a:cubicBezTo>
                    <a:pt x="14457" y="105957"/>
                    <a:pt x="13734" y="105319"/>
                    <a:pt x="13734" y="105957"/>
                  </a:cubicBezTo>
                  <a:cubicBezTo>
                    <a:pt x="13012" y="105957"/>
                    <a:pt x="11566" y="105957"/>
                    <a:pt x="11566" y="105957"/>
                  </a:cubicBezTo>
                  <a:cubicBezTo>
                    <a:pt x="10843" y="105319"/>
                    <a:pt x="10843" y="105319"/>
                    <a:pt x="10120" y="105957"/>
                  </a:cubicBezTo>
                  <a:cubicBezTo>
                    <a:pt x="9397" y="105957"/>
                    <a:pt x="10120" y="106595"/>
                    <a:pt x="8674" y="106595"/>
                  </a:cubicBezTo>
                  <a:cubicBezTo>
                    <a:pt x="7951" y="106595"/>
                    <a:pt x="7228" y="105957"/>
                    <a:pt x="7228" y="105957"/>
                  </a:cubicBezTo>
                  <a:cubicBezTo>
                    <a:pt x="7228" y="105957"/>
                    <a:pt x="5060" y="105957"/>
                    <a:pt x="5060" y="105319"/>
                  </a:cubicBezTo>
                  <a:cubicBezTo>
                    <a:pt x="5060" y="105319"/>
                    <a:pt x="5060" y="104042"/>
                    <a:pt x="5060" y="104042"/>
                  </a:cubicBezTo>
                  <a:cubicBezTo>
                    <a:pt x="5060" y="103404"/>
                    <a:pt x="5783" y="103404"/>
                    <a:pt x="5783" y="103404"/>
                  </a:cubicBezTo>
                  <a:cubicBezTo>
                    <a:pt x="5060" y="102765"/>
                    <a:pt x="5060" y="102765"/>
                    <a:pt x="5060" y="102765"/>
                  </a:cubicBezTo>
                  <a:cubicBezTo>
                    <a:pt x="5060" y="102765"/>
                    <a:pt x="5060" y="102765"/>
                    <a:pt x="4337" y="102765"/>
                  </a:cubicBezTo>
                  <a:cubicBezTo>
                    <a:pt x="4337" y="102765"/>
                    <a:pt x="2891" y="103404"/>
                    <a:pt x="2891" y="103404"/>
                  </a:cubicBezTo>
                  <a:cubicBezTo>
                    <a:pt x="2891" y="103404"/>
                    <a:pt x="2891" y="103404"/>
                    <a:pt x="2168" y="103404"/>
                  </a:cubicBezTo>
                  <a:cubicBezTo>
                    <a:pt x="2168" y="103404"/>
                    <a:pt x="1445" y="103404"/>
                    <a:pt x="1445" y="103404"/>
                  </a:cubicBezTo>
                  <a:cubicBezTo>
                    <a:pt x="1445" y="103404"/>
                    <a:pt x="1445" y="102765"/>
                    <a:pt x="1445" y="102127"/>
                  </a:cubicBezTo>
                  <a:cubicBezTo>
                    <a:pt x="1445" y="102127"/>
                    <a:pt x="1445" y="101489"/>
                    <a:pt x="1445" y="101489"/>
                  </a:cubicBezTo>
                  <a:cubicBezTo>
                    <a:pt x="1445" y="101489"/>
                    <a:pt x="1445" y="101489"/>
                    <a:pt x="1445" y="101489"/>
                  </a:cubicBezTo>
                  <a:cubicBezTo>
                    <a:pt x="1445" y="100851"/>
                    <a:pt x="0" y="100851"/>
                    <a:pt x="1445" y="100212"/>
                  </a:cubicBezTo>
                  <a:cubicBezTo>
                    <a:pt x="2891" y="100212"/>
                    <a:pt x="2891" y="100212"/>
                    <a:pt x="3614" y="100212"/>
                  </a:cubicBezTo>
                  <a:cubicBezTo>
                    <a:pt x="3614" y="100212"/>
                    <a:pt x="4337" y="100212"/>
                    <a:pt x="4337" y="100212"/>
                  </a:cubicBezTo>
                  <a:cubicBezTo>
                    <a:pt x="4337" y="100212"/>
                    <a:pt x="5060" y="99574"/>
                    <a:pt x="5060" y="99574"/>
                  </a:cubicBezTo>
                  <a:cubicBezTo>
                    <a:pt x="4337" y="98936"/>
                    <a:pt x="4337" y="98936"/>
                    <a:pt x="4337" y="98936"/>
                  </a:cubicBezTo>
                  <a:cubicBezTo>
                    <a:pt x="4337" y="98297"/>
                    <a:pt x="4337" y="98297"/>
                    <a:pt x="5060" y="98297"/>
                  </a:cubicBezTo>
                  <a:cubicBezTo>
                    <a:pt x="5783" y="98297"/>
                    <a:pt x="5783" y="97659"/>
                    <a:pt x="6506" y="97659"/>
                  </a:cubicBezTo>
                  <a:cubicBezTo>
                    <a:pt x="6506" y="97659"/>
                    <a:pt x="7228" y="97659"/>
                    <a:pt x="7951" y="97659"/>
                  </a:cubicBezTo>
                  <a:cubicBezTo>
                    <a:pt x="7951" y="97659"/>
                    <a:pt x="7951" y="97021"/>
                    <a:pt x="9397" y="97021"/>
                  </a:cubicBezTo>
                  <a:cubicBezTo>
                    <a:pt x="10120" y="97021"/>
                    <a:pt x="10843" y="97021"/>
                    <a:pt x="11566" y="97021"/>
                  </a:cubicBezTo>
                  <a:cubicBezTo>
                    <a:pt x="11566" y="97021"/>
                    <a:pt x="13012" y="97021"/>
                    <a:pt x="13012" y="97021"/>
                  </a:cubicBezTo>
                  <a:cubicBezTo>
                    <a:pt x="13012" y="97021"/>
                    <a:pt x="14457" y="96382"/>
                    <a:pt x="14457" y="96382"/>
                  </a:cubicBezTo>
                  <a:cubicBezTo>
                    <a:pt x="15180" y="95744"/>
                    <a:pt x="15180" y="95744"/>
                    <a:pt x="15180" y="95744"/>
                  </a:cubicBezTo>
                  <a:cubicBezTo>
                    <a:pt x="15180" y="95744"/>
                    <a:pt x="15180" y="95744"/>
                    <a:pt x="15903" y="95744"/>
                  </a:cubicBezTo>
                  <a:cubicBezTo>
                    <a:pt x="16626" y="95744"/>
                    <a:pt x="16626" y="95744"/>
                    <a:pt x="17349" y="95744"/>
                  </a:cubicBezTo>
                  <a:cubicBezTo>
                    <a:pt x="17349" y="95744"/>
                    <a:pt x="18072" y="95744"/>
                    <a:pt x="18072" y="95744"/>
                  </a:cubicBezTo>
                  <a:cubicBezTo>
                    <a:pt x="18072" y="95106"/>
                    <a:pt x="18072" y="95106"/>
                    <a:pt x="18072" y="94468"/>
                  </a:cubicBezTo>
                  <a:cubicBezTo>
                    <a:pt x="17349" y="94468"/>
                    <a:pt x="17349" y="94468"/>
                    <a:pt x="16626" y="94468"/>
                  </a:cubicBezTo>
                  <a:cubicBezTo>
                    <a:pt x="15903" y="95106"/>
                    <a:pt x="15180" y="95106"/>
                    <a:pt x="15180" y="94468"/>
                  </a:cubicBezTo>
                  <a:cubicBezTo>
                    <a:pt x="15180" y="94468"/>
                    <a:pt x="15180" y="94468"/>
                    <a:pt x="14457" y="94468"/>
                  </a:cubicBezTo>
                  <a:cubicBezTo>
                    <a:pt x="13734" y="94468"/>
                    <a:pt x="13012" y="94468"/>
                    <a:pt x="13012" y="94468"/>
                  </a:cubicBezTo>
                  <a:cubicBezTo>
                    <a:pt x="13012" y="94468"/>
                    <a:pt x="12289" y="94468"/>
                    <a:pt x="11566" y="94468"/>
                  </a:cubicBezTo>
                  <a:cubicBezTo>
                    <a:pt x="10120" y="93829"/>
                    <a:pt x="10120" y="93829"/>
                    <a:pt x="9397" y="93829"/>
                  </a:cubicBezTo>
                  <a:cubicBezTo>
                    <a:pt x="8674" y="93829"/>
                    <a:pt x="7951" y="93829"/>
                    <a:pt x="7951" y="93829"/>
                  </a:cubicBezTo>
                  <a:cubicBezTo>
                    <a:pt x="7951" y="93829"/>
                    <a:pt x="9397" y="93829"/>
                    <a:pt x="7228" y="93191"/>
                  </a:cubicBezTo>
                  <a:cubicBezTo>
                    <a:pt x="5060" y="92553"/>
                    <a:pt x="5060" y="92553"/>
                    <a:pt x="5060" y="92553"/>
                  </a:cubicBezTo>
                  <a:cubicBezTo>
                    <a:pt x="4337" y="92553"/>
                    <a:pt x="4337" y="92553"/>
                    <a:pt x="4337" y="92553"/>
                  </a:cubicBezTo>
                  <a:cubicBezTo>
                    <a:pt x="3614" y="92553"/>
                    <a:pt x="3614" y="93191"/>
                    <a:pt x="2891" y="92553"/>
                  </a:cubicBezTo>
                  <a:cubicBezTo>
                    <a:pt x="2891" y="92553"/>
                    <a:pt x="2168" y="91914"/>
                    <a:pt x="2168" y="91914"/>
                  </a:cubicBezTo>
                  <a:cubicBezTo>
                    <a:pt x="2168" y="91276"/>
                    <a:pt x="2168" y="91276"/>
                    <a:pt x="2891" y="90638"/>
                  </a:cubicBezTo>
                  <a:cubicBezTo>
                    <a:pt x="2891" y="90638"/>
                    <a:pt x="4337" y="90000"/>
                    <a:pt x="4337" y="90000"/>
                  </a:cubicBezTo>
                  <a:cubicBezTo>
                    <a:pt x="4337" y="90638"/>
                    <a:pt x="4337" y="90638"/>
                    <a:pt x="4337" y="90638"/>
                  </a:cubicBezTo>
                  <a:cubicBezTo>
                    <a:pt x="4337" y="90638"/>
                    <a:pt x="4337" y="91276"/>
                    <a:pt x="5060" y="90638"/>
                  </a:cubicBezTo>
                  <a:cubicBezTo>
                    <a:pt x="5060" y="90638"/>
                    <a:pt x="5783" y="89361"/>
                    <a:pt x="5783" y="89361"/>
                  </a:cubicBezTo>
                  <a:cubicBezTo>
                    <a:pt x="5783" y="89361"/>
                    <a:pt x="5060" y="89361"/>
                    <a:pt x="5783" y="88723"/>
                  </a:cubicBezTo>
                  <a:cubicBezTo>
                    <a:pt x="6506" y="88723"/>
                    <a:pt x="6506" y="88723"/>
                    <a:pt x="7228" y="88723"/>
                  </a:cubicBezTo>
                  <a:cubicBezTo>
                    <a:pt x="7228" y="88723"/>
                    <a:pt x="8674" y="88723"/>
                    <a:pt x="9397" y="88723"/>
                  </a:cubicBezTo>
                  <a:cubicBezTo>
                    <a:pt x="9397" y="88085"/>
                    <a:pt x="10843" y="88085"/>
                    <a:pt x="10843" y="88085"/>
                  </a:cubicBezTo>
                  <a:cubicBezTo>
                    <a:pt x="10843" y="88085"/>
                    <a:pt x="11566" y="88723"/>
                    <a:pt x="10843" y="89361"/>
                  </a:cubicBezTo>
                  <a:cubicBezTo>
                    <a:pt x="10843" y="89361"/>
                    <a:pt x="10120" y="89361"/>
                    <a:pt x="10843" y="90000"/>
                  </a:cubicBezTo>
                  <a:cubicBezTo>
                    <a:pt x="11566" y="90000"/>
                    <a:pt x="12289" y="90000"/>
                    <a:pt x="12289" y="90000"/>
                  </a:cubicBezTo>
                  <a:cubicBezTo>
                    <a:pt x="12289" y="90000"/>
                    <a:pt x="13012" y="89361"/>
                    <a:pt x="13012" y="89361"/>
                  </a:cubicBezTo>
                  <a:cubicBezTo>
                    <a:pt x="13734" y="89361"/>
                    <a:pt x="13012" y="88723"/>
                    <a:pt x="13734" y="88723"/>
                  </a:cubicBezTo>
                  <a:cubicBezTo>
                    <a:pt x="14457" y="89361"/>
                    <a:pt x="14457" y="90000"/>
                    <a:pt x="14457" y="90000"/>
                  </a:cubicBezTo>
                  <a:cubicBezTo>
                    <a:pt x="14457" y="90000"/>
                    <a:pt x="14457" y="90000"/>
                    <a:pt x="14457" y="90638"/>
                  </a:cubicBezTo>
                  <a:cubicBezTo>
                    <a:pt x="15180" y="90638"/>
                    <a:pt x="15903" y="90638"/>
                    <a:pt x="15903" y="91276"/>
                  </a:cubicBezTo>
                  <a:cubicBezTo>
                    <a:pt x="15903" y="91276"/>
                    <a:pt x="15180" y="91276"/>
                    <a:pt x="16626" y="91914"/>
                  </a:cubicBezTo>
                  <a:cubicBezTo>
                    <a:pt x="17349" y="91914"/>
                    <a:pt x="18072" y="91914"/>
                    <a:pt x="18072" y="91914"/>
                  </a:cubicBezTo>
                  <a:cubicBezTo>
                    <a:pt x="18072" y="91914"/>
                    <a:pt x="18795" y="91914"/>
                    <a:pt x="18795" y="91276"/>
                  </a:cubicBezTo>
                  <a:cubicBezTo>
                    <a:pt x="18072" y="90638"/>
                    <a:pt x="18072" y="90000"/>
                    <a:pt x="18072" y="90000"/>
                  </a:cubicBezTo>
                  <a:cubicBezTo>
                    <a:pt x="18072" y="90000"/>
                    <a:pt x="18795" y="89361"/>
                    <a:pt x="18795" y="89361"/>
                  </a:cubicBezTo>
                  <a:cubicBezTo>
                    <a:pt x="18795" y="88723"/>
                    <a:pt x="18795" y="87446"/>
                    <a:pt x="18795" y="87446"/>
                  </a:cubicBezTo>
                  <a:cubicBezTo>
                    <a:pt x="18795" y="87446"/>
                    <a:pt x="19518" y="86808"/>
                    <a:pt x="18795" y="86808"/>
                  </a:cubicBezTo>
                  <a:cubicBezTo>
                    <a:pt x="18072" y="86808"/>
                    <a:pt x="18072" y="86170"/>
                    <a:pt x="18072" y="86170"/>
                  </a:cubicBezTo>
                  <a:cubicBezTo>
                    <a:pt x="17349" y="86170"/>
                    <a:pt x="17349" y="85531"/>
                    <a:pt x="17349" y="85531"/>
                  </a:cubicBezTo>
                  <a:cubicBezTo>
                    <a:pt x="19518" y="85531"/>
                    <a:pt x="19518" y="85531"/>
                    <a:pt x="19518" y="85531"/>
                  </a:cubicBezTo>
                  <a:cubicBezTo>
                    <a:pt x="20963" y="85531"/>
                    <a:pt x="20963" y="85531"/>
                    <a:pt x="20963" y="85531"/>
                  </a:cubicBezTo>
                  <a:cubicBezTo>
                    <a:pt x="22409" y="84893"/>
                    <a:pt x="22409" y="84893"/>
                    <a:pt x="22409" y="84893"/>
                  </a:cubicBezTo>
                  <a:cubicBezTo>
                    <a:pt x="22409" y="84893"/>
                    <a:pt x="23132" y="85531"/>
                    <a:pt x="23132" y="84893"/>
                  </a:cubicBezTo>
                  <a:cubicBezTo>
                    <a:pt x="23132" y="84893"/>
                    <a:pt x="23855" y="84255"/>
                    <a:pt x="23855" y="84255"/>
                  </a:cubicBezTo>
                  <a:cubicBezTo>
                    <a:pt x="25301" y="84255"/>
                    <a:pt x="25301" y="84255"/>
                    <a:pt x="25301" y="84255"/>
                  </a:cubicBezTo>
                  <a:cubicBezTo>
                    <a:pt x="25301" y="84255"/>
                    <a:pt x="24578" y="83617"/>
                    <a:pt x="24578" y="83617"/>
                  </a:cubicBezTo>
                  <a:cubicBezTo>
                    <a:pt x="25301" y="83617"/>
                    <a:pt x="25301" y="82340"/>
                    <a:pt x="25301" y="82340"/>
                  </a:cubicBezTo>
                  <a:cubicBezTo>
                    <a:pt x="25301" y="82340"/>
                    <a:pt x="26024" y="81702"/>
                    <a:pt x="26746" y="82340"/>
                  </a:cubicBezTo>
                  <a:cubicBezTo>
                    <a:pt x="26746" y="82340"/>
                    <a:pt x="28192" y="82340"/>
                    <a:pt x="28915" y="82978"/>
                  </a:cubicBezTo>
                  <a:cubicBezTo>
                    <a:pt x="28915" y="82978"/>
                    <a:pt x="29638" y="82978"/>
                    <a:pt x="29638" y="82978"/>
                  </a:cubicBezTo>
                  <a:cubicBezTo>
                    <a:pt x="31084" y="82978"/>
                    <a:pt x="31084" y="82978"/>
                    <a:pt x="31084" y="82978"/>
                  </a:cubicBezTo>
                  <a:cubicBezTo>
                    <a:pt x="31084" y="82978"/>
                    <a:pt x="32530" y="83617"/>
                    <a:pt x="32530" y="83617"/>
                  </a:cubicBezTo>
                  <a:cubicBezTo>
                    <a:pt x="32530" y="83617"/>
                    <a:pt x="33975" y="84255"/>
                    <a:pt x="34698" y="84255"/>
                  </a:cubicBezTo>
                  <a:cubicBezTo>
                    <a:pt x="34698" y="84255"/>
                    <a:pt x="35421" y="83617"/>
                    <a:pt x="35421" y="83617"/>
                  </a:cubicBezTo>
                  <a:cubicBezTo>
                    <a:pt x="35421" y="83617"/>
                    <a:pt x="35421" y="82978"/>
                    <a:pt x="36144" y="83617"/>
                  </a:cubicBezTo>
                  <a:cubicBezTo>
                    <a:pt x="36867" y="83617"/>
                    <a:pt x="37590" y="83617"/>
                    <a:pt x="38313" y="83617"/>
                  </a:cubicBezTo>
                  <a:cubicBezTo>
                    <a:pt x="38313" y="82978"/>
                    <a:pt x="38313" y="82978"/>
                    <a:pt x="39036" y="82978"/>
                  </a:cubicBezTo>
                  <a:cubicBezTo>
                    <a:pt x="39759" y="83617"/>
                    <a:pt x="40481" y="83617"/>
                    <a:pt x="40481" y="83617"/>
                  </a:cubicBezTo>
                  <a:cubicBezTo>
                    <a:pt x="41204" y="83617"/>
                    <a:pt x="42650" y="82978"/>
                    <a:pt x="42650" y="82978"/>
                  </a:cubicBezTo>
                  <a:cubicBezTo>
                    <a:pt x="42650" y="82978"/>
                    <a:pt x="41927" y="82340"/>
                    <a:pt x="42650" y="82978"/>
                  </a:cubicBezTo>
                  <a:cubicBezTo>
                    <a:pt x="43373" y="82978"/>
                    <a:pt x="44096" y="82340"/>
                    <a:pt x="44096" y="82340"/>
                  </a:cubicBezTo>
                  <a:cubicBezTo>
                    <a:pt x="42650" y="81702"/>
                    <a:pt x="42650" y="81702"/>
                    <a:pt x="42650" y="81702"/>
                  </a:cubicBezTo>
                  <a:cubicBezTo>
                    <a:pt x="42650" y="81702"/>
                    <a:pt x="43373" y="80425"/>
                    <a:pt x="43373" y="80425"/>
                  </a:cubicBezTo>
                  <a:cubicBezTo>
                    <a:pt x="43373" y="80425"/>
                    <a:pt x="42650" y="79787"/>
                    <a:pt x="42650" y="79787"/>
                  </a:cubicBezTo>
                  <a:cubicBezTo>
                    <a:pt x="42650" y="79787"/>
                    <a:pt x="41927" y="79787"/>
                    <a:pt x="41927" y="80425"/>
                  </a:cubicBezTo>
                  <a:cubicBezTo>
                    <a:pt x="41927" y="81063"/>
                    <a:pt x="41204" y="81702"/>
                    <a:pt x="40481" y="81702"/>
                  </a:cubicBezTo>
                  <a:cubicBezTo>
                    <a:pt x="40481" y="81702"/>
                    <a:pt x="39759" y="82340"/>
                    <a:pt x="39036" y="82340"/>
                  </a:cubicBezTo>
                  <a:cubicBezTo>
                    <a:pt x="39036" y="82340"/>
                    <a:pt x="38313" y="82978"/>
                    <a:pt x="38313" y="82978"/>
                  </a:cubicBezTo>
                  <a:cubicBezTo>
                    <a:pt x="38313" y="82978"/>
                    <a:pt x="38313" y="83617"/>
                    <a:pt x="36867" y="82978"/>
                  </a:cubicBezTo>
                  <a:cubicBezTo>
                    <a:pt x="36144" y="82340"/>
                    <a:pt x="35421" y="82340"/>
                    <a:pt x="35421" y="82340"/>
                  </a:cubicBezTo>
                  <a:cubicBezTo>
                    <a:pt x="35421" y="82340"/>
                    <a:pt x="35421" y="81702"/>
                    <a:pt x="34698" y="82340"/>
                  </a:cubicBezTo>
                  <a:cubicBezTo>
                    <a:pt x="33253" y="82340"/>
                    <a:pt x="33975" y="82978"/>
                    <a:pt x="33253" y="82340"/>
                  </a:cubicBezTo>
                  <a:cubicBezTo>
                    <a:pt x="32530" y="82340"/>
                    <a:pt x="30361" y="82340"/>
                    <a:pt x="30361" y="81702"/>
                  </a:cubicBezTo>
                  <a:cubicBezTo>
                    <a:pt x="30361" y="81702"/>
                    <a:pt x="29638" y="81063"/>
                    <a:pt x="29638" y="81063"/>
                  </a:cubicBezTo>
                  <a:cubicBezTo>
                    <a:pt x="29638" y="81063"/>
                    <a:pt x="29638" y="79787"/>
                    <a:pt x="29638" y="79787"/>
                  </a:cubicBezTo>
                  <a:cubicBezTo>
                    <a:pt x="28915" y="80425"/>
                    <a:pt x="28192" y="81063"/>
                    <a:pt x="27469" y="81063"/>
                  </a:cubicBezTo>
                  <a:cubicBezTo>
                    <a:pt x="27469" y="81063"/>
                    <a:pt x="26024" y="81063"/>
                    <a:pt x="25301" y="81063"/>
                  </a:cubicBezTo>
                  <a:cubicBezTo>
                    <a:pt x="25301" y="81063"/>
                    <a:pt x="25301" y="81063"/>
                    <a:pt x="24578" y="81063"/>
                  </a:cubicBezTo>
                  <a:cubicBezTo>
                    <a:pt x="23855" y="81063"/>
                    <a:pt x="23132" y="81702"/>
                    <a:pt x="22409" y="81702"/>
                  </a:cubicBezTo>
                  <a:cubicBezTo>
                    <a:pt x="21686" y="81702"/>
                    <a:pt x="21686" y="81063"/>
                    <a:pt x="20963" y="81063"/>
                  </a:cubicBezTo>
                  <a:cubicBezTo>
                    <a:pt x="20240" y="81063"/>
                    <a:pt x="20240" y="81063"/>
                    <a:pt x="20240" y="81063"/>
                  </a:cubicBezTo>
                  <a:cubicBezTo>
                    <a:pt x="20240" y="81063"/>
                    <a:pt x="20240" y="81063"/>
                    <a:pt x="20240" y="81063"/>
                  </a:cubicBezTo>
                  <a:cubicBezTo>
                    <a:pt x="20240" y="81063"/>
                    <a:pt x="20240" y="79787"/>
                    <a:pt x="21686" y="79787"/>
                  </a:cubicBezTo>
                  <a:cubicBezTo>
                    <a:pt x="22409" y="79148"/>
                    <a:pt x="21686" y="79148"/>
                    <a:pt x="23132" y="79148"/>
                  </a:cubicBezTo>
                  <a:cubicBezTo>
                    <a:pt x="24578" y="79148"/>
                    <a:pt x="25301" y="79148"/>
                    <a:pt x="26024" y="78510"/>
                  </a:cubicBezTo>
                  <a:cubicBezTo>
                    <a:pt x="26746" y="77872"/>
                    <a:pt x="26746" y="77234"/>
                    <a:pt x="27469" y="77234"/>
                  </a:cubicBezTo>
                  <a:cubicBezTo>
                    <a:pt x="28192" y="76595"/>
                    <a:pt x="28192" y="75957"/>
                    <a:pt x="28915" y="76595"/>
                  </a:cubicBezTo>
                  <a:cubicBezTo>
                    <a:pt x="30361" y="76595"/>
                    <a:pt x="31807" y="76595"/>
                    <a:pt x="31807" y="76595"/>
                  </a:cubicBezTo>
                  <a:cubicBezTo>
                    <a:pt x="31807" y="76595"/>
                    <a:pt x="31807" y="75957"/>
                    <a:pt x="31807" y="75319"/>
                  </a:cubicBezTo>
                  <a:cubicBezTo>
                    <a:pt x="31807" y="75319"/>
                    <a:pt x="31807" y="75319"/>
                    <a:pt x="31807" y="74680"/>
                  </a:cubicBezTo>
                  <a:cubicBezTo>
                    <a:pt x="32530" y="74680"/>
                    <a:pt x="32530" y="74042"/>
                    <a:pt x="32530" y="74042"/>
                  </a:cubicBezTo>
                  <a:cubicBezTo>
                    <a:pt x="33253" y="74042"/>
                    <a:pt x="33253" y="73404"/>
                    <a:pt x="33975" y="73404"/>
                  </a:cubicBezTo>
                  <a:cubicBezTo>
                    <a:pt x="33975" y="72765"/>
                    <a:pt x="34698" y="72765"/>
                    <a:pt x="34698" y="72127"/>
                  </a:cubicBezTo>
                  <a:cubicBezTo>
                    <a:pt x="35421" y="72127"/>
                    <a:pt x="35421" y="71489"/>
                    <a:pt x="35421" y="71489"/>
                  </a:cubicBezTo>
                  <a:cubicBezTo>
                    <a:pt x="35421" y="71489"/>
                    <a:pt x="33253" y="70851"/>
                    <a:pt x="33253" y="70851"/>
                  </a:cubicBezTo>
                  <a:cubicBezTo>
                    <a:pt x="33975" y="70212"/>
                    <a:pt x="33975" y="70212"/>
                    <a:pt x="33975" y="70212"/>
                  </a:cubicBezTo>
                  <a:cubicBezTo>
                    <a:pt x="36867" y="68297"/>
                    <a:pt x="36867" y="68297"/>
                    <a:pt x="36867" y="68297"/>
                  </a:cubicBezTo>
                  <a:cubicBezTo>
                    <a:pt x="36867" y="68297"/>
                    <a:pt x="37590" y="67021"/>
                    <a:pt x="37590" y="67021"/>
                  </a:cubicBezTo>
                  <a:cubicBezTo>
                    <a:pt x="38313" y="67021"/>
                    <a:pt x="39036" y="66382"/>
                    <a:pt x="39036" y="66382"/>
                  </a:cubicBezTo>
                  <a:cubicBezTo>
                    <a:pt x="39759" y="65106"/>
                    <a:pt x="39759" y="65106"/>
                    <a:pt x="39759" y="65106"/>
                  </a:cubicBezTo>
                  <a:cubicBezTo>
                    <a:pt x="39759" y="65106"/>
                    <a:pt x="39759" y="64468"/>
                    <a:pt x="40481" y="65106"/>
                  </a:cubicBezTo>
                  <a:cubicBezTo>
                    <a:pt x="41204" y="65106"/>
                    <a:pt x="41204" y="65744"/>
                    <a:pt x="41927" y="65744"/>
                  </a:cubicBezTo>
                  <a:cubicBezTo>
                    <a:pt x="42650" y="66382"/>
                    <a:pt x="44819" y="66382"/>
                    <a:pt x="44819" y="66382"/>
                  </a:cubicBezTo>
                  <a:cubicBezTo>
                    <a:pt x="44096" y="65106"/>
                    <a:pt x="44096" y="65106"/>
                    <a:pt x="44096" y="65106"/>
                  </a:cubicBezTo>
                  <a:cubicBezTo>
                    <a:pt x="46987" y="65106"/>
                    <a:pt x="46987" y="65106"/>
                    <a:pt x="46987" y="65106"/>
                  </a:cubicBezTo>
                  <a:cubicBezTo>
                    <a:pt x="46987" y="66382"/>
                    <a:pt x="46987" y="66382"/>
                    <a:pt x="46987" y="66382"/>
                  </a:cubicBezTo>
                  <a:cubicBezTo>
                    <a:pt x="48433" y="65744"/>
                    <a:pt x="48433" y="65744"/>
                    <a:pt x="48433" y="65744"/>
                  </a:cubicBezTo>
                  <a:cubicBezTo>
                    <a:pt x="47710" y="64468"/>
                    <a:pt x="47710" y="64468"/>
                    <a:pt x="47710" y="64468"/>
                  </a:cubicBezTo>
                  <a:cubicBezTo>
                    <a:pt x="47710" y="64468"/>
                    <a:pt x="49156" y="64468"/>
                    <a:pt x="49156" y="64468"/>
                  </a:cubicBezTo>
                  <a:cubicBezTo>
                    <a:pt x="48433" y="64468"/>
                    <a:pt x="46987" y="63191"/>
                    <a:pt x="46987" y="63191"/>
                  </a:cubicBezTo>
                  <a:cubicBezTo>
                    <a:pt x="47710" y="61914"/>
                    <a:pt x="47710" y="61914"/>
                    <a:pt x="47710" y="61914"/>
                  </a:cubicBezTo>
                  <a:cubicBezTo>
                    <a:pt x="46265" y="61914"/>
                    <a:pt x="46265" y="61914"/>
                    <a:pt x="46265" y="61914"/>
                  </a:cubicBezTo>
                  <a:cubicBezTo>
                    <a:pt x="46265" y="61914"/>
                    <a:pt x="43373" y="61914"/>
                    <a:pt x="42650" y="61914"/>
                  </a:cubicBezTo>
                  <a:cubicBezTo>
                    <a:pt x="41927" y="61276"/>
                    <a:pt x="41927" y="61276"/>
                    <a:pt x="41204" y="61276"/>
                  </a:cubicBezTo>
                  <a:cubicBezTo>
                    <a:pt x="40481" y="61276"/>
                    <a:pt x="39759" y="61276"/>
                    <a:pt x="39036" y="61276"/>
                  </a:cubicBezTo>
                  <a:cubicBezTo>
                    <a:pt x="38313" y="61276"/>
                    <a:pt x="37590" y="61276"/>
                    <a:pt x="36867" y="61276"/>
                  </a:cubicBezTo>
                  <a:cubicBezTo>
                    <a:pt x="36867" y="61276"/>
                    <a:pt x="36144" y="61276"/>
                    <a:pt x="35421" y="61276"/>
                  </a:cubicBezTo>
                  <a:cubicBezTo>
                    <a:pt x="35421" y="60638"/>
                    <a:pt x="36144" y="60000"/>
                    <a:pt x="35421" y="60000"/>
                  </a:cubicBezTo>
                  <a:cubicBezTo>
                    <a:pt x="34698" y="60000"/>
                    <a:pt x="33975" y="58723"/>
                    <a:pt x="33253" y="59361"/>
                  </a:cubicBezTo>
                  <a:cubicBezTo>
                    <a:pt x="33253" y="59361"/>
                    <a:pt x="33253" y="59361"/>
                    <a:pt x="32530" y="59361"/>
                  </a:cubicBezTo>
                  <a:cubicBezTo>
                    <a:pt x="32530" y="60000"/>
                    <a:pt x="31807" y="60000"/>
                    <a:pt x="31807" y="60000"/>
                  </a:cubicBezTo>
                  <a:cubicBezTo>
                    <a:pt x="31084" y="59361"/>
                    <a:pt x="31084" y="60000"/>
                    <a:pt x="31807" y="59361"/>
                  </a:cubicBezTo>
                  <a:cubicBezTo>
                    <a:pt x="31807" y="58723"/>
                    <a:pt x="31084" y="57446"/>
                    <a:pt x="31807" y="57446"/>
                  </a:cubicBezTo>
                  <a:cubicBezTo>
                    <a:pt x="32530" y="58085"/>
                    <a:pt x="32530" y="58085"/>
                    <a:pt x="33253" y="58085"/>
                  </a:cubicBezTo>
                  <a:cubicBezTo>
                    <a:pt x="33253" y="58085"/>
                    <a:pt x="33975" y="58085"/>
                    <a:pt x="33975" y="58085"/>
                  </a:cubicBezTo>
                  <a:cubicBezTo>
                    <a:pt x="33975" y="57446"/>
                    <a:pt x="34698" y="56170"/>
                    <a:pt x="34698" y="56170"/>
                  </a:cubicBezTo>
                  <a:cubicBezTo>
                    <a:pt x="34698" y="56170"/>
                    <a:pt x="36867" y="56808"/>
                    <a:pt x="36144" y="56170"/>
                  </a:cubicBezTo>
                  <a:cubicBezTo>
                    <a:pt x="35421" y="55531"/>
                    <a:pt x="33975" y="54893"/>
                    <a:pt x="33975" y="54893"/>
                  </a:cubicBezTo>
                  <a:cubicBezTo>
                    <a:pt x="33975" y="54893"/>
                    <a:pt x="33253" y="54893"/>
                    <a:pt x="33253" y="55531"/>
                  </a:cubicBezTo>
                  <a:cubicBezTo>
                    <a:pt x="32530" y="56170"/>
                    <a:pt x="33253" y="56170"/>
                    <a:pt x="32530" y="56808"/>
                  </a:cubicBezTo>
                  <a:cubicBezTo>
                    <a:pt x="31807" y="56808"/>
                    <a:pt x="31807" y="56808"/>
                    <a:pt x="31084" y="56808"/>
                  </a:cubicBezTo>
                  <a:cubicBezTo>
                    <a:pt x="31084" y="56808"/>
                    <a:pt x="31084" y="56808"/>
                    <a:pt x="30361" y="56808"/>
                  </a:cubicBezTo>
                  <a:cubicBezTo>
                    <a:pt x="30361" y="56808"/>
                    <a:pt x="28915" y="56808"/>
                    <a:pt x="28915" y="56170"/>
                  </a:cubicBezTo>
                  <a:cubicBezTo>
                    <a:pt x="28915" y="56170"/>
                    <a:pt x="28915" y="56170"/>
                    <a:pt x="28915" y="55531"/>
                  </a:cubicBezTo>
                  <a:cubicBezTo>
                    <a:pt x="28915" y="54893"/>
                    <a:pt x="28915" y="54255"/>
                    <a:pt x="30361" y="54255"/>
                  </a:cubicBezTo>
                  <a:cubicBezTo>
                    <a:pt x="31084" y="54255"/>
                    <a:pt x="31084" y="54893"/>
                    <a:pt x="31084" y="54255"/>
                  </a:cubicBezTo>
                  <a:cubicBezTo>
                    <a:pt x="31084" y="54255"/>
                    <a:pt x="31084" y="53617"/>
                    <a:pt x="30361" y="53617"/>
                  </a:cubicBezTo>
                  <a:cubicBezTo>
                    <a:pt x="30361" y="52978"/>
                    <a:pt x="30361" y="52978"/>
                    <a:pt x="29638" y="52978"/>
                  </a:cubicBezTo>
                  <a:cubicBezTo>
                    <a:pt x="28915" y="52978"/>
                    <a:pt x="27469" y="53617"/>
                    <a:pt x="27469" y="53617"/>
                  </a:cubicBezTo>
                  <a:cubicBezTo>
                    <a:pt x="27469" y="53617"/>
                    <a:pt x="28192" y="53617"/>
                    <a:pt x="26746" y="53617"/>
                  </a:cubicBezTo>
                  <a:cubicBezTo>
                    <a:pt x="26024" y="52978"/>
                    <a:pt x="26746" y="52978"/>
                    <a:pt x="26024" y="52340"/>
                  </a:cubicBezTo>
                  <a:cubicBezTo>
                    <a:pt x="26024" y="51702"/>
                    <a:pt x="26024" y="51702"/>
                    <a:pt x="25301" y="51702"/>
                  </a:cubicBezTo>
                  <a:cubicBezTo>
                    <a:pt x="25301" y="51702"/>
                    <a:pt x="25301" y="51702"/>
                    <a:pt x="24578" y="51702"/>
                  </a:cubicBezTo>
                  <a:cubicBezTo>
                    <a:pt x="23855" y="51063"/>
                    <a:pt x="23132" y="51063"/>
                    <a:pt x="23132" y="50425"/>
                  </a:cubicBezTo>
                  <a:cubicBezTo>
                    <a:pt x="23132" y="49787"/>
                    <a:pt x="23132" y="49148"/>
                    <a:pt x="23855" y="49787"/>
                  </a:cubicBezTo>
                  <a:cubicBezTo>
                    <a:pt x="24578" y="49787"/>
                    <a:pt x="23855" y="49148"/>
                    <a:pt x="24578" y="49787"/>
                  </a:cubicBezTo>
                  <a:cubicBezTo>
                    <a:pt x="26024" y="50425"/>
                    <a:pt x="26024" y="50425"/>
                    <a:pt x="26024" y="50425"/>
                  </a:cubicBezTo>
                  <a:cubicBezTo>
                    <a:pt x="26024" y="50425"/>
                    <a:pt x="26746" y="50425"/>
                    <a:pt x="26024" y="49787"/>
                  </a:cubicBezTo>
                  <a:cubicBezTo>
                    <a:pt x="26024" y="49148"/>
                    <a:pt x="25301" y="48510"/>
                    <a:pt x="25301" y="48510"/>
                  </a:cubicBezTo>
                  <a:cubicBezTo>
                    <a:pt x="25301" y="48510"/>
                    <a:pt x="24578" y="48510"/>
                    <a:pt x="24578" y="47872"/>
                  </a:cubicBezTo>
                  <a:cubicBezTo>
                    <a:pt x="24578" y="47234"/>
                    <a:pt x="24578" y="47234"/>
                    <a:pt x="23855" y="46595"/>
                  </a:cubicBezTo>
                  <a:cubicBezTo>
                    <a:pt x="23855" y="46595"/>
                    <a:pt x="24578" y="46595"/>
                    <a:pt x="24578" y="46595"/>
                  </a:cubicBezTo>
                  <a:cubicBezTo>
                    <a:pt x="25301" y="46595"/>
                    <a:pt x="24578" y="46595"/>
                    <a:pt x="25301" y="46595"/>
                  </a:cubicBezTo>
                  <a:cubicBezTo>
                    <a:pt x="26746" y="46595"/>
                    <a:pt x="26024" y="46595"/>
                    <a:pt x="26746" y="46595"/>
                  </a:cubicBezTo>
                  <a:cubicBezTo>
                    <a:pt x="26746" y="46595"/>
                    <a:pt x="27469" y="46595"/>
                    <a:pt x="27469" y="46595"/>
                  </a:cubicBezTo>
                  <a:cubicBezTo>
                    <a:pt x="27469" y="47234"/>
                    <a:pt x="28192" y="45957"/>
                    <a:pt x="28192" y="45957"/>
                  </a:cubicBezTo>
                  <a:cubicBezTo>
                    <a:pt x="28192" y="45957"/>
                    <a:pt x="27469" y="45319"/>
                    <a:pt x="28192" y="45319"/>
                  </a:cubicBezTo>
                  <a:cubicBezTo>
                    <a:pt x="28915" y="45319"/>
                    <a:pt x="28915" y="45957"/>
                    <a:pt x="29638" y="45957"/>
                  </a:cubicBezTo>
                  <a:cubicBezTo>
                    <a:pt x="31084" y="45957"/>
                    <a:pt x="31084" y="46595"/>
                    <a:pt x="31807" y="46595"/>
                  </a:cubicBezTo>
                  <a:cubicBezTo>
                    <a:pt x="31807" y="45957"/>
                    <a:pt x="32530" y="46595"/>
                    <a:pt x="32530" y="45957"/>
                  </a:cubicBezTo>
                  <a:cubicBezTo>
                    <a:pt x="31807" y="45319"/>
                    <a:pt x="31807" y="45957"/>
                    <a:pt x="31807" y="45319"/>
                  </a:cubicBezTo>
                  <a:cubicBezTo>
                    <a:pt x="31084" y="44680"/>
                    <a:pt x="31084" y="45319"/>
                    <a:pt x="31084" y="44042"/>
                  </a:cubicBezTo>
                  <a:cubicBezTo>
                    <a:pt x="31807" y="43404"/>
                    <a:pt x="31807" y="42765"/>
                    <a:pt x="31807" y="42765"/>
                  </a:cubicBezTo>
                  <a:cubicBezTo>
                    <a:pt x="31807" y="42127"/>
                    <a:pt x="31807" y="42127"/>
                    <a:pt x="31807" y="42127"/>
                  </a:cubicBezTo>
                  <a:cubicBezTo>
                    <a:pt x="33253" y="40851"/>
                    <a:pt x="33253" y="40851"/>
                    <a:pt x="33253" y="40851"/>
                  </a:cubicBezTo>
                  <a:cubicBezTo>
                    <a:pt x="33253" y="40851"/>
                    <a:pt x="33975" y="40851"/>
                    <a:pt x="34698" y="40851"/>
                  </a:cubicBezTo>
                  <a:cubicBezTo>
                    <a:pt x="36144" y="40851"/>
                    <a:pt x="36867" y="41489"/>
                    <a:pt x="37590" y="41489"/>
                  </a:cubicBezTo>
                  <a:cubicBezTo>
                    <a:pt x="39036" y="41489"/>
                    <a:pt x="39759" y="41489"/>
                    <a:pt x="39759" y="41489"/>
                  </a:cubicBezTo>
                  <a:cubicBezTo>
                    <a:pt x="39036" y="40851"/>
                    <a:pt x="39036" y="40851"/>
                    <a:pt x="39036" y="40851"/>
                  </a:cubicBezTo>
                  <a:cubicBezTo>
                    <a:pt x="39036" y="40851"/>
                    <a:pt x="39036" y="40851"/>
                    <a:pt x="39036" y="40212"/>
                  </a:cubicBezTo>
                  <a:cubicBezTo>
                    <a:pt x="39759" y="40212"/>
                    <a:pt x="39759" y="40212"/>
                    <a:pt x="40481" y="40212"/>
                  </a:cubicBezTo>
                  <a:cubicBezTo>
                    <a:pt x="40481" y="40212"/>
                    <a:pt x="41204" y="38936"/>
                    <a:pt x="41204" y="38936"/>
                  </a:cubicBezTo>
                  <a:cubicBezTo>
                    <a:pt x="40481" y="38297"/>
                    <a:pt x="40481" y="38297"/>
                    <a:pt x="39759" y="37659"/>
                  </a:cubicBezTo>
                  <a:cubicBezTo>
                    <a:pt x="38313" y="37659"/>
                    <a:pt x="36144" y="37659"/>
                    <a:pt x="36144" y="37659"/>
                  </a:cubicBezTo>
                  <a:cubicBezTo>
                    <a:pt x="36144" y="37659"/>
                    <a:pt x="35421" y="37659"/>
                    <a:pt x="34698" y="37659"/>
                  </a:cubicBezTo>
                  <a:cubicBezTo>
                    <a:pt x="33975" y="37659"/>
                    <a:pt x="32530" y="37659"/>
                    <a:pt x="32530" y="37021"/>
                  </a:cubicBezTo>
                  <a:cubicBezTo>
                    <a:pt x="31807" y="37021"/>
                    <a:pt x="31807" y="37021"/>
                    <a:pt x="31807" y="35744"/>
                  </a:cubicBezTo>
                  <a:cubicBezTo>
                    <a:pt x="31807" y="35106"/>
                    <a:pt x="31084" y="35106"/>
                    <a:pt x="31084" y="35106"/>
                  </a:cubicBezTo>
                  <a:cubicBezTo>
                    <a:pt x="31807" y="33829"/>
                    <a:pt x="31807" y="33829"/>
                    <a:pt x="31807" y="33829"/>
                  </a:cubicBezTo>
                  <a:cubicBezTo>
                    <a:pt x="31807" y="33829"/>
                    <a:pt x="31084" y="33191"/>
                    <a:pt x="31084" y="33191"/>
                  </a:cubicBezTo>
                  <a:cubicBezTo>
                    <a:pt x="30361" y="33191"/>
                    <a:pt x="30361" y="33191"/>
                    <a:pt x="30361" y="33191"/>
                  </a:cubicBezTo>
                  <a:cubicBezTo>
                    <a:pt x="29638" y="33191"/>
                    <a:pt x="30361" y="33191"/>
                    <a:pt x="28915" y="32553"/>
                  </a:cubicBezTo>
                  <a:cubicBezTo>
                    <a:pt x="27469" y="32553"/>
                    <a:pt x="26746" y="31914"/>
                    <a:pt x="26746" y="31914"/>
                  </a:cubicBezTo>
                  <a:cubicBezTo>
                    <a:pt x="26746" y="31276"/>
                    <a:pt x="26746" y="31276"/>
                    <a:pt x="28192" y="31276"/>
                  </a:cubicBezTo>
                  <a:cubicBezTo>
                    <a:pt x="28915" y="31276"/>
                    <a:pt x="29638" y="31276"/>
                    <a:pt x="30361" y="31276"/>
                  </a:cubicBezTo>
                  <a:cubicBezTo>
                    <a:pt x="31084" y="31914"/>
                    <a:pt x="32530" y="31276"/>
                    <a:pt x="32530" y="31276"/>
                  </a:cubicBezTo>
                  <a:cubicBezTo>
                    <a:pt x="32530" y="31276"/>
                    <a:pt x="31807" y="31276"/>
                    <a:pt x="33253" y="31914"/>
                  </a:cubicBezTo>
                  <a:cubicBezTo>
                    <a:pt x="34698" y="32553"/>
                    <a:pt x="33975" y="32553"/>
                    <a:pt x="34698" y="32553"/>
                  </a:cubicBezTo>
                  <a:cubicBezTo>
                    <a:pt x="35421" y="32553"/>
                    <a:pt x="36144" y="31914"/>
                    <a:pt x="35421" y="31914"/>
                  </a:cubicBezTo>
                  <a:cubicBezTo>
                    <a:pt x="35421" y="31276"/>
                    <a:pt x="36144" y="31276"/>
                    <a:pt x="35421" y="31276"/>
                  </a:cubicBezTo>
                  <a:cubicBezTo>
                    <a:pt x="34698" y="30638"/>
                    <a:pt x="34698" y="30638"/>
                    <a:pt x="34698" y="30638"/>
                  </a:cubicBezTo>
                  <a:cubicBezTo>
                    <a:pt x="34698" y="30638"/>
                    <a:pt x="34698" y="30638"/>
                    <a:pt x="34698" y="30000"/>
                  </a:cubicBezTo>
                  <a:cubicBezTo>
                    <a:pt x="34698" y="29361"/>
                    <a:pt x="35421" y="28723"/>
                    <a:pt x="35421" y="28723"/>
                  </a:cubicBezTo>
                  <a:cubicBezTo>
                    <a:pt x="36144" y="28723"/>
                    <a:pt x="36144" y="28723"/>
                    <a:pt x="36144" y="28085"/>
                  </a:cubicBezTo>
                  <a:cubicBezTo>
                    <a:pt x="36144" y="28085"/>
                    <a:pt x="36144" y="27446"/>
                    <a:pt x="36144" y="27446"/>
                  </a:cubicBezTo>
                  <a:cubicBezTo>
                    <a:pt x="36144" y="26808"/>
                    <a:pt x="36867" y="26170"/>
                    <a:pt x="36867" y="26170"/>
                  </a:cubicBezTo>
                  <a:cubicBezTo>
                    <a:pt x="36867" y="26170"/>
                    <a:pt x="36144" y="25531"/>
                    <a:pt x="36144" y="25531"/>
                  </a:cubicBezTo>
                  <a:cubicBezTo>
                    <a:pt x="36144" y="25531"/>
                    <a:pt x="34698" y="25531"/>
                    <a:pt x="34698" y="26170"/>
                  </a:cubicBezTo>
                  <a:cubicBezTo>
                    <a:pt x="34698" y="26170"/>
                    <a:pt x="34698" y="26170"/>
                    <a:pt x="34698" y="26808"/>
                  </a:cubicBezTo>
                  <a:cubicBezTo>
                    <a:pt x="33975" y="26808"/>
                    <a:pt x="33975" y="26808"/>
                    <a:pt x="33253" y="26808"/>
                  </a:cubicBezTo>
                  <a:cubicBezTo>
                    <a:pt x="33253" y="27446"/>
                    <a:pt x="33253" y="27446"/>
                    <a:pt x="33253" y="27446"/>
                  </a:cubicBezTo>
                  <a:cubicBezTo>
                    <a:pt x="33253" y="28085"/>
                    <a:pt x="32530" y="28723"/>
                    <a:pt x="32530" y="28723"/>
                  </a:cubicBezTo>
                  <a:cubicBezTo>
                    <a:pt x="32530" y="28723"/>
                    <a:pt x="31807" y="27446"/>
                    <a:pt x="31807" y="26808"/>
                  </a:cubicBezTo>
                  <a:cubicBezTo>
                    <a:pt x="31807" y="26808"/>
                    <a:pt x="32530" y="26170"/>
                    <a:pt x="33253" y="26170"/>
                  </a:cubicBezTo>
                  <a:cubicBezTo>
                    <a:pt x="33975" y="26170"/>
                    <a:pt x="33975" y="26170"/>
                    <a:pt x="33975" y="25531"/>
                  </a:cubicBezTo>
                  <a:cubicBezTo>
                    <a:pt x="33975" y="25531"/>
                    <a:pt x="33975" y="25531"/>
                    <a:pt x="33975" y="24893"/>
                  </a:cubicBezTo>
                  <a:cubicBezTo>
                    <a:pt x="33975" y="24255"/>
                    <a:pt x="33975" y="24255"/>
                    <a:pt x="33975" y="24255"/>
                  </a:cubicBezTo>
                  <a:cubicBezTo>
                    <a:pt x="34698" y="23617"/>
                    <a:pt x="35421" y="22978"/>
                    <a:pt x="36144" y="22978"/>
                  </a:cubicBezTo>
                  <a:cubicBezTo>
                    <a:pt x="36144" y="22978"/>
                    <a:pt x="35421" y="21702"/>
                    <a:pt x="36867" y="22978"/>
                  </a:cubicBezTo>
                  <a:cubicBezTo>
                    <a:pt x="37590" y="23617"/>
                    <a:pt x="37590" y="23617"/>
                    <a:pt x="38313" y="24255"/>
                  </a:cubicBezTo>
                  <a:cubicBezTo>
                    <a:pt x="39036" y="24255"/>
                    <a:pt x="40481" y="24893"/>
                    <a:pt x="40481" y="24255"/>
                  </a:cubicBezTo>
                  <a:cubicBezTo>
                    <a:pt x="40481" y="24255"/>
                    <a:pt x="40481" y="23617"/>
                    <a:pt x="40481" y="22978"/>
                  </a:cubicBezTo>
                  <a:cubicBezTo>
                    <a:pt x="40481" y="22978"/>
                    <a:pt x="39759" y="22978"/>
                    <a:pt x="40481" y="22340"/>
                  </a:cubicBezTo>
                  <a:cubicBezTo>
                    <a:pt x="40481" y="22340"/>
                    <a:pt x="40481" y="22340"/>
                    <a:pt x="41204" y="22340"/>
                  </a:cubicBezTo>
                  <a:cubicBezTo>
                    <a:pt x="42650" y="22978"/>
                    <a:pt x="41927" y="22978"/>
                    <a:pt x="42650" y="23617"/>
                  </a:cubicBezTo>
                  <a:cubicBezTo>
                    <a:pt x="44096" y="24255"/>
                    <a:pt x="44096" y="24255"/>
                    <a:pt x="44096" y="24255"/>
                  </a:cubicBezTo>
                  <a:cubicBezTo>
                    <a:pt x="44819" y="24255"/>
                    <a:pt x="44819" y="24255"/>
                    <a:pt x="45542" y="24255"/>
                  </a:cubicBezTo>
                  <a:cubicBezTo>
                    <a:pt x="46265" y="24255"/>
                    <a:pt x="45542" y="23617"/>
                    <a:pt x="46987" y="24893"/>
                  </a:cubicBezTo>
                  <a:cubicBezTo>
                    <a:pt x="47710" y="25531"/>
                    <a:pt x="47710" y="25531"/>
                    <a:pt x="48433" y="25531"/>
                  </a:cubicBezTo>
                  <a:cubicBezTo>
                    <a:pt x="49156" y="26170"/>
                    <a:pt x="50602" y="25531"/>
                    <a:pt x="50602" y="25531"/>
                  </a:cubicBezTo>
                  <a:cubicBezTo>
                    <a:pt x="50602" y="25531"/>
                    <a:pt x="50602" y="24893"/>
                    <a:pt x="51325" y="26170"/>
                  </a:cubicBezTo>
                  <a:cubicBezTo>
                    <a:pt x="52048" y="27446"/>
                    <a:pt x="52771" y="27446"/>
                    <a:pt x="52771" y="27446"/>
                  </a:cubicBezTo>
                  <a:cubicBezTo>
                    <a:pt x="52771" y="28085"/>
                    <a:pt x="53493" y="28723"/>
                    <a:pt x="53493" y="28723"/>
                  </a:cubicBezTo>
                  <a:cubicBezTo>
                    <a:pt x="53493" y="28723"/>
                    <a:pt x="53493" y="28723"/>
                    <a:pt x="53493" y="29361"/>
                  </a:cubicBezTo>
                  <a:cubicBezTo>
                    <a:pt x="53493" y="29361"/>
                    <a:pt x="53493" y="30000"/>
                    <a:pt x="54216" y="30000"/>
                  </a:cubicBezTo>
                  <a:cubicBezTo>
                    <a:pt x="54216" y="30000"/>
                    <a:pt x="54939" y="30000"/>
                    <a:pt x="54939" y="30000"/>
                  </a:cubicBezTo>
                  <a:cubicBezTo>
                    <a:pt x="54939" y="30000"/>
                    <a:pt x="55662" y="29361"/>
                    <a:pt x="55662" y="29361"/>
                  </a:cubicBezTo>
                  <a:cubicBezTo>
                    <a:pt x="55662" y="29361"/>
                    <a:pt x="57108" y="28723"/>
                    <a:pt x="57108" y="28723"/>
                  </a:cubicBezTo>
                  <a:cubicBezTo>
                    <a:pt x="57108" y="28723"/>
                    <a:pt x="57108" y="28085"/>
                    <a:pt x="58554" y="28723"/>
                  </a:cubicBezTo>
                  <a:cubicBezTo>
                    <a:pt x="59277" y="28723"/>
                    <a:pt x="60722" y="29361"/>
                    <a:pt x="60722" y="29361"/>
                  </a:cubicBezTo>
                  <a:cubicBezTo>
                    <a:pt x="60722" y="29361"/>
                    <a:pt x="60722" y="30000"/>
                    <a:pt x="60722" y="30000"/>
                  </a:cubicBezTo>
                  <a:cubicBezTo>
                    <a:pt x="61445" y="30000"/>
                    <a:pt x="63614" y="30000"/>
                    <a:pt x="63614" y="30000"/>
                  </a:cubicBezTo>
                  <a:cubicBezTo>
                    <a:pt x="64337" y="30638"/>
                    <a:pt x="64337" y="30638"/>
                    <a:pt x="64337" y="30638"/>
                  </a:cubicBezTo>
                  <a:cubicBezTo>
                    <a:pt x="64337" y="30638"/>
                    <a:pt x="65060" y="31276"/>
                    <a:pt x="65060" y="31276"/>
                  </a:cubicBezTo>
                  <a:cubicBezTo>
                    <a:pt x="65060" y="31914"/>
                    <a:pt x="65783" y="33191"/>
                    <a:pt x="65783" y="33191"/>
                  </a:cubicBezTo>
                  <a:cubicBezTo>
                    <a:pt x="67951" y="33829"/>
                    <a:pt x="67951" y="33829"/>
                    <a:pt x="67951" y="33829"/>
                  </a:cubicBezTo>
                  <a:cubicBezTo>
                    <a:pt x="66506" y="31914"/>
                    <a:pt x="66506" y="31914"/>
                    <a:pt x="66506" y="31914"/>
                  </a:cubicBezTo>
                  <a:cubicBezTo>
                    <a:pt x="66506" y="31914"/>
                    <a:pt x="65060" y="30638"/>
                    <a:pt x="66506" y="30638"/>
                  </a:cubicBezTo>
                  <a:cubicBezTo>
                    <a:pt x="67951" y="30638"/>
                    <a:pt x="68674" y="30000"/>
                    <a:pt x="68674" y="30000"/>
                  </a:cubicBezTo>
                  <a:cubicBezTo>
                    <a:pt x="68674" y="29361"/>
                    <a:pt x="68674" y="29361"/>
                    <a:pt x="68674" y="29361"/>
                  </a:cubicBezTo>
                  <a:cubicBezTo>
                    <a:pt x="66506" y="29361"/>
                    <a:pt x="66506" y="29361"/>
                    <a:pt x="66506" y="29361"/>
                  </a:cubicBezTo>
                  <a:cubicBezTo>
                    <a:pt x="66506" y="29361"/>
                    <a:pt x="66506" y="28085"/>
                    <a:pt x="66506" y="28085"/>
                  </a:cubicBezTo>
                  <a:cubicBezTo>
                    <a:pt x="67228" y="28085"/>
                    <a:pt x="67951" y="26808"/>
                    <a:pt x="69397" y="26808"/>
                  </a:cubicBezTo>
                  <a:cubicBezTo>
                    <a:pt x="70843" y="26808"/>
                    <a:pt x="72289" y="26170"/>
                    <a:pt x="72289" y="26170"/>
                  </a:cubicBezTo>
                  <a:cubicBezTo>
                    <a:pt x="72289" y="26170"/>
                    <a:pt x="72289" y="25531"/>
                    <a:pt x="73734" y="25531"/>
                  </a:cubicBezTo>
                  <a:cubicBezTo>
                    <a:pt x="75180" y="25531"/>
                    <a:pt x="75903" y="25531"/>
                    <a:pt x="76626" y="25531"/>
                  </a:cubicBezTo>
                  <a:cubicBezTo>
                    <a:pt x="77349" y="25531"/>
                    <a:pt x="77349" y="25531"/>
                    <a:pt x="77349" y="24893"/>
                  </a:cubicBezTo>
                  <a:cubicBezTo>
                    <a:pt x="77349" y="24255"/>
                    <a:pt x="76626" y="24255"/>
                    <a:pt x="78072" y="23617"/>
                  </a:cubicBezTo>
                  <a:cubicBezTo>
                    <a:pt x="78795" y="23617"/>
                    <a:pt x="79518" y="22978"/>
                    <a:pt x="79518" y="22978"/>
                  </a:cubicBezTo>
                  <a:cubicBezTo>
                    <a:pt x="80240" y="20425"/>
                    <a:pt x="80240" y="20425"/>
                    <a:pt x="80240" y="20425"/>
                  </a:cubicBezTo>
                  <a:cubicBezTo>
                    <a:pt x="77349" y="21702"/>
                    <a:pt x="77349" y="21702"/>
                    <a:pt x="77349" y="21702"/>
                  </a:cubicBezTo>
                  <a:cubicBezTo>
                    <a:pt x="77349" y="21702"/>
                    <a:pt x="77349" y="20425"/>
                    <a:pt x="76626" y="20425"/>
                  </a:cubicBezTo>
                  <a:cubicBezTo>
                    <a:pt x="75903" y="20425"/>
                    <a:pt x="73734" y="21702"/>
                    <a:pt x="73734" y="21702"/>
                  </a:cubicBezTo>
                  <a:cubicBezTo>
                    <a:pt x="73734" y="21702"/>
                    <a:pt x="73734" y="21063"/>
                    <a:pt x="73012" y="21063"/>
                  </a:cubicBezTo>
                  <a:cubicBezTo>
                    <a:pt x="73012" y="20425"/>
                    <a:pt x="73012" y="20425"/>
                    <a:pt x="72289" y="20425"/>
                  </a:cubicBezTo>
                  <a:cubicBezTo>
                    <a:pt x="71566" y="20425"/>
                    <a:pt x="72289" y="20425"/>
                    <a:pt x="70843" y="19787"/>
                  </a:cubicBezTo>
                  <a:cubicBezTo>
                    <a:pt x="69397" y="19148"/>
                    <a:pt x="68674" y="17872"/>
                    <a:pt x="68674" y="17872"/>
                  </a:cubicBezTo>
                  <a:cubicBezTo>
                    <a:pt x="68674" y="17872"/>
                    <a:pt x="69397" y="17872"/>
                    <a:pt x="67951" y="17872"/>
                  </a:cubicBezTo>
                  <a:cubicBezTo>
                    <a:pt x="67228" y="17234"/>
                    <a:pt x="67228" y="17234"/>
                    <a:pt x="67228" y="17234"/>
                  </a:cubicBezTo>
                  <a:cubicBezTo>
                    <a:pt x="66506" y="16595"/>
                    <a:pt x="66506" y="16595"/>
                    <a:pt x="67951" y="15957"/>
                  </a:cubicBezTo>
                  <a:cubicBezTo>
                    <a:pt x="68674" y="15319"/>
                    <a:pt x="67951" y="15319"/>
                    <a:pt x="69397" y="14680"/>
                  </a:cubicBezTo>
                  <a:cubicBezTo>
                    <a:pt x="70120" y="14042"/>
                    <a:pt x="69397" y="13404"/>
                    <a:pt x="70843" y="14042"/>
                  </a:cubicBezTo>
                  <a:cubicBezTo>
                    <a:pt x="73012" y="14680"/>
                    <a:pt x="73012" y="14680"/>
                    <a:pt x="73734" y="15319"/>
                  </a:cubicBezTo>
                  <a:cubicBezTo>
                    <a:pt x="74457" y="15319"/>
                    <a:pt x="77349" y="15319"/>
                    <a:pt x="75903" y="14680"/>
                  </a:cubicBezTo>
                  <a:cubicBezTo>
                    <a:pt x="75180" y="14042"/>
                    <a:pt x="73734" y="13404"/>
                    <a:pt x="73734" y="12765"/>
                  </a:cubicBezTo>
                  <a:cubicBezTo>
                    <a:pt x="73734" y="12765"/>
                    <a:pt x="72289" y="12765"/>
                    <a:pt x="73734" y="12765"/>
                  </a:cubicBezTo>
                  <a:cubicBezTo>
                    <a:pt x="74457" y="12765"/>
                    <a:pt x="75180" y="12127"/>
                    <a:pt x="75903" y="12765"/>
                  </a:cubicBezTo>
                  <a:cubicBezTo>
                    <a:pt x="75903" y="12765"/>
                    <a:pt x="74457" y="12765"/>
                    <a:pt x="76626" y="12765"/>
                  </a:cubicBezTo>
                  <a:cubicBezTo>
                    <a:pt x="78795" y="12765"/>
                    <a:pt x="79518" y="12765"/>
                    <a:pt x="78072" y="12127"/>
                  </a:cubicBezTo>
                  <a:cubicBezTo>
                    <a:pt x="77349" y="11489"/>
                    <a:pt x="77349" y="11489"/>
                    <a:pt x="76626" y="10851"/>
                  </a:cubicBezTo>
                  <a:cubicBezTo>
                    <a:pt x="76626" y="10212"/>
                    <a:pt x="75903" y="10212"/>
                    <a:pt x="76626" y="10212"/>
                  </a:cubicBezTo>
                  <a:cubicBezTo>
                    <a:pt x="76626" y="9574"/>
                    <a:pt x="76626" y="10212"/>
                    <a:pt x="77349" y="9574"/>
                  </a:cubicBezTo>
                  <a:cubicBezTo>
                    <a:pt x="77349" y="8936"/>
                    <a:pt x="77349" y="8297"/>
                    <a:pt x="77349" y="8297"/>
                  </a:cubicBezTo>
                  <a:cubicBezTo>
                    <a:pt x="77349" y="8297"/>
                    <a:pt x="76626" y="8297"/>
                    <a:pt x="77349" y="7659"/>
                  </a:cubicBezTo>
                  <a:cubicBezTo>
                    <a:pt x="78795" y="6382"/>
                    <a:pt x="78795" y="6382"/>
                    <a:pt x="79518" y="6382"/>
                  </a:cubicBezTo>
                  <a:cubicBezTo>
                    <a:pt x="79518" y="6382"/>
                    <a:pt x="80240" y="5744"/>
                    <a:pt x="80963" y="5744"/>
                  </a:cubicBezTo>
                  <a:cubicBezTo>
                    <a:pt x="80963" y="5106"/>
                    <a:pt x="81686" y="3829"/>
                    <a:pt x="81686" y="3829"/>
                  </a:cubicBezTo>
                  <a:cubicBezTo>
                    <a:pt x="83855" y="3829"/>
                    <a:pt x="83855" y="3829"/>
                    <a:pt x="83855" y="3829"/>
                  </a:cubicBezTo>
                  <a:cubicBezTo>
                    <a:pt x="83855" y="3829"/>
                    <a:pt x="84578" y="3829"/>
                    <a:pt x="84578" y="3829"/>
                  </a:cubicBezTo>
                  <a:cubicBezTo>
                    <a:pt x="84578" y="4468"/>
                    <a:pt x="84578" y="3191"/>
                    <a:pt x="84578" y="3191"/>
                  </a:cubicBezTo>
                  <a:cubicBezTo>
                    <a:pt x="84578" y="3191"/>
                    <a:pt x="85301" y="3191"/>
                    <a:pt x="85301" y="3191"/>
                  </a:cubicBezTo>
                  <a:cubicBezTo>
                    <a:pt x="86024" y="3829"/>
                    <a:pt x="86024" y="3829"/>
                    <a:pt x="86024" y="3829"/>
                  </a:cubicBezTo>
                  <a:cubicBezTo>
                    <a:pt x="86746" y="4468"/>
                    <a:pt x="87469" y="3829"/>
                    <a:pt x="87469" y="3829"/>
                  </a:cubicBezTo>
                  <a:cubicBezTo>
                    <a:pt x="87469" y="3829"/>
                    <a:pt x="88192" y="3191"/>
                    <a:pt x="88915" y="3191"/>
                  </a:cubicBezTo>
                  <a:cubicBezTo>
                    <a:pt x="89638" y="3191"/>
                    <a:pt x="90361" y="3191"/>
                    <a:pt x="90361" y="3191"/>
                  </a:cubicBezTo>
                  <a:cubicBezTo>
                    <a:pt x="90361" y="3829"/>
                    <a:pt x="90361" y="3829"/>
                    <a:pt x="90361" y="4468"/>
                  </a:cubicBezTo>
                  <a:cubicBezTo>
                    <a:pt x="91084" y="4468"/>
                    <a:pt x="91807" y="5106"/>
                    <a:pt x="91807" y="5106"/>
                  </a:cubicBezTo>
                  <a:cubicBezTo>
                    <a:pt x="91807" y="5106"/>
                    <a:pt x="93253" y="5106"/>
                    <a:pt x="93253" y="4468"/>
                  </a:cubicBezTo>
                  <a:cubicBezTo>
                    <a:pt x="93253" y="4468"/>
                    <a:pt x="92530" y="4468"/>
                    <a:pt x="93975" y="3829"/>
                  </a:cubicBezTo>
                  <a:cubicBezTo>
                    <a:pt x="95421" y="2553"/>
                    <a:pt x="96144" y="2553"/>
                    <a:pt x="96144" y="2553"/>
                  </a:cubicBezTo>
                  <a:cubicBezTo>
                    <a:pt x="96144" y="2553"/>
                    <a:pt x="96144" y="1914"/>
                    <a:pt x="96867" y="1914"/>
                  </a:cubicBezTo>
                  <a:cubicBezTo>
                    <a:pt x="97590" y="2553"/>
                    <a:pt x="97590" y="1914"/>
                    <a:pt x="97590" y="2553"/>
                  </a:cubicBezTo>
                  <a:cubicBezTo>
                    <a:pt x="97590" y="2553"/>
                    <a:pt x="98313" y="3191"/>
                    <a:pt x="98313" y="3191"/>
                  </a:cubicBezTo>
                  <a:cubicBezTo>
                    <a:pt x="98313" y="3191"/>
                    <a:pt x="98313" y="5106"/>
                    <a:pt x="98313" y="5106"/>
                  </a:cubicBezTo>
                  <a:cubicBezTo>
                    <a:pt x="98313" y="5744"/>
                    <a:pt x="98313" y="5744"/>
                    <a:pt x="98313" y="5744"/>
                  </a:cubicBezTo>
                  <a:cubicBezTo>
                    <a:pt x="98313" y="5744"/>
                    <a:pt x="98313" y="6382"/>
                    <a:pt x="98313" y="6382"/>
                  </a:cubicBezTo>
                  <a:cubicBezTo>
                    <a:pt x="98313" y="7021"/>
                    <a:pt x="99036" y="8297"/>
                    <a:pt x="99036" y="8297"/>
                  </a:cubicBezTo>
                  <a:cubicBezTo>
                    <a:pt x="99036" y="8297"/>
                    <a:pt x="99036" y="8297"/>
                    <a:pt x="99036" y="8297"/>
                  </a:cubicBezTo>
                  <a:cubicBezTo>
                    <a:pt x="98313" y="8936"/>
                    <a:pt x="98313" y="8297"/>
                    <a:pt x="98313" y="8936"/>
                  </a:cubicBezTo>
                  <a:cubicBezTo>
                    <a:pt x="97590" y="9574"/>
                    <a:pt x="98313" y="9574"/>
                    <a:pt x="97590" y="10212"/>
                  </a:cubicBezTo>
                  <a:cubicBezTo>
                    <a:pt x="97590" y="10212"/>
                    <a:pt x="96867" y="10212"/>
                    <a:pt x="96867" y="10212"/>
                  </a:cubicBezTo>
                  <a:cubicBezTo>
                    <a:pt x="96867" y="10212"/>
                    <a:pt x="97590" y="10851"/>
                    <a:pt x="97590" y="10851"/>
                  </a:cubicBezTo>
                  <a:cubicBezTo>
                    <a:pt x="97590" y="10851"/>
                    <a:pt x="97590" y="10851"/>
                    <a:pt x="98313" y="10851"/>
                  </a:cubicBezTo>
                  <a:cubicBezTo>
                    <a:pt x="98313" y="10851"/>
                    <a:pt x="98313" y="10212"/>
                    <a:pt x="99036" y="10212"/>
                  </a:cubicBezTo>
                  <a:cubicBezTo>
                    <a:pt x="99036" y="10851"/>
                    <a:pt x="99036" y="9574"/>
                    <a:pt x="99036" y="9574"/>
                  </a:cubicBezTo>
                  <a:cubicBezTo>
                    <a:pt x="99036" y="9574"/>
                    <a:pt x="99036" y="9574"/>
                    <a:pt x="99759" y="8936"/>
                  </a:cubicBezTo>
                  <a:cubicBezTo>
                    <a:pt x="99759" y="8936"/>
                    <a:pt x="100481" y="8297"/>
                    <a:pt x="100481" y="7659"/>
                  </a:cubicBezTo>
                  <a:cubicBezTo>
                    <a:pt x="100481" y="7659"/>
                    <a:pt x="99759" y="7021"/>
                    <a:pt x="99759" y="7021"/>
                  </a:cubicBezTo>
                  <a:cubicBezTo>
                    <a:pt x="99759" y="7021"/>
                    <a:pt x="99036" y="5744"/>
                    <a:pt x="99036" y="5106"/>
                  </a:cubicBezTo>
                  <a:cubicBezTo>
                    <a:pt x="99036" y="5106"/>
                    <a:pt x="99036" y="5106"/>
                    <a:pt x="99036" y="4468"/>
                  </a:cubicBezTo>
                  <a:cubicBezTo>
                    <a:pt x="99759" y="4468"/>
                    <a:pt x="99759" y="3829"/>
                    <a:pt x="99759" y="3829"/>
                  </a:cubicBezTo>
                  <a:cubicBezTo>
                    <a:pt x="100481" y="3191"/>
                    <a:pt x="101204" y="2553"/>
                    <a:pt x="101204" y="2553"/>
                  </a:cubicBezTo>
                  <a:cubicBezTo>
                    <a:pt x="101204" y="2553"/>
                    <a:pt x="102650" y="2553"/>
                    <a:pt x="103373" y="2553"/>
                  </a:cubicBezTo>
                  <a:cubicBezTo>
                    <a:pt x="103373" y="2553"/>
                    <a:pt x="102650" y="1914"/>
                    <a:pt x="104096" y="2553"/>
                  </a:cubicBezTo>
                  <a:cubicBezTo>
                    <a:pt x="104819" y="3191"/>
                    <a:pt x="104819" y="3191"/>
                    <a:pt x="104819" y="3191"/>
                  </a:cubicBezTo>
                  <a:cubicBezTo>
                    <a:pt x="104819" y="3829"/>
                    <a:pt x="104096" y="3829"/>
                    <a:pt x="105542" y="3829"/>
                  </a:cubicBezTo>
                  <a:cubicBezTo>
                    <a:pt x="106265" y="3829"/>
                    <a:pt x="106987" y="3829"/>
                    <a:pt x="106265" y="3829"/>
                  </a:cubicBezTo>
                  <a:cubicBezTo>
                    <a:pt x="105542" y="3191"/>
                    <a:pt x="105542" y="2553"/>
                    <a:pt x="104819" y="2553"/>
                  </a:cubicBezTo>
                  <a:cubicBezTo>
                    <a:pt x="104819" y="2553"/>
                    <a:pt x="104096" y="1914"/>
                    <a:pt x="104096" y="1914"/>
                  </a:cubicBezTo>
                  <a:cubicBezTo>
                    <a:pt x="104096" y="1276"/>
                    <a:pt x="104096" y="0"/>
                    <a:pt x="104819" y="638"/>
                  </a:cubicBezTo>
                  <a:cubicBezTo>
                    <a:pt x="105542" y="638"/>
                    <a:pt x="104819" y="0"/>
                    <a:pt x="105542" y="638"/>
                  </a:cubicBezTo>
                  <a:cubicBezTo>
                    <a:pt x="106987" y="1914"/>
                    <a:pt x="107710" y="2553"/>
                    <a:pt x="107710" y="2553"/>
                  </a:cubicBezTo>
                  <a:cubicBezTo>
                    <a:pt x="107710" y="3191"/>
                    <a:pt x="108433" y="3191"/>
                    <a:pt x="108433" y="3191"/>
                  </a:cubicBezTo>
                  <a:cubicBezTo>
                    <a:pt x="108433" y="3829"/>
                    <a:pt x="108433" y="3829"/>
                    <a:pt x="108433" y="3829"/>
                  </a:cubicBezTo>
                  <a:cubicBezTo>
                    <a:pt x="109156" y="4468"/>
                    <a:pt x="109879" y="5106"/>
                    <a:pt x="109879" y="5106"/>
                  </a:cubicBezTo>
                  <a:cubicBezTo>
                    <a:pt x="109879" y="5106"/>
                    <a:pt x="109879" y="5106"/>
                    <a:pt x="110602" y="5106"/>
                  </a:cubicBezTo>
                  <a:cubicBezTo>
                    <a:pt x="110602" y="5744"/>
                    <a:pt x="112048" y="6382"/>
                    <a:pt x="112048" y="6382"/>
                  </a:cubicBezTo>
                  <a:cubicBezTo>
                    <a:pt x="112048" y="6382"/>
                    <a:pt x="112771" y="7021"/>
                    <a:pt x="112771" y="7021"/>
                  </a:cubicBezTo>
                  <a:cubicBezTo>
                    <a:pt x="112048" y="7659"/>
                    <a:pt x="112048" y="8297"/>
                    <a:pt x="112048" y="8297"/>
                  </a:cubicBezTo>
                  <a:cubicBezTo>
                    <a:pt x="110602" y="10212"/>
                    <a:pt x="110602" y="10212"/>
                    <a:pt x="110602" y="10212"/>
                  </a:cubicBezTo>
                  <a:cubicBezTo>
                    <a:pt x="109879" y="11489"/>
                    <a:pt x="109879" y="11489"/>
                    <a:pt x="109879" y="11489"/>
                  </a:cubicBezTo>
                  <a:cubicBezTo>
                    <a:pt x="109879" y="12127"/>
                    <a:pt x="109879" y="12127"/>
                    <a:pt x="109879" y="12127"/>
                  </a:cubicBezTo>
                  <a:cubicBezTo>
                    <a:pt x="109156" y="12765"/>
                    <a:pt x="109156" y="13404"/>
                    <a:pt x="109156" y="13404"/>
                  </a:cubicBezTo>
                  <a:cubicBezTo>
                    <a:pt x="109156" y="13404"/>
                    <a:pt x="108433" y="14042"/>
                    <a:pt x="106987" y="14042"/>
                  </a:cubicBezTo>
                  <a:cubicBezTo>
                    <a:pt x="105542" y="13404"/>
                    <a:pt x="104096" y="14680"/>
                    <a:pt x="104096" y="14680"/>
                  </a:cubicBezTo>
                  <a:cubicBezTo>
                    <a:pt x="104096" y="14680"/>
                    <a:pt x="100481" y="14042"/>
                    <a:pt x="99759" y="14042"/>
                  </a:cubicBezTo>
                  <a:cubicBezTo>
                    <a:pt x="99036" y="14042"/>
                    <a:pt x="99036" y="16595"/>
                    <a:pt x="99036" y="17234"/>
                  </a:cubicBezTo>
                  <a:cubicBezTo>
                    <a:pt x="99036" y="17872"/>
                    <a:pt x="97590" y="18510"/>
                    <a:pt x="95421" y="18510"/>
                  </a:cubicBezTo>
                  <a:cubicBezTo>
                    <a:pt x="93253" y="19148"/>
                    <a:pt x="94698" y="19148"/>
                    <a:pt x="93975" y="21063"/>
                  </a:cubicBezTo>
                  <a:cubicBezTo>
                    <a:pt x="93253" y="23617"/>
                    <a:pt x="92530" y="21702"/>
                    <a:pt x="91084" y="21063"/>
                  </a:cubicBezTo>
                  <a:cubicBezTo>
                    <a:pt x="89638" y="21063"/>
                    <a:pt x="89638" y="21063"/>
                    <a:pt x="87469" y="21063"/>
                  </a:cubicBezTo>
                  <a:cubicBezTo>
                    <a:pt x="85301" y="21702"/>
                    <a:pt x="86746" y="22978"/>
                    <a:pt x="86746" y="22978"/>
                  </a:cubicBezTo>
                  <a:cubicBezTo>
                    <a:pt x="86746" y="22978"/>
                    <a:pt x="88192" y="24255"/>
                    <a:pt x="88915" y="24255"/>
                  </a:cubicBezTo>
                  <a:cubicBezTo>
                    <a:pt x="90361" y="24893"/>
                    <a:pt x="88915" y="26170"/>
                    <a:pt x="88915" y="26170"/>
                  </a:cubicBezTo>
                  <a:cubicBezTo>
                    <a:pt x="88915" y="26170"/>
                    <a:pt x="88192" y="27446"/>
                    <a:pt x="87469" y="27446"/>
                  </a:cubicBezTo>
                  <a:cubicBezTo>
                    <a:pt x="86746" y="26808"/>
                    <a:pt x="83132" y="26808"/>
                    <a:pt x="83132" y="26808"/>
                  </a:cubicBezTo>
                  <a:cubicBezTo>
                    <a:pt x="79518" y="28723"/>
                    <a:pt x="79518" y="28723"/>
                    <a:pt x="79518" y="28723"/>
                  </a:cubicBezTo>
                  <a:cubicBezTo>
                    <a:pt x="79518" y="28723"/>
                    <a:pt x="80240" y="31276"/>
                    <a:pt x="82409" y="33829"/>
                  </a:cubicBezTo>
                  <a:cubicBezTo>
                    <a:pt x="84578" y="36382"/>
                    <a:pt x="82409" y="34468"/>
                    <a:pt x="82409" y="34468"/>
                  </a:cubicBezTo>
                  <a:cubicBezTo>
                    <a:pt x="82409" y="34468"/>
                    <a:pt x="83132" y="36382"/>
                    <a:pt x="83132" y="37659"/>
                  </a:cubicBezTo>
                  <a:cubicBezTo>
                    <a:pt x="83132" y="38936"/>
                    <a:pt x="83132" y="38297"/>
                    <a:pt x="83855" y="38297"/>
                  </a:cubicBezTo>
                  <a:cubicBezTo>
                    <a:pt x="84578" y="38297"/>
                    <a:pt x="86024" y="38297"/>
                    <a:pt x="86024" y="38297"/>
                  </a:cubicBezTo>
                  <a:cubicBezTo>
                    <a:pt x="86024" y="38297"/>
                    <a:pt x="88915" y="42127"/>
                    <a:pt x="88915" y="42127"/>
                  </a:cubicBezTo>
                  <a:cubicBezTo>
                    <a:pt x="89638" y="42127"/>
                    <a:pt x="93253" y="41489"/>
                    <a:pt x="93253" y="41489"/>
                  </a:cubicBezTo>
                  <a:cubicBezTo>
                    <a:pt x="93253" y="41489"/>
                    <a:pt x="96144" y="40851"/>
                    <a:pt x="97590" y="40851"/>
                  </a:cubicBezTo>
                  <a:cubicBezTo>
                    <a:pt x="99036" y="40212"/>
                    <a:pt x="97590" y="38936"/>
                    <a:pt x="97590" y="38936"/>
                  </a:cubicBezTo>
                  <a:cubicBezTo>
                    <a:pt x="99036" y="35744"/>
                    <a:pt x="99036" y="35744"/>
                    <a:pt x="99036" y="35744"/>
                  </a:cubicBezTo>
                  <a:cubicBezTo>
                    <a:pt x="103373" y="35106"/>
                    <a:pt x="103373" y="35106"/>
                    <a:pt x="103373" y="35106"/>
                  </a:cubicBezTo>
                  <a:cubicBezTo>
                    <a:pt x="105542" y="38936"/>
                    <a:pt x="105542" y="38936"/>
                    <a:pt x="105542" y="38936"/>
                  </a:cubicBezTo>
                  <a:cubicBezTo>
                    <a:pt x="104819" y="41489"/>
                    <a:pt x="104819" y="41489"/>
                    <a:pt x="104819" y="41489"/>
                  </a:cubicBezTo>
                  <a:cubicBezTo>
                    <a:pt x="108433" y="44680"/>
                    <a:pt x="108433" y="44680"/>
                    <a:pt x="108433" y="44680"/>
                  </a:cubicBezTo>
                  <a:cubicBezTo>
                    <a:pt x="109156" y="47872"/>
                    <a:pt x="109156" y="47872"/>
                    <a:pt x="109156" y="47872"/>
                  </a:cubicBezTo>
                  <a:cubicBezTo>
                    <a:pt x="109156" y="47872"/>
                    <a:pt x="112771" y="48510"/>
                    <a:pt x="113493" y="49148"/>
                  </a:cubicBezTo>
                  <a:cubicBezTo>
                    <a:pt x="114216" y="49148"/>
                    <a:pt x="116385" y="48510"/>
                    <a:pt x="116385" y="48510"/>
                  </a:cubicBezTo>
                  <a:cubicBezTo>
                    <a:pt x="119277" y="51702"/>
                    <a:pt x="119277" y="51702"/>
                    <a:pt x="119277" y="51702"/>
                  </a:cubicBezTo>
                  <a:cubicBezTo>
                    <a:pt x="119999" y="51063"/>
                    <a:pt x="119999" y="51063"/>
                    <a:pt x="119999" y="51063"/>
                  </a:cubicBezTo>
                  <a:cubicBezTo>
                    <a:pt x="119999" y="51702"/>
                    <a:pt x="119999" y="51702"/>
                    <a:pt x="119999" y="51702"/>
                  </a:cubicBezTo>
                  <a:cubicBezTo>
                    <a:pt x="119999" y="51702"/>
                    <a:pt x="119999" y="52978"/>
                    <a:pt x="119277" y="52978"/>
                  </a:cubicBezTo>
                  <a:cubicBezTo>
                    <a:pt x="117831" y="52340"/>
                    <a:pt x="117108" y="52340"/>
                    <a:pt x="117108" y="52340"/>
                  </a:cubicBezTo>
                  <a:cubicBezTo>
                    <a:pt x="114939" y="51063"/>
                    <a:pt x="114939" y="51063"/>
                    <a:pt x="114939" y="51063"/>
                  </a:cubicBezTo>
                  <a:cubicBezTo>
                    <a:pt x="114216" y="51702"/>
                    <a:pt x="114216" y="51702"/>
                    <a:pt x="114216" y="51702"/>
                  </a:cubicBezTo>
                  <a:cubicBezTo>
                    <a:pt x="112048" y="54255"/>
                    <a:pt x="112048" y="54255"/>
                    <a:pt x="112048" y="54255"/>
                  </a:cubicBezTo>
                  <a:cubicBezTo>
                    <a:pt x="113493" y="54893"/>
                    <a:pt x="113493" y="54893"/>
                    <a:pt x="113493" y="54893"/>
                  </a:cubicBezTo>
                  <a:cubicBezTo>
                    <a:pt x="114939" y="56170"/>
                    <a:pt x="114939" y="56170"/>
                    <a:pt x="114939" y="56170"/>
                  </a:cubicBezTo>
                  <a:cubicBezTo>
                    <a:pt x="114939" y="58085"/>
                    <a:pt x="114939" y="58085"/>
                    <a:pt x="114939" y="58085"/>
                  </a:cubicBezTo>
                  <a:cubicBezTo>
                    <a:pt x="114939" y="60638"/>
                    <a:pt x="114939" y="60638"/>
                    <a:pt x="114939" y="60638"/>
                  </a:cubicBezTo>
                  <a:cubicBezTo>
                    <a:pt x="113493" y="62553"/>
                    <a:pt x="113493" y="62553"/>
                    <a:pt x="113493" y="62553"/>
                  </a:cubicBezTo>
                  <a:cubicBezTo>
                    <a:pt x="113493" y="62553"/>
                    <a:pt x="114216" y="63829"/>
                    <a:pt x="114216" y="64468"/>
                  </a:cubicBezTo>
                  <a:cubicBezTo>
                    <a:pt x="114216" y="64468"/>
                    <a:pt x="115662" y="65744"/>
                    <a:pt x="115662" y="65744"/>
                  </a:cubicBezTo>
                  <a:cubicBezTo>
                    <a:pt x="117108" y="67021"/>
                    <a:pt x="117108" y="67021"/>
                    <a:pt x="117108" y="67021"/>
                  </a:cubicBezTo>
                  <a:cubicBezTo>
                    <a:pt x="115662" y="70212"/>
                    <a:pt x="115662" y="70212"/>
                    <a:pt x="115662" y="70212"/>
                  </a:cubicBezTo>
                  <a:cubicBezTo>
                    <a:pt x="114216" y="71489"/>
                    <a:pt x="114216" y="71489"/>
                    <a:pt x="114216" y="71489"/>
                  </a:cubicBezTo>
                  <a:cubicBezTo>
                    <a:pt x="114216" y="72765"/>
                    <a:pt x="114216" y="72765"/>
                    <a:pt x="114216" y="72765"/>
                  </a:cubicBezTo>
                  <a:cubicBezTo>
                    <a:pt x="114216" y="72765"/>
                    <a:pt x="115662" y="73404"/>
                    <a:pt x="114939" y="73404"/>
                  </a:cubicBezTo>
                  <a:cubicBezTo>
                    <a:pt x="114216" y="73404"/>
                    <a:pt x="112771" y="73404"/>
                    <a:pt x="112771" y="73404"/>
                  </a:cubicBezTo>
                  <a:cubicBezTo>
                    <a:pt x="112771" y="73404"/>
                    <a:pt x="112771" y="74042"/>
                    <a:pt x="112771" y="74680"/>
                  </a:cubicBezTo>
                  <a:cubicBezTo>
                    <a:pt x="112771" y="74680"/>
                    <a:pt x="113493" y="75957"/>
                    <a:pt x="113493" y="75957"/>
                  </a:cubicBezTo>
                  <a:cubicBezTo>
                    <a:pt x="113493" y="75957"/>
                    <a:pt x="114216" y="75957"/>
                    <a:pt x="114216" y="76595"/>
                  </a:cubicBezTo>
                  <a:cubicBezTo>
                    <a:pt x="114216" y="77234"/>
                    <a:pt x="113493" y="78510"/>
                    <a:pt x="113493" y="78510"/>
                  </a:cubicBezTo>
                  <a:cubicBezTo>
                    <a:pt x="113493" y="78510"/>
                    <a:pt x="112771" y="81063"/>
                    <a:pt x="112771" y="81063"/>
                  </a:cubicBezTo>
                  <a:cubicBezTo>
                    <a:pt x="113493" y="81063"/>
                    <a:pt x="113493" y="82340"/>
                    <a:pt x="113493" y="82340"/>
                  </a:cubicBezTo>
                  <a:cubicBezTo>
                    <a:pt x="113493" y="84893"/>
                    <a:pt x="113493" y="84893"/>
                    <a:pt x="113493" y="84893"/>
                  </a:cubicBezTo>
                  <a:cubicBezTo>
                    <a:pt x="112771" y="86808"/>
                    <a:pt x="112771" y="86808"/>
                    <a:pt x="112771" y="86808"/>
                  </a:cubicBezTo>
                  <a:cubicBezTo>
                    <a:pt x="113493" y="88085"/>
                    <a:pt x="113493" y="88085"/>
                    <a:pt x="113493" y="88085"/>
                  </a:cubicBezTo>
                  <a:cubicBezTo>
                    <a:pt x="111325" y="89361"/>
                    <a:pt x="111325" y="89361"/>
                    <a:pt x="111325" y="89361"/>
                  </a:cubicBezTo>
                  <a:cubicBezTo>
                    <a:pt x="110602" y="90638"/>
                    <a:pt x="110602" y="90638"/>
                    <a:pt x="110602" y="90638"/>
                  </a:cubicBezTo>
                  <a:cubicBezTo>
                    <a:pt x="110602" y="90638"/>
                    <a:pt x="109156" y="91276"/>
                    <a:pt x="109156" y="91914"/>
                  </a:cubicBezTo>
                  <a:cubicBezTo>
                    <a:pt x="109156" y="91914"/>
                    <a:pt x="108433" y="92553"/>
                    <a:pt x="108433" y="93191"/>
                  </a:cubicBezTo>
                  <a:cubicBezTo>
                    <a:pt x="108433" y="93829"/>
                    <a:pt x="107710" y="94468"/>
                    <a:pt x="107710" y="94468"/>
                  </a:cubicBezTo>
                  <a:cubicBezTo>
                    <a:pt x="106987" y="95106"/>
                    <a:pt x="105542" y="96382"/>
                    <a:pt x="105542" y="96382"/>
                  </a:cubicBezTo>
                  <a:cubicBezTo>
                    <a:pt x="104819" y="97659"/>
                    <a:pt x="104819" y="97659"/>
                    <a:pt x="104819" y="97659"/>
                  </a:cubicBezTo>
                  <a:cubicBezTo>
                    <a:pt x="104819" y="97659"/>
                    <a:pt x="105542" y="98936"/>
                    <a:pt x="105542" y="98936"/>
                  </a:cubicBezTo>
                  <a:cubicBezTo>
                    <a:pt x="105542" y="99574"/>
                    <a:pt x="105542" y="99574"/>
                    <a:pt x="105542" y="99574"/>
                  </a:cubicBezTo>
                  <a:cubicBezTo>
                    <a:pt x="104096" y="100851"/>
                    <a:pt x="104096" y="100851"/>
                    <a:pt x="104096" y="100851"/>
                  </a:cubicBezTo>
                  <a:cubicBezTo>
                    <a:pt x="100481" y="103404"/>
                    <a:pt x="100481" y="103404"/>
                    <a:pt x="100481" y="103404"/>
                  </a:cubicBezTo>
                  <a:cubicBezTo>
                    <a:pt x="100481" y="103404"/>
                    <a:pt x="100481" y="104042"/>
                    <a:pt x="99759" y="104680"/>
                  </a:cubicBezTo>
                  <a:cubicBezTo>
                    <a:pt x="99759" y="105957"/>
                    <a:pt x="99036" y="105957"/>
                    <a:pt x="99036" y="105957"/>
                  </a:cubicBezTo>
                  <a:cubicBezTo>
                    <a:pt x="99036" y="105957"/>
                    <a:pt x="98313" y="105957"/>
                    <a:pt x="97590" y="105957"/>
                  </a:cubicBezTo>
                  <a:cubicBezTo>
                    <a:pt x="97590" y="105957"/>
                    <a:pt x="96867" y="105319"/>
                    <a:pt x="96867" y="105319"/>
                  </a:cubicBezTo>
                  <a:cubicBezTo>
                    <a:pt x="96867" y="106595"/>
                    <a:pt x="96867" y="106595"/>
                    <a:pt x="96867" y="106595"/>
                  </a:cubicBezTo>
                  <a:cubicBezTo>
                    <a:pt x="96867" y="106595"/>
                    <a:pt x="96867" y="107234"/>
                    <a:pt x="97590" y="107234"/>
                  </a:cubicBezTo>
                  <a:cubicBezTo>
                    <a:pt x="98313" y="107872"/>
                    <a:pt x="98313" y="108510"/>
                    <a:pt x="99036" y="108510"/>
                  </a:cubicBezTo>
                  <a:cubicBezTo>
                    <a:pt x="99036" y="109148"/>
                    <a:pt x="99759" y="109787"/>
                    <a:pt x="99759" y="109787"/>
                  </a:cubicBezTo>
                  <a:cubicBezTo>
                    <a:pt x="98313" y="111063"/>
                    <a:pt x="98313" y="111063"/>
                    <a:pt x="98313" y="111063"/>
                  </a:cubicBezTo>
                  <a:cubicBezTo>
                    <a:pt x="98313" y="111702"/>
                    <a:pt x="98313" y="111702"/>
                    <a:pt x="98313" y="111702"/>
                  </a:cubicBezTo>
                  <a:cubicBezTo>
                    <a:pt x="96867" y="111702"/>
                    <a:pt x="96867" y="111702"/>
                    <a:pt x="96867" y="111702"/>
                  </a:cubicBezTo>
                  <a:cubicBezTo>
                    <a:pt x="96144" y="111063"/>
                    <a:pt x="96144" y="111063"/>
                    <a:pt x="96144" y="111063"/>
                  </a:cubicBezTo>
                  <a:cubicBezTo>
                    <a:pt x="96144" y="111063"/>
                    <a:pt x="95421" y="111063"/>
                    <a:pt x="95421" y="111063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tx1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defTabSz="457178"/>
              <a:endParaRPr kern="0">
                <a:solidFill>
                  <a:srgbClr val="7F7F7F"/>
                </a:solidFill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38" name="Shape 2045">
              <a:extLst>
                <a:ext uri="{FF2B5EF4-FFF2-40B4-BE49-F238E27FC236}">
                  <a16:creationId xmlns:a16="http://schemas.microsoft.com/office/drawing/2014/main" id="{3410B32F-1928-4FBD-8D00-7E4EB6AC4040}"/>
                </a:ext>
              </a:extLst>
            </p:cNvPr>
            <p:cNvSpPr/>
            <p:nvPr/>
          </p:nvSpPr>
          <p:spPr>
            <a:xfrm>
              <a:off x="3117355" y="3610126"/>
              <a:ext cx="405690" cy="613681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49887" y="3884"/>
                  </a:moveTo>
                  <a:cubicBezTo>
                    <a:pt x="49887" y="3884"/>
                    <a:pt x="52584" y="2589"/>
                    <a:pt x="52584" y="2589"/>
                  </a:cubicBezTo>
                  <a:cubicBezTo>
                    <a:pt x="52584" y="2589"/>
                    <a:pt x="53258" y="2158"/>
                    <a:pt x="53258" y="2158"/>
                  </a:cubicBezTo>
                  <a:cubicBezTo>
                    <a:pt x="53932" y="2158"/>
                    <a:pt x="54606" y="2158"/>
                    <a:pt x="55280" y="2158"/>
                  </a:cubicBezTo>
                  <a:cubicBezTo>
                    <a:pt x="55280" y="2158"/>
                    <a:pt x="55955" y="1726"/>
                    <a:pt x="55955" y="1726"/>
                  </a:cubicBezTo>
                  <a:cubicBezTo>
                    <a:pt x="56629" y="1294"/>
                    <a:pt x="56629" y="1294"/>
                    <a:pt x="56629" y="1294"/>
                  </a:cubicBezTo>
                  <a:cubicBezTo>
                    <a:pt x="57977" y="863"/>
                    <a:pt x="57977" y="863"/>
                    <a:pt x="57977" y="863"/>
                  </a:cubicBezTo>
                  <a:cubicBezTo>
                    <a:pt x="59325" y="863"/>
                    <a:pt x="59325" y="863"/>
                    <a:pt x="59325" y="863"/>
                  </a:cubicBezTo>
                  <a:cubicBezTo>
                    <a:pt x="59325" y="863"/>
                    <a:pt x="60000" y="863"/>
                    <a:pt x="60000" y="863"/>
                  </a:cubicBezTo>
                  <a:cubicBezTo>
                    <a:pt x="60000" y="863"/>
                    <a:pt x="62696" y="431"/>
                    <a:pt x="62696" y="431"/>
                  </a:cubicBezTo>
                  <a:cubicBezTo>
                    <a:pt x="62696" y="431"/>
                    <a:pt x="63370" y="863"/>
                    <a:pt x="64044" y="863"/>
                  </a:cubicBezTo>
                  <a:cubicBezTo>
                    <a:pt x="64044" y="863"/>
                    <a:pt x="65393" y="863"/>
                    <a:pt x="65393" y="863"/>
                  </a:cubicBezTo>
                  <a:cubicBezTo>
                    <a:pt x="66067" y="863"/>
                    <a:pt x="67415" y="431"/>
                    <a:pt x="67415" y="431"/>
                  </a:cubicBezTo>
                  <a:cubicBezTo>
                    <a:pt x="70112" y="0"/>
                    <a:pt x="70112" y="0"/>
                    <a:pt x="70112" y="0"/>
                  </a:cubicBezTo>
                  <a:cubicBezTo>
                    <a:pt x="70786" y="863"/>
                    <a:pt x="70786" y="863"/>
                    <a:pt x="70786" y="863"/>
                  </a:cubicBezTo>
                  <a:cubicBezTo>
                    <a:pt x="70786" y="863"/>
                    <a:pt x="70786" y="1726"/>
                    <a:pt x="70786" y="1726"/>
                  </a:cubicBezTo>
                  <a:cubicBezTo>
                    <a:pt x="70786" y="1726"/>
                    <a:pt x="70786" y="2158"/>
                    <a:pt x="71460" y="2158"/>
                  </a:cubicBezTo>
                  <a:cubicBezTo>
                    <a:pt x="72134" y="2158"/>
                    <a:pt x="72134" y="2158"/>
                    <a:pt x="72134" y="2158"/>
                  </a:cubicBezTo>
                  <a:cubicBezTo>
                    <a:pt x="72134" y="2589"/>
                    <a:pt x="72134" y="3884"/>
                    <a:pt x="72134" y="3884"/>
                  </a:cubicBezTo>
                  <a:cubicBezTo>
                    <a:pt x="70112" y="4316"/>
                    <a:pt x="70112" y="4316"/>
                    <a:pt x="70112" y="4316"/>
                  </a:cubicBezTo>
                  <a:cubicBezTo>
                    <a:pt x="70112" y="4316"/>
                    <a:pt x="69438" y="4316"/>
                    <a:pt x="69438" y="4748"/>
                  </a:cubicBezTo>
                  <a:cubicBezTo>
                    <a:pt x="69438" y="4748"/>
                    <a:pt x="68089" y="5179"/>
                    <a:pt x="68089" y="5179"/>
                  </a:cubicBezTo>
                  <a:cubicBezTo>
                    <a:pt x="68089" y="5611"/>
                    <a:pt x="67415" y="5611"/>
                    <a:pt x="68089" y="6043"/>
                  </a:cubicBezTo>
                  <a:cubicBezTo>
                    <a:pt x="68089" y="6474"/>
                    <a:pt x="68764" y="6906"/>
                    <a:pt x="68764" y="6906"/>
                  </a:cubicBezTo>
                  <a:cubicBezTo>
                    <a:pt x="68764" y="7769"/>
                    <a:pt x="68764" y="7769"/>
                    <a:pt x="68764" y="7769"/>
                  </a:cubicBezTo>
                  <a:cubicBezTo>
                    <a:pt x="68764" y="7769"/>
                    <a:pt x="68764" y="8201"/>
                    <a:pt x="69438" y="8201"/>
                  </a:cubicBezTo>
                  <a:cubicBezTo>
                    <a:pt x="69438" y="8633"/>
                    <a:pt x="70112" y="8201"/>
                    <a:pt x="70786" y="8201"/>
                  </a:cubicBezTo>
                  <a:cubicBezTo>
                    <a:pt x="72134" y="8201"/>
                    <a:pt x="72808" y="7769"/>
                    <a:pt x="73483" y="7769"/>
                  </a:cubicBezTo>
                  <a:cubicBezTo>
                    <a:pt x="73483" y="7769"/>
                    <a:pt x="74157" y="7769"/>
                    <a:pt x="74157" y="7769"/>
                  </a:cubicBezTo>
                  <a:cubicBezTo>
                    <a:pt x="74831" y="7338"/>
                    <a:pt x="76179" y="6906"/>
                    <a:pt x="76179" y="6906"/>
                  </a:cubicBezTo>
                  <a:cubicBezTo>
                    <a:pt x="76179" y="6906"/>
                    <a:pt x="76179" y="6043"/>
                    <a:pt x="76853" y="6474"/>
                  </a:cubicBezTo>
                  <a:cubicBezTo>
                    <a:pt x="76853" y="6474"/>
                    <a:pt x="76853" y="7338"/>
                    <a:pt x="76853" y="7338"/>
                  </a:cubicBezTo>
                  <a:cubicBezTo>
                    <a:pt x="76853" y="7338"/>
                    <a:pt x="76179" y="8201"/>
                    <a:pt x="76179" y="8201"/>
                  </a:cubicBezTo>
                  <a:cubicBezTo>
                    <a:pt x="76853" y="8633"/>
                    <a:pt x="77528" y="8201"/>
                    <a:pt x="77528" y="8201"/>
                  </a:cubicBezTo>
                  <a:cubicBezTo>
                    <a:pt x="78202" y="7769"/>
                    <a:pt x="78876" y="7769"/>
                    <a:pt x="78876" y="7769"/>
                  </a:cubicBezTo>
                  <a:cubicBezTo>
                    <a:pt x="80224" y="7769"/>
                    <a:pt x="80224" y="7769"/>
                    <a:pt x="80224" y="7769"/>
                  </a:cubicBezTo>
                  <a:cubicBezTo>
                    <a:pt x="80224" y="7769"/>
                    <a:pt x="81573" y="7769"/>
                    <a:pt x="81573" y="7769"/>
                  </a:cubicBezTo>
                  <a:cubicBezTo>
                    <a:pt x="81573" y="7769"/>
                    <a:pt x="82247" y="8201"/>
                    <a:pt x="82921" y="8201"/>
                  </a:cubicBezTo>
                  <a:cubicBezTo>
                    <a:pt x="82921" y="8633"/>
                    <a:pt x="84943" y="9064"/>
                    <a:pt x="84943" y="9064"/>
                  </a:cubicBezTo>
                  <a:cubicBezTo>
                    <a:pt x="84269" y="9928"/>
                    <a:pt x="84269" y="9928"/>
                    <a:pt x="84269" y="9928"/>
                  </a:cubicBezTo>
                  <a:cubicBezTo>
                    <a:pt x="84269" y="9928"/>
                    <a:pt x="83595" y="10791"/>
                    <a:pt x="84269" y="10791"/>
                  </a:cubicBezTo>
                  <a:cubicBezTo>
                    <a:pt x="84269" y="10791"/>
                    <a:pt x="84943" y="10359"/>
                    <a:pt x="84943" y="10359"/>
                  </a:cubicBezTo>
                  <a:cubicBezTo>
                    <a:pt x="85617" y="10359"/>
                    <a:pt x="86292" y="9928"/>
                    <a:pt x="86292" y="9928"/>
                  </a:cubicBezTo>
                  <a:cubicBezTo>
                    <a:pt x="86292" y="9928"/>
                    <a:pt x="86292" y="9496"/>
                    <a:pt x="86292" y="9496"/>
                  </a:cubicBezTo>
                  <a:cubicBezTo>
                    <a:pt x="86292" y="9928"/>
                    <a:pt x="87640" y="10359"/>
                    <a:pt x="87640" y="10359"/>
                  </a:cubicBezTo>
                  <a:cubicBezTo>
                    <a:pt x="87640" y="10359"/>
                    <a:pt x="88314" y="11223"/>
                    <a:pt x="88314" y="11223"/>
                  </a:cubicBezTo>
                  <a:cubicBezTo>
                    <a:pt x="88314" y="11223"/>
                    <a:pt x="89662" y="10791"/>
                    <a:pt x="89662" y="10791"/>
                  </a:cubicBezTo>
                  <a:cubicBezTo>
                    <a:pt x="89662" y="10791"/>
                    <a:pt x="89662" y="10791"/>
                    <a:pt x="90337" y="10791"/>
                  </a:cubicBezTo>
                  <a:cubicBezTo>
                    <a:pt x="91011" y="10791"/>
                    <a:pt x="91011" y="10791"/>
                    <a:pt x="91011" y="10791"/>
                  </a:cubicBezTo>
                  <a:cubicBezTo>
                    <a:pt x="91685" y="11223"/>
                    <a:pt x="93707" y="11223"/>
                    <a:pt x="93707" y="11223"/>
                  </a:cubicBezTo>
                  <a:cubicBezTo>
                    <a:pt x="95730" y="10359"/>
                    <a:pt x="95730" y="10359"/>
                    <a:pt x="95730" y="10359"/>
                  </a:cubicBezTo>
                  <a:cubicBezTo>
                    <a:pt x="96404" y="9064"/>
                    <a:pt x="96404" y="9064"/>
                    <a:pt x="96404" y="9064"/>
                  </a:cubicBezTo>
                  <a:cubicBezTo>
                    <a:pt x="96404" y="8633"/>
                    <a:pt x="96404" y="8633"/>
                    <a:pt x="96404" y="8633"/>
                  </a:cubicBezTo>
                  <a:cubicBezTo>
                    <a:pt x="96404" y="8633"/>
                    <a:pt x="97752" y="8201"/>
                    <a:pt x="97752" y="8201"/>
                  </a:cubicBezTo>
                  <a:cubicBezTo>
                    <a:pt x="97752" y="8201"/>
                    <a:pt x="98426" y="8201"/>
                    <a:pt x="98426" y="8633"/>
                  </a:cubicBezTo>
                  <a:cubicBezTo>
                    <a:pt x="98426" y="8633"/>
                    <a:pt x="99775" y="9496"/>
                    <a:pt x="99775" y="9496"/>
                  </a:cubicBezTo>
                  <a:cubicBezTo>
                    <a:pt x="99775" y="9496"/>
                    <a:pt x="101123" y="9496"/>
                    <a:pt x="101123" y="9496"/>
                  </a:cubicBezTo>
                  <a:cubicBezTo>
                    <a:pt x="101797" y="9496"/>
                    <a:pt x="101797" y="9064"/>
                    <a:pt x="102471" y="9496"/>
                  </a:cubicBezTo>
                  <a:cubicBezTo>
                    <a:pt x="102471" y="9928"/>
                    <a:pt x="102471" y="10359"/>
                    <a:pt x="103146" y="10359"/>
                  </a:cubicBezTo>
                  <a:cubicBezTo>
                    <a:pt x="103146" y="10359"/>
                    <a:pt x="103820" y="10359"/>
                    <a:pt x="103820" y="10359"/>
                  </a:cubicBezTo>
                  <a:cubicBezTo>
                    <a:pt x="104494" y="10791"/>
                    <a:pt x="105842" y="10791"/>
                    <a:pt x="105842" y="10791"/>
                  </a:cubicBezTo>
                  <a:cubicBezTo>
                    <a:pt x="106516" y="9928"/>
                    <a:pt x="106516" y="9928"/>
                    <a:pt x="106516" y="9928"/>
                  </a:cubicBezTo>
                  <a:cubicBezTo>
                    <a:pt x="106516" y="9928"/>
                    <a:pt x="106516" y="9496"/>
                    <a:pt x="107191" y="9928"/>
                  </a:cubicBezTo>
                  <a:cubicBezTo>
                    <a:pt x="107865" y="9928"/>
                    <a:pt x="107865" y="10791"/>
                    <a:pt x="107865" y="10791"/>
                  </a:cubicBezTo>
                  <a:cubicBezTo>
                    <a:pt x="107865" y="10791"/>
                    <a:pt x="108539" y="11223"/>
                    <a:pt x="108539" y="11223"/>
                  </a:cubicBezTo>
                  <a:cubicBezTo>
                    <a:pt x="108539" y="11223"/>
                    <a:pt x="110561" y="11654"/>
                    <a:pt x="110561" y="11654"/>
                  </a:cubicBezTo>
                  <a:cubicBezTo>
                    <a:pt x="110561" y="11654"/>
                    <a:pt x="111910" y="11223"/>
                    <a:pt x="111910" y="11223"/>
                  </a:cubicBezTo>
                  <a:cubicBezTo>
                    <a:pt x="112584" y="11223"/>
                    <a:pt x="112584" y="12086"/>
                    <a:pt x="112584" y="12086"/>
                  </a:cubicBezTo>
                  <a:cubicBezTo>
                    <a:pt x="112584" y="12086"/>
                    <a:pt x="112584" y="12517"/>
                    <a:pt x="112584" y="12517"/>
                  </a:cubicBezTo>
                  <a:cubicBezTo>
                    <a:pt x="111910" y="12949"/>
                    <a:pt x="111910" y="12949"/>
                    <a:pt x="112584" y="12949"/>
                  </a:cubicBezTo>
                  <a:cubicBezTo>
                    <a:pt x="112584" y="13381"/>
                    <a:pt x="113258" y="13812"/>
                    <a:pt x="113258" y="13812"/>
                  </a:cubicBezTo>
                  <a:cubicBezTo>
                    <a:pt x="113258" y="13812"/>
                    <a:pt x="112584" y="14676"/>
                    <a:pt x="112584" y="14676"/>
                  </a:cubicBezTo>
                  <a:cubicBezTo>
                    <a:pt x="112584" y="15107"/>
                    <a:pt x="111910" y="15539"/>
                    <a:pt x="111910" y="15539"/>
                  </a:cubicBezTo>
                  <a:cubicBezTo>
                    <a:pt x="111235" y="15971"/>
                    <a:pt x="111235" y="15971"/>
                    <a:pt x="111235" y="15971"/>
                  </a:cubicBezTo>
                  <a:cubicBezTo>
                    <a:pt x="111235" y="16402"/>
                    <a:pt x="111235" y="16402"/>
                    <a:pt x="111235" y="16402"/>
                  </a:cubicBezTo>
                  <a:cubicBezTo>
                    <a:pt x="111235" y="16834"/>
                    <a:pt x="111235" y="16834"/>
                    <a:pt x="111235" y="16834"/>
                  </a:cubicBezTo>
                  <a:cubicBezTo>
                    <a:pt x="111235" y="16834"/>
                    <a:pt x="111235" y="17266"/>
                    <a:pt x="111235" y="17266"/>
                  </a:cubicBezTo>
                  <a:cubicBezTo>
                    <a:pt x="110561" y="17266"/>
                    <a:pt x="111235" y="18129"/>
                    <a:pt x="111235" y="18129"/>
                  </a:cubicBezTo>
                  <a:cubicBezTo>
                    <a:pt x="111910" y="18561"/>
                    <a:pt x="111910" y="18561"/>
                    <a:pt x="111910" y="18561"/>
                  </a:cubicBezTo>
                  <a:cubicBezTo>
                    <a:pt x="111910" y="18561"/>
                    <a:pt x="113258" y="18129"/>
                    <a:pt x="113258" y="18129"/>
                  </a:cubicBezTo>
                  <a:cubicBezTo>
                    <a:pt x="113258" y="18129"/>
                    <a:pt x="115280" y="18561"/>
                    <a:pt x="115280" y="18561"/>
                  </a:cubicBezTo>
                  <a:cubicBezTo>
                    <a:pt x="115280" y="18561"/>
                    <a:pt x="116629" y="18992"/>
                    <a:pt x="116629" y="19424"/>
                  </a:cubicBezTo>
                  <a:cubicBezTo>
                    <a:pt x="117303" y="19424"/>
                    <a:pt x="118651" y="20287"/>
                    <a:pt x="118651" y="20287"/>
                  </a:cubicBezTo>
                  <a:cubicBezTo>
                    <a:pt x="120000" y="21582"/>
                    <a:pt x="120000" y="21582"/>
                    <a:pt x="120000" y="21582"/>
                  </a:cubicBezTo>
                  <a:cubicBezTo>
                    <a:pt x="118651" y="22446"/>
                    <a:pt x="118651" y="22446"/>
                    <a:pt x="118651" y="22446"/>
                  </a:cubicBezTo>
                  <a:cubicBezTo>
                    <a:pt x="117303" y="23741"/>
                    <a:pt x="117303" y="23741"/>
                    <a:pt x="117303" y="23741"/>
                  </a:cubicBezTo>
                  <a:cubicBezTo>
                    <a:pt x="115955" y="24172"/>
                    <a:pt x="115955" y="24172"/>
                    <a:pt x="115955" y="24172"/>
                  </a:cubicBezTo>
                  <a:cubicBezTo>
                    <a:pt x="115955" y="24172"/>
                    <a:pt x="115280" y="25035"/>
                    <a:pt x="115280" y="25035"/>
                  </a:cubicBezTo>
                  <a:cubicBezTo>
                    <a:pt x="115280" y="25035"/>
                    <a:pt x="113932" y="25467"/>
                    <a:pt x="113932" y="25467"/>
                  </a:cubicBezTo>
                  <a:cubicBezTo>
                    <a:pt x="113258" y="25467"/>
                    <a:pt x="113258" y="25467"/>
                    <a:pt x="113258" y="25467"/>
                  </a:cubicBezTo>
                  <a:cubicBezTo>
                    <a:pt x="111235" y="26762"/>
                    <a:pt x="111235" y="26762"/>
                    <a:pt x="111235" y="26762"/>
                  </a:cubicBezTo>
                  <a:cubicBezTo>
                    <a:pt x="109887" y="27194"/>
                    <a:pt x="109887" y="27194"/>
                    <a:pt x="109887" y="27194"/>
                  </a:cubicBezTo>
                  <a:cubicBezTo>
                    <a:pt x="108539" y="27625"/>
                    <a:pt x="108539" y="27625"/>
                    <a:pt x="108539" y="27625"/>
                  </a:cubicBezTo>
                  <a:cubicBezTo>
                    <a:pt x="107865" y="27625"/>
                    <a:pt x="107865" y="27625"/>
                    <a:pt x="107865" y="27625"/>
                  </a:cubicBezTo>
                  <a:cubicBezTo>
                    <a:pt x="106516" y="28489"/>
                    <a:pt x="106516" y="28489"/>
                    <a:pt x="106516" y="28489"/>
                  </a:cubicBezTo>
                  <a:cubicBezTo>
                    <a:pt x="105168" y="28057"/>
                    <a:pt x="105168" y="28057"/>
                    <a:pt x="105168" y="28057"/>
                  </a:cubicBezTo>
                  <a:cubicBezTo>
                    <a:pt x="103146" y="28489"/>
                    <a:pt x="103146" y="28489"/>
                    <a:pt x="103146" y="28489"/>
                  </a:cubicBezTo>
                  <a:cubicBezTo>
                    <a:pt x="103146" y="28920"/>
                    <a:pt x="103146" y="28920"/>
                    <a:pt x="103146" y="28920"/>
                  </a:cubicBezTo>
                  <a:cubicBezTo>
                    <a:pt x="100449" y="29784"/>
                    <a:pt x="100449" y="29784"/>
                    <a:pt x="100449" y="29784"/>
                  </a:cubicBezTo>
                  <a:cubicBezTo>
                    <a:pt x="99775" y="31079"/>
                    <a:pt x="99775" y="31079"/>
                    <a:pt x="99775" y="31079"/>
                  </a:cubicBezTo>
                  <a:cubicBezTo>
                    <a:pt x="99775" y="31079"/>
                    <a:pt x="98426" y="31079"/>
                    <a:pt x="98426" y="31510"/>
                  </a:cubicBezTo>
                  <a:cubicBezTo>
                    <a:pt x="97752" y="31510"/>
                    <a:pt x="97078" y="31942"/>
                    <a:pt x="97078" y="31942"/>
                  </a:cubicBezTo>
                  <a:cubicBezTo>
                    <a:pt x="95730" y="31510"/>
                    <a:pt x="95730" y="31510"/>
                    <a:pt x="95730" y="31510"/>
                  </a:cubicBezTo>
                  <a:cubicBezTo>
                    <a:pt x="95056" y="31942"/>
                    <a:pt x="95056" y="31942"/>
                    <a:pt x="95056" y="31942"/>
                  </a:cubicBezTo>
                  <a:cubicBezTo>
                    <a:pt x="95056" y="32805"/>
                    <a:pt x="95056" y="32805"/>
                    <a:pt x="95056" y="32805"/>
                  </a:cubicBezTo>
                  <a:cubicBezTo>
                    <a:pt x="95730" y="32805"/>
                    <a:pt x="95730" y="32805"/>
                    <a:pt x="95730" y="32805"/>
                  </a:cubicBezTo>
                  <a:cubicBezTo>
                    <a:pt x="95730" y="32805"/>
                    <a:pt x="95730" y="33669"/>
                    <a:pt x="95730" y="33669"/>
                  </a:cubicBezTo>
                  <a:cubicBezTo>
                    <a:pt x="95730" y="34100"/>
                    <a:pt x="95730" y="34964"/>
                    <a:pt x="95730" y="34964"/>
                  </a:cubicBezTo>
                  <a:cubicBezTo>
                    <a:pt x="97078" y="35395"/>
                    <a:pt x="97078" y="35395"/>
                    <a:pt x="97078" y="35395"/>
                  </a:cubicBezTo>
                  <a:cubicBezTo>
                    <a:pt x="97078" y="35395"/>
                    <a:pt x="97078" y="36690"/>
                    <a:pt x="96404" y="36690"/>
                  </a:cubicBezTo>
                  <a:cubicBezTo>
                    <a:pt x="96404" y="36690"/>
                    <a:pt x="95056" y="37122"/>
                    <a:pt x="95056" y="37122"/>
                  </a:cubicBezTo>
                  <a:cubicBezTo>
                    <a:pt x="95056" y="37553"/>
                    <a:pt x="95056" y="37553"/>
                    <a:pt x="95056" y="37553"/>
                  </a:cubicBezTo>
                  <a:cubicBezTo>
                    <a:pt x="95730" y="38417"/>
                    <a:pt x="95730" y="38417"/>
                    <a:pt x="95730" y="38417"/>
                  </a:cubicBezTo>
                  <a:cubicBezTo>
                    <a:pt x="95730" y="38417"/>
                    <a:pt x="95730" y="39712"/>
                    <a:pt x="95056" y="39712"/>
                  </a:cubicBezTo>
                  <a:cubicBezTo>
                    <a:pt x="95056" y="40143"/>
                    <a:pt x="94382" y="41007"/>
                    <a:pt x="94382" y="41007"/>
                  </a:cubicBezTo>
                  <a:cubicBezTo>
                    <a:pt x="93707" y="41438"/>
                    <a:pt x="93707" y="41438"/>
                    <a:pt x="93707" y="41438"/>
                  </a:cubicBezTo>
                  <a:cubicBezTo>
                    <a:pt x="93033" y="42302"/>
                    <a:pt x="93033" y="42302"/>
                    <a:pt x="93033" y="42302"/>
                  </a:cubicBezTo>
                  <a:cubicBezTo>
                    <a:pt x="93707" y="42733"/>
                    <a:pt x="93707" y="42733"/>
                    <a:pt x="93707" y="42733"/>
                  </a:cubicBezTo>
                  <a:cubicBezTo>
                    <a:pt x="93707" y="44028"/>
                    <a:pt x="93707" y="44028"/>
                    <a:pt x="93707" y="44028"/>
                  </a:cubicBezTo>
                  <a:cubicBezTo>
                    <a:pt x="92359" y="44460"/>
                    <a:pt x="92359" y="44460"/>
                    <a:pt x="92359" y="44460"/>
                  </a:cubicBezTo>
                  <a:cubicBezTo>
                    <a:pt x="91685" y="45755"/>
                    <a:pt x="91685" y="45755"/>
                    <a:pt x="91685" y="45755"/>
                  </a:cubicBezTo>
                  <a:cubicBezTo>
                    <a:pt x="92359" y="46187"/>
                    <a:pt x="92359" y="46187"/>
                    <a:pt x="92359" y="46187"/>
                  </a:cubicBezTo>
                  <a:cubicBezTo>
                    <a:pt x="93033" y="47050"/>
                    <a:pt x="93033" y="47050"/>
                    <a:pt x="93033" y="47050"/>
                  </a:cubicBezTo>
                  <a:cubicBezTo>
                    <a:pt x="92359" y="47913"/>
                    <a:pt x="92359" y="47913"/>
                    <a:pt x="92359" y="47913"/>
                  </a:cubicBezTo>
                  <a:cubicBezTo>
                    <a:pt x="91685" y="48345"/>
                    <a:pt x="91685" y="48345"/>
                    <a:pt x="91685" y="48345"/>
                  </a:cubicBezTo>
                  <a:cubicBezTo>
                    <a:pt x="91011" y="48345"/>
                    <a:pt x="91011" y="48345"/>
                    <a:pt x="91011" y="48345"/>
                  </a:cubicBezTo>
                  <a:cubicBezTo>
                    <a:pt x="89662" y="49208"/>
                    <a:pt x="89662" y="49208"/>
                    <a:pt x="89662" y="49208"/>
                  </a:cubicBezTo>
                  <a:cubicBezTo>
                    <a:pt x="88314" y="49208"/>
                    <a:pt x="88314" y="49208"/>
                    <a:pt x="88314" y="49208"/>
                  </a:cubicBezTo>
                  <a:cubicBezTo>
                    <a:pt x="87640" y="49208"/>
                    <a:pt x="87640" y="49208"/>
                    <a:pt x="87640" y="49208"/>
                  </a:cubicBezTo>
                  <a:cubicBezTo>
                    <a:pt x="86292" y="50071"/>
                    <a:pt x="86292" y="50071"/>
                    <a:pt x="86292" y="50071"/>
                  </a:cubicBezTo>
                  <a:cubicBezTo>
                    <a:pt x="85617" y="50071"/>
                    <a:pt x="85617" y="50071"/>
                    <a:pt x="85617" y="50071"/>
                  </a:cubicBezTo>
                  <a:cubicBezTo>
                    <a:pt x="84943" y="50503"/>
                    <a:pt x="84943" y="50503"/>
                    <a:pt x="84943" y="50503"/>
                  </a:cubicBezTo>
                  <a:cubicBezTo>
                    <a:pt x="84943" y="51366"/>
                    <a:pt x="84943" y="51366"/>
                    <a:pt x="84943" y="51366"/>
                  </a:cubicBezTo>
                  <a:cubicBezTo>
                    <a:pt x="84943" y="51366"/>
                    <a:pt x="84943" y="51798"/>
                    <a:pt x="84943" y="51798"/>
                  </a:cubicBezTo>
                  <a:cubicBezTo>
                    <a:pt x="85617" y="51798"/>
                    <a:pt x="85617" y="52230"/>
                    <a:pt x="85617" y="52230"/>
                  </a:cubicBezTo>
                  <a:cubicBezTo>
                    <a:pt x="86292" y="53093"/>
                    <a:pt x="86292" y="53093"/>
                    <a:pt x="86292" y="53093"/>
                  </a:cubicBezTo>
                  <a:cubicBezTo>
                    <a:pt x="86966" y="53956"/>
                    <a:pt x="86966" y="53956"/>
                    <a:pt x="86966" y="53956"/>
                  </a:cubicBezTo>
                  <a:cubicBezTo>
                    <a:pt x="87640" y="55251"/>
                    <a:pt x="87640" y="55251"/>
                    <a:pt x="87640" y="55251"/>
                  </a:cubicBezTo>
                  <a:cubicBezTo>
                    <a:pt x="87640" y="55251"/>
                    <a:pt x="86966" y="56115"/>
                    <a:pt x="86966" y="56115"/>
                  </a:cubicBezTo>
                  <a:cubicBezTo>
                    <a:pt x="86966" y="56115"/>
                    <a:pt x="86292" y="56978"/>
                    <a:pt x="86292" y="56978"/>
                  </a:cubicBezTo>
                  <a:cubicBezTo>
                    <a:pt x="85617" y="57841"/>
                    <a:pt x="85617" y="57841"/>
                    <a:pt x="85617" y="57841"/>
                  </a:cubicBezTo>
                  <a:cubicBezTo>
                    <a:pt x="84943" y="58705"/>
                    <a:pt x="84943" y="58705"/>
                    <a:pt x="84943" y="58705"/>
                  </a:cubicBezTo>
                  <a:cubicBezTo>
                    <a:pt x="84269" y="59136"/>
                    <a:pt x="84269" y="59136"/>
                    <a:pt x="84269" y="59136"/>
                  </a:cubicBezTo>
                  <a:cubicBezTo>
                    <a:pt x="82921" y="59136"/>
                    <a:pt x="82921" y="59136"/>
                    <a:pt x="82921" y="59136"/>
                  </a:cubicBezTo>
                  <a:cubicBezTo>
                    <a:pt x="82921" y="59568"/>
                    <a:pt x="82921" y="59568"/>
                    <a:pt x="82921" y="59568"/>
                  </a:cubicBezTo>
                  <a:cubicBezTo>
                    <a:pt x="82247" y="60431"/>
                    <a:pt x="82247" y="60431"/>
                    <a:pt x="82247" y="60431"/>
                  </a:cubicBezTo>
                  <a:cubicBezTo>
                    <a:pt x="82247" y="60863"/>
                    <a:pt x="82247" y="60863"/>
                    <a:pt x="82247" y="60863"/>
                  </a:cubicBezTo>
                  <a:cubicBezTo>
                    <a:pt x="81573" y="60863"/>
                    <a:pt x="81573" y="60863"/>
                    <a:pt x="81573" y="60863"/>
                  </a:cubicBezTo>
                  <a:cubicBezTo>
                    <a:pt x="81573" y="61726"/>
                    <a:pt x="81573" y="61726"/>
                    <a:pt x="81573" y="61726"/>
                  </a:cubicBezTo>
                  <a:cubicBezTo>
                    <a:pt x="80898" y="62158"/>
                    <a:pt x="80898" y="62158"/>
                    <a:pt x="80898" y="62158"/>
                  </a:cubicBezTo>
                  <a:cubicBezTo>
                    <a:pt x="80898" y="62158"/>
                    <a:pt x="80224" y="62158"/>
                    <a:pt x="80224" y="62158"/>
                  </a:cubicBezTo>
                  <a:cubicBezTo>
                    <a:pt x="79550" y="62158"/>
                    <a:pt x="78876" y="62589"/>
                    <a:pt x="78876" y="62589"/>
                  </a:cubicBezTo>
                  <a:cubicBezTo>
                    <a:pt x="78876" y="62589"/>
                    <a:pt x="77528" y="62589"/>
                    <a:pt x="77528" y="62158"/>
                  </a:cubicBezTo>
                  <a:cubicBezTo>
                    <a:pt x="77528" y="62158"/>
                    <a:pt x="76853" y="62589"/>
                    <a:pt x="76179" y="62158"/>
                  </a:cubicBezTo>
                  <a:cubicBezTo>
                    <a:pt x="76179" y="62158"/>
                    <a:pt x="75505" y="61726"/>
                    <a:pt x="75505" y="61726"/>
                  </a:cubicBezTo>
                  <a:cubicBezTo>
                    <a:pt x="74831" y="61726"/>
                    <a:pt x="74831" y="61726"/>
                    <a:pt x="74831" y="61726"/>
                  </a:cubicBezTo>
                  <a:cubicBezTo>
                    <a:pt x="73483" y="61726"/>
                    <a:pt x="73483" y="61726"/>
                    <a:pt x="73483" y="61726"/>
                  </a:cubicBezTo>
                  <a:cubicBezTo>
                    <a:pt x="71460" y="61726"/>
                    <a:pt x="71460" y="61726"/>
                    <a:pt x="71460" y="61726"/>
                  </a:cubicBezTo>
                  <a:cubicBezTo>
                    <a:pt x="70112" y="61726"/>
                    <a:pt x="70112" y="61726"/>
                    <a:pt x="70112" y="61726"/>
                  </a:cubicBezTo>
                  <a:cubicBezTo>
                    <a:pt x="70112" y="61294"/>
                    <a:pt x="70112" y="61294"/>
                    <a:pt x="70112" y="61294"/>
                  </a:cubicBezTo>
                  <a:cubicBezTo>
                    <a:pt x="69438" y="61726"/>
                    <a:pt x="69438" y="61726"/>
                    <a:pt x="69438" y="61726"/>
                  </a:cubicBezTo>
                  <a:cubicBezTo>
                    <a:pt x="68764" y="60863"/>
                    <a:pt x="68764" y="60863"/>
                    <a:pt x="68764" y="60863"/>
                  </a:cubicBezTo>
                  <a:cubicBezTo>
                    <a:pt x="67415" y="60863"/>
                    <a:pt x="67415" y="60863"/>
                    <a:pt x="67415" y="60863"/>
                  </a:cubicBezTo>
                  <a:cubicBezTo>
                    <a:pt x="66067" y="60863"/>
                    <a:pt x="66067" y="60863"/>
                    <a:pt x="66067" y="60863"/>
                  </a:cubicBezTo>
                  <a:cubicBezTo>
                    <a:pt x="66067" y="60863"/>
                    <a:pt x="66067" y="61294"/>
                    <a:pt x="66741" y="61726"/>
                  </a:cubicBezTo>
                  <a:cubicBezTo>
                    <a:pt x="66741" y="61726"/>
                    <a:pt x="67415" y="62589"/>
                    <a:pt x="67415" y="62589"/>
                  </a:cubicBezTo>
                  <a:cubicBezTo>
                    <a:pt x="67415" y="62589"/>
                    <a:pt x="67415" y="63453"/>
                    <a:pt x="67415" y="63453"/>
                  </a:cubicBezTo>
                  <a:cubicBezTo>
                    <a:pt x="67415" y="63453"/>
                    <a:pt x="68764" y="64316"/>
                    <a:pt x="68764" y="64316"/>
                  </a:cubicBezTo>
                  <a:cubicBezTo>
                    <a:pt x="68764" y="64748"/>
                    <a:pt x="68764" y="64748"/>
                    <a:pt x="68764" y="64748"/>
                  </a:cubicBezTo>
                  <a:cubicBezTo>
                    <a:pt x="68764" y="64748"/>
                    <a:pt x="69438" y="65611"/>
                    <a:pt x="69438" y="65611"/>
                  </a:cubicBezTo>
                  <a:cubicBezTo>
                    <a:pt x="69438" y="65611"/>
                    <a:pt x="70786" y="66043"/>
                    <a:pt x="70786" y="66043"/>
                  </a:cubicBezTo>
                  <a:cubicBezTo>
                    <a:pt x="70786" y="66906"/>
                    <a:pt x="70786" y="66906"/>
                    <a:pt x="70786" y="66906"/>
                  </a:cubicBezTo>
                  <a:cubicBezTo>
                    <a:pt x="70112" y="67338"/>
                    <a:pt x="70112" y="67338"/>
                    <a:pt x="70112" y="67338"/>
                  </a:cubicBezTo>
                  <a:cubicBezTo>
                    <a:pt x="69438" y="67769"/>
                    <a:pt x="69438" y="67769"/>
                    <a:pt x="69438" y="67769"/>
                  </a:cubicBezTo>
                  <a:cubicBezTo>
                    <a:pt x="70112" y="68633"/>
                    <a:pt x="70112" y="68633"/>
                    <a:pt x="70112" y="68633"/>
                  </a:cubicBezTo>
                  <a:cubicBezTo>
                    <a:pt x="70112" y="69496"/>
                    <a:pt x="70112" y="69496"/>
                    <a:pt x="70112" y="69496"/>
                  </a:cubicBezTo>
                  <a:cubicBezTo>
                    <a:pt x="70786" y="69928"/>
                    <a:pt x="70786" y="69928"/>
                    <a:pt x="70786" y="69928"/>
                  </a:cubicBezTo>
                  <a:cubicBezTo>
                    <a:pt x="70786" y="70359"/>
                    <a:pt x="70786" y="70359"/>
                    <a:pt x="70786" y="70359"/>
                  </a:cubicBezTo>
                  <a:cubicBezTo>
                    <a:pt x="70112" y="70791"/>
                    <a:pt x="70112" y="70791"/>
                    <a:pt x="70112" y="70791"/>
                  </a:cubicBezTo>
                  <a:cubicBezTo>
                    <a:pt x="70112" y="71654"/>
                    <a:pt x="70112" y="71654"/>
                    <a:pt x="70112" y="71654"/>
                  </a:cubicBezTo>
                  <a:cubicBezTo>
                    <a:pt x="70786" y="72517"/>
                    <a:pt x="70786" y="72517"/>
                    <a:pt x="70786" y="72517"/>
                  </a:cubicBezTo>
                  <a:cubicBezTo>
                    <a:pt x="71460" y="73381"/>
                    <a:pt x="71460" y="73381"/>
                    <a:pt x="71460" y="73381"/>
                  </a:cubicBezTo>
                  <a:cubicBezTo>
                    <a:pt x="72808" y="73381"/>
                    <a:pt x="72808" y="73381"/>
                    <a:pt x="72808" y="73381"/>
                  </a:cubicBezTo>
                  <a:cubicBezTo>
                    <a:pt x="72808" y="74244"/>
                    <a:pt x="72808" y="74244"/>
                    <a:pt x="72808" y="74244"/>
                  </a:cubicBezTo>
                  <a:cubicBezTo>
                    <a:pt x="72134" y="74676"/>
                    <a:pt x="72134" y="74676"/>
                    <a:pt x="72134" y="74676"/>
                  </a:cubicBezTo>
                  <a:cubicBezTo>
                    <a:pt x="72134" y="74676"/>
                    <a:pt x="72134" y="75107"/>
                    <a:pt x="72134" y="75107"/>
                  </a:cubicBezTo>
                  <a:cubicBezTo>
                    <a:pt x="72808" y="75107"/>
                    <a:pt x="73483" y="75539"/>
                    <a:pt x="73483" y="75539"/>
                  </a:cubicBezTo>
                  <a:cubicBezTo>
                    <a:pt x="74831" y="75107"/>
                    <a:pt x="74831" y="75107"/>
                    <a:pt x="74831" y="75107"/>
                  </a:cubicBezTo>
                  <a:cubicBezTo>
                    <a:pt x="74831" y="75107"/>
                    <a:pt x="75505" y="75107"/>
                    <a:pt x="75505" y="75107"/>
                  </a:cubicBezTo>
                  <a:cubicBezTo>
                    <a:pt x="75505" y="75539"/>
                    <a:pt x="76179" y="76402"/>
                    <a:pt x="76179" y="76402"/>
                  </a:cubicBezTo>
                  <a:cubicBezTo>
                    <a:pt x="76853" y="76834"/>
                    <a:pt x="76853" y="76834"/>
                    <a:pt x="76853" y="76834"/>
                  </a:cubicBezTo>
                  <a:cubicBezTo>
                    <a:pt x="76853" y="77697"/>
                    <a:pt x="76853" y="77697"/>
                    <a:pt x="76853" y="77697"/>
                  </a:cubicBezTo>
                  <a:cubicBezTo>
                    <a:pt x="75505" y="78561"/>
                    <a:pt x="75505" y="78561"/>
                    <a:pt x="75505" y="78561"/>
                  </a:cubicBezTo>
                  <a:cubicBezTo>
                    <a:pt x="74157" y="79424"/>
                    <a:pt x="74157" y="79424"/>
                    <a:pt x="74157" y="79424"/>
                  </a:cubicBezTo>
                  <a:cubicBezTo>
                    <a:pt x="73483" y="79856"/>
                    <a:pt x="73483" y="79856"/>
                    <a:pt x="73483" y="79856"/>
                  </a:cubicBezTo>
                  <a:cubicBezTo>
                    <a:pt x="73483" y="80719"/>
                    <a:pt x="73483" y="80719"/>
                    <a:pt x="73483" y="80719"/>
                  </a:cubicBezTo>
                  <a:cubicBezTo>
                    <a:pt x="72808" y="81151"/>
                    <a:pt x="72808" y="81151"/>
                    <a:pt x="72808" y="81151"/>
                  </a:cubicBezTo>
                  <a:cubicBezTo>
                    <a:pt x="71460" y="81582"/>
                    <a:pt x="71460" y="81582"/>
                    <a:pt x="71460" y="81582"/>
                  </a:cubicBezTo>
                  <a:cubicBezTo>
                    <a:pt x="70112" y="82014"/>
                    <a:pt x="70112" y="82014"/>
                    <a:pt x="70112" y="82014"/>
                  </a:cubicBezTo>
                  <a:cubicBezTo>
                    <a:pt x="69438" y="82014"/>
                    <a:pt x="69438" y="82014"/>
                    <a:pt x="69438" y="82014"/>
                  </a:cubicBezTo>
                  <a:cubicBezTo>
                    <a:pt x="68764" y="82446"/>
                    <a:pt x="68764" y="82446"/>
                    <a:pt x="68764" y="82446"/>
                  </a:cubicBezTo>
                  <a:cubicBezTo>
                    <a:pt x="66741" y="82877"/>
                    <a:pt x="66741" y="82877"/>
                    <a:pt x="66741" y="82877"/>
                  </a:cubicBezTo>
                  <a:cubicBezTo>
                    <a:pt x="66067" y="82877"/>
                    <a:pt x="66067" y="82877"/>
                    <a:pt x="66067" y="82877"/>
                  </a:cubicBezTo>
                  <a:cubicBezTo>
                    <a:pt x="64719" y="84604"/>
                    <a:pt x="64719" y="84604"/>
                    <a:pt x="64719" y="84604"/>
                  </a:cubicBezTo>
                  <a:cubicBezTo>
                    <a:pt x="64719" y="84604"/>
                    <a:pt x="64719" y="85467"/>
                    <a:pt x="64719" y="85467"/>
                  </a:cubicBezTo>
                  <a:cubicBezTo>
                    <a:pt x="64719" y="85467"/>
                    <a:pt x="65393" y="85899"/>
                    <a:pt x="65393" y="85899"/>
                  </a:cubicBezTo>
                  <a:cubicBezTo>
                    <a:pt x="65393" y="85899"/>
                    <a:pt x="64044" y="86762"/>
                    <a:pt x="64044" y="86762"/>
                  </a:cubicBezTo>
                  <a:cubicBezTo>
                    <a:pt x="64044" y="86762"/>
                    <a:pt x="62696" y="87194"/>
                    <a:pt x="62696" y="87194"/>
                  </a:cubicBezTo>
                  <a:cubicBezTo>
                    <a:pt x="62022" y="88057"/>
                    <a:pt x="62022" y="88057"/>
                    <a:pt x="62022" y="88057"/>
                  </a:cubicBezTo>
                  <a:cubicBezTo>
                    <a:pt x="62696" y="88489"/>
                    <a:pt x="62696" y="88489"/>
                    <a:pt x="62696" y="88489"/>
                  </a:cubicBezTo>
                  <a:cubicBezTo>
                    <a:pt x="61348" y="88489"/>
                    <a:pt x="61348" y="88489"/>
                    <a:pt x="61348" y="88489"/>
                  </a:cubicBezTo>
                  <a:cubicBezTo>
                    <a:pt x="62022" y="89352"/>
                    <a:pt x="62022" y="89352"/>
                    <a:pt x="62022" y="89352"/>
                  </a:cubicBezTo>
                  <a:cubicBezTo>
                    <a:pt x="61348" y="89784"/>
                    <a:pt x="61348" y="89784"/>
                    <a:pt x="61348" y="89784"/>
                  </a:cubicBezTo>
                  <a:cubicBezTo>
                    <a:pt x="62022" y="90215"/>
                    <a:pt x="62022" y="90215"/>
                    <a:pt x="62022" y="90215"/>
                  </a:cubicBezTo>
                  <a:cubicBezTo>
                    <a:pt x="62022" y="90215"/>
                    <a:pt x="62696" y="91510"/>
                    <a:pt x="62696" y="91510"/>
                  </a:cubicBezTo>
                  <a:cubicBezTo>
                    <a:pt x="62696" y="91942"/>
                    <a:pt x="63370" y="92374"/>
                    <a:pt x="63370" y="92374"/>
                  </a:cubicBezTo>
                  <a:cubicBezTo>
                    <a:pt x="63370" y="92374"/>
                    <a:pt x="64044" y="92805"/>
                    <a:pt x="64044" y="92805"/>
                  </a:cubicBezTo>
                  <a:cubicBezTo>
                    <a:pt x="64044" y="93237"/>
                    <a:pt x="64044" y="93669"/>
                    <a:pt x="64044" y="94100"/>
                  </a:cubicBezTo>
                  <a:cubicBezTo>
                    <a:pt x="64044" y="94532"/>
                    <a:pt x="64719" y="95395"/>
                    <a:pt x="64719" y="95395"/>
                  </a:cubicBezTo>
                  <a:cubicBezTo>
                    <a:pt x="65393" y="96258"/>
                    <a:pt x="65393" y="96258"/>
                    <a:pt x="65393" y="96258"/>
                  </a:cubicBezTo>
                  <a:cubicBezTo>
                    <a:pt x="65393" y="96258"/>
                    <a:pt x="65393" y="96690"/>
                    <a:pt x="65393" y="96690"/>
                  </a:cubicBezTo>
                  <a:cubicBezTo>
                    <a:pt x="66067" y="96690"/>
                    <a:pt x="67415" y="96690"/>
                    <a:pt x="67415" y="96690"/>
                  </a:cubicBezTo>
                  <a:cubicBezTo>
                    <a:pt x="67415" y="96690"/>
                    <a:pt x="68764" y="96690"/>
                    <a:pt x="68764" y="96690"/>
                  </a:cubicBezTo>
                  <a:cubicBezTo>
                    <a:pt x="68764" y="96690"/>
                    <a:pt x="69438" y="96258"/>
                    <a:pt x="70112" y="96690"/>
                  </a:cubicBezTo>
                  <a:cubicBezTo>
                    <a:pt x="70112" y="96690"/>
                    <a:pt x="70112" y="97122"/>
                    <a:pt x="70112" y="97122"/>
                  </a:cubicBezTo>
                  <a:cubicBezTo>
                    <a:pt x="70112" y="97122"/>
                    <a:pt x="70112" y="97553"/>
                    <a:pt x="70112" y="97553"/>
                  </a:cubicBezTo>
                  <a:cubicBezTo>
                    <a:pt x="67415" y="99280"/>
                    <a:pt x="67415" y="99280"/>
                    <a:pt x="67415" y="99280"/>
                  </a:cubicBezTo>
                  <a:cubicBezTo>
                    <a:pt x="67415" y="100575"/>
                    <a:pt x="67415" y="100575"/>
                    <a:pt x="67415" y="100575"/>
                  </a:cubicBezTo>
                  <a:cubicBezTo>
                    <a:pt x="67415" y="100575"/>
                    <a:pt x="66741" y="100575"/>
                    <a:pt x="66741" y="100575"/>
                  </a:cubicBezTo>
                  <a:cubicBezTo>
                    <a:pt x="66067" y="100575"/>
                    <a:pt x="65393" y="100575"/>
                    <a:pt x="65393" y="100575"/>
                  </a:cubicBezTo>
                  <a:cubicBezTo>
                    <a:pt x="64044" y="99712"/>
                    <a:pt x="64044" y="99712"/>
                    <a:pt x="64044" y="99712"/>
                  </a:cubicBezTo>
                  <a:cubicBezTo>
                    <a:pt x="62696" y="100143"/>
                    <a:pt x="62696" y="100143"/>
                    <a:pt x="62696" y="100143"/>
                  </a:cubicBezTo>
                  <a:cubicBezTo>
                    <a:pt x="62696" y="100575"/>
                    <a:pt x="62696" y="100575"/>
                    <a:pt x="62696" y="100575"/>
                  </a:cubicBezTo>
                  <a:cubicBezTo>
                    <a:pt x="62696" y="100575"/>
                    <a:pt x="61348" y="100575"/>
                    <a:pt x="61348" y="100575"/>
                  </a:cubicBezTo>
                  <a:cubicBezTo>
                    <a:pt x="61348" y="100575"/>
                    <a:pt x="59325" y="100575"/>
                    <a:pt x="59325" y="100575"/>
                  </a:cubicBezTo>
                  <a:cubicBezTo>
                    <a:pt x="58651" y="101007"/>
                    <a:pt x="58651" y="101007"/>
                    <a:pt x="58651" y="101007"/>
                  </a:cubicBezTo>
                  <a:cubicBezTo>
                    <a:pt x="57977" y="102733"/>
                    <a:pt x="57977" y="102733"/>
                    <a:pt x="57977" y="102733"/>
                  </a:cubicBezTo>
                  <a:cubicBezTo>
                    <a:pt x="56629" y="103597"/>
                    <a:pt x="56629" y="103597"/>
                    <a:pt x="56629" y="103597"/>
                  </a:cubicBezTo>
                  <a:cubicBezTo>
                    <a:pt x="55280" y="104028"/>
                    <a:pt x="55280" y="104028"/>
                    <a:pt x="55280" y="104028"/>
                  </a:cubicBezTo>
                  <a:cubicBezTo>
                    <a:pt x="53932" y="104892"/>
                    <a:pt x="53932" y="104892"/>
                    <a:pt x="53932" y="104892"/>
                  </a:cubicBezTo>
                  <a:cubicBezTo>
                    <a:pt x="51910" y="105323"/>
                    <a:pt x="51910" y="105323"/>
                    <a:pt x="51910" y="105323"/>
                  </a:cubicBezTo>
                  <a:cubicBezTo>
                    <a:pt x="51910" y="105323"/>
                    <a:pt x="51235" y="105755"/>
                    <a:pt x="51235" y="105755"/>
                  </a:cubicBezTo>
                  <a:cubicBezTo>
                    <a:pt x="51235" y="106187"/>
                    <a:pt x="50561" y="107482"/>
                    <a:pt x="50561" y="107482"/>
                  </a:cubicBezTo>
                  <a:cubicBezTo>
                    <a:pt x="50561" y="107482"/>
                    <a:pt x="49213" y="107913"/>
                    <a:pt x="49213" y="108345"/>
                  </a:cubicBezTo>
                  <a:cubicBezTo>
                    <a:pt x="49213" y="108345"/>
                    <a:pt x="47865" y="108776"/>
                    <a:pt x="47865" y="108776"/>
                  </a:cubicBezTo>
                  <a:cubicBezTo>
                    <a:pt x="47865" y="108776"/>
                    <a:pt x="47865" y="109640"/>
                    <a:pt x="47865" y="109640"/>
                  </a:cubicBezTo>
                  <a:cubicBezTo>
                    <a:pt x="47865" y="109640"/>
                    <a:pt x="48539" y="110503"/>
                    <a:pt x="48539" y="110503"/>
                  </a:cubicBezTo>
                  <a:cubicBezTo>
                    <a:pt x="48539" y="111798"/>
                    <a:pt x="48539" y="111798"/>
                    <a:pt x="48539" y="111798"/>
                  </a:cubicBezTo>
                  <a:cubicBezTo>
                    <a:pt x="48539" y="112661"/>
                    <a:pt x="48539" y="112661"/>
                    <a:pt x="48539" y="112661"/>
                  </a:cubicBezTo>
                  <a:cubicBezTo>
                    <a:pt x="49213" y="113525"/>
                    <a:pt x="49213" y="113525"/>
                    <a:pt x="49213" y="113525"/>
                  </a:cubicBezTo>
                  <a:cubicBezTo>
                    <a:pt x="48539" y="114388"/>
                    <a:pt x="48539" y="114388"/>
                    <a:pt x="48539" y="114388"/>
                  </a:cubicBezTo>
                  <a:cubicBezTo>
                    <a:pt x="47865" y="115683"/>
                    <a:pt x="47865" y="115683"/>
                    <a:pt x="47865" y="115683"/>
                  </a:cubicBezTo>
                  <a:cubicBezTo>
                    <a:pt x="47865" y="116115"/>
                    <a:pt x="47865" y="116115"/>
                    <a:pt x="47865" y="116115"/>
                  </a:cubicBezTo>
                  <a:cubicBezTo>
                    <a:pt x="47865" y="116978"/>
                    <a:pt x="47865" y="116978"/>
                    <a:pt x="47865" y="116978"/>
                  </a:cubicBezTo>
                  <a:cubicBezTo>
                    <a:pt x="47865" y="118705"/>
                    <a:pt x="47865" y="118705"/>
                    <a:pt x="47865" y="118705"/>
                  </a:cubicBezTo>
                  <a:cubicBezTo>
                    <a:pt x="45842" y="118273"/>
                    <a:pt x="45842" y="118273"/>
                    <a:pt x="45842" y="118273"/>
                  </a:cubicBezTo>
                  <a:cubicBezTo>
                    <a:pt x="43820" y="118273"/>
                    <a:pt x="43820" y="118273"/>
                    <a:pt x="43820" y="118273"/>
                  </a:cubicBezTo>
                  <a:cubicBezTo>
                    <a:pt x="41797" y="118705"/>
                    <a:pt x="41797" y="118705"/>
                    <a:pt x="41797" y="118705"/>
                  </a:cubicBezTo>
                  <a:cubicBezTo>
                    <a:pt x="39101" y="119568"/>
                    <a:pt x="39101" y="119568"/>
                    <a:pt x="39101" y="119568"/>
                  </a:cubicBezTo>
                  <a:cubicBezTo>
                    <a:pt x="35056" y="120000"/>
                    <a:pt x="35056" y="120000"/>
                    <a:pt x="35056" y="120000"/>
                  </a:cubicBezTo>
                  <a:cubicBezTo>
                    <a:pt x="31685" y="120000"/>
                    <a:pt x="31685" y="120000"/>
                    <a:pt x="31685" y="120000"/>
                  </a:cubicBezTo>
                  <a:cubicBezTo>
                    <a:pt x="29662" y="119568"/>
                    <a:pt x="29662" y="119568"/>
                    <a:pt x="29662" y="119568"/>
                  </a:cubicBezTo>
                  <a:cubicBezTo>
                    <a:pt x="28314" y="119136"/>
                    <a:pt x="28314" y="119136"/>
                    <a:pt x="28314" y="119136"/>
                  </a:cubicBezTo>
                  <a:cubicBezTo>
                    <a:pt x="26966" y="118273"/>
                    <a:pt x="26966" y="118273"/>
                    <a:pt x="26966" y="118273"/>
                  </a:cubicBezTo>
                  <a:cubicBezTo>
                    <a:pt x="24943" y="116978"/>
                    <a:pt x="24943" y="116978"/>
                    <a:pt x="24943" y="116978"/>
                  </a:cubicBezTo>
                  <a:cubicBezTo>
                    <a:pt x="22921" y="116978"/>
                    <a:pt x="22921" y="116978"/>
                    <a:pt x="22921" y="116978"/>
                  </a:cubicBezTo>
                  <a:cubicBezTo>
                    <a:pt x="21573" y="116546"/>
                    <a:pt x="21573" y="116546"/>
                    <a:pt x="21573" y="116546"/>
                  </a:cubicBezTo>
                  <a:cubicBezTo>
                    <a:pt x="20224" y="116115"/>
                    <a:pt x="20224" y="116115"/>
                    <a:pt x="20224" y="116115"/>
                  </a:cubicBezTo>
                  <a:cubicBezTo>
                    <a:pt x="18876" y="115683"/>
                    <a:pt x="18876" y="115683"/>
                    <a:pt x="18876" y="115683"/>
                  </a:cubicBezTo>
                  <a:cubicBezTo>
                    <a:pt x="17528" y="115683"/>
                    <a:pt x="17528" y="115683"/>
                    <a:pt x="17528" y="115683"/>
                  </a:cubicBezTo>
                  <a:cubicBezTo>
                    <a:pt x="14831" y="114820"/>
                    <a:pt x="14831" y="114820"/>
                    <a:pt x="14831" y="114820"/>
                  </a:cubicBezTo>
                  <a:cubicBezTo>
                    <a:pt x="12134" y="113956"/>
                    <a:pt x="12134" y="113956"/>
                    <a:pt x="12134" y="113956"/>
                  </a:cubicBezTo>
                  <a:cubicBezTo>
                    <a:pt x="10786" y="114388"/>
                    <a:pt x="10786" y="114388"/>
                    <a:pt x="10786" y="114388"/>
                  </a:cubicBezTo>
                  <a:cubicBezTo>
                    <a:pt x="10786" y="114820"/>
                    <a:pt x="10786" y="114820"/>
                    <a:pt x="10786" y="114820"/>
                  </a:cubicBezTo>
                  <a:cubicBezTo>
                    <a:pt x="8764" y="114388"/>
                    <a:pt x="8764" y="114388"/>
                    <a:pt x="8764" y="114388"/>
                  </a:cubicBezTo>
                  <a:cubicBezTo>
                    <a:pt x="7415" y="114388"/>
                    <a:pt x="7415" y="114388"/>
                    <a:pt x="7415" y="114388"/>
                  </a:cubicBezTo>
                  <a:cubicBezTo>
                    <a:pt x="6067" y="114388"/>
                    <a:pt x="6067" y="114388"/>
                    <a:pt x="6067" y="114388"/>
                  </a:cubicBezTo>
                  <a:cubicBezTo>
                    <a:pt x="3370" y="114820"/>
                    <a:pt x="3370" y="114820"/>
                    <a:pt x="3370" y="114820"/>
                  </a:cubicBezTo>
                  <a:cubicBezTo>
                    <a:pt x="1348" y="115251"/>
                    <a:pt x="1348" y="115251"/>
                    <a:pt x="1348" y="115251"/>
                  </a:cubicBezTo>
                  <a:cubicBezTo>
                    <a:pt x="0" y="114820"/>
                    <a:pt x="0" y="114820"/>
                    <a:pt x="0" y="114820"/>
                  </a:cubicBezTo>
                  <a:cubicBezTo>
                    <a:pt x="1348" y="113956"/>
                    <a:pt x="1348" y="113956"/>
                    <a:pt x="1348" y="113956"/>
                  </a:cubicBezTo>
                  <a:cubicBezTo>
                    <a:pt x="2696" y="112661"/>
                    <a:pt x="2696" y="112661"/>
                    <a:pt x="2696" y="112661"/>
                  </a:cubicBezTo>
                  <a:cubicBezTo>
                    <a:pt x="4044" y="112230"/>
                    <a:pt x="4044" y="112230"/>
                    <a:pt x="4044" y="112230"/>
                  </a:cubicBezTo>
                  <a:cubicBezTo>
                    <a:pt x="4719" y="110935"/>
                    <a:pt x="4719" y="110935"/>
                    <a:pt x="4719" y="110935"/>
                  </a:cubicBezTo>
                  <a:cubicBezTo>
                    <a:pt x="6741" y="110071"/>
                    <a:pt x="6741" y="110071"/>
                    <a:pt x="6741" y="110071"/>
                  </a:cubicBezTo>
                  <a:cubicBezTo>
                    <a:pt x="6741" y="108776"/>
                    <a:pt x="6741" y="108776"/>
                    <a:pt x="6741" y="108776"/>
                  </a:cubicBezTo>
                  <a:cubicBezTo>
                    <a:pt x="8089" y="107050"/>
                    <a:pt x="8089" y="107050"/>
                    <a:pt x="8089" y="107050"/>
                  </a:cubicBezTo>
                  <a:cubicBezTo>
                    <a:pt x="8089" y="107050"/>
                    <a:pt x="9438" y="107050"/>
                    <a:pt x="9438" y="106618"/>
                  </a:cubicBezTo>
                  <a:cubicBezTo>
                    <a:pt x="10112" y="105755"/>
                    <a:pt x="10112" y="105323"/>
                    <a:pt x="10786" y="104892"/>
                  </a:cubicBezTo>
                  <a:cubicBezTo>
                    <a:pt x="10786" y="104460"/>
                    <a:pt x="11460" y="104460"/>
                    <a:pt x="11460" y="104028"/>
                  </a:cubicBezTo>
                  <a:cubicBezTo>
                    <a:pt x="11460" y="103597"/>
                    <a:pt x="10786" y="102302"/>
                    <a:pt x="10786" y="102302"/>
                  </a:cubicBezTo>
                  <a:cubicBezTo>
                    <a:pt x="10786" y="102302"/>
                    <a:pt x="12134" y="100575"/>
                    <a:pt x="12134" y="100575"/>
                  </a:cubicBezTo>
                  <a:cubicBezTo>
                    <a:pt x="12808" y="100143"/>
                    <a:pt x="12808" y="98417"/>
                    <a:pt x="12808" y="98417"/>
                  </a:cubicBezTo>
                  <a:cubicBezTo>
                    <a:pt x="12808" y="98417"/>
                    <a:pt x="13483" y="97553"/>
                    <a:pt x="14157" y="97122"/>
                  </a:cubicBezTo>
                  <a:cubicBezTo>
                    <a:pt x="14157" y="96690"/>
                    <a:pt x="14157" y="95395"/>
                    <a:pt x="14157" y="95395"/>
                  </a:cubicBezTo>
                  <a:cubicBezTo>
                    <a:pt x="12808" y="94100"/>
                    <a:pt x="12808" y="94100"/>
                    <a:pt x="12808" y="94100"/>
                  </a:cubicBezTo>
                  <a:cubicBezTo>
                    <a:pt x="14157" y="92374"/>
                    <a:pt x="14157" y="92374"/>
                    <a:pt x="14157" y="92374"/>
                  </a:cubicBezTo>
                  <a:cubicBezTo>
                    <a:pt x="16179" y="90215"/>
                    <a:pt x="16179" y="90215"/>
                    <a:pt x="16179" y="90215"/>
                  </a:cubicBezTo>
                  <a:cubicBezTo>
                    <a:pt x="18202" y="88057"/>
                    <a:pt x="18202" y="88057"/>
                    <a:pt x="18202" y="88057"/>
                  </a:cubicBezTo>
                  <a:cubicBezTo>
                    <a:pt x="18876" y="85899"/>
                    <a:pt x="18876" y="85899"/>
                    <a:pt x="18876" y="85899"/>
                  </a:cubicBezTo>
                  <a:cubicBezTo>
                    <a:pt x="18876" y="85899"/>
                    <a:pt x="18876" y="85035"/>
                    <a:pt x="18876" y="84604"/>
                  </a:cubicBezTo>
                  <a:cubicBezTo>
                    <a:pt x="18876" y="84604"/>
                    <a:pt x="18876" y="83741"/>
                    <a:pt x="18876" y="83741"/>
                  </a:cubicBezTo>
                  <a:cubicBezTo>
                    <a:pt x="18876" y="83741"/>
                    <a:pt x="18876" y="82877"/>
                    <a:pt x="18876" y="82877"/>
                  </a:cubicBezTo>
                  <a:cubicBezTo>
                    <a:pt x="18876" y="82877"/>
                    <a:pt x="18202" y="82014"/>
                    <a:pt x="18202" y="82014"/>
                  </a:cubicBezTo>
                  <a:cubicBezTo>
                    <a:pt x="17528" y="80719"/>
                    <a:pt x="17528" y="80719"/>
                    <a:pt x="17528" y="80719"/>
                  </a:cubicBezTo>
                  <a:cubicBezTo>
                    <a:pt x="16853" y="81151"/>
                    <a:pt x="16853" y="81151"/>
                    <a:pt x="16853" y="81151"/>
                  </a:cubicBezTo>
                  <a:cubicBezTo>
                    <a:pt x="16853" y="81151"/>
                    <a:pt x="16179" y="81582"/>
                    <a:pt x="15505" y="81151"/>
                  </a:cubicBezTo>
                  <a:cubicBezTo>
                    <a:pt x="15505" y="81151"/>
                    <a:pt x="12808" y="81151"/>
                    <a:pt x="12808" y="81151"/>
                  </a:cubicBezTo>
                  <a:cubicBezTo>
                    <a:pt x="11460" y="81582"/>
                    <a:pt x="11460" y="81582"/>
                    <a:pt x="11460" y="81582"/>
                  </a:cubicBezTo>
                  <a:cubicBezTo>
                    <a:pt x="9438" y="81151"/>
                    <a:pt x="9438" y="81151"/>
                    <a:pt x="9438" y="81151"/>
                  </a:cubicBezTo>
                  <a:cubicBezTo>
                    <a:pt x="9438" y="81151"/>
                    <a:pt x="8764" y="81582"/>
                    <a:pt x="8089" y="81582"/>
                  </a:cubicBezTo>
                  <a:cubicBezTo>
                    <a:pt x="8089" y="81582"/>
                    <a:pt x="7415" y="81582"/>
                    <a:pt x="7415" y="81151"/>
                  </a:cubicBezTo>
                  <a:cubicBezTo>
                    <a:pt x="7415" y="81151"/>
                    <a:pt x="9438" y="79856"/>
                    <a:pt x="9438" y="79856"/>
                  </a:cubicBezTo>
                  <a:cubicBezTo>
                    <a:pt x="9438" y="79856"/>
                    <a:pt x="9438" y="79856"/>
                    <a:pt x="9438" y="79424"/>
                  </a:cubicBezTo>
                  <a:cubicBezTo>
                    <a:pt x="9438" y="78992"/>
                    <a:pt x="9438" y="78129"/>
                    <a:pt x="9438" y="78129"/>
                  </a:cubicBezTo>
                  <a:cubicBezTo>
                    <a:pt x="9438" y="77697"/>
                    <a:pt x="8764" y="76402"/>
                    <a:pt x="8764" y="76402"/>
                  </a:cubicBezTo>
                  <a:cubicBezTo>
                    <a:pt x="8764" y="76402"/>
                    <a:pt x="8089" y="75971"/>
                    <a:pt x="8764" y="75539"/>
                  </a:cubicBezTo>
                  <a:cubicBezTo>
                    <a:pt x="8764" y="75107"/>
                    <a:pt x="9438" y="75107"/>
                    <a:pt x="9438" y="75107"/>
                  </a:cubicBezTo>
                  <a:cubicBezTo>
                    <a:pt x="8089" y="74676"/>
                    <a:pt x="8089" y="74676"/>
                    <a:pt x="8089" y="74676"/>
                  </a:cubicBezTo>
                  <a:cubicBezTo>
                    <a:pt x="8089" y="74676"/>
                    <a:pt x="8089" y="74676"/>
                    <a:pt x="7415" y="74676"/>
                  </a:cubicBezTo>
                  <a:cubicBezTo>
                    <a:pt x="6741" y="75107"/>
                    <a:pt x="6067" y="75107"/>
                    <a:pt x="6067" y="75107"/>
                  </a:cubicBezTo>
                  <a:cubicBezTo>
                    <a:pt x="5393" y="74244"/>
                    <a:pt x="5393" y="74244"/>
                    <a:pt x="5393" y="74244"/>
                  </a:cubicBezTo>
                  <a:cubicBezTo>
                    <a:pt x="5393" y="74244"/>
                    <a:pt x="4719" y="74676"/>
                    <a:pt x="4719" y="74244"/>
                  </a:cubicBezTo>
                  <a:cubicBezTo>
                    <a:pt x="4044" y="74244"/>
                    <a:pt x="2696" y="73812"/>
                    <a:pt x="2696" y="73812"/>
                  </a:cubicBezTo>
                  <a:cubicBezTo>
                    <a:pt x="2696" y="73812"/>
                    <a:pt x="2696" y="72949"/>
                    <a:pt x="2696" y="72949"/>
                  </a:cubicBezTo>
                  <a:cubicBezTo>
                    <a:pt x="3370" y="72517"/>
                    <a:pt x="3370" y="72517"/>
                    <a:pt x="3370" y="72086"/>
                  </a:cubicBezTo>
                  <a:cubicBezTo>
                    <a:pt x="3370" y="71654"/>
                    <a:pt x="3370" y="71223"/>
                    <a:pt x="4044" y="70791"/>
                  </a:cubicBezTo>
                  <a:cubicBezTo>
                    <a:pt x="4044" y="70359"/>
                    <a:pt x="4719" y="69928"/>
                    <a:pt x="5393" y="69928"/>
                  </a:cubicBezTo>
                  <a:cubicBezTo>
                    <a:pt x="6067" y="69496"/>
                    <a:pt x="6067" y="69496"/>
                    <a:pt x="6067" y="69496"/>
                  </a:cubicBezTo>
                  <a:cubicBezTo>
                    <a:pt x="7415" y="67769"/>
                    <a:pt x="7415" y="67769"/>
                    <a:pt x="7415" y="67769"/>
                  </a:cubicBezTo>
                  <a:cubicBezTo>
                    <a:pt x="7415" y="67769"/>
                    <a:pt x="7415" y="66906"/>
                    <a:pt x="7415" y="66906"/>
                  </a:cubicBezTo>
                  <a:cubicBezTo>
                    <a:pt x="7415" y="66906"/>
                    <a:pt x="8089" y="66043"/>
                    <a:pt x="8089" y="65611"/>
                  </a:cubicBezTo>
                  <a:cubicBezTo>
                    <a:pt x="8089" y="65611"/>
                    <a:pt x="8764" y="64748"/>
                    <a:pt x="8764" y="64748"/>
                  </a:cubicBezTo>
                  <a:cubicBezTo>
                    <a:pt x="8764" y="64748"/>
                    <a:pt x="9438" y="64316"/>
                    <a:pt x="9438" y="63884"/>
                  </a:cubicBezTo>
                  <a:cubicBezTo>
                    <a:pt x="10112" y="63884"/>
                    <a:pt x="11460" y="63021"/>
                    <a:pt x="11460" y="63021"/>
                  </a:cubicBezTo>
                  <a:cubicBezTo>
                    <a:pt x="11460" y="63021"/>
                    <a:pt x="12134" y="61726"/>
                    <a:pt x="12134" y="61726"/>
                  </a:cubicBezTo>
                  <a:cubicBezTo>
                    <a:pt x="12134" y="61726"/>
                    <a:pt x="12808" y="60431"/>
                    <a:pt x="12808" y="60431"/>
                  </a:cubicBezTo>
                  <a:cubicBezTo>
                    <a:pt x="12134" y="59568"/>
                    <a:pt x="12134" y="59568"/>
                    <a:pt x="12134" y="59568"/>
                  </a:cubicBezTo>
                  <a:cubicBezTo>
                    <a:pt x="11460" y="59136"/>
                    <a:pt x="11460" y="59136"/>
                    <a:pt x="11460" y="59136"/>
                  </a:cubicBezTo>
                  <a:cubicBezTo>
                    <a:pt x="12808" y="58705"/>
                    <a:pt x="12808" y="58705"/>
                    <a:pt x="12808" y="58705"/>
                  </a:cubicBezTo>
                  <a:cubicBezTo>
                    <a:pt x="12808" y="58705"/>
                    <a:pt x="12808" y="58705"/>
                    <a:pt x="13483" y="58705"/>
                  </a:cubicBezTo>
                  <a:cubicBezTo>
                    <a:pt x="14157" y="58705"/>
                    <a:pt x="14831" y="58273"/>
                    <a:pt x="14831" y="58273"/>
                  </a:cubicBezTo>
                  <a:cubicBezTo>
                    <a:pt x="15505" y="58273"/>
                    <a:pt x="16853" y="57841"/>
                    <a:pt x="16853" y="57841"/>
                  </a:cubicBezTo>
                  <a:cubicBezTo>
                    <a:pt x="16853" y="57410"/>
                    <a:pt x="17528" y="57410"/>
                    <a:pt x="17528" y="57410"/>
                  </a:cubicBezTo>
                  <a:cubicBezTo>
                    <a:pt x="18202" y="57410"/>
                    <a:pt x="19550" y="56978"/>
                    <a:pt x="19550" y="56978"/>
                  </a:cubicBezTo>
                  <a:cubicBezTo>
                    <a:pt x="19550" y="56978"/>
                    <a:pt x="20224" y="56546"/>
                    <a:pt x="20224" y="56546"/>
                  </a:cubicBezTo>
                  <a:cubicBezTo>
                    <a:pt x="20224" y="56115"/>
                    <a:pt x="20224" y="56115"/>
                    <a:pt x="20224" y="56115"/>
                  </a:cubicBezTo>
                  <a:cubicBezTo>
                    <a:pt x="21573" y="55683"/>
                    <a:pt x="21573" y="55683"/>
                    <a:pt x="21573" y="55683"/>
                  </a:cubicBezTo>
                  <a:cubicBezTo>
                    <a:pt x="21573" y="55683"/>
                    <a:pt x="22247" y="55251"/>
                    <a:pt x="22247" y="54820"/>
                  </a:cubicBezTo>
                  <a:cubicBezTo>
                    <a:pt x="22247" y="54820"/>
                    <a:pt x="22921" y="53956"/>
                    <a:pt x="22921" y="53956"/>
                  </a:cubicBezTo>
                  <a:cubicBezTo>
                    <a:pt x="22921" y="53525"/>
                    <a:pt x="24943" y="52230"/>
                    <a:pt x="24943" y="52230"/>
                  </a:cubicBezTo>
                  <a:cubicBezTo>
                    <a:pt x="27640" y="49208"/>
                    <a:pt x="27640" y="49208"/>
                    <a:pt x="27640" y="49208"/>
                  </a:cubicBezTo>
                  <a:cubicBezTo>
                    <a:pt x="33707" y="43165"/>
                    <a:pt x="33707" y="43165"/>
                    <a:pt x="33707" y="43165"/>
                  </a:cubicBezTo>
                  <a:cubicBezTo>
                    <a:pt x="33033" y="42302"/>
                    <a:pt x="33033" y="42302"/>
                    <a:pt x="33033" y="42302"/>
                  </a:cubicBezTo>
                  <a:cubicBezTo>
                    <a:pt x="35056" y="40143"/>
                    <a:pt x="35056" y="40143"/>
                    <a:pt x="35056" y="40143"/>
                  </a:cubicBezTo>
                  <a:cubicBezTo>
                    <a:pt x="38426" y="36690"/>
                    <a:pt x="38426" y="36690"/>
                    <a:pt x="38426" y="36690"/>
                  </a:cubicBezTo>
                  <a:cubicBezTo>
                    <a:pt x="41797" y="31942"/>
                    <a:pt x="41797" y="31942"/>
                    <a:pt x="41797" y="31942"/>
                  </a:cubicBezTo>
                  <a:cubicBezTo>
                    <a:pt x="43820" y="29352"/>
                    <a:pt x="43820" y="29352"/>
                    <a:pt x="43820" y="29352"/>
                  </a:cubicBezTo>
                  <a:cubicBezTo>
                    <a:pt x="46516" y="26330"/>
                    <a:pt x="46516" y="26330"/>
                    <a:pt x="46516" y="26330"/>
                  </a:cubicBezTo>
                  <a:cubicBezTo>
                    <a:pt x="47865" y="23741"/>
                    <a:pt x="47865" y="23741"/>
                    <a:pt x="47865" y="23741"/>
                  </a:cubicBezTo>
                  <a:cubicBezTo>
                    <a:pt x="47865" y="20719"/>
                    <a:pt x="47865" y="20719"/>
                    <a:pt x="47865" y="20719"/>
                  </a:cubicBezTo>
                  <a:cubicBezTo>
                    <a:pt x="47865" y="18561"/>
                    <a:pt x="47865" y="18561"/>
                    <a:pt x="47865" y="18561"/>
                  </a:cubicBezTo>
                  <a:cubicBezTo>
                    <a:pt x="47865" y="16834"/>
                    <a:pt x="47865" y="16834"/>
                    <a:pt x="47865" y="16834"/>
                  </a:cubicBezTo>
                  <a:cubicBezTo>
                    <a:pt x="47865" y="15971"/>
                    <a:pt x="47865" y="15971"/>
                    <a:pt x="47865" y="15971"/>
                  </a:cubicBezTo>
                  <a:cubicBezTo>
                    <a:pt x="47865" y="15107"/>
                    <a:pt x="47865" y="15107"/>
                    <a:pt x="47865" y="15107"/>
                  </a:cubicBezTo>
                  <a:cubicBezTo>
                    <a:pt x="47191" y="13812"/>
                    <a:pt x="47191" y="13812"/>
                    <a:pt x="47191" y="13812"/>
                  </a:cubicBezTo>
                  <a:cubicBezTo>
                    <a:pt x="48539" y="12949"/>
                    <a:pt x="48539" y="12949"/>
                    <a:pt x="48539" y="12949"/>
                  </a:cubicBezTo>
                  <a:cubicBezTo>
                    <a:pt x="48539" y="12086"/>
                    <a:pt x="48539" y="12086"/>
                    <a:pt x="48539" y="12086"/>
                  </a:cubicBezTo>
                  <a:cubicBezTo>
                    <a:pt x="48539" y="11223"/>
                    <a:pt x="48539" y="11223"/>
                    <a:pt x="48539" y="11223"/>
                  </a:cubicBezTo>
                  <a:cubicBezTo>
                    <a:pt x="48539" y="10359"/>
                    <a:pt x="48539" y="10359"/>
                    <a:pt x="48539" y="10359"/>
                  </a:cubicBezTo>
                  <a:cubicBezTo>
                    <a:pt x="49213" y="9496"/>
                    <a:pt x="49213" y="9496"/>
                    <a:pt x="49213" y="9496"/>
                  </a:cubicBezTo>
                  <a:cubicBezTo>
                    <a:pt x="48539" y="8201"/>
                    <a:pt x="48539" y="8201"/>
                    <a:pt x="48539" y="8201"/>
                  </a:cubicBezTo>
                  <a:cubicBezTo>
                    <a:pt x="49213" y="7338"/>
                    <a:pt x="49213" y="7338"/>
                    <a:pt x="49213" y="7338"/>
                  </a:cubicBezTo>
                  <a:cubicBezTo>
                    <a:pt x="48539" y="6906"/>
                    <a:pt x="48539" y="6906"/>
                    <a:pt x="48539" y="6906"/>
                  </a:cubicBezTo>
                  <a:cubicBezTo>
                    <a:pt x="49213" y="5611"/>
                    <a:pt x="49213" y="5611"/>
                    <a:pt x="49213" y="5611"/>
                  </a:cubicBezTo>
                  <a:cubicBezTo>
                    <a:pt x="49213" y="4748"/>
                    <a:pt x="49213" y="4748"/>
                    <a:pt x="49213" y="4748"/>
                  </a:cubicBezTo>
                  <a:lnTo>
                    <a:pt x="49887" y="3884"/>
                  </a:lnTo>
                  <a:close/>
                </a:path>
              </a:pathLst>
            </a:custGeom>
            <a:grpFill/>
            <a:ln w="3175" cap="flat" cmpd="sng">
              <a:solidFill>
                <a:schemeClr val="tx1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defTabSz="457178"/>
              <a:endParaRPr kern="0">
                <a:solidFill>
                  <a:srgbClr val="7F7F7F"/>
                </a:solidFill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39" name="Shape 2046">
              <a:extLst>
                <a:ext uri="{FF2B5EF4-FFF2-40B4-BE49-F238E27FC236}">
                  <a16:creationId xmlns:a16="http://schemas.microsoft.com/office/drawing/2014/main" id="{EDC9395C-BCE6-4BC7-AE0E-0D8E184F2E3B}"/>
                </a:ext>
              </a:extLst>
            </p:cNvPr>
            <p:cNvSpPr/>
            <p:nvPr/>
          </p:nvSpPr>
          <p:spPr>
            <a:xfrm>
              <a:off x="4704932" y="2283682"/>
              <a:ext cx="711330" cy="913063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5769" y="94430"/>
                  </a:moveTo>
                  <a:cubicBezTo>
                    <a:pt x="105769" y="94430"/>
                    <a:pt x="105769" y="94430"/>
                    <a:pt x="105769" y="94430"/>
                  </a:cubicBezTo>
                  <a:cubicBezTo>
                    <a:pt x="105769" y="95302"/>
                    <a:pt x="105769" y="95302"/>
                    <a:pt x="105769" y="95302"/>
                  </a:cubicBezTo>
                  <a:cubicBezTo>
                    <a:pt x="106153" y="96755"/>
                    <a:pt x="106153" y="96755"/>
                    <a:pt x="106153" y="96755"/>
                  </a:cubicBezTo>
                  <a:cubicBezTo>
                    <a:pt x="106153" y="97627"/>
                    <a:pt x="106153" y="97627"/>
                    <a:pt x="106153" y="97627"/>
                  </a:cubicBezTo>
                  <a:cubicBezTo>
                    <a:pt x="106153" y="97627"/>
                    <a:pt x="105769" y="98208"/>
                    <a:pt x="105384" y="98208"/>
                  </a:cubicBezTo>
                  <a:cubicBezTo>
                    <a:pt x="105384" y="98208"/>
                    <a:pt x="105000" y="98498"/>
                    <a:pt x="104615" y="98498"/>
                  </a:cubicBezTo>
                  <a:cubicBezTo>
                    <a:pt x="104230" y="98208"/>
                    <a:pt x="103846" y="97917"/>
                    <a:pt x="103846" y="97917"/>
                  </a:cubicBezTo>
                  <a:cubicBezTo>
                    <a:pt x="101538" y="97917"/>
                    <a:pt x="101538" y="97917"/>
                    <a:pt x="101538" y="97917"/>
                  </a:cubicBezTo>
                  <a:cubicBezTo>
                    <a:pt x="101538" y="97917"/>
                    <a:pt x="101538" y="98498"/>
                    <a:pt x="101538" y="98789"/>
                  </a:cubicBezTo>
                  <a:cubicBezTo>
                    <a:pt x="101153" y="99370"/>
                    <a:pt x="101153" y="99370"/>
                    <a:pt x="101153" y="99370"/>
                  </a:cubicBezTo>
                  <a:cubicBezTo>
                    <a:pt x="101153" y="100823"/>
                    <a:pt x="101153" y="100823"/>
                    <a:pt x="101153" y="100823"/>
                  </a:cubicBezTo>
                  <a:cubicBezTo>
                    <a:pt x="99230" y="102276"/>
                    <a:pt x="99230" y="102276"/>
                    <a:pt x="99230" y="102276"/>
                  </a:cubicBezTo>
                  <a:cubicBezTo>
                    <a:pt x="98846" y="102276"/>
                    <a:pt x="98846" y="102276"/>
                    <a:pt x="98846" y="102276"/>
                  </a:cubicBezTo>
                  <a:cubicBezTo>
                    <a:pt x="98846" y="102276"/>
                    <a:pt x="98461" y="102566"/>
                    <a:pt x="98461" y="102566"/>
                  </a:cubicBezTo>
                  <a:cubicBezTo>
                    <a:pt x="98461" y="102566"/>
                    <a:pt x="96538" y="103147"/>
                    <a:pt x="96538" y="103147"/>
                  </a:cubicBezTo>
                  <a:cubicBezTo>
                    <a:pt x="95769" y="103728"/>
                    <a:pt x="95769" y="103728"/>
                    <a:pt x="95769" y="103728"/>
                  </a:cubicBezTo>
                  <a:cubicBezTo>
                    <a:pt x="95384" y="103728"/>
                    <a:pt x="95384" y="103728"/>
                    <a:pt x="95384" y="103728"/>
                  </a:cubicBezTo>
                  <a:cubicBezTo>
                    <a:pt x="95384" y="103728"/>
                    <a:pt x="94230" y="104309"/>
                    <a:pt x="93461" y="104891"/>
                  </a:cubicBezTo>
                  <a:cubicBezTo>
                    <a:pt x="92307" y="105472"/>
                    <a:pt x="92307" y="105472"/>
                    <a:pt x="92307" y="105472"/>
                  </a:cubicBezTo>
                  <a:cubicBezTo>
                    <a:pt x="92307" y="105472"/>
                    <a:pt x="92307" y="105472"/>
                    <a:pt x="92307" y="105472"/>
                  </a:cubicBezTo>
                  <a:cubicBezTo>
                    <a:pt x="92307" y="105472"/>
                    <a:pt x="92307" y="105472"/>
                    <a:pt x="92307" y="105472"/>
                  </a:cubicBezTo>
                  <a:cubicBezTo>
                    <a:pt x="93076" y="106924"/>
                    <a:pt x="93076" y="106924"/>
                    <a:pt x="93076" y="106924"/>
                  </a:cubicBezTo>
                  <a:cubicBezTo>
                    <a:pt x="94230" y="107796"/>
                    <a:pt x="94230" y="107796"/>
                    <a:pt x="94230" y="107796"/>
                  </a:cubicBezTo>
                  <a:cubicBezTo>
                    <a:pt x="95384" y="109249"/>
                    <a:pt x="95384" y="109249"/>
                    <a:pt x="95384" y="109249"/>
                  </a:cubicBezTo>
                  <a:cubicBezTo>
                    <a:pt x="95384" y="110121"/>
                    <a:pt x="95384" y="110121"/>
                    <a:pt x="95384" y="110121"/>
                  </a:cubicBezTo>
                  <a:cubicBezTo>
                    <a:pt x="95384" y="110121"/>
                    <a:pt x="94615" y="110702"/>
                    <a:pt x="94615" y="110702"/>
                  </a:cubicBezTo>
                  <a:cubicBezTo>
                    <a:pt x="94615" y="110992"/>
                    <a:pt x="94230" y="111573"/>
                    <a:pt x="94615" y="111573"/>
                  </a:cubicBezTo>
                  <a:cubicBezTo>
                    <a:pt x="95000" y="111573"/>
                    <a:pt x="96538" y="111864"/>
                    <a:pt x="96538" y="111864"/>
                  </a:cubicBezTo>
                  <a:cubicBezTo>
                    <a:pt x="96538" y="111864"/>
                    <a:pt x="96923" y="111864"/>
                    <a:pt x="96923" y="111864"/>
                  </a:cubicBezTo>
                  <a:cubicBezTo>
                    <a:pt x="97307" y="111864"/>
                    <a:pt x="97307" y="112154"/>
                    <a:pt x="97307" y="112154"/>
                  </a:cubicBezTo>
                  <a:cubicBezTo>
                    <a:pt x="97307" y="113317"/>
                    <a:pt x="97307" y="113317"/>
                    <a:pt x="97307" y="113317"/>
                  </a:cubicBezTo>
                  <a:cubicBezTo>
                    <a:pt x="97307" y="113317"/>
                    <a:pt x="97307" y="113607"/>
                    <a:pt x="97307" y="114769"/>
                  </a:cubicBezTo>
                  <a:cubicBezTo>
                    <a:pt x="97307" y="115932"/>
                    <a:pt x="96923" y="115641"/>
                    <a:pt x="96923" y="115641"/>
                  </a:cubicBezTo>
                  <a:cubicBezTo>
                    <a:pt x="96923" y="115641"/>
                    <a:pt x="95000" y="115060"/>
                    <a:pt x="95000" y="115060"/>
                  </a:cubicBezTo>
                  <a:cubicBezTo>
                    <a:pt x="95000" y="115060"/>
                    <a:pt x="94230" y="114479"/>
                    <a:pt x="94230" y="114479"/>
                  </a:cubicBezTo>
                  <a:cubicBezTo>
                    <a:pt x="93846" y="114188"/>
                    <a:pt x="93846" y="113898"/>
                    <a:pt x="93846" y="113607"/>
                  </a:cubicBezTo>
                  <a:cubicBezTo>
                    <a:pt x="93846" y="113317"/>
                    <a:pt x="94230" y="112736"/>
                    <a:pt x="94230" y="112736"/>
                  </a:cubicBezTo>
                  <a:cubicBezTo>
                    <a:pt x="94230" y="112736"/>
                    <a:pt x="92692" y="112445"/>
                    <a:pt x="92692" y="112445"/>
                  </a:cubicBezTo>
                  <a:cubicBezTo>
                    <a:pt x="92692" y="112445"/>
                    <a:pt x="91538" y="112445"/>
                    <a:pt x="91153" y="112445"/>
                  </a:cubicBezTo>
                  <a:cubicBezTo>
                    <a:pt x="90769" y="112445"/>
                    <a:pt x="90384" y="113026"/>
                    <a:pt x="90384" y="113026"/>
                  </a:cubicBezTo>
                  <a:cubicBezTo>
                    <a:pt x="90000" y="113317"/>
                    <a:pt x="89615" y="113026"/>
                    <a:pt x="89230" y="113026"/>
                  </a:cubicBezTo>
                  <a:cubicBezTo>
                    <a:pt x="89230" y="113026"/>
                    <a:pt x="88846" y="112445"/>
                    <a:pt x="88846" y="112445"/>
                  </a:cubicBezTo>
                  <a:cubicBezTo>
                    <a:pt x="88461" y="112445"/>
                    <a:pt x="86923" y="112154"/>
                    <a:pt x="86538" y="112154"/>
                  </a:cubicBezTo>
                  <a:cubicBezTo>
                    <a:pt x="86538" y="112154"/>
                    <a:pt x="85769" y="112154"/>
                    <a:pt x="85000" y="112154"/>
                  </a:cubicBezTo>
                  <a:cubicBezTo>
                    <a:pt x="84615" y="112445"/>
                    <a:pt x="85000" y="112445"/>
                    <a:pt x="85384" y="113317"/>
                  </a:cubicBezTo>
                  <a:cubicBezTo>
                    <a:pt x="85384" y="114188"/>
                    <a:pt x="85000" y="113607"/>
                    <a:pt x="84615" y="113607"/>
                  </a:cubicBezTo>
                  <a:cubicBezTo>
                    <a:pt x="84230" y="113607"/>
                    <a:pt x="84230" y="113607"/>
                    <a:pt x="83461" y="113607"/>
                  </a:cubicBezTo>
                  <a:cubicBezTo>
                    <a:pt x="82692" y="113607"/>
                    <a:pt x="82307" y="113607"/>
                    <a:pt x="81538" y="113607"/>
                  </a:cubicBezTo>
                  <a:cubicBezTo>
                    <a:pt x="81153" y="113898"/>
                    <a:pt x="81153" y="113898"/>
                    <a:pt x="81153" y="114188"/>
                  </a:cubicBezTo>
                  <a:cubicBezTo>
                    <a:pt x="80769" y="114479"/>
                    <a:pt x="80000" y="114479"/>
                    <a:pt x="79615" y="114479"/>
                  </a:cubicBezTo>
                  <a:cubicBezTo>
                    <a:pt x="79230" y="114479"/>
                    <a:pt x="77692" y="114479"/>
                    <a:pt x="77692" y="114479"/>
                  </a:cubicBezTo>
                  <a:cubicBezTo>
                    <a:pt x="77307" y="114479"/>
                    <a:pt x="76923" y="115060"/>
                    <a:pt x="76538" y="115351"/>
                  </a:cubicBezTo>
                  <a:cubicBezTo>
                    <a:pt x="76538" y="115351"/>
                    <a:pt x="75000" y="115351"/>
                    <a:pt x="75000" y="115351"/>
                  </a:cubicBezTo>
                  <a:cubicBezTo>
                    <a:pt x="74615" y="115641"/>
                    <a:pt x="74615" y="115641"/>
                    <a:pt x="74230" y="115932"/>
                  </a:cubicBezTo>
                  <a:cubicBezTo>
                    <a:pt x="73461" y="116222"/>
                    <a:pt x="73461" y="116222"/>
                    <a:pt x="73076" y="116803"/>
                  </a:cubicBezTo>
                  <a:cubicBezTo>
                    <a:pt x="72307" y="117384"/>
                    <a:pt x="72692" y="117094"/>
                    <a:pt x="71153" y="116803"/>
                  </a:cubicBezTo>
                  <a:cubicBezTo>
                    <a:pt x="70000" y="116803"/>
                    <a:pt x="70769" y="117094"/>
                    <a:pt x="70384" y="117094"/>
                  </a:cubicBezTo>
                  <a:cubicBezTo>
                    <a:pt x="70000" y="117094"/>
                    <a:pt x="69615" y="117384"/>
                    <a:pt x="69230" y="117675"/>
                  </a:cubicBezTo>
                  <a:cubicBezTo>
                    <a:pt x="69230" y="117966"/>
                    <a:pt x="68461" y="117384"/>
                    <a:pt x="68076" y="117384"/>
                  </a:cubicBezTo>
                  <a:cubicBezTo>
                    <a:pt x="67692" y="117675"/>
                    <a:pt x="67692" y="117094"/>
                    <a:pt x="67692" y="116222"/>
                  </a:cubicBezTo>
                  <a:cubicBezTo>
                    <a:pt x="67307" y="115641"/>
                    <a:pt x="66538" y="115641"/>
                    <a:pt x="66538" y="115641"/>
                  </a:cubicBezTo>
                  <a:cubicBezTo>
                    <a:pt x="66538" y="115641"/>
                    <a:pt x="65769" y="115641"/>
                    <a:pt x="65769" y="115351"/>
                  </a:cubicBezTo>
                  <a:cubicBezTo>
                    <a:pt x="65769" y="115060"/>
                    <a:pt x="64230" y="115060"/>
                    <a:pt x="63846" y="115060"/>
                  </a:cubicBezTo>
                  <a:cubicBezTo>
                    <a:pt x="63846" y="115060"/>
                    <a:pt x="62692" y="115060"/>
                    <a:pt x="62692" y="115060"/>
                  </a:cubicBezTo>
                  <a:cubicBezTo>
                    <a:pt x="62692" y="115060"/>
                    <a:pt x="61538" y="115060"/>
                    <a:pt x="61538" y="115351"/>
                  </a:cubicBezTo>
                  <a:cubicBezTo>
                    <a:pt x="61538" y="115351"/>
                    <a:pt x="61153" y="115351"/>
                    <a:pt x="60384" y="115641"/>
                  </a:cubicBezTo>
                  <a:cubicBezTo>
                    <a:pt x="59230" y="115932"/>
                    <a:pt x="60000" y="115641"/>
                    <a:pt x="60000" y="116222"/>
                  </a:cubicBezTo>
                  <a:cubicBezTo>
                    <a:pt x="60384" y="116513"/>
                    <a:pt x="60384" y="116803"/>
                    <a:pt x="60384" y="116803"/>
                  </a:cubicBezTo>
                  <a:cubicBezTo>
                    <a:pt x="60769" y="117094"/>
                    <a:pt x="60384" y="116803"/>
                    <a:pt x="60384" y="117384"/>
                  </a:cubicBezTo>
                  <a:cubicBezTo>
                    <a:pt x="60000" y="117966"/>
                    <a:pt x="60000" y="117675"/>
                    <a:pt x="60000" y="118256"/>
                  </a:cubicBezTo>
                  <a:cubicBezTo>
                    <a:pt x="59615" y="118547"/>
                    <a:pt x="59615" y="118256"/>
                    <a:pt x="59230" y="119128"/>
                  </a:cubicBezTo>
                  <a:cubicBezTo>
                    <a:pt x="58846" y="119709"/>
                    <a:pt x="59230" y="119128"/>
                    <a:pt x="58846" y="119709"/>
                  </a:cubicBezTo>
                  <a:cubicBezTo>
                    <a:pt x="58461" y="120000"/>
                    <a:pt x="57692" y="119709"/>
                    <a:pt x="56923" y="119418"/>
                  </a:cubicBezTo>
                  <a:cubicBezTo>
                    <a:pt x="56538" y="119418"/>
                    <a:pt x="56923" y="119128"/>
                    <a:pt x="56923" y="118547"/>
                  </a:cubicBezTo>
                  <a:cubicBezTo>
                    <a:pt x="57307" y="117966"/>
                    <a:pt x="56923" y="118256"/>
                    <a:pt x="56923" y="117966"/>
                  </a:cubicBezTo>
                  <a:cubicBezTo>
                    <a:pt x="56923" y="117675"/>
                    <a:pt x="56538" y="117966"/>
                    <a:pt x="55769" y="118256"/>
                  </a:cubicBezTo>
                  <a:cubicBezTo>
                    <a:pt x="55384" y="118256"/>
                    <a:pt x="55384" y="117675"/>
                    <a:pt x="55769" y="117094"/>
                  </a:cubicBezTo>
                  <a:cubicBezTo>
                    <a:pt x="55769" y="116513"/>
                    <a:pt x="55384" y="116803"/>
                    <a:pt x="55384" y="116513"/>
                  </a:cubicBezTo>
                  <a:cubicBezTo>
                    <a:pt x="55384" y="116513"/>
                    <a:pt x="55000" y="116222"/>
                    <a:pt x="54615" y="116222"/>
                  </a:cubicBezTo>
                  <a:cubicBezTo>
                    <a:pt x="54230" y="116222"/>
                    <a:pt x="53846" y="115932"/>
                    <a:pt x="53846" y="115932"/>
                  </a:cubicBezTo>
                  <a:cubicBezTo>
                    <a:pt x="53461" y="115641"/>
                    <a:pt x="52692" y="115060"/>
                    <a:pt x="52307" y="114769"/>
                  </a:cubicBezTo>
                  <a:cubicBezTo>
                    <a:pt x="51538" y="114479"/>
                    <a:pt x="50769" y="114769"/>
                    <a:pt x="50769" y="114769"/>
                  </a:cubicBezTo>
                  <a:cubicBezTo>
                    <a:pt x="50769" y="114769"/>
                    <a:pt x="50000" y="115351"/>
                    <a:pt x="49230" y="115932"/>
                  </a:cubicBezTo>
                  <a:cubicBezTo>
                    <a:pt x="49230" y="115932"/>
                    <a:pt x="49230" y="116222"/>
                    <a:pt x="49230" y="116222"/>
                  </a:cubicBezTo>
                  <a:cubicBezTo>
                    <a:pt x="48846" y="116222"/>
                    <a:pt x="48846" y="116222"/>
                    <a:pt x="48846" y="115932"/>
                  </a:cubicBezTo>
                  <a:cubicBezTo>
                    <a:pt x="48846" y="115932"/>
                    <a:pt x="48461" y="115641"/>
                    <a:pt x="48461" y="115641"/>
                  </a:cubicBezTo>
                  <a:cubicBezTo>
                    <a:pt x="48461" y="115641"/>
                    <a:pt x="48461" y="115060"/>
                    <a:pt x="48076" y="115060"/>
                  </a:cubicBezTo>
                  <a:cubicBezTo>
                    <a:pt x="48076" y="115060"/>
                    <a:pt x="47692" y="115060"/>
                    <a:pt x="47307" y="114769"/>
                  </a:cubicBezTo>
                  <a:cubicBezTo>
                    <a:pt x="46923" y="114769"/>
                    <a:pt x="46538" y="114479"/>
                    <a:pt x="46538" y="114479"/>
                  </a:cubicBezTo>
                  <a:cubicBezTo>
                    <a:pt x="46153" y="114479"/>
                    <a:pt x="45384" y="113898"/>
                    <a:pt x="45384" y="113898"/>
                  </a:cubicBezTo>
                  <a:cubicBezTo>
                    <a:pt x="45384" y="113898"/>
                    <a:pt x="45384" y="113898"/>
                    <a:pt x="45000" y="113898"/>
                  </a:cubicBezTo>
                  <a:cubicBezTo>
                    <a:pt x="45000" y="113898"/>
                    <a:pt x="44615" y="113607"/>
                    <a:pt x="44615" y="113607"/>
                  </a:cubicBezTo>
                  <a:cubicBezTo>
                    <a:pt x="44230" y="113607"/>
                    <a:pt x="44230" y="113607"/>
                    <a:pt x="44230" y="113607"/>
                  </a:cubicBezTo>
                  <a:cubicBezTo>
                    <a:pt x="44230" y="113607"/>
                    <a:pt x="44230" y="113607"/>
                    <a:pt x="44230" y="113607"/>
                  </a:cubicBezTo>
                  <a:cubicBezTo>
                    <a:pt x="43846" y="113607"/>
                    <a:pt x="43846" y="113607"/>
                    <a:pt x="43461" y="113317"/>
                  </a:cubicBezTo>
                  <a:cubicBezTo>
                    <a:pt x="42692" y="113317"/>
                    <a:pt x="43076" y="113317"/>
                    <a:pt x="42307" y="113317"/>
                  </a:cubicBezTo>
                  <a:cubicBezTo>
                    <a:pt x="41923" y="113317"/>
                    <a:pt x="41538" y="113317"/>
                    <a:pt x="41538" y="113317"/>
                  </a:cubicBezTo>
                  <a:cubicBezTo>
                    <a:pt x="41538" y="113317"/>
                    <a:pt x="41153" y="113026"/>
                    <a:pt x="40384" y="113026"/>
                  </a:cubicBezTo>
                  <a:cubicBezTo>
                    <a:pt x="40000" y="113317"/>
                    <a:pt x="39230" y="113607"/>
                    <a:pt x="38846" y="113607"/>
                  </a:cubicBezTo>
                  <a:cubicBezTo>
                    <a:pt x="38846" y="113607"/>
                    <a:pt x="38461" y="113317"/>
                    <a:pt x="38461" y="113317"/>
                  </a:cubicBezTo>
                  <a:cubicBezTo>
                    <a:pt x="38461" y="113317"/>
                    <a:pt x="38461" y="113026"/>
                    <a:pt x="38461" y="113026"/>
                  </a:cubicBezTo>
                  <a:cubicBezTo>
                    <a:pt x="38461" y="113026"/>
                    <a:pt x="38076" y="112736"/>
                    <a:pt x="37692" y="112445"/>
                  </a:cubicBezTo>
                  <a:cubicBezTo>
                    <a:pt x="37692" y="112445"/>
                    <a:pt x="37307" y="112445"/>
                    <a:pt x="37307" y="112445"/>
                  </a:cubicBezTo>
                  <a:cubicBezTo>
                    <a:pt x="37307" y="112445"/>
                    <a:pt x="37307" y="112445"/>
                    <a:pt x="37307" y="112736"/>
                  </a:cubicBezTo>
                  <a:cubicBezTo>
                    <a:pt x="37307" y="113026"/>
                    <a:pt x="38076" y="113026"/>
                    <a:pt x="37307" y="113026"/>
                  </a:cubicBezTo>
                  <a:cubicBezTo>
                    <a:pt x="36923" y="112736"/>
                    <a:pt x="36538" y="112736"/>
                    <a:pt x="36538" y="112736"/>
                  </a:cubicBezTo>
                  <a:cubicBezTo>
                    <a:pt x="35384" y="113026"/>
                    <a:pt x="35384" y="113026"/>
                    <a:pt x="35384" y="113026"/>
                  </a:cubicBezTo>
                  <a:cubicBezTo>
                    <a:pt x="35769" y="112736"/>
                    <a:pt x="35769" y="112736"/>
                    <a:pt x="35769" y="112736"/>
                  </a:cubicBezTo>
                  <a:cubicBezTo>
                    <a:pt x="35769" y="112736"/>
                    <a:pt x="36153" y="112736"/>
                    <a:pt x="36153" y="112736"/>
                  </a:cubicBezTo>
                  <a:cubicBezTo>
                    <a:pt x="36153" y="112445"/>
                    <a:pt x="36153" y="112445"/>
                    <a:pt x="36153" y="112445"/>
                  </a:cubicBezTo>
                  <a:cubicBezTo>
                    <a:pt x="36153" y="112445"/>
                    <a:pt x="36153" y="112154"/>
                    <a:pt x="36153" y="112154"/>
                  </a:cubicBezTo>
                  <a:cubicBezTo>
                    <a:pt x="36538" y="112154"/>
                    <a:pt x="36923" y="111864"/>
                    <a:pt x="36538" y="111864"/>
                  </a:cubicBezTo>
                  <a:cubicBezTo>
                    <a:pt x="36153" y="111864"/>
                    <a:pt x="35769" y="111864"/>
                    <a:pt x="35769" y="111864"/>
                  </a:cubicBezTo>
                  <a:cubicBezTo>
                    <a:pt x="35769" y="111573"/>
                    <a:pt x="35769" y="111573"/>
                    <a:pt x="35769" y="111573"/>
                  </a:cubicBezTo>
                  <a:cubicBezTo>
                    <a:pt x="35769" y="111573"/>
                    <a:pt x="35384" y="111283"/>
                    <a:pt x="35384" y="111283"/>
                  </a:cubicBezTo>
                  <a:cubicBezTo>
                    <a:pt x="35384" y="111573"/>
                    <a:pt x="35384" y="111864"/>
                    <a:pt x="35384" y="111864"/>
                  </a:cubicBezTo>
                  <a:cubicBezTo>
                    <a:pt x="35000" y="111864"/>
                    <a:pt x="35000" y="111864"/>
                    <a:pt x="35000" y="111573"/>
                  </a:cubicBezTo>
                  <a:cubicBezTo>
                    <a:pt x="35000" y="111283"/>
                    <a:pt x="35000" y="111283"/>
                    <a:pt x="35000" y="111283"/>
                  </a:cubicBezTo>
                  <a:cubicBezTo>
                    <a:pt x="34615" y="111283"/>
                    <a:pt x="34230" y="111283"/>
                    <a:pt x="34230" y="111283"/>
                  </a:cubicBezTo>
                  <a:cubicBezTo>
                    <a:pt x="34230" y="111283"/>
                    <a:pt x="34615" y="111573"/>
                    <a:pt x="33846" y="111573"/>
                  </a:cubicBezTo>
                  <a:cubicBezTo>
                    <a:pt x="33461" y="111573"/>
                    <a:pt x="33076" y="111864"/>
                    <a:pt x="32692" y="111864"/>
                  </a:cubicBezTo>
                  <a:cubicBezTo>
                    <a:pt x="32307" y="112154"/>
                    <a:pt x="32307" y="112445"/>
                    <a:pt x="32307" y="112445"/>
                  </a:cubicBezTo>
                  <a:cubicBezTo>
                    <a:pt x="32307" y="112736"/>
                    <a:pt x="31538" y="112736"/>
                    <a:pt x="31538" y="113026"/>
                  </a:cubicBezTo>
                  <a:cubicBezTo>
                    <a:pt x="31923" y="113026"/>
                    <a:pt x="31538" y="113026"/>
                    <a:pt x="32307" y="113317"/>
                  </a:cubicBezTo>
                  <a:cubicBezTo>
                    <a:pt x="32692" y="113317"/>
                    <a:pt x="32692" y="113317"/>
                    <a:pt x="33076" y="113317"/>
                  </a:cubicBezTo>
                  <a:cubicBezTo>
                    <a:pt x="33461" y="113607"/>
                    <a:pt x="33846" y="113317"/>
                    <a:pt x="33846" y="113317"/>
                  </a:cubicBezTo>
                  <a:cubicBezTo>
                    <a:pt x="33846" y="113317"/>
                    <a:pt x="33846" y="113317"/>
                    <a:pt x="34230" y="113607"/>
                  </a:cubicBezTo>
                  <a:cubicBezTo>
                    <a:pt x="34230" y="113607"/>
                    <a:pt x="34615" y="113317"/>
                    <a:pt x="34615" y="113607"/>
                  </a:cubicBezTo>
                  <a:cubicBezTo>
                    <a:pt x="34615" y="113898"/>
                    <a:pt x="35000" y="114188"/>
                    <a:pt x="34615" y="114188"/>
                  </a:cubicBezTo>
                  <a:cubicBezTo>
                    <a:pt x="34230" y="114188"/>
                    <a:pt x="33846" y="114479"/>
                    <a:pt x="33846" y="114188"/>
                  </a:cubicBezTo>
                  <a:cubicBezTo>
                    <a:pt x="33846" y="114188"/>
                    <a:pt x="33846" y="113898"/>
                    <a:pt x="33461" y="113898"/>
                  </a:cubicBezTo>
                  <a:cubicBezTo>
                    <a:pt x="33461" y="113898"/>
                    <a:pt x="33076" y="113898"/>
                    <a:pt x="33076" y="113898"/>
                  </a:cubicBezTo>
                  <a:cubicBezTo>
                    <a:pt x="32692" y="114479"/>
                    <a:pt x="32692" y="114479"/>
                    <a:pt x="32692" y="114479"/>
                  </a:cubicBezTo>
                  <a:cubicBezTo>
                    <a:pt x="32692" y="114479"/>
                    <a:pt x="32692" y="114769"/>
                    <a:pt x="32307" y="114769"/>
                  </a:cubicBezTo>
                  <a:cubicBezTo>
                    <a:pt x="31923" y="114769"/>
                    <a:pt x="32307" y="114769"/>
                    <a:pt x="31538" y="114769"/>
                  </a:cubicBezTo>
                  <a:cubicBezTo>
                    <a:pt x="30769" y="114769"/>
                    <a:pt x="30769" y="114479"/>
                    <a:pt x="30384" y="114479"/>
                  </a:cubicBezTo>
                  <a:cubicBezTo>
                    <a:pt x="30384" y="114479"/>
                    <a:pt x="30384" y="114479"/>
                    <a:pt x="30000" y="114479"/>
                  </a:cubicBezTo>
                  <a:cubicBezTo>
                    <a:pt x="30000" y="114479"/>
                    <a:pt x="29230" y="113898"/>
                    <a:pt x="28846" y="114479"/>
                  </a:cubicBezTo>
                  <a:cubicBezTo>
                    <a:pt x="28461" y="114769"/>
                    <a:pt x="28076" y="115060"/>
                    <a:pt x="28076" y="115060"/>
                  </a:cubicBezTo>
                  <a:cubicBezTo>
                    <a:pt x="26923" y="115060"/>
                    <a:pt x="26923" y="115060"/>
                    <a:pt x="26923" y="115060"/>
                  </a:cubicBezTo>
                  <a:cubicBezTo>
                    <a:pt x="26923" y="115060"/>
                    <a:pt x="26538" y="115060"/>
                    <a:pt x="26153" y="115060"/>
                  </a:cubicBezTo>
                  <a:cubicBezTo>
                    <a:pt x="25769" y="115060"/>
                    <a:pt x="25384" y="115060"/>
                    <a:pt x="25384" y="115060"/>
                  </a:cubicBezTo>
                  <a:cubicBezTo>
                    <a:pt x="25000" y="115351"/>
                    <a:pt x="24615" y="114479"/>
                    <a:pt x="24615" y="114479"/>
                  </a:cubicBezTo>
                  <a:cubicBezTo>
                    <a:pt x="24615" y="114479"/>
                    <a:pt x="25000" y="113898"/>
                    <a:pt x="23846" y="114479"/>
                  </a:cubicBezTo>
                  <a:cubicBezTo>
                    <a:pt x="22692" y="115060"/>
                    <a:pt x="22307" y="115060"/>
                    <a:pt x="22307" y="115060"/>
                  </a:cubicBezTo>
                  <a:cubicBezTo>
                    <a:pt x="22307" y="115060"/>
                    <a:pt x="21923" y="115060"/>
                    <a:pt x="21923" y="115351"/>
                  </a:cubicBezTo>
                  <a:cubicBezTo>
                    <a:pt x="21923" y="115060"/>
                    <a:pt x="21923" y="115060"/>
                    <a:pt x="21923" y="115060"/>
                  </a:cubicBezTo>
                  <a:cubicBezTo>
                    <a:pt x="21923" y="115060"/>
                    <a:pt x="21923" y="115060"/>
                    <a:pt x="21923" y="115060"/>
                  </a:cubicBezTo>
                  <a:cubicBezTo>
                    <a:pt x="21923" y="115060"/>
                    <a:pt x="21923" y="115060"/>
                    <a:pt x="21923" y="115060"/>
                  </a:cubicBezTo>
                  <a:cubicBezTo>
                    <a:pt x="21923" y="115060"/>
                    <a:pt x="21923" y="115060"/>
                    <a:pt x="21923" y="115060"/>
                  </a:cubicBezTo>
                  <a:cubicBezTo>
                    <a:pt x="21923" y="115060"/>
                    <a:pt x="21923" y="115060"/>
                    <a:pt x="21923" y="115060"/>
                  </a:cubicBezTo>
                  <a:cubicBezTo>
                    <a:pt x="21923" y="115060"/>
                    <a:pt x="21923" y="115060"/>
                    <a:pt x="21923" y="115060"/>
                  </a:cubicBezTo>
                  <a:cubicBezTo>
                    <a:pt x="21538" y="115060"/>
                    <a:pt x="21538" y="115060"/>
                    <a:pt x="21538" y="114769"/>
                  </a:cubicBezTo>
                  <a:cubicBezTo>
                    <a:pt x="21538" y="114769"/>
                    <a:pt x="21538" y="114769"/>
                    <a:pt x="21538" y="114769"/>
                  </a:cubicBezTo>
                  <a:cubicBezTo>
                    <a:pt x="21538" y="114769"/>
                    <a:pt x="21153" y="114769"/>
                    <a:pt x="21153" y="114479"/>
                  </a:cubicBezTo>
                  <a:cubicBezTo>
                    <a:pt x="20384" y="113898"/>
                    <a:pt x="19230" y="112736"/>
                    <a:pt x="19230" y="112736"/>
                  </a:cubicBezTo>
                  <a:cubicBezTo>
                    <a:pt x="20000" y="111573"/>
                    <a:pt x="20000" y="111573"/>
                    <a:pt x="20000" y="111573"/>
                  </a:cubicBezTo>
                  <a:cubicBezTo>
                    <a:pt x="20000" y="111573"/>
                    <a:pt x="20384" y="109539"/>
                    <a:pt x="20384" y="108958"/>
                  </a:cubicBezTo>
                  <a:cubicBezTo>
                    <a:pt x="20384" y="108668"/>
                    <a:pt x="20384" y="106924"/>
                    <a:pt x="20384" y="106924"/>
                  </a:cubicBezTo>
                  <a:cubicBezTo>
                    <a:pt x="20384" y="106924"/>
                    <a:pt x="18846" y="106634"/>
                    <a:pt x="20000" y="105762"/>
                  </a:cubicBezTo>
                  <a:cubicBezTo>
                    <a:pt x="21153" y="104600"/>
                    <a:pt x="22307" y="103147"/>
                    <a:pt x="22307" y="103147"/>
                  </a:cubicBezTo>
                  <a:cubicBezTo>
                    <a:pt x="22307" y="100242"/>
                    <a:pt x="22307" y="100242"/>
                    <a:pt x="22307" y="100242"/>
                  </a:cubicBezTo>
                  <a:cubicBezTo>
                    <a:pt x="22307" y="100242"/>
                    <a:pt x="21153" y="99370"/>
                    <a:pt x="22692" y="98789"/>
                  </a:cubicBezTo>
                  <a:cubicBezTo>
                    <a:pt x="24230" y="97917"/>
                    <a:pt x="26923" y="95302"/>
                    <a:pt x="26923" y="95302"/>
                  </a:cubicBezTo>
                  <a:cubicBezTo>
                    <a:pt x="29615" y="92978"/>
                    <a:pt x="29615" y="92978"/>
                    <a:pt x="29615" y="92978"/>
                  </a:cubicBezTo>
                  <a:cubicBezTo>
                    <a:pt x="25000" y="92106"/>
                    <a:pt x="25000" y="92106"/>
                    <a:pt x="25000" y="92106"/>
                  </a:cubicBezTo>
                  <a:cubicBezTo>
                    <a:pt x="22307" y="91815"/>
                    <a:pt x="22307" y="91815"/>
                    <a:pt x="22307" y="91815"/>
                  </a:cubicBezTo>
                  <a:cubicBezTo>
                    <a:pt x="20384" y="90944"/>
                    <a:pt x="20384" y="90944"/>
                    <a:pt x="20384" y="90944"/>
                  </a:cubicBezTo>
                  <a:cubicBezTo>
                    <a:pt x="19230" y="89491"/>
                    <a:pt x="19230" y="89491"/>
                    <a:pt x="19230" y="89491"/>
                  </a:cubicBezTo>
                  <a:cubicBezTo>
                    <a:pt x="18076" y="90072"/>
                    <a:pt x="18076" y="90072"/>
                    <a:pt x="18076" y="90072"/>
                  </a:cubicBezTo>
                  <a:cubicBezTo>
                    <a:pt x="16923" y="90653"/>
                    <a:pt x="16923" y="90653"/>
                    <a:pt x="16923" y="90653"/>
                  </a:cubicBezTo>
                  <a:cubicBezTo>
                    <a:pt x="14230" y="90363"/>
                    <a:pt x="14230" y="90363"/>
                    <a:pt x="14230" y="90363"/>
                  </a:cubicBezTo>
                  <a:cubicBezTo>
                    <a:pt x="12307" y="88910"/>
                    <a:pt x="12307" y="88910"/>
                    <a:pt x="12307" y="88910"/>
                  </a:cubicBezTo>
                  <a:cubicBezTo>
                    <a:pt x="10769" y="89782"/>
                    <a:pt x="10769" y="89782"/>
                    <a:pt x="10769" y="89782"/>
                  </a:cubicBezTo>
                  <a:cubicBezTo>
                    <a:pt x="9230" y="88910"/>
                    <a:pt x="9230" y="88910"/>
                    <a:pt x="9230" y="88910"/>
                  </a:cubicBezTo>
                  <a:cubicBezTo>
                    <a:pt x="8076" y="87457"/>
                    <a:pt x="8076" y="87457"/>
                    <a:pt x="8076" y="87457"/>
                  </a:cubicBezTo>
                  <a:cubicBezTo>
                    <a:pt x="7692" y="86295"/>
                    <a:pt x="7692" y="86295"/>
                    <a:pt x="7692" y="86295"/>
                  </a:cubicBezTo>
                  <a:cubicBezTo>
                    <a:pt x="5769" y="84842"/>
                    <a:pt x="5769" y="84842"/>
                    <a:pt x="5769" y="84842"/>
                  </a:cubicBezTo>
                  <a:cubicBezTo>
                    <a:pt x="5000" y="84842"/>
                    <a:pt x="5000" y="84842"/>
                    <a:pt x="5000" y="84842"/>
                  </a:cubicBezTo>
                  <a:cubicBezTo>
                    <a:pt x="5000" y="84552"/>
                    <a:pt x="5000" y="84552"/>
                    <a:pt x="5000" y="84552"/>
                  </a:cubicBezTo>
                  <a:cubicBezTo>
                    <a:pt x="4615" y="82808"/>
                    <a:pt x="4615" y="82808"/>
                    <a:pt x="4615" y="82808"/>
                  </a:cubicBezTo>
                  <a:cubicBezTo>
                    <a:pt x="5769" y="82227"/>
                    <a:pt x="5769" y="82227"/>
                    <a:pt x="5769" y="82227"/>
                  </a:cubicBezTo>
                  <a:cubicBezTo>
                    <a:pt x="6538" y="81355"/>
                    <a:pt x="6538" y="81355"/>
                    <a:pt x="6538" y="81355"/>
                  </a:cubicBezTo>
                  <a:cubicBezTo>
                    <a:pt x="7307" y="80484"/>
                    <a:pt x="7307" y="80484"/>
                    <a:pt x="7307" y="80484"/>
                  </a:cubicBezTo>
                  <a:cubicBezTo>
                    <a:pt x="6923" y="79322"/>
                    <a:pt x="6923" y="79322"/>
                    <a:pt x="6923" y="79322"/>
                  </a:cubicBezTo>
                  <a:cubicBezTo>
                    <a:pt x="6923" y="79322"/>
                    <a:pt x="5384" y="79322"/>
                    <a:pt x="5000" y="79031"/>
                  </a:cubicBezTo>
                  <a:cubicBezTo>
                    <a:pt x="4615" y="79031"/>
                    <a:pt x="3461" y="78450"/>
                    <a:pt x="3461" y="78450"/>
                  </a:cubicBezTo>
                  <a:cubicBezTo>
                    <a:pt x="3076" y="76997"/>
                    <a:pt x="3076" y="76997"/>
                    <a:pt x="3076" y="76997"/>
                  </a:cubicBezTo>
                  <a:cubicBezTo>
                    <a:pt x="2307" y="76125"/>
                    <a:pt x="2307" y="76125"/>
                    <a:pt x="2307" y="76125"/>
                  </a:cubicBezTo>
                  <a:cubicBezTo>
                    <a:pt x="1923" y="74673"/>
                    <a:pt x="1923" y="74673"/>
                    <a:pt x="1923" y="74673"/>
                  </a:cubicBezTo>
                  <a:cubicBezTo>
                    <a:pt x="2307" y="73220"/>
                    <a:pt x="2307" y="73220"/>
                    <a:pt x="2307" y="73220"/>
                  </a:cubicBezTo>
                  <a:cubicBezTo>
                    <a:pt x="2307" y="73220"/>
                    <a:pt x="2307" y="73220"/>
                    <a:pt x="2307" y="73220"/>
                  </a:cubicBezTo>
                  <a:cubicBezTo>
                    <a:pt x="2307" y="73220"/>
                    <a:pt x="2307" y="73220"/>
                    <a:pt x="2307" y="73220"/>
                  </a:cubicBezTo>
                  <a:cubicBezTo>
                    <a:pt x="2692" y="73220"/>
                    <a:pt x="2692" y="73220"/>
                    <a:pt x="2692" y="73220"/>
                  </a:cubicBezTo>
                  <a:cubicBezTo>
                    <a:pt x="3076" y="72639"/>
                    <a:pt x="3076" y="72639"/>
                    <a:pt x="3076" y="72639"/>
                  </a:cubicBezTo>
                  <a:cubicBezTo>
                    <a:pt x="3076" y="72348"/>
                    <a:pt x="3076" y="72348"/>
                    <a:pt x="3076" y="72348"/>
                  </a:cubicBezTo>
                  <a:cubicBezTo>
                    <a:pt x="3076" y="72348"/>
                    <a:pt x="3461" y="72058"/>
                    <a:pt x="3846" y="72058"/>
                  </a:cubicBezTo>
                  <a:cubicBezTo>
                    <a:pt x="3846" y="72058"/>
                    <a:pt x="4230" y="72058"/>
                    <a:pt x="4230" y="72058"/>
                  </a:cubicBezTo>
                  <a:cubicBezTo>
                    <a:pt x="4615" y="72058"/>
                    <a:pt x="4615" y="71186"/>
                    <a:pt x="4615" y="71186"/>
                  </a:cubicBezTo>
                  <a:cubicBezTo>
                    <a:pt x="5384" y="71186"/>
                    <a:pt x="5384" y="71186"/>
                    <a:pt x="5384" y="71186"/>
                  </a:cubicBezTo>
                  <a:cubicBezTo>
                    <a:pt x="5384" y="71186"/>
                    <a:pt x="5769" y="70895"/>
                    <a:pt x="5769" y="70895"/>
                  </a:cubicBezTo>
                  <a:cubicBezTo>
                    <a:pt x="5769" y="70605"/>
                    <a:pt x="5769" y="70314"/>
                    <a:pt x="5769" y="70314"/>
                  </a:cubicBezTo>
                  <a:cubicBezTo>
                    <a:pt x="5769" y="70314"/>
                    <a:pt x="6153" y="69733"/>
                    <a:pt x="6153" y="69443"/>
                  </a:cubicBezTo>
                  <a:cubicBezTo>
                    <a:pt x="6153" y="69152"/>
                    <a:pt x="5769" y="68861"/>
                    <a:pt x="5769" y="68861"/>
                  </a:cubicBezTo>
                  <a:cubicBezTo>
                    <a:pt x="5769" y="68861"/>
                    <a:pt x="5384" y="68280"/>
                    <a:pt x="5000" y="68280"/>
                  </a:cubicBezTo>
                  <a:cubicBezTo>
                    <a:pt x="5000" y="68280"/>
                    <a:pt x="4230" y="68280"/>
                    <a:pt x="4230" y="68280"/>
                  </a:cubicBezTo>
                  <a:cubicBezTo>
                    <a:pt x="3846" y="68280"/>
                    <a:pt x="3461" y="67699"/>
                    <a:pt x="3461" y="67699"/>
                  </a:cubicBezTo>
                  <a:cubicBezTo>
                    <a:pt x="3461" y="67699"/>
                    <a:pt x="3846" y="67409"/>
                    <a:pt x="3846" y="67118"/>
                  </a:cubicBezTo>
                  <a:cubicBezTo>
                    <a:pt x="4230" y="67118"/>
                    <a:pt x="4230" y="66246"/>
                    <a:pt x="4230" y="66246"/>
                  </a:cubicBezTo>
                  <a:cubicBezTo>
                    <a:pt x="4230" y="66246"/>
                    <a:pt x="3846" y="65956"/>
                    <a:pt x="3461" y="65956"/>
                  </a:cubicBezTo>
                  <a:cubicBezTo>
                    <a:pt x="3461" y="65956"/>
                    <a:pt x="2692" y="65956"/>
                    <a:pt x="2692" y="65956"/>
                  </a:cubicBezTo>
                  <a:cubicBezTo>
                    <a:pt x="2692" y="65084"/>
                    <a:pt x="2692" y="65084"/>
                    <a:pt x="2692" y="65084"/>
                  </a:cubicBezTo>
                  <a:cubicBezTo>
                    <a:pt x="2692" y="65084"/>
                    <a:pt x="1923" y="64794"/>
                    <a:pt x="1538" y="64794"/>
                  </a:cubicBezTo>
                  <a:cubicBezTo>
                    <a:pt x="1538" y="64794"/>
                    <a:pt x="1538" y="64503"/>
                    <a:pt x="1153" y="64503"/>
                  </a:cubicBezTo>
                  <a:cubicBezTo>
                    <a:pt x="1538" y="64503"/>
                    <a:pt x="1538" y="64503"/>
                    <a:pt x="1538" y="64503"/>
                  </a:cubicBezTo>
                  <a:cubicBezTo>
                    <a:pt x="1538" y="64503"/>
                    <a:pt x="1538" y="64503"/>
                    <a:pt x="1538" y="64503"/>
                  </a:cubicBezTo>
                  <a:cubicBezTo>
                    <a:pt x="1538" y="64213"/>
                    <a:pt x="1153" y="63922"/>
                    <a:pt x="1153" y="63631"/>
                  </a:cubicBezTo>
                  <a:cubicBezTo>
                    <a:pt x="1153" y="63631"/>
                    <a:pt x="1538" y="63631"/>
                    <a:pt x="1538" y="63631"/>
                  </a:cubicBezTo>
                  <a:cubicBezTo>
                    <a:pt x="1538" y="63631"/>
                    <a:pt x="1538" y="63341"/>
                    <a:pt x="1923" y="63050"/>
                  </a:cubicBezTo>
                  <a:cubicBezTo>
                    <a:pt x="1923" y="63050"/>
                    <a:pt x="1923" y="63050"/>
                    <a:pt x="2307" y="63050"/>
                  </a:cubicBezTo>
                  <a:cubicBezTo>
                    <a:pt x="2307" y="63050"/>
                    <a:pt x="2307" y="62760"/>
                    <a:pt x="2692" y="62760"/>
                  </a:cubicBezTo>
                  <a:cubicBezTo>
                    <a:pt x="2692" y="62469"/>
                    <a:pt x="2692" y="61888"/>
                    <a:pt x="2692" y="61888"/>
                  </a:cubicBezTo>
                  <a:cubicBezTo>
                    <a:pt x="2692" y="61888"/>
                    <a:pt x="2692" y="61888"/>
                    <a:pt x="2307" y="61598"/>
                  </a:cubicBezTo>
                  <a:cubicBezTo>
                    <a:pt x="1923" y="61598"/>
                    <a:pt x="1923" y="61598"/>
                    <a:pt x="1923" y="61307"/>
                  </a:cubicBezTo>
                  <a:cubicBezTo>
                    <a:pt x="1538" y="61307"/>
                    <a:pt x="1923" y="61016"/>
                    <a:pt x="1923" y="61016"/>
                  </a:cubicBezTo>
                  <a:cubicBezTo>
                    <a:pt x="1923" y="61016"/>
                    <a:pt x="1153" y="60726"/>
                    <a:pt x="1153" y="60726"/>
                  </a:cubicBezTo>
                  <a:cubicBezTo>
                    <a:pt x="1153" y="60726"/>
                    <a:pt x="384" y="60726"/>
                    <a:pt x="384" y="60726"/>
                  </a:cubicBezTo>
                  <a:cubicBezTo>
                    <a:pt x="384" y="60726"/>
                    <a:pt x="384" y="60726"/>
                    <a:pt x="384" y="60726"/>
                  </a:cubicBezTo>
                  <a:cubicBezTo>
                    <a:pt x="384" y="60145"/>
                    <a:pt x="384" y="60145"/>
                    <a:pt x="384" y="60145"/>
                  </a:cubicBezTo>
                  <a:cubicBezTo>
                    <a:pt x="0" y="59564"/>
                    <a:pt x="0" y="59564"/>
                    <a:pt x="0" y="59564"/>
                  </a:cubicBezTo>
                  <a:cubicBezTo>
                    <a:pt x="384" y="59273"/>
                    <a:pt x="384" y="59273"/>
                    <a:pt x="384" y="59273"/>
                  </a:cubicBezTo>
                  <a:cubicBezTo>
                    <a:pt x="1153" y="59854"/>
                    <a:pt x="1153" y="59854"/>
                    <a:pt x="1153" y="59854"/>
                  </a:cubicBezTo>
                  <a:cubicBezTo>
                    <a:pt x="1153" y="59854"/>
                    <a:pt x="1153" y="59564"/>
                    <a:pt x="1153" y="59273"/>
                  </a:cubicBezTo>
                  <a:cubicBezTo>
                    <a:pt x="1538" y="59273"/>
                    <a:pt x="1923" y="58692"/>
                    <a:pt x="1923" y="58692"/>
                  </a:cubicBezTo>
                  <a:cubicBezTo>
                    <a:pt x="2692" y="58692"/>
                    <a:pt x="2692" y="58692"/>
                    <a:pt x="2692" y="58692"/>
                  </a:cubicBezTo>
                  <a:cubicBezTo>
                    <a:pt x="2692" y="58692"/>
                    <a:pt x="4230" y="58692"/>
                    <a:pt x="4230" y="58692"/>
                  </a:cubicBezTo>
                  <a:cubicBezTo>
                    <a:pt x="4615" y="58401"/>
                    <a:pt x="3846" y="57820"/>
                    <a:pt x="3846" y="57820"/>
                  </a:cubicBezTo>
                  <a:cubicBezTo>
                    <a:pt x="3846" y="57820"/>
                    <a:pt x="3076" y="58401"/>
                    <a:pt x="3076" y="58401"/>
                  </a:cubicBezTo>
                  <a:cubicBezTo>
                    <a:pt x="2692" y="58401"/>
                    <a:pt x="2692" y="57530"/>
                    <a:pt x="2692" y="57530"/>
                  </a:cubicBezTo>
                  <a:cubicBezTo>
                    <a:pt x="2692" y="56949"/>
                    <a:pt x="2692" y="56949"/>
                    <a:pt x="2692" y="56949"/>
                  </a:cubicBezTo>
                  <a:cubicBezTo>
                    <a:pt x="3461" y="56658"/>
                    <a:pt x="3461" y="56658"/>
                    <a:pt x="3461" y="56658"/>
                  </a:cubicBezTo>
                  <a:cubicBezTo>
                    <a:pt x="3846" y="56077"/>
                    <a:pt x="3846" y="56077"/>
                    <a:pt x="3846" y="56077"/>
                  </a:cubicBezTo>
                  <a:cubicBezTo>
                    <a:pt x="3846" y="56077"/>
                    <a:pt x="4615" y="55496"/>
                    <a:pt x="4615" y="55496"/>
                  </a:cubicBezTo>
                  <a:cubicBezTo>
                    <a:pt x="5000" y="55205"/>
                    <a:pt x="4615" y="54624"/>
                    <a:pt x="4615" y="54624"/>
                  </a:cubicBezTo>
                  <a:cubicBezTo>
                    <a:pt x="5000" y="53753"/>
                    <a:pt x="5000" y="53753"/>
                    <a:pt x="5000" y="53753"/>
                  </a:cubicBezTo>
                  <a:cubicBezTo>
                    <a:pt x="4230" y="52881"/>
                    <a:pt x="4230" y="52881"/>
                    <a:pt x="4230" y="52881"/>
                  </a:cubicBezTo>
                  <a:cubicBezTo>
                    <a:pt x="4230" y="52009"/>
                    <a:pt x="4230" y="52009"/>
                    <a:pt x="4230" y="52009"/>
                  </a:cubicBezTo>
                  <a:cubicBezTo>
                    <a:pt x="3461" y="51138"/>
                    <a:pt x="3461" y="51138"/>
                    <a:pt x="3461" y="51138"/>
                  </a:cubicBezTo>
                  <a:cubicBezTo>
                    <a:pt x="3461" y="50847"/>
                    <a:pt x="3461" y="50847"/>
                    <a:pt x="3461" y="50847"/>
                  </a:cubicBezTo>
                  <a:cubicBezTo>
                    <a:pt x="3076" y="50266"/>
                    <a:pt x="3076" y="50266"/>
                    <a:pt x="3076" y="50266"/>
                  </a:cubicBezTo>
                  <a:cubicBezTo>
                    <a:pt x="3076" y="49685"/>
                    <a:pt x="3076" y="49685"/>
                    <a:pt x="3076" y="49685"/>
                  </a:cubicBezTo>
                  <a:cubicBezTo>
                    <a:pt x="3076" y="49685"/>
                    <a:pt x="2307" y="49104"/>
                    <a:pt x="1923" y="49104"/>
                  </a:cubicBezTo>
                  <a:cubicBezTo>
                    <a:pt x="1538" y="49104"/>
                    <a:pt x="1923" y="48813"/>
                    <a:pt x="1923" y="48813"/>
                  </a:cubicBezTo>
                  <a:cubicBezTo>
                    <a:pt x="1923" y="48232"/>
                    <a:pt x="1923" y="48232"/>
                    <a:pt x="1923" y="48232"/>
                  </a:cubicBezTo>
                  <a:cubicBezTo>
                    <a:pt x="1923" y="47360"/>
                    <a:pt x="1923" y="47360"/>
                    <a:pt x="1923" y="47360"/>
                  </a:cubicBezTo>
                  <a:cubicBezTo>
                    <a:pt x="3846" y="47651"/>
                    <a:pt x="3846" y="47651"/>
                    <a:pt x="3846" y="47651"/>
                  </a:cubicBezTo>
                  <a:cubicBezTo>
                    <a:pt x="4615" y="47651"/>
                    <a:pt x="4615" y="47651"/>
                    <a:pt x="4615" y="47651"/>
                  </a:cubicBezTo>
                  <a:cubicBezTo>
                    <a:pt x="3461" y="47070"/>
                    <a:pt x="3461" y="47070"/>
                    <a:pt x="3461" y="47070"/>
                  </a:cubicBezTo>
                  <a:cubicBezTo>
                    <a:pt x="4615" y="46779"/>
                    <a:pt x="4615" y="46779"/>
                    <a:pt x="4615" y="46779"/>
                  </a:cubicBezTo>
                  <a:cubicBezTo>
                    <a:pt x="5384" y="47360"/>
                    <a:pt x="5384" y="47360"/>
                    <a:pt x="5384" y="47360"/>
                  </a:cubicBezTo>
                  <a:cubicBezTo>
                    <a:pt x="6538" y="47651"/>
                    <a:pt x="6538" y="47651"/>
                    <a:pt x="6538" y="47651"/>
                  </a:cubicBezTo>
                  <a:cubicBezTo>
                    <a:pt x="6923" y="48232"/>
                    <a:pt x="6923" y="48232"/>
                    <a:pt x="6923" y="48232"/>
                  </a:cubicBezTo>
                  <a:cubicBezTo>
                    <a:pt x="7307" y="47651"/>
                    <a:pt x="7307" y="47651"/>
                    <a:pt x="7307" y="47651"/>
                  </a:cubicBezTo>
                  <a:cubicBezTo>
                    <a:pt x="8461" y="47651"/>
                    <a:pt x="8461" y="47651"/>
                    <a:pt x="8461" y="47651"/>
                  </a:cubicBezTo>
                  <a:cubicBezTo>
                    <a:pt x="8846" y="47651"/>
                    <a:pt x="8846" y="47651"/>
                    <a:pt x="8846" y="47651"/>
                  </a:cubicBezTo>
                  <a:cubicBezTo>
                    <a:pt x="10000" y="47360"/>
                    <a:pt x="10000" y="47360"/>
                    <a:pt x="10000" y="47360"/>
                  </a:cubicBezTo>
                  <a:cubicBezTo>
                    <a:pt x="11153" y="47360"/>
                    <a:pt x="11153" y="47360"/>
                    <a:pt x="11153" y="47360"/>
                  </a:cubicBezTo>
                  <a:cubicBezTo>
                    <a:pt x="11538" y="46779"/>
                    <a:pt x="11538" y="46779"/>
                    <a:pt x="11538" y="46779"/>
                  </a:cubicBezTo>
                  <a:cubicBezTo>
                    <a:pt x="12307" y="46489"/>
                    <a:pt x="12307" y="46489"/>
                    <a:pt x="12307" y="46489"/>
                  </a:cubicBezTo>
                  <a:cubicBezTo>
                    <a:pt x="12692" y="46198"/>
                    <a:pt x="12692" y="46198"/>
                    <a:pt x="12692" y="46198"/>
                  </a:cubicBezTo>
                  <a:cubicBezTo>
                    <a:pt x="11538" y="45617"/>
                    <a:pt x="11538" y="45617"/>
                    <a:pt x="11538" y="45617"/>
                  </a:cubicBezTo>
                  <a:cubicBezTo>
                    <a:pt x="10769" y="44745"/>
                    <a:pt x="10769" y="44745"/>
                    <a:pt x="10769" y="44745"/>
                  </a:cubicBezTo>
                  <a:cubicBezTo>
                    <a:pt x="11538" y="44745"/>
                    <a:pt x="11538" y="44745"/>
                    <a:pt x="11538" y="44745"/>
                  </a:cubicBezTo>
                  <a:cubicBezTo>
                    <a:pt x="11538" y="43874"/>
                    <a:pt x="11538" y="43874"/>
                    <a:pt x="11538" y="43874"/>
                  </a:cubicBezTo>
                  <a:cubicBezTo>
                    <a:pt x="11538" y="43874"/>
                    <a:pt x="13076" y="44164"/>
                    <a:pt x="13076" y="44164"/>
                  </a:cubicBezTo>
                  <a:cubicBezTo>
                    <a:pt x="13076" y="43874"/>
                    <a:pt x="13076" y="43874"/>
                    <a:pt x="13461" y="43583"/>
                  </a:cubicBezTo>
                  <a:cubicBezTo>
                    <a:pt x="13846" y="43583"/>
                    <a:pt x="14615" y="43292"/>
                    <a:pt x="14615" y="43292"/>
                  </a:cubicBezTo>
                  <a:cubicBezTo>
                    <a:pt x="15000" y="42711"/>
                    <a:pt x="15000" y="42711"/>
                    <a:pt x="15000" y="42711"/>
                  </a:cubicBezTo>
                  <a:cubicBezTo>
                    <a:pt x="15000" y="42711"/>
                    <a:pt x="15769" y="42421"/>
                    <a:pt x="15769" y="42421"/>
                  </a:cubicBezTo>
                  <a:cubicBezTo>
                    <a:pt x="16153" y="42421"/>
                    <a:pt x="15769" y="42130"/>
                    <a:pt x="15769" y="41840"/>
                  </a:cubicBezTo>
                  <a:cubicBezTo>
                    <a:pt x="15769" y="41549"/>
                    <a:pt x="15769" y="40968"/>
                    <a:pt x="15769" y="40968"/>
                  </a:cubicBezTo>
                  <a:cubicBezTo>
                    <a:pt x="16153" y="40387"/>
                    <a:pt x="16153" y="40387"/>
                    <a:pt x="16153" y="40387"/>
                  </a:cubicBezTo>
                  <a:cubicBezTo>
                    <a:pt x="15384" y="39225"/>
                    <a:pt x="15384" y="39225"/>
                    <a:pt x="15384" y="39225"/>
                  </a:cubicBezTo>
                  <a:cubicBezTo>
                    <a:pt x="14230" y="39515"/>
                    <a:pt x="14230" y="39515"/>
                    <a:pt x="14230" y="39515"/>
                  </a:cubicBezTo>
                  <a:cubicBezTo>
                    <a:pt x="13461" y="38934"/>
                    <a:pt x="13461" y="38934"/>
                    <a:pt x="13461" y="38934"/>
                  </a:cubicBezTo>
                  <a:cubicBezTo>
                    <a:pt x="13461" y="38934"/>
                    <a:pt x="12307" y="38934"/>
                    <a:pt x="12307" y="38644"/>
                  </a:cubicBezTo>
                  <a:cubicBezTo>
                    <a:pt x="11923" y="38353"/>
                    <a:pt x="11538" y="37772"/>
                    <a:pt x="11538" y="37772"/>
                  </a:cubicBezTo>
                  <a:cubicBezTo>
                    <a:pt x="11538" y="37191"/>
                    <a:pt x="11538" y="37191"/>
                    <a:pt x="11538" y="37191"/>
                  </a:cubicBezTo>
                  <a:cubicBezTo>
                    <a:pt x="12692" y="37191"/>
                    <a:pt x="12692" y="37191"/>
                    <a:pt x="12692" y="37191"/>
                  </a:cubicBezTo>
                  <a:cubicBezTo>
                    <a:pt x="11923" y="36900"/>
                    <a:pt x="11923" y="36900"/>
                    <a:pt x="11923" y="36900"/>
                  </a:cubicBezTo>
                  <a:cubicBezTo>
                    <a:pt x="11923" y="36029"/>
                    <a:pt x="11923" y="36029"/>
                    <a:pt x="11923" y="36029"/>
                  </a:cubicBezTo>
                  <a:cubicBezTo>
                    <a:pt x="13461" y="35738"/>
                    <a:pt x="13461" y="35738"/>
                    <a:pt x="13461" y="35738"/>
                  </a:cubicBezTo>
                  <a:cubicBezTo>
                    <a:pt x="13461" y="35738"/>
                    <a:pt x="15384" y="36319"/>
                    <a:pt x="15769" y="36319"/>
                  </a:cubicBezTo>
                  <a:cubicBezTo>
                    <a:pt x="16153" y="36610"/>
                    <a:pt x="16153" y="35447"/>
                    <a:pt x="16153" y="35447"/>
                  </a:cubicBezTo>
                  <a:cubicBezTo>
                    <a:pt x="16538" y="33995"/>
                    <a:pt x="16538" y="33995"/>
                    <a:pt x="16538" y="33995"/>
                  </a:cubicBezTo>
                  <a:cubicBezTo>
                    <a:pt x="16538" y="33995"/>
                    <a:pt x="16153" y="32832"/>
                    <a:pt x="16538" y="32542"/>
                  </a:cubicBezTo>
                  <a:cubicBezTo>
                    <a:pt x="16923" y="32542"/>
                    <a:pt x="18076" y="30799"/>
                    <a:pt x="18076" y="30799"/>
                  </a:cubicBezTo>
                  <a:cubicBezTo>
                    <a:pt x="18076" y="30799"/>
                    <a:pt x="18076" y="29055"/>
                    <a:pt x="18076" y="28765"/>
                  </a:cubicBezTo>
                  <a:cubicBezTo>
                    <a:pt x="18076" y="28474"/>
                    <a:pt x="18076" y="27312"/>
                    <a:pt x="18076" y="27312"/>
                  </a:cubicBezTo>
                  <a:cubicBezTo>
                    <a:pt x="18076" y="27021"/>
                    <a:pt x="18076" y="27021"/>
                    <a:pt x="18076" y="27021"/>
                  </a:cubicBezTo>
                  <a:cubicBezTo>
                    <a:pt x="18076" y="27021"/>
                    <a:pt x="16923" y="26731"/>
                    <a:pt x="16538" y="26731"/>
                  </a:cubicBezTo>
                  <a:cubicBezTo>
                    <a:pt x="16538" y="26440"/>
                    <a:pt x="16923" y="25859"/>
                    <a:pt x="16923" y="25859"/>
                  </a:cubicBezTo>
                  <a:cubicBezTo>
                    <a:pt x="15000" y="25569"/>
                    <a:pt x="15000" y="25569"/>
                    <a:pt x="15000" y="25569"/>
                  </a:cubicBezTo>
                  <a:cubicBezTo>
                    <a:pt x="15384" y="24697"/>
                    <a:pt x="15769" y="23244"/>
                    <a:pt x="16153" y="23244"/>
                  </a:cubicBezTo>
                  <a:cubicBezTo>
                    <a:pt x="16538" y="22953"/>
                    <a:pt x="17307" y="22372"/>
                    <a:pt x="17307" y="22372"/>
                  </a:cubicBezTo>
                  <a:cubicBezTo>
                    <a:pt x="17307" y="21210"/>
                    <a:pt x="17307" y="21210"/>
                    <a:pt x="17307" y="21210"/>
                  </a:cubicBezTo>
                  <a:cubicBezTo>
                    <a:pt x="16538" y="20338"/>
                    <a:pt x="16538" y="20338"/>
                    <a:pt x="16538" y="20338"/>
                  </a:cubicBezTo>
                  <a:cubicBezTo>
                    <a:pt x="17307" y="19467"/>
                    <a:pt x="17307" y="19467"/>
                    <a:pt x="17307" y="19467"/>
                  </a:cubicBezTo>
                  <a:cubicBezTo>
                    <a:pt x="17307" y="19467"/>
                    <a:pt x="18846" y="18886"/>
                    <a:pt x="18846" y="18886"/>
                  </a:cubicBezTo>
                  <a:cubicBezTo>
                    <a:pt x="19230" y="18886"/>
                    <a:pt x="21538" y="18886"/>
                    <a:pt x="21538" y="18886"/>
                  </a:cubicBezTo>
                  <a:cubicBezTo>
                    <a:pt x="23076" y="18305"/>
                    <a:pt x="23076" y="18305"/>
                    <a:pt x="23076" y="18305"/>
                  </a:cubicBezTo>
                  <a:cubicBezTo>
                    <a:pt x="25384" y="18305"/>
                    <a:pt x="25384" y="18305"/>
                    <a:pt x="25384" y="18305"/>
                  </a:cubicBezTo>
                  <a:cubicBezTo>
                    <a:pt x="26923" y="18014"/>
                    <a:pt x="26923" y="18014"/>
                    <a:pt x="26923" y="18014"/>
                  </a:cubicBezTo>
                  <a:cubicBezTo>
                    <a:pt x="28076" y="18595"/>
                    <a:pt x="28076" y="18595"/>
                    <a:pt x="28076" y="18595"/>
                  </a:cubicBezTo>
                  <a:cubicBezTo>
                    <a:pt x="28076" y="18595"/>
                    <a:pt x="28846" y="19176"/>
                    <a:pt x="28846" y="19467"/>
                  </a:cubicBezTo>
                  <a:cubicBezTo>
                    <a:pt x="28846" y="19467"/>
                    <a:pt x="29615" y="20048"/>
                    <a:pt x="29615" y="20338"/>
                  </a:cubicBezTo>
                  <a:cubicBezTo>
                    <a:pt x="29230" y="20338"/>
                    <a:pt x="30000" y="21210"/>
                    <a:pt x="30000" y="21210"/>
                  </a:cubicBezTo>
                  <a:cubicBezTo>
                    <a:pt x="30000" y="21210"/>
                    <a:pt x="29615" y="21791"/>
                    <a:pt x="29615" y="22082"/>
                  </a:cubicBezTo>
                  <a:cubicBezTo>
                    <a:pt x="29615" y="22082"/>
                    <a:pt x="30000" y="23244"/>
                    <a:pt x="30000" y="23244"/>
                  </a:cubicBezTo>
                  <a:cubicBezTo>
                    <a:pt x="30000" y="23535"/>
                    <a:pt x="30769" y="23825"/>
                    <a:pt x="30769" y="23825"/>
                  </a:cubicBezTo>
                  <a:cubicBezTo>
                    <a:pt x="31538" y="23535"/>
                    <a:pt x="31538" y="23535"/>
                    <a:pt x="31538" y="23535"/>
                  </a:cubicBezTo>
                  <a:cubicBezTo>
                    <a:pt x="31923" y="22953"/>
                    <a:pt x="31923" y="22953"/>
                    <a:pt x="31923" y="22953"/>
                  </a:cubicBezTo>
                  <a:cubicBezTo>
                    <a:pt x="31153" y="22082"/>
                    <a:pt x="31153" y="22082"/>
                    <a:pt x="31153" y="22082"/>
                  </a:cubicBezTo>
                  <a:cubicBezTo>
                    <a:pt x="30769" y="22082"/>
                    <a:pt x="30769" y="22082"/>
                    <a:pt x="30769" y="22082"/>
                  </a:cubicBezTo>
                  <a:cubicBezTo>
                    <a:pt x="31153" y="20920"/>
                    <a:pt x="31153" y="20920"/>
                    <a:pt x="31153" y="20920"/>
                  </a:cubicBezTo>
                  <a:cubicBezTo>
                    <a:pt x="31153" y="20920"/>
                    <a:pt x="31923" y="20629"/>
                    <a:pt x="32307" y="20920"/>
                  </a:cubicBezTo>
                  <a:cubicBezTo>
                    <a:pt x="32692" y="20920"/>
                    <a:pt x="33846" y="21791"/>
                    <a:pt x="33846" y="21791"/>
                  </a:cubicBezTo>
                  <a:cubicBezTo>
                    <a:pt x="34615" y="22082"/>
                    <a:pt x="34615" y="22082"/>
                    <a:pt x="34615" y="22082"/>
                  </a:cubicBezTo>
                  <a:cubicBezTo>
                    <a:pt x="34615" y="22082"/>
                    <a:pt x="35769" y="21501"/>
                    <a:pt x="35769" y="21501"/>
                  </a:cubicBezTo>
                  <a:cubicBezTo>
                    <a:pt x="35769" y="21501"/>
                    <a:pt x="34615" y="20338"/>
                    <a:pt x="34615" y="20338"/>
                  </a:cubicBezTo>
                  <a:cubicBezTo>
                    <a:pt x="35000" y="18886"/>
                    <a:pt x="35000" y="18886"/>
                    <a:pt x="35000" y="18886"/>
                  </a:cubicBezTo>
                  <a:cubicBezTo>
                    <a:pt x="35384" y="17723"/>
                    <a:pt x="35384" y="17723"/>
                    <a:pt x="35384" y="17723"/>
                  </a:cubicBezTo>
                  <a:cubicBezTo>
                    <a:pt x="36923" y="16852"/>
                    <a:pt x="36923" y="16852"/>
                    <a:pt x="36923" y="16852"/>
                  </a:cubicBezTo>
                  <a:cubicBezTo>
                    <a:pt x="38076" y="17433"/>
                    <a:pt x="38076" y="17433"/>
                    <a:pt x="38076" y="17433"/>
                  </a:cubicBezTo>
                  <a:cubicBezTo>
                    <a:pt x="40000" y="17433"/>
                    <a:pt x="40000" y="17433"/>
                    <a:pt x="40000" y="17433"/>
                  </a:cubicBezTo>
                  <a:cubicBezTo>
                    <a:pt x="41923" y="17433"/>
                    <a:pt x="41923" y="17433"/>
                    <a:pt x="41923" y="17433"/>
                  </a:cubicBezTo>
                  <a:cubicBezTo>
                    <a:pt x="43076" y="17142"/>
                    <a:pt x="43076" y="17142"/>
                    <a:pt x="43076" y="17142"/>
                  </a:cubicBezTo>
                  <a:cubicBezTo>
                    <a:pt x="44615" y="17142"/>
                    <a:pt x="44615" y="17142"/>
                    <a:pt x="44615" y="17142"/>
                  </a:cubicBezTo>
                  <a:cubicBezTo>
                    <a:pt x="44615" y="17142"/>
                    <a:pt x="43846" y="16561"/>
                    <a:pt x="43846" y="16561"/>
                  </a:cubicBezTo>
                  <a:cubicBezTo>
                    <a:pt x="43461" y="16561"/>
                    <a:pt x="42692" y="15980"/>
                    <a:pt x="42692" y="15980"/>
                  </a:cubicBezTo>
                  <a:cubicBezTo>
                    <a:pt x="42692" y="15980"/>
                    <a:pt x="42307" y="16561"/>
                    <a:pt x="42307" y="16561"/>
                  </a:cubicBezTo>
                  <a:cubicBezTo>
                    <a:pt x="41923" y="16852"/>
                    <a:pt x="40769" y="16852"/>
                    <a:pt x="40769" y="16561"/>
                  </a:cubicBezTo>
                  <a:cubicBezTo>
                    <a:pt x="40384" y="16561"/>
                    <a:pt x="40000" y="15690"/>
                    <a:pt x="40000" y="15690"/>
                  </a:cubicBezTo>
                  <a:cubicBezTo>
                    <a:pt x="40000" y="14818"/>
                    <a:pt x="40000" y="14818"/>
                    <a:pt x="40000" y="14818"/>
                  </a:cubicBezTo>
                  <a:cubicBezTo>
                    <a:pt x="40769" y="14527"/>
                    <a:pt x="40769" y="14527"/>
                    <a:pt x="40769" y="14527"/>
                  </a:cubicBezTo>
                  <a:cubicBezTo>
                    <a:pt x="39615" y="13656"/>
                    <a:pt x="39615" y="13656"/>
                    <a:pt x="39615" y="13656"/>
                  </a:cubicBezTo>
                  <a:cubicBezTo>
                    <a:pt x="39615" y="13656"/>
                    <a:pt x="39615" y="12784"/>
                    <a:pt x="40000" y="12493"/>
                  </a:cubicBezTo>
                  <a:cubicBezTo>
                    <a:pt x="40384" y="12493"/>
                    <a:pt x="40384" y="11912"/>
                    <a:pt x="40384" y="11912"/>
                  </a:cubicBezTo>
                  <a:cubicBezTo>
                    <a:pt x="39230" y="11912"/>
                    <a:pt x="39230" y="11912"/>
                    <a:pt x="39230" y="11912"/>
                  </a:cubicBezTo>
                  <a:cubicBezTo>
                    <a:pt x="39230" y="11912"/>
                    <a:pt x="38846" y="11912"/>
                    <a:pt x="38846" y="11331"/>
                  </a:cubicBezTo>
                  <a:cubicBezTo>
                    <a:pt x="39230" y="10750"/>
                    <a:pt x="39230" y="10460"/>
                    <a:pt x="39230" y="10460"/>
                  </a:cubicBezTo>
                  <a:cubicBezTo>
                    <a:pt x="37692" y="10460"/>
                    <a:pt x="37692" y="10460"/>
                    <a:pt x="37692" y="10460"/>
                  </a:cubicBezTo>
                  <a:cubicBezTo>
                    <a:pt x="36923" y="10460"/>
                    <a:pt x="36923" y="10460"/>
                    <a:pt x="36923" y="10460"/>
                  </a:cubicBezTo>
                  <a:cubicBezTo>
                    <a:pt x="35769" y="9588"/>
                    <a:pt x="35769" y="9588"/>
                    <a:pt x="35769" y="9588"/>
                  </a:cubicBezTo>
                  <a:cubicBezTo>
                    <a:pt x="36153" y="8716"/>
                    <a:pt x="36153" y="8716"/>
                    <a:pt x="36153" y="8716"/>
                  </a:cubicBezTo>
                  <a:cubicBezTo>
                    <a:pt x="38461" y="8426"/>
                    <a:pt x="38461" y="8426"/>
                    <a:pt x="38461" y="8426"/>
                  </a:cubicBezTo>
                  <a:cubicBezTo>
                    <a:pt x="41153" y="7554"/>
                    <a:pt x="41153" y="7554"/>
                    <a:pt x="41153" y="7554"/>
                  </a:cubicBezTo>
                  <a:cubicBezTo>
                    <a:pt x="40769" y="6973"/>
                    <a:pt x="40769" y="6973"/>
                    <a:pt x="40769" y="6973"/>
                  </a:cubicBezTo>
                  <a:cubicBezTo>
                    <a:pt x="40000" y="7263"/>
                    <a:pt x="40000" y="7263"/>
                    <a:pt x="40000" y="7263"/>
                  </a:cubicBezTo>
                  <a:cubicBezTo>
                    <a:pt x="40000" y="7263"/>
                    <a:pt x="39615" y="7554"/>
                    <a:pt x="39615" y="7554"/>
                  </a:cubicBezTo>
                  <a:cubicBezTo>
                    <a:pt x="39230" y="7554"/>
                    <a:pt x="38461" y="7554"/>
                    <a:pt x="38461" y="7554"/>
                  </a:cubicBezTo>
                  <a:cubicBezTo>
                    <a:pt x="38461" y="6973"/>
                    <a:pt x="38461" y="6973"/>
                    <a:pt x="38461" y="6973"/>
                  </a:cubicBezTo>
                  <a:cubicBezTo>
                    <a:pt x="39615" y="6973"/>
                    <a:pt x="39615" y="6973"/>
                    <a:pt x="39615" y="6973"/>
                  </a:cubicBezTo>
                  <a:cubicBezTo>
                    <a:pt x="40384" y="6682"/>
                    <a:pt x="40384" y="6682"/>
                    <a:pt x="40384" y="6682"/>
                  </a:cubicBezTo>
                  <a:cubicBezTo>
                    <a:pt x="39615" y="6392"/>
                    <a:pt x="39615" y="6392"/>
                    <a:pt x="39615" y="6392"/>
                  </a:cubicBezTo>
                  <a:cubicBezTo>
                    <a:pt x="38461" y="5230"/>
                    <a:pt x="38461" y="5230"/>
                    <a:pt x="38461" y="5230"/>
                  </a:cubicBezTo>
                  <a:cubicBezTo>
                    <a:pt x="38076" y="4358"/>
                    <a:pt x="38076" y="4358"/>
                    <a:pt x="38076" y="4358"/>
                  </a:cubicBezTo>
                  <a:cubicBezTo>
                    <a:pt x="37307" y="4067"/>
                    <a:pt x="37307" y="4067"/>
                    <a:pt x="37307" y="4067"/>
                  </a:cubicBezTo>
                  <a:cubicBezTo>
                    <a:pt x="36538" y="3486"/>
                    <a:pt x="36538" y="3486"/>
                    <a:pt x="36538" y="3486"/>
                  </a:cubicBezTo>
                  <a:cubicBezTo>
                    <a:pt x="36538" y="2615"/>
                    <a:pt x="36538" y="2615"/>
                    <a:pt x="36538" y="2615"/>
                  </a:cubicBezTo>
                  <a:cubicBezTo>
                    <a:pt x="36153" y="290"/>
                    <a:pt x="36153" y="290"/>
                    <a:pt x="36153" y="290"/>
                  </a:cubicBezTo>
                  <a:cubicBezTo>
                    <a:pt x="37307" y="290"/>
                    <a:pt x="37307" y="290"/>
                    <a:pt x="37307" y="290"/>
                  </a:cubicBezTo>
                  <a:cubicBezTo>
                    <a:pt x="38076" y="0"/>
                    <a:pt x="38076" y="0"/>
                    <a:pt x="38076" y="0"/>
                  </a:cubicBezTo>
                  <a:cubicBezTo>
                    <a:pt x="38076" y="0"/>
                    <a:pt x="40000" y="581"/>
                    <a:pt x="40384" y="581"/>
                  </a:cubicBezTo>
                  <a:cubicBezTo>
                    <a:pt x="40769" y="581"/>
                    <a:pt x="41538" y="871"/>
                    <a:pt x="41538" y="871"/>
                  </a:cubicBezTo>
                  <a:cubicBezTo>
                    <a:pt x="43076" y="1452"/>
                    <a:pt x="43076" y="1452"/>
                    <a:pt x="43076" y="1452"/>
                  </a:cubicBezTo>
                  <a:cubicBezTo>
                    <a:pt x="44230" y="1743"/>
                    <a:pt x="44230" y="1743"/>
                    <a:pt x="44230" y="1743"/>
                  </a:cubicBezTo>
                  <a:cubicBezTo>
                    <a:pt x="44230" y="1743"/>
                    <a:pt x="44615" y="1743"/>
                    <a:pt x="44615" y="1743"/>
                  </a:cubicBezTo>
                  <a:cubicBezTo>
                    <a:pt x="45000" y="1743"/>
                    <a:pt x="45769" y="1452"/>
                    <a:pt x="45769" y="1452"/>
                  </a:cubicBezTo>
                  <a:cubicBezTo>
                    <a:pt x="45769" y="1452"/>
                    <a:pt x="46923" y="871"/>
                    <a:pt x="47307" y="871"/>
                  </a:cubicBezTo>
                  <a:cubicBezTo>
                    <a:pt x="47307" y="581"/>
                    <a:pt x="47692" y="581"/>
                    <a:pt x="47692" y="581"/>
                  </a:cubicBezTo>
                  <a:cubicBezTo>
                    <a:pt x="48461" y="1743"/>
                    <a:pt x="48461" y="1743"/>
                    <a:pt x="48461" y="1743"/>
                  </a:cubicBezTo>
                  <a:cubicBezTo>
                    <a:pt x="49230" y="1162"/>
                    <a:pt x="49230" y="1162"/>
                    <a:pt x="49230" y="1162"/>
                  </a:cubicBezTo>
                  <a:cubicBezTo>
                    <a:pt x="49615" y="581"/>
                    <a:pt x="49615" y="581"/>
                    <a:pt x="49615" y="581"/>
                  </a:cubicBezTo>
                  <a:cubicBezTo>
                    <a:pt x="52692" y="3196"/>
                    <a:pt x="52692" y="3196"/>
                    <a:pt x="52692" y="3196"/>
                  </a:cubicBezTo>
                  <a:cubicBezTo>
                    <a:pt x="53076" y="4358"/>
                    <a:pt x="53076" y="4358"/>
                    <a:pt x="53076" y="4358"/>
                  </a:cubicBezTo>
                  <a:cubicBezTo>
                    <a:pt x="53076" y="4358"/>
                    <a:pt x="53076" y="5230"/>
                    <a:pt x="53076" y="5230"/>
                  </a:cubicBezTo>
                  <a:cubicBezTo>
                    <a:pt x="52692" y="5230"/>
                    <a:pt x="52307" y="6392"/>
                    <a:pt x="52307" y="6392"/>
                  </a:cubicBezTo>
                  <a:cubicBezTo>
                    <a:pt x="52307" y="7263"/>
                    <a:pt x="52307" y="7263"/>
                    <a:pt x="52307" y="7263"/>
                  </a:cubicBezTo>
                  <a:cubicBezTo>
                    <a:pt x="53076" y="7554"/>
                    <a:pt x="53076" y="7554"/>
                    <a:pt x="53076" y="7554"/>
                  </a:cubicBezTo>
                  <a:cubicBezTo>
                    <a:pt x="54230" y="7554"/>
                    <a:pt x="54230" y="7554"/>
                    <a:pt x="54230" y="7554"/>
                  </a:cubicBezTo>
                  <a:cubicBezTo>
                    <a:pt x="55000" y="8135"/>
                    <a:pt x="55000" y="8135"/>
                    <a:pt x="55000" y="8135"/>
                  </a:cubicBezTo>
                  <a:cubicBezTo>
                    <a:pt x="55384" y="8426"/>
                    <a:pt x="55384" y="8426"/>
                    <a:pt x="55384" y="8426"/>
                  </a:cubicBezTo>
                  <a:cubicBezTo>
                    <a:pt x="56538" y="8426"/>
                    <a:pt x="56538" y="8426"/>
                    <a:pt x="56538" y="8426"/>
                  </a:cubicBezTo>
                  <a:cubicBezTo>
                    <a:pt x="56923" y="8135"/>
                    <a:pt x="56923" y="8135"/>
                    <a:pt x="56923" y="8135"/>
                  </a:cubicBezTo>
                  <a:cubicBezTo>
                    <a:pt x="58461" y="8426"/>
                    <a:pt x="58461" y="8426"/>
                    <a:pt x="58461" y="8426"/>
                  </a:cubicBezTo>
                  <a:cubicBezTo>
                    <a:pt x="59615" y="9007"/>
                    <a:pt x="59615" y="9007"/>
                    <a:pt x="59615" y="9007"/>
                  </a:cubicBezTo>
                  <a:cubicBezTo>
                    <a:pt x="60769" y="9588"/>
                    <a:pt x="60769" y="9588"/>
                    <a:pt x="60769" y="9588"/>
                  </a:cubicBezTo>
                  <a:cubicBezTo>
                    <a:pt x="62692" y="10169"/>
                    <a:pt x="62692" y="10169"/>
                    <a:pt x="62692" y="10169"/>
                  </a:cubicBezTo>
                  <a:cubicBezTo>
                    <a:pt x="63076" y="9297"/>
                    <a:pt x="63076" y="9297"/>
                    <a:pt x="63076" y="9297"/>
                  </a:cubicBezTo>
                  <a:cubicBezTo>
                    <a:pt x="63461" y="9007"/>
                    <a:pt x="63461" y="9007"/>
                    <a:pt x="63461" y="9007"/>
                  </a:cubicBezTo>
                  <a:cubicBezTo>
                    <a:pt x="64615" y="9007"/>
                    <a:pt x="64615" y="9007"/>
                    <a:pt x="64615" y="9007"/>
                  </a:cubicBezTo>
                  <a:cubicBezTo>
                    <a:pt x="65384" y="8716"/>
                    <a:pt x="65384" y="8716"/>
                    <a:pt x="65384" y="8716"/>
                  </a:cubicBezTo>
                  <a:cubicBezTo>
                    <a:pt x="65769" y="8426"/>
                    <a:pt x="65769" y="8426"/>
                    <a:pt x="65769" y="8426"/>
                  </a:cubicBezTo>
                  <a:cubicBezTo>
                    <a:pt x="64615" y="7554"/>
                    <a:pt x="64615" y="7554"/>
                    <a:pt x="64615" y="7554"/>
                  </a:cubicBezTo>
                  <a:cubicBezTo>
                    <a:pt x="64615" y="6682"/>
                    <a:pt x="64615" y="6682"/>
                    <a:pt x="64615" y="6682"/>
                  </a:cubicBezTo>
                  <a:cubicBezTo>
                    <a:pt x="64615" y="6682"/>
                    <a:pt x="65384" y="6101"/>
                    <a:pt x="65384" y="6101"/>
                  </a:cubicBezTo>
                  <a:cubicBezTo>
                    <a:pt x="65769" y="6101"/>
                    <a:pt x="67307" y="6392"/>
                    <a:pt x="67307" y="6392"/>
                  </a:cubicBezTo>
                  <a:cubicBezTo>
                    <a:pt x="67692" y="7263"/>
                    <a:pt x="67692" y="7263"/>
                    <a:pt x="67692" y="7263"/>
                  </a:cubicBezTo>
                  <a:cubicBezTo>
                    <a:pt x="68076" y="8135"/>
                    <a:pt x="68076" y="8135"/>
                    <a:pt x="68076" y="8135"/>
                  </a:cubicBezTo>
                  <a:cubicBezTo>
                    <a:pt x="66538" y="8426"/>
                    <a:pt x="66538" y="8426"/>
                    <a:pt x="66538" y="8426"/>
                  </a:cubicBezTo>
                  <a:cubicBezTo>
                    <a:pt x="66153" y="9007"/>
                    <a:pt x="66153" y="9007"/>
                    <a:pt x="66153" y="9007"/>
                  </a:cubicBezTo>
                  <a:cubicBezTo>
                    <a:pt x="66153" y="10169"/>
                    <a:pt x="66153" y="10169"/>
                    <a:pt x="66153" y="10169"/>
                  </a:cubicBezTo>
                  <a:cubicBezTo>
                    <a:pt x="66153" y="11331"/>
                    <a:pt x="66153" y="11331"/>
                    <a:pt x="66153" y="11331"/>
                  </a:cubicBezTo>
                  <a:cubicBezTo>
                    <a:pt x="66153" y="11331"/>
                    <a:pt x="66153" y="11912"/>
                    <a:pt x="65769" y="11912"/>
                  </a:cubicBezTo>
                  <a:cubicBezTo>
                    <a:pt x="65384" y="12203"/>
                    <a:pt x="64615" y="12203"/>
                    <a:pt x="64615" y="12203"/>
                  </a:cubicBezTo>
                  <a:cubicBezTo>
                    <a:pt x="64615" y="12784"/>
                    <a:pt x="64615" y="12784"/>
                    <a:pt x="64615" y="12784"/>
                  </a:cubicBezTo>
                  <a:cubicBezTo>
                    <a:pt x="63461" y="13365"/>
                    <a:pt x="63461" y="13365"/>
                    <a:pt x="63461" y="13365"/>
                  </a:cubicBezTo>
                  <a:cubicBezTo>
                    <a:pt x="62307" y="13365"/>
                    <a:pt x="62307" y="13365"/>
                    <a:pt x="62307" y="13365"/>
                  </a:cubicBezTo>
                  <a:cubicBezTo>
                    <a:pt x="61923" y="13656"/>
                    <a:pt x="61923" y="13656"/>
                    <a:pt x="61923" y="13656"/>
                  </a:cubicBezTo>
                  <a:cubicBezTo>
                    <a:pt x="62307" y="14527"/>
                    <a:pt x="62307" y="14527"/>
                    <a:pt x="62307" y="14527"/>
                  </a:cubicBezTo>
                  <a:cubicBezTo>
                    <a:pt x="63076" y="15108"/>
                    <a:pt x="63076" y="15108"/>
                    <a:pt x="63076" y="15108"/>
                  </a:cubicBezTo>
                  <a:cubicBezTo>
                    <a:pt x="64230" y="15399"/>
                    <a:pt x="64230" y="15399"/>
                    <a:pt x="64230" y="15399"/>
                  </a:cubicBezTo>
                  <a:cubicBezTo>
                    <a:pt x="65000" y="15108"/>
                    <a:pt x="65000" y="15108"/>
                    <a:pt x="65000" y="15108"/>
                  </a:cubicBezTo>
                  <a:cubicBezTo>
                    <a:pt x="65384" y="14527"/>
                    <a:pt x="65384" y="14527"/>
                    <a:pt x="65384" y="14527"/>
                  </a:cubicBezTo>
                  <a:cubicBezTo>
                    <a:pt x="66538" y="14237"/>
                    <a:pt x="66538" y="14237"/>
                    <a:pt x="66538" y="14237"/>
                  </a:cubicBezTo>
                  <a:cubicBezTo>
                    <a:pt x="68076" y="14818"/>
                    <a:pt x="68076" y="14818"/>
                    <a:pt x="68076" y="14818"/>
                  </a:cubicBezTo>
                  <a:cubicBezTo>
                    <a:pt x="68461" y="15399"/>
                    <a:pt x="68461" y="15399"/>
                    <a:pt x="68461" y="15399"/>
                  </a:cubicBezTo>
                  <a:cubicBezTo>
                    <a:pt x="68461" y="15399"/>
                    <a:pt x="70000" y="15399"/>
                    <a:pt x="70000" y="15399"/>
                  </a:cubicBezTo>
                  <a:cubicBezTo>
                    <a:pt x="70000" y="15399"/>
                    <a:pt x="70384" y="14527"/>
                    <a:pt x="70384" y="14527"/>
                  </a:cubicBezTo>
                  <a:cubicBezTo>
                    <a:pt x="70384" y="14527"/>
                    <a:pt x="70769" y="13946"/>
                    <a:pt x="71153" y="13946"/>
                  </a:cubicBezTo>
                  <a:cubicBezTo>
                    <a:pt x="71538" y="13946"/>
                    <a:pt x="71923" y="13365"/>
                    <a:pt x="72307" y="13365"/>
                  </a:cubicBezTo>
                  <a:cubicBezTo>
                    <a:pt x="72307" y="13075"/>
                    <a:pt x="72692" y="12493"/>
                    <a:pt x="72692" y="12493"/>
                  </a:cubicBezTo>
                  <a:cubicBezTo>
                    <a:pt x="72692" y="12493"/>
                    <a:pt x="73461" y="12203"/>
                    <a:pt x="73846" y="12203"/>
                  </a:cubicBezTo>
                  <a:cubicBezTo>
                    <a:pt x="74230" y="12203"/>
                    <a:pt x="76538" y="11912"/>
                    <a:pt x="76538" y="11912"/>
                  </a:cubicBezTo>
                  <a:cubicBezTo>
                    <a:pt x="76538" y="11912"/>
                    <a:pt x="78076" y="11622"/>
                    <a:pt x="78461" y="11331"/>
                  </a:cubicBezTo>
                  <a:cubicBezTo>
                    <a:pt x="78461" y="11331"/>
                    <a:pt x="80000" y="10460"/>
                    <a:pt x="80000" y="10460"/>
                  </a:cubicBezTo>
                  <a:cubicBezTo>
                    <a:pt x="80384" y="9588"/>
                    <a:pt x="80384" y="9588"/>
                    <a:pt x="80384" y="9588"/>
                  </a:cubicBezTo>
                  <a:cubicBezTo>
                    <a:pt x="81538" y="8716"/>
                    <a:pt x="81538" y="8716"/>
                    <a:pt x="81538" y="8716"/>
                  </a:cubicBezTo>
                  <a:cubicBezTo>
                    <a:pt x="81538" y="8716"/>
                    <a:pt x="81923" y="8716"/>
                    <a:pt x="81923" y="8426"/>
                  </a:cubicBezTo>
                  <a:cubicBezTo>
                    <a:pt x="81923" y="8135"/>
                    <a:pt x="82307" y="7263"/>
                    <a:pt x="82307" y="7263"/>
                  </a:cubicBezTo>
                  <a:cubicBezTo>
                    <a:pt x="83076" y="6973"/>
                    <a:pt x="83076" y="6973"/>
                    <a:pt x="83076" y="6973"/>
                  </a:cubicBezTo>
                  <a:cubicBezTo>
                    <a:pt x="83076" y="6973"/>
                    <a:pt x="83846" y="7263"/>
                    <a:pt x="83846" y="7554"/>
                  </a:cubicBezTo>
                  <a:cubicBezTo>
                    <a:pt x="83846" y="7554"/>
                    <a:pt x="83461" y="8135"/>
                    <a:pt x="83461" y="8135"/>
                  </a:cubicBezTo>
                  <a:cubicBezTo>
                    <a:pt x="83461" y="8135"/>
                    <a:pt x="82692" y="8426"/>
                    <a:pt x="82307" y="8716"/>
                  </a:cubicBezTo>
                  <a:cubicBezTo>
                    <a:pt x="82307" y="8716"/>
                    <a:pt x="82307" y="9297"/>
                    <a:pt x="82307" y="9297"/>
                  </a:cubicBezTo>
                  <a:cubicBezTo>
                    <a:pt x="83076" y="8716"/>
                    <a:pt x="83076" y="8716"/>
                    <a:pt x="83076" y="8716"/>
                  </a:cubicBezTo>
                  <a:cubicBezTo>
                    <a:pt x="83076" y="8716"/>
                    <a:pt x="83461" y="8426"/>
                    <a:pt x="83461" y="8426"/>
                  </a:cubicBezTo>
                  <a:cubicBezTo>
                    <a:pt x="83461" y="8426"/>
                    <a:pt x="85000" y="8135"/>
                    <a:pt x="85000" y="8135"/>
                  </a:cubicBezTo>
                  <a:cubicBezTo>
                    <a:pt x="85000" y="8135"/>
                    <a:pt x="85769" y="8426"/>
                    <a:pt x="85769" y="8426"/>
                  </a:cubicBezTo>
                  <a:cubicBezTo>
                    <a:pt x="85769" y="8426"/>
                    <a:pt x="86538" y="8716"/>
                    <a:pt x="86538" y="8716"/>
                  </a:cubicBezTo>
                  <a:cubicBezTo>
                    <a:pt x="88076" y="8426"/>
                    <a:pt x="88076" y="8426"/>
                    <a:pt x="88076" y="8426"/>
                  </a:cubicBezTo>
                  <a:cubicBezTo>
                    <a:pt x="88076" y="7845"/>
                    <a:pt x="88076" y="7845"/>
                    <a:pt x="88076" y="7845"/>
                  </a:cubicBezTo>
                  <a:cubicBezTo>
                    <a:pt x="88076" y="7845"/>
                    <a:pt x="88076" y="7554"/>
                    <a:pt x="88461" y="7554"/>
                  </a:cubicBezTo>
                  <a:cubicBezTo>
                    <a:pt x="88846" y="7263"/>
                    <a:pt x="89615" y="6973"/>
                    <a:pt x="89615" y="6973"/>
                  </a:cubicBezTo>
                  <a:cubicBezTo>
                    <a:pt x="89615" y="6973"/>
                    <a:pt x="89615" y="6392"/>
                    <a:pt x="89615" y="6101"/>
                  </a:cubicBezTo>
                  <a:cubicBezTo>
                    <a:pt x="89615" y="6101"/>
                    <a:pt x="90000" y="5520"/>
                    <a:pt x="90000" y="5520"/>
                  </a:cubicBezTo>
                  <a:cubicBezTo>
                    <a:pt x="90000" y="5520"/>
                    <a:pt x="90000" y="5520"/>
                    <a:pt x="90000" y="5520"/>
                  </a:cubicBezTo>
                  <a:cubicBezTo>
                    <a:pt x="90000" y="5520"/>
                    <a:pt x="90769" y="5230"/>
                    <a:pt x="90769" y="5230"/>
                  </a:cubicBezTo>
                  <a:cubicBezTo>
                    <a:pt x="90769" y="5230"/>
                    <a:pt x="91153" y="4358"/>
                    <a:pt x="91153" y="4358"/>
                  </a:cubicBezTo>
                  <a:cubicBezTo>
                    <a:pt x="91153" y="4358"/>
                    <a:pt x="91153" y="4067"/>
                    <a:pt x="91538" y="4067"/>
                  </a:cubicBezTo>
                  <a:cubicBezTo>
                    <a:pt x="91538" y="4067"/>
                    <a:pt x="92307" y="3486"/>
                    <a:pt x="92307" y="3486"/>
                  </a:cubicBezTo>
                  <a:cubicBezTo>
                    <a:pt x="92692" y="3196"/>
                    <a:pt x="92692" y="3196"/>
                    <a:pt x="93076" y="3196"/>
                  </a:cubicBezTo>
                  <a:cubicBezTo>
                    <a:pt x="93076" y="3196"/>
                    <a:pt x="93461" y="3777"/>
                    <a:pt x="93461" y="3777"/>
                  </a:cubicBezTo>
                  <a:cubicBezTo>
                    <a:pt x="93461" y="3777"/>
                    <a:pt x="93461" y="4067"/>
                    <a:pt x="93076" y="4358"/>
                  </a:cubicBezTo>
                  <a:cubicBezTo>
                    <a:pt x="92692" y="4358"/>
                    <a:pt x="92307" y="4648"/>
                    <a:pt x="92307" y="4648"/>
                  </a:cubicBezTo>
                  <a:cubicBezTo>
                    <a:pt x="92307" y="4648"/>
                    <a:pt x="93076" y="5230"/>
                    <a:pt x="93076" y="5230"/>
                  </a:cubicBezTo>
                  <a:cubicBezTo>
                    <a:pt x="93076" y="5230"/>
                    <a:pt x="93461" y="5520"/>
                    <a:pt x="93461" y="5520"/>
                  </a:cubicBezTo>
                  <a:cubicBezTo>
                    <a:pt x="93461" y="5811"/>
                    <a:pt x="93076" y="6101"/>
                    <a:pt x="93076" y="6101"/>
                  </a:cubicBezTo>
                  <a:cubicBezTo>
                    <a:pt x="93461" y="6101"/>
                    <a:pt x="94615" y="5811"/>
                    <a:pt x="94615" y="5811"/>
                  </a:cubicBezTo>
                  <a:cubicBezTo>
                    <a:pt x="94615" y="5811"/>
                    <a:pt x="94615" y="5230"/>
                    <a:pt x="94615" y="5230"/>
                  </a:cubicBezTo>
                  <a:cubicBezTo>
                    <a:pt x="94615" y="5230"/>
                    <a:pt x="95384" y="4648"/>
                    <a:pt x="95384" y="4648"/>
                  </a:cubicBezTo>
                  <a:cubicBezTo>
                    <a:pt x="95769" y="4648"/>
                    <a:pt x="96538" y="4939"/>
                    <a:pt x="96538" y="4939"/>
                  </a:cubicBezTo>
                  <a:cubicBezTo>
                    <a:pt x="96538" y="4939"/>
                    <a:pt x="96538" y="5230"/>
                    <a:pt x="96538" y="5520"/>
                  </a:cubicBezTo>
                  <a:cubicBezTo>
                    <a:pt x="96153" y="5520"/>
                    <a:pt x="95384" y="6101"/>
                    <a:pt x="95384" y="6101"/>
                  </a:cubicBezTo>
                  <a:cubicBezTo>
                    <a:pt x="95384" y="6392"/>
                    <a:pt x="95000" y="6392"/>
                    <a:pt x="95384" y="6392"/>
                  </a:cubicBezTo>
                  <a:cubicBezTo>
                    <a:pt x="95384" y="6682"/>
                    <a:pt x="96153" y="7263"/>
                    <a:pt x="96153" y="7263"/>
                  </a:cubicBezTo>
                  <a:cubicBezTo>
                    <a:pt x="97307" y="7845"/>
                    <a:pt x="97307" y="7845"/>
                    <a:pt x="97307" y="7845"/>
                  </a:cubicBezTo>
                  <a:cubicBezTo>
                    <a:pt x="97307" y="7845"/>
                    <a:pt x="97307" y="8135"/>
                    <a:pt x="97307" y="8426"/>
                  </a:cubicBezTo>
                  <a:cubicBezTo>
                    <a:pt x="97307" y="8426"/>
                    <a:pt x="95384" y="8426"/>
                    <a:pt x="95384" y="8426"/>
                  </a:cubicBezTo>
                  <a:cubicBezTo>
                    <a:pt x="95384" y="8426"/>
                    <a:pt x="95384" y="8426"/>
                    <a:pt x="95000" y="8716"/>
                  </a:cubicBezTo>
                  <a:cubicBezTo>
                    <a:pt x="95000" y="8716"/>
                    <a:pt x="94615" y="9007"/>
                    <a:pt x="93846" y="9297"/>
                  </a:cubicBezTo>
                  <a:cubicBezTo>
                    <a:pt x="93076" y="9297"/>
                    <a:pt x="93076" y="9297"/>
                    <a:pt x="93076" y="9588"/>
                  </a:cubicBezTo>
                  <a:cubicBezTo>
                    <a:pt x="93076" y="9878"/>
                    <a:pt x="92692" y="10169"/>
                    <a:pt x="93076" y="10460"/>
                  </a:cubicBezTo>
                  <a:cubicBezTo>
                    <a:pt x="93461" y="10750"/>
                    <a:pt x="94230" y="11041"/>
                    <a:pt x="94230" y="11041"/>
                  </a:cubicBezTo>
                  <a:cubicBezTo>
                    <a:pt x="94230" y="11041"/>
                    <a:pt x="96153" y="11622"/>
                    <a:pt x="96153" y="11331"/>
                  </a:cubicBezTo>
                  <a:cubicBezTo>
                    <a:pt x="96153" y="11331"/>
                    <a:pt x="98846" y="11331"/>
                    <a:pt x="98846" y="11331"/>
                  </a:cubicBezTo>
                  <a:cubicBezTo>
                    <a:pt x="100000" y="11331"/>
                    <a:pt x="100000" y="11331"/>
                    <a:pt x="100000" y="11331"/>
                  </a:cubicBezTo>
                  <a:cubicBezTo>
                    <a:pt x="100000" y="11331"/>
                    <a:pt x="100384" y="11912"/>
                    <a:pt x="100769" y="12203"/>
                  </a:cubicBezTo>
                  <a:cubicBezTo>
                    <a:pt x="100769" y="12203"/>
                    <a:pt x="102307" y="13075"/>
                    <a:pt x="102307" y="13075"/>
                  </a:cubicBezTo>
                  <a:cubicBezTo>
                    <a:pt x="103076" y="13075"/>
                    <a:pt x="103076" y="13075"/>
                    <a:pt x="103076" y="13075"/>
                  </a:cubicBezTo>
                  <a:cubicBezTo>
                    <a:pt x="103461" y="14237"/>
                    <a:pt x="103461" y="14237"/>
                    <a:pt x="103461" y="14237"/>
                  </a:cubicBezTo>
                  <a:cubicBezTo>
                    <a:pt x="103076" y="15108"/>
                    <a:pt x="103076" y="15108"/>
                    <a:pt x="103076" y="15108"/>
                  </a:cubicBezTo>
                  <a:cubicBezTo>
                    <a:pt x="101923" y="15399"/>
                    <a:pt x="101923" y="15399"/>
                    <a:pt x="101923" y="15399"/>
                  </a:cubicBezTo>
                  <a:cubicBezTo>
                    <a:pt x="100384" y="16271"/>
                    <a:pt x="100384" y="16271"/>
                    <a:pt x="100384" y="16271"/>
                  </a:cubicBezTo>
                  <a:cubicBezTo>
                    <a:pt x="99615" y="15980"/>
                    <a:pt x="99615" y="15980"/>
                    <a:pt x="99615" y="15980"/>
                  </a:cubicBezTo>
                  <a:cubicBezTo>
                    <a:pt x="99615" y="15980"/>
                    <a:pt x="100384" y="16561"/>
                    <a:pt x="100769" y="16561"/>
                  </a:cubicBezTo>
                  <a:cubicBezTo>
                    <a:pt x="101153" y="16561"/>
                    <a:pt x="101538" y="16852"/>
                    <a:pt x="101538" y="16852"/>
                  </a:cubicBezTo>
                  <a:cubicBezTo>
                    <a:pt x="101923" y="16852"/>
                    <a:pt x="103461" y="16852"/>
                    <a:pt x="105000" y="16852"/>
                  </a:cubicBezTo>
                  <a:cubicBezTo>
                    <a:pt x="105000" y="17142"/>
                    <a:pt x="105000" y="17142"/>
                    <a:pt x="105000" y="17433"/>
                  </a:cubicBezTo>
                  <a:cubicBezTo>
                    <a:pt x="105384" y="17723"/>
                    <a:pt x="105769" y="18886"/>
                    <a:pt x="105769" y="19176"/>
                  </a:cubicBezTo>
                  <a:cubicBezTo>
                    <a:pt x="105769" y="19176"/>
                    <a:pt x="106153" y="20338"/>
                    <a:pt x="106923" y="21210"/>
                  </a:cubicBezTo>
                  <a:cubicBezTo>
                    <a:pt x="108076" y="22372"/>
                    <a:pt x="107692" y="22663"/>
                    <a:pt x="107692" y="22663"/>
                  </a:cubicBezTo>
                  <a:cubicBezTo>
                    <a:pt x="107692" y="25278"/>
                    <a:pt x="107692" y="25278"/>
                    <a:pt x="107692" y="25278"/>
                  </a:cubicBezTo>
                  <a:cubicBezTo>
                    <a:pt x="107692" y="27602"/>
                    <a:pt x="107692" y="27602"/>
                    <a:pt x="107692" y="27602"/>
                  </a:cubicBezTo>
                  <a:cubicBezTo>
                    <a:pt x="105769" y="28765"/>
                    <a:pt x="105769" y="28765"/>
                    <a:pt x="105769" y="28765"/>
                  </a:cubicBezTo>
                  <a:cubicBezTo>
                    <a:pt x="105000" y="31380"/>
                    <a:pt x="105000" y="31380"/>
                    <a:pt x="105000" y="31380"/>
                  </a:cubicBezTo>
                  <a:cubicBezTo>
                    <a:pt x="105000" y="31380"/>
                    <a:pt x="105384" y="31670"/>
                    <a:pt x="105769" y="31670"/>
                  </a:cubicBezTo>
                  <a:cubicBezTo>
                    <a:pt x="106153" y="31961"/>
                    <a:pt x="107307" y="32832"/>
                    <a:pt x="107307" y="32832"/>
                  </a:cubicBezTo>
                  <a:cubicBezTo>
                    <a:pt x="107692" y="33123"/>
                    <a:pt x="110000" y="33995"/>
                    <a:pt x="111153" y="34285"/>
                  </a:cubicBezTo>
                  <a:cubicBezTo>
                    <a:pt x="112307" y="34866"/>
                    <a:pt x="111923" y="36319"/>
                    <a:pt x="111923" y="36319"/>
                  </a:cubicBezTo>
                  <a:cubicBezTo>
                    <a:pt x="111153" y="38353"/>
                    <a:pt x="111153" y="38353"/>
                    <a:pt x="111153" y="38353"/>
                  </a:cubicBezTo>
                  <a:cubicBezTo>
                    <a:pt x="111153" y="38353"/>
                    <a:pt x="111538" y="39515"/>
                    <a:pt x="112307" y="39515"/>
                  </a:cubicBezTo>
                  <a:cubicBezTo>
                    <a:pt x="112692" y="39225"/>
                    <a:pt x="113076" y="40968"/>
                    <a:pt x="113076" y="40968"/>
                  </a:cubicBezTo>
                  <a:cubicBezTo>
                    <a:pt x="113076" y="40968"/>
                    <a:pt x="113461" y="42711"/>
                    <a:pt x="113461" y="43002"/>
                  </a:cubicBezTo>
                  <a:cubicBezTo>
                    <a:pt x="113076" y="43292"/>
                    <a:pt x="113461" y="43583"/>
                    <a:pt x="113461" y="43583"/>
                  </a:cubicBezTo>
                  <a:cubicBezTo>
                    <a:pt x="114230" y="44745"/>
                    <a:pt x="114230" y="44745"/>
                    <a:pt x="114230" y="44745"/>
                  </a:cubicBezTo>
                  <a:cubicBezTo>
                    <a:pt x="114230" y="44745"/>
                    <a:pt x="113846" y="45617"/>
                    <a:pt x="113461" y="45907"/>
                  </a:cubicBezTo>
                  <a:cubicBezTo>
                    <a:pt x="113461" y="46489"/>
                    <a:pt x="113076" y="47070"/>
                    <a:pt x="113076" y="47070"/>
                  </a:cubicBezTo>
                  <a:cubicBezTo>
                    <a:pt x="113461" y="47941"/>
                    <a:pt x="113461" y="47941"/>
                    <a:pt x="113461" y="47941"/>
                  </a:cubicBezTo>
                  <a:cubicBezTo>
                    <a:pt x="115000" y="49394"/>
                    <a:pt x="115000" y="49394"/>
                    <a:pt x="115000" y="49394"/>
                  </a:cubicBezTo>
                  <a:cubicBezTo>
                    <a:pt x="115000" y="50847"/>
                    <a:pt x="115000" y="50847"/>
                    <a:pt x="115000" y="50847"/>
                  </a:cubicBezTo>
                  <a:cubicBezTo>
                    <a:pt x="115000" y="51719"/>
                    <a:pt x="115000" y="51719"/>
                    <a:pt x="115000" y="51719"/>
                  </a:cubicBezTo>
                  <a:cubicBezTo>
                    <a:pt x="115000" y="51719"/>
                    <a:pt x="116153" y="52009"/>
                    <a:pt x="116538" y="52009"/>
                  </a:cubicBezTo>
                  <a:cubicBezTo>
                    <a:pt x="116923" y="52009"/>
                    <a:pt x="117692" y="52590"/>
                    <a:pt x="117692" y="52590"/>
                  </a:cubicBezTo>
                  <a:cubicBezTo>
                    <a:pt x="117692" y="52590"/>
                    <a:pt x="117692" y="53171"/>
                    <a:pt x="117692" y="53462"/>
                  </a:cubicBezTo>
                  <a:cubicBezTo>
                    <a:pt x="117692" y="53462"/>
                    <a:pt x="118846" y="54624"/>
                    <a:pt x="118846" y="54624"/>
                  </a:cubicBezTo>
                  <a:cubicBezTo>
                    <a:pt x="119230" y="54915"/>
                    <a:pt x="120000" y="55786"/>
                    <a:pt x="120000" y="55786"/>
                  </a:cubicBezTo>
                  <a:cubicBezTo>
                    <a:pt x="120000" y="55786"/>
                    <a:pt x="120000" y="56368"/>
                    <a:pt x="118846" y="57239"/>
                  </a:cubicBezTo>
                  <a:cubicBezTo>
                    <a:pt x="118076" y="58111"/>
                    <a:pt x="118461" y="58111"/>
                    <a:pt x="118461" y="58401"/>
                  </a:cubicBezTo>
                  <a:cubicBezTo>
                    <a:pt x="118461" y="58692"/>
                    <a:pt x="118846" y="59273"/>
                    <a:pt x="118846" y="59273"/>
                  </a:cubicBezTo>
                  <a:cubicBezTo>
                    <a:pt x="118846" y="59273"/>
                    <a:pt x="118461" y="59564"/>
                    <a:pt x="118076" y="59854"/>
                  </a:cubicBezTo>
                  <a:cubicBezTo>
                    <a:pt x="118076" y="59854"/>
                    <a:pt x="117692" y="60435"/>
                    <a:pt x="117692" y="61016"/>
                  </a:cubicBezTo>
                  <a:cubicBezTo>
                    <a:pt x="116153" y="61888"/>
                    <a:pt x="116153" y="61888"/>
                    <a:pt x="116153" y="61888"/>
                  </a:cubicBezTo>
                  <a:cubicBezTo>
                    <a:pt x="116153" y="61888"/>
                    <a:pt x="116153" y="61888"/>
                    <a:pt x="115769" y="62179"/>
                  </a:cubicBezTo>
                  <a:cubicBezTo>
                    <a:pt x="115769" y="61888"/>
                    <a:pt x="115384" y="61888"/>
                    <a:pt x="115000" y="61888"/>
                  </a:cubicBezTo>
                  <a:cubicBezTo>
                    <a:pt x="114615" y="61598"/>
                    <a:pt x="114230" y="61307"/>
                    <a:pt x="114230" y="61307"/>
                  </a:cubicBezTo>
                  <a:cubicBezTo>
                    <a:pt x="114230" y="61307"/>
                    <a:pt x="114230" y="60726"/>
                    <a:pt x="114230" y="60145"/>
                  </a:cubicBezTo>
                  <a:cubicBezTo>
                    <a:pt x="114230" y="59564"/>
                    <a:pt x="114230" y="59854"/>
                    <a:pt x="114230" y="59564"/>
                  </a:cubicBezTo>
                  <a:cubicBezTo>
                    <a:pt x="113846" y="59273"/>
                    <a:pt x="113076" y="58983"/>
                    <a:pt x="112307" y="58692"/>
                  </a:cubicBezTo>
                  <a:cubicBezTo>
                    <a:pt x="111538" y="58692"/>
                    <a:pt x="110000" y="58692"/>
                    <a:pt x="109615" y="58983"/>
                  </a:cubicBezTo>
                  <a:cubicBezTo>
                    <a:pt x="109615" y="58983"/>
                    <a:pt x="109615" y="60145"/>
                    <a:pt x="109615" y="60145"/>
                  </a:cubicBezTo>
                  <a:cubicBezTo>
                    <a:pt x="110384" y="61016"/>
                    <a:pt x="110384" y="61016"/>
                    <a:pt x="110384" y="61016"/>
                  </a:cubicBezTo>
                  <a:cubicBezTo>
                    <a:pt x="110000" y="61598"/>
                    <a:pt x="110000" y="61598"/>
                    <a:pt x="110000" y="61598"/>
                  </a:cubicBezTo>
                  <a:cubicBezTo>
                    <a:pt x="110000" y="61598"/>
                    <a:pt x="106538" y="62179"/>
                    <a:pt x="105384" y="62179"/>
                  </a:cubicBezTo>
                  <a:cubicBezTo>
                    <a:pt x="104230" y="62179"/>
                    <a:pt x="104615" y="62760"/>
                    <a:pt x="104615" y="62760"/>
                  </a:cubicBezTo>
                  <a:cubicBezTo>
                    <a:pt x="103846" y="63922"/>
                    <a:pt x="103846" y="63922"/>
                    <a:pt x="103846" y="63922"/>
                  </a:cubicBezTo>
                  <a:cubicBezTo>
                    <a:pt x="103076" y="64503"/>
                    <a:pt x="103076" y="64503"/>
                    <a:pt x="103076" y="64503"/>
                  </a:cubicBezTo>
                  <a:cubicBezTo>
                    <a:pt x="100769" y="65084"/>
                    <a:pt x="100769" y="65084"/>
                    <a:pt x="100769" y="65084"/>
                  </a:cubicBezTo>
                  <a:cubicBezTo>
                    <a:pt x="100769" y="65084"/>
                    <a:pt x="98461" y="66537"/>
                    <a:pt x="98076" y="66537"/>
                  </a:cubicBezTo>
                  <a:cubicBezTo>
                    <a:pt x="96538" y="67409"/>
                    <a:pt x="96538" y="67409"/>
                    <a:pt x="96538" y="67409"/>
                  </a:cubicBezTo>
                  <a:cubicBezTo>
                    <a:pt x="96538" y="67409"/>
                    <a:pt x="96153" y="67409"/>
                    <a:pt x="95000" y="67990"/>
                  </a:cubicBezTo>
                  <a:cubicBezTo>
                    <a:pt x="93461" y="68280"/>
                    <a:pt x="94230" y="68861"/>
                    <a:pt x="93846" y="69152"/>
                  </a:cubicBezTo>
                  <a:cubicBezTo>
                    <a:pt x="93846" y="69733"/>
                    <a:pt x="93461" y="69733"/>
                    <a:pt x="92692" y="70024"/>
                  </a:cubicBezTo>
                  <a:cubicBezTo>
                    <a:pt x="92307" y="70024"/>
                    <a:pt x="91153" y="69733"/>
                    <a:pt x="90384" y="69733"/>
                  </a:cubicBezTo>
                  <a:cubicBezTo>
                    <a:pt x="90000" y="69733"/>
                    <a:pt x="88846" y="70314"/>
                    <a:pt x="88076" y="70314"/>
                  </a:cubicBezTo>
                  <a:cubicBezTo>
                    <a:pt x="86923" y="70314"/>
                    <a:pt x="86923" y="70314"/>
                    <a:pt x="86923" y="70314"/>
                  </a:cubicBezTo>
                  <a:cubicBezTo>
                    <a:pt x="85384" y="71767"/>
                    <a:pt x="85384" y="71767"/>
                    <a:pt x="85384" y="71767"/>
                  </a:cubicBezTo>
                  <a:cubicBezTo>
                    <a:pt x="84230" y="73510"/>
                    <a:pt x="84230" y="73510"/>
                    <a:pt x="84230" y="73510"/>
                  </a:cubicBezTo>
                  <a:cubicBezTo>
                    <a:pt x="83846" y="72639"/>
                    <a:pt x="83846" y="72639"/>
                    <a:pt x="83846" y="72639"/>
                  </a:cubicBezTo>
                  <a:cubicBezTo>
                    <a:pt x="83461" y="71476"/>
                    <a:pt x="83461" y="71476"/>
                    <a:pt x="83461" y="71476"/>
                  </a:cubicBezTo>
                  <a:cubicBezTo>
                    <a:pt x="81538" y="71476"/>
                    <a:pt x="81538" y="71476"/>
                    <a:pt x="81538" y="71476"/>
                  </a:cubicBezTo>
                  <a:cubicBezTo>
                    <a:pt x="81923" y="72348"/>
                    <a:pt x="81923" y="72348"/>
                    <a:pt x="81923" y="72348"/>
                  </a:cubicBezTo>
                  <a:cubicBezTo>
                    <a:pt x="81923" y="72348"/>
                    <a:pt x="82692" y="74382"/>
                    <a:pt x="83076" y="74673"/>
                  </a:cubicBezTo>
                  <a:cubicBezTo>
                    <a:pt x="83461" y="74963"/>
                    <a:pt x="83846" y="74963"/>
                    <a:pt x="84615" y="75254"/>
                  </a:cubicBezTo>
                  <a:cubicBezTo>
                    <a:pt x="85769" y="75835"/>
                    <a:pt x="85769" y="75835"/>
                    <a:pt x="86923" y="76416"/>
                  </a:cubicBezTo>
                  <a:cubicBezTo>
                    <a:pt x="88076" y="76997"/>
                    <a:pt x="87692" y="77578"/>
                    <a:pt x="87692" y="77869"/>
                  </a:cubicBezTo>
                  <a:cubicBezTo>
                    <a:pt x="87692" y="78450"/>
                    <a:pt x="87692" y="78450"/>
                    <a:pt x="86923" y="79031"/>
                  </a:cubicBezTo>
                  <a:cubicBezTo>
                    <a:pt x="86153" y="79903"/>
                    <a:pt x="86923" y="80484"/>
                    <a:pt x="86923" y="80484"/>
                  </a:cubicBezTo>
                  <a:cubicBezTo>
                    <a:pt x="86923" y="80484"/>
                    <a:pt x="87307" y="81065"/>
                    <a:pt x="88076" y="81646"/>
                  </a:cubicBezTo>
                  <a:cubicBezTo>
                    <a:pt x="88846" y="82227"/>
                    <a:pt x="88461" y="82518"/>
                    <a:pt x="88846" y="83389"/>
                  </a:cubicBezTo>
                  <a:cubicBezTo>
                    <a:pt x="88846" y="84261"/>
                    <a:pt x="88846" y="83970"/>
                    <a:pt x="89615" y="84842"/>
                  </a:cubicBezTo>
                  <a:cubicBezTo>
                    <a:pt x="90384" y="85423"/>
                    <a:pt x="90000" y="85133"/>
                    <a:pt x="90769" y="85714"/>
                  </a:cubicBezTo>
                  <a:cubicBezTo>
                    <a:pt x="91538" y="86295"/>
                    <a:pt x="91538" y="86585"/>
                    <a:pt x="91538" y="86585"/>
                  </a:cubicBezTo>
                  <a:cubicBezTo>
                    <a:pt x="91538" y="86585"/>
                    <a:pt x="93846" y="86004"/>
                    <a:pt x="94615" y="86585"/>
                  </a:cubicBezTo>
                  <a:cubicBezTo>
                    <a:pt x="95384" y="87167"/>
                    <a:pt x="95000" y="86876"/>
                    <a:pt x="96538" y="87748"/>
                  </a:cubicBezTo>
                  <a:cubicBezTo>
                    <a:pt x="97692" y="88910"/>
                    <a:pt x="96538" y="88329"/>
                    <a:pt x="96923" y="89200"/>
                  </a:cubicBezTo>
                  <a:cubicBezTo>
                    <a:pt x="97307" y="89782"/>
                    <a:pt x="97692" y="89491"/>
                    <a:pt x="97692" y="89491"/>
                  </a:cubicBezTo>
                  <a:cubicBezTo>
                    <a:pt x="97692" y="89491"/>
                    <a:pt x="98076" y="89782"/>
                    <a:pt x="98846" y="89782"/>
                  </a:cubicBezTo>
                  <a:cubicBezTo>
                    <a:pt x="99615" y="89782"/>
                    <a:pt x="99615" y="90363"/>
                    <a:pt x="99615" y="90944"/>
                  </a:cubicBezTo>
                  <a:cubicBezTo>
                    <a:pt x="100000" y="91525"/>
                    <a:pt x="100000" y="91525"/>
                    <a:pt x="100769" y="92106"/>
                  </a:cubicBezTo>
                  <a:cubicBezTo>
                    <a:pt x="101153" y="92397"/>
                    <a:pt x="101538" y="92106"/>
                    <a:pt x="102692" y="91815"/>
                  </a:cubicBezTo>
                  <a:cubicBezTo>
                    <a:pt x="103461" y="91815"/>
                    <a:pt x="103076" y="92397"/>
                    <a:pt x="103076" y="92687"/>
                  </a:cubicBezTo>
                  <a:cubicBezTo>
                    <a:pt x="103076" y="92978"/>
                    <a:pt x="103846" y="92978"/>
                    <a:pt x="104615" y="93268"/>
                  </a:cubicBezTo>
                  <a:cubicBezTo>
                    <a:pt x="105384" y="93559"/>
                    <a:pt x="105000" y="93559"/>
                    <a:pt x="105769" y="94140"/>
                  </a:cubicBezTo>
                  <a:cubicBezTo>
                    <a:pt x="105769" y="94140"/>
                    <a:pt x="105769" y="94140"/>
                    <a:pt x="105769" y="94430"/>
                  </a:cubicBezTo>
                  <a:close/>
                  <a:moveTo>
                    <a:pt x="21153" y="114479"/>
                  </a:moveTo>
                  <a:cubicBezTo>
                    <a:pt x="21153" y="114479"/>
                    <a:pt x="21153" y="114479"/>
                    <a:pt x="21153" y="114479"/>
                  </a:cubicBezTo>
                  <a:cubicBezTo>
                    <a:pt x="21153" y="114479"/>
                    <a:pt x="21153" y="114479"/>
                    <a:pt x="21153" y="114479"/>
                  </a:cubicBezTo>
                  <a:cubicBezTo>
                    <a:pt x="21153" y="114479"/>
                    <a:pt x="21153" y="114479"/>
                    <a:pt x="21153" y="114479"/>
                  </a:cubicBezTo>
                  <a:close/>
                  <a:moveTo>
                    <a:pt x="49230" y="116222"/>
                  </a:moveTo>
                  <a:cubicBezTo>
                    <a:pt x="49230" y="116222"/>
                    <a:pt x="49230" y="116222"/>
                    <a:pt x="49230" y="116222"/>
                  </a:cubicBezTo>
                  <a:cubicBezTo>
                    <a:pt x="49230" y="116222"/>
                    <a:pt x="49230" y="116222"/>
                    <a:pt x="49230" y="116222"/>
                  </a:cubicBezTo>
                  <a:cubicBezTo>
                    <a:pt x="49230" y="116222"/>
                    <a:pt x="49230" y="116222"/>
                    <a:pt x="49230" y="116222"/>
                  </a:cubicBezTo>
                  <a:cubicBezTo>
                    <a:pt x="49230" y="116222"/>
                    <a:pt x="49230" y="116222"/>
                    <a:pt x="49230" y="116222"/>
                  </a:cubicBezTo>
                  <a:close/>
                  <a:moveTo>
                    <a:pt x="120000" y="59273"/>
                  </a:moveTo>
                  <a:cubicBezTo>
                    <a:pt x="120000" y="59273"/>
                    <a:pt x="120000" y="59273"/>
                    <a:pt x="120000" y="59273"/>
                  </a:cubicBezTo>
                  <a:cubicBezTo>
                    <a:pt x="120000" y="59273"/>
                    <a:pt x="120000" y="59273"/>
                    <a:pt x="120000" y="59273"/>
                  </a:cubicBezTo>
                  <a:cubicBezTo>
                    <a:pt x="120000" y="59273"/>
                    <a:pt x="120000" y="59273"/>
                    <a:pt x="120000" y="59273"/>
                  </a:cubicBezTo>
                  <a:close/>
                </a:path>
              </a:pathLst>
            </a:custGeom>
            <a:solidFill>
              <a:srgbClr val="E4032D">
                <a:alpha val="60000"/>
              </a:srgbClr>
            </a:solidFill>
            <a:ln w="3175" cap="flat" cmpd="sng">
              <a:solidFill>
                <a:schemeClr val="tx1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defTabSz="457178"/>
              <a:endParaRPr kern="0">
                <a:solidFill>
                  <a:srgbClr val="7F7F7F"/>
                </a:solidFill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40" name="Shape 2047">
              <a:extLst>
                <a:ext uri="{FF2B5EF4-FFF2-40B4-BE49-F238E27FC236}">
                  <a16:creationId xmlns:a16="http://schemas.microsoft.com/office/drawing/2014/main" id="{F44AE63A-D85E-42E9-9719-889F1338A5D6}"/>
                </a:ext>
              </a:extLst>
            </p:cNvPr>
            <p:cNvSpPr/>
            <p:nvPr/>
          </p:nvSpPr>
          <p:spPr>
            <a:xfrm>
              <a:off x="4736816" y="3211660"/>
              <a:ext cx="1121418" cy="1240146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91707" y="101818"/>
                  </a:moveTo>
                  <a:cubicBezTo>
                    <a:pt x="91951" y="103315"/>
                    <a:pt x="91951" y="103315"/>
                    <a:pt x="91951" y="103315"/>
                  </a:cubicBezTo>
                  <a:cubicBezTo>
                    <a:pt x="91951" y="103315"/>
                    <a:pt x="90487" y="105454"/>
                    <a:pt x="90487" y="105668"/>
                  </a:cubicBezTo>
                  <a:cubicBezTo>
                    <a:pt x="90487" y="105882"/>
                    <a:pt x="90000" y="106737"/>
                    <a:pt x="89512" y="107379"/>
                  </a:cubicBezTo>
                  <a:cubicBezTo>
                    <a:pt x="89268" y="107807"/>
                    <a:pt x="87804" y="109518"/>
                    <a:pt x="87804" y="109518"/>
                  </a:cubicBezTo>
                  <a:cubicBezTo>
                    <a:pt x="87804" y="109518"/>
                    <a:pt x="87804" y="110160"/>
                    <a:pt x="88292" y="110588"/>
                  </a:cubicBezTo>
                  <a:cubicBezTo>
                    <a:pt x="88536" y="111016"/>
                    <a:pt x="89268" y="111657"/>
                    <a:pt x="89268" y="112299"/>
                  </a:cubicBezTo>
                  <a:cubicBezTo>
                    <a:pt x="89268" y="112727"/>
                    <a:pt x="90487" y="113368"/>
                    <a:pt x="90487" y="113368"/>
                  </a:cubicBezTo>
                  <a:cubicBezTo>
                    <a:pt x="90731" y="114652"/>
                    <a:pt x="90731" y="114652"/>
                    <a:pt x="90731" y="114652"/>
                  </a:cubicBezTo>
                  <a:cubicBezTo>
                    <a:pt x="90731" y="114652"/>
                    <a:pt x="91463" y="115294"/>
                    <a:pt x="91463" y="115508"/>
                  </a:cubicBezTo>
                  <a:cubicBezTo>
                    <a:pt x="91219" y="115721"/>
                    <a:pt x="90000" y="116791"/>
                    <a:pt x="90000" y="116791"/>
                  </a:cubicBezTo>
                  <a:cubicBezTo>
                    <a:pt x="89756" y="118074"/>
                    <a:pt x="89756" y="118074"/>
                    <a:pt x="89756" y="118074"/>
                  </a:cubicBezTo>
                  <a:cubicBezTo>
                    <a:pt x="89756" y="118716"/>
                    <a:pt x="89756" y="118716"/>
                    <a:pt x="89756" y="118716"/>
                  </a:cubicBezTo>
                  <a:cubicBezTo>
                    <a:pt x="89756" y="118716"/>
                    <a:pt x="90000" y="118716"/>
                    <a:pt x="89756" y="119358"/>
                  </a:cubicBezTo>
                  <a:cubicBezTo>
                    <a:pt x="89512" y="119786"/>
                    <a:pt x="89512" y="119786"/>
                    <a:pt x="89268" y="119786"/>
                  </a:cubicBezTo>
                  <a:cubicBezTo>
                    <a:pt x="89024" y="120000"/>
                    <a:pt x="86585" y="119786"/>
                    <a:pt x="86585" y="119786"/>
                  </a:cubicBezTo>
                  <a:cubicBezTo>
                    <a:pt x="84146" y="119358"/>
                    <a:pt x="84146" y="119358"/>
                    <a:pt x="84146" y="119358"/>
                  </a:cubicBezTo>
                  <a:cubicBezTo>
                    <a:pt x="84146" y="119358"/>
                    <a:pt x="82926" y="119144"/>
                    <a:pt x="82439" y="118930"/>
                  </a:cubicBezTo>
                  <a:cubicBezTo>
                    <a:pt x="82195" y="118716"/>
                    <a:pt x="81707" y="118502"/>
                    <a:pt x="81707" y="118502"/>
                  </a:cubicBezTo>
                  <a:cubicBezTo>
                    <a:pt x="80975" y="116577"/>
                    <a:pt x="80975" y="116577"/>
                    <a:pt x="80975" y="116577"/>
                  </a:cubicBezTo>
                  <a:cubicBezTo>
                    <a:pt x="79024" y="116363"/>
                    <a:pt x="79024" y="116363"/>
                    <a:pt x="79024" y="116363"/>
                  </a:cubicBezTo>
                  <a:cubicBezTo>
                    <a:pt x="74146" y="115721"/>
                    <a:pt x="74146" y="115721"/>
                    <a:pt x="74146" y="115721"/>
                  </a:cubicBezTo>
                  <a:cubicBezTo>
                    <a:pt x="74146" y="115721"/>
                    <a:pt x="72439" y="114438"/>
                    <a:pt x="72195" y="114224"/>
                  </a:cubicBezTo>
                  <a:cubicBezTo>
                    <a:pt x="71707" y="114010"/>
                    <a:pt x="71219" y="113368"/>
                    <a:pt x="71219" y="113368"/>
                  </a:cubicBezTo>
                  <a:cubicBezTo>
                    <a:pt x="70243" y="113155"/>
                    <a:pt x="70243" y="113155"/>
                    <a:pt x="70243" y="113155"/>
                  </a:cubicBezTo>
                  <a:cubicBezTo>
                    <a:pt x="68292" y="111443"/>
                    <a:pt x="68292" y="111443"/>
                    <a:pt x="68292" y="111443"/>
                  </a:cubicBezTo>
                  <a:cubicBezTo>
                    <a:pt x="66341" y="111443"/>
                    <a:pt x="66341" y="111443"/>
                    <a:pt x="66341" y="111443"/>
                  </a:cubicBezTo>
                  <a:cubicBezTo>
                    <a:pt x="64878" y="110588"/>
                    <a:pt x="64878" y="110588"/>
                    <a:pt x="64878" y="110588"/>
                  </a:cubicBezTo>
                  <a:cubicBezTo>
                    <a:pt x="63170" y="110588"/>
                    <a:pt x="63170" y="110588"/>
                    <a:pt x="63170" y="110588"/>
                  </a:cubicBezTo>
                  <a:cubicBezTo>
                    <a:pt x="63170" y="110588"/>
                    <a:pt x="61951" y="110374"/>
                    <a:pt x="61951" y="110160"/>
                  </a:cubicBezTo>
                  <a:cubicBezTo>
                    <a:pt x="61707" y="109732"/>
                    <a:pt x="60243" y="109090"/>
                    <a:pt x="60243" y="109090"/>
                  </a:cubicBezTo>
                  <a:cubicBezTo>
                    <a:pt x="60243" y="109090"/>
                    <a:pt x="60243" y="107807"/>
                    <a:pt x="60243" y="107593"/>
                  </a:cubicBezTo>
                  <a:cubicBezTo>
                    <a:pt x="60243" y="107379"/>
                    <a:pt x="60487" y="105240"/>
                    <a:pt x="60487" y="105240"/>
                  </a:cubicBezTo>
                  <a:cubicBezTo>
                    <a:pt x="61463" y="104171"/>
                    <a:pt x="61463" y="104171"/>
                    <a:pt x="61463" y="104171"/>
                  </a:cubicBezTo>
                  <a:cubicBezTo>
                    <a:pt x="62926" y="103743"/>
                    <a:pt x="62926" y="103743"/>
                    <a:pt x="62926" y="103743"/>
                  </a:cubicBezTo>
                  <a:cubicBezTo>
                    <a:pt x="63414" y="104598"/>
                    <a:pt x="63414" y="104598"/>
                    <a:pt x="63414" y="104598"/>
                  </a:cubicBezTo>
                  <a:cubicBezTo>
                    <a:pt x="65121" y="105240"/>
                    <a:pt x="65121" y="105240"/>
                    <a:pt x="65121" y="105240"/>
                  </a:cubicBezTo>
                  <a:cubicBezTo>
                    <a:pt x="66097" y="104598"/>
                    <a:pt x="66097" y="104598"/>
                    <a:pt x="66097" y="104598"/>
                  </a:cubicBezTo>
                  <a:cubicBezTo>
                    <a:pt x="66585" y="103315"/>
                    <a:pt x="66585" y="103315"/>
                    <a:pt x="66585" y="103315"/>
                  </a:cubicBezTo>
                  <a:cubicBezTo>
                    <a:pt x="68048" y="102887"/>
                    <a:pt x="68048" y="102887"/>
                    <a:pt x="68048" y="102887"/>
                  </a:cubicBezTo>
                  <a:cubicBezTo>
                    <a:pt x="69756" y="103529"/>
                    <a:pt x="69756" y="103529"/>
                    <a:pt x="69756" y="103529"/>
                  </a:cubicBezTo>
                  <a:cubicBezTo>
                    <a:pt x="70975" y="104598"/>
                    <a:pt x="70975" y="104598"/>
                    <a:pt x="70975" y="104598"/>
                  </a:cubicBezTo>
                  <a:cubicBezTo>
                    <a:pt x="73414" y="105240"/>
                    <a:pt x="73414" y="105240"/>
                    <a:pt x="73414" y="105240"/>
                  </a:cubicBezTo>
                  <a:cubicBezTo>
                    <a:pt x="75609" y="104812"/>
                    <a:pt x="75609" y="104812"/>
                    <a:pt x="75609" y="104812"/>
                  </a:cubicBezTo>
                  <a:cubicBezTo>
                    <a:pt x="77560" y="104598"/>
                    <a:pt x="77560" y="104598"/>
                    <a:pt x="77560" y="104598"/>
                  </a:cubicBezTo>
                  <a:cubicBezTo>
                    <a:pt x="77560" y="104598"/>
                    <a:pt x="78536" y="104598"/>
                    <a:pt x="79024" y="104598"/>
                  </a:cubicBezTo>
                  <a:cubicBezTo>
                    <a:pt x="79268" y="104385"/>
                    <a:pt x="80731" y="103957"/>
                    <a:pt x="80731" y="103957"/>
                  </a:cubicBezTo>
                  <a:cubicBezTo>
                    <a:pt x="83170" y="103315"/>
                    <a:pt x="83170" y="103315"/>
                    <a:pt x="83170" y="103315"/>
                  </a:cubicBezTo>
                  <a:cubicBezTo>
                    <a:pt x="84634" y="101604"/>
                    <a:pt x="84634" y="101604"/>
                    <a:pt x="84634" y="101604"/>
                  </a:cubicBezTo>
                  <a:cubicBezTo>
                    <a:pt x="86585" y="102245"/>
                    <a:pt x="86585" y="102245"/>
                    <a:pt x="86585" y="102245"/>
                  </a:cubicBezTo>
                  <a:cubicBezTo>
                    <a:pt x="88292" y="102459"/>
                    <a:pt x="88292" y="102459"/>
                    <a:pt x="88292" y="102459"/>
                  </a:cubicBezTo>
                  <a:cubicBezTo>
                    <a:pt x="89024" y="101390"/>
                    <a:pt x="89024" y="101390"/>
                    <a:pt x="89024" y="101390"/>
                  </a:cubicBezTo>
                  <a:cubicBezTo>
                    <a:pt x="90731" y="100534"/>
                    <a:pt x="90731" y="100534"/>
                    <a:pt x="90731" y="100534"/>
                  </a:cubicBezTo>
                  <a:cubicBezTo>
                    <a:pt x="91707" y="101818"/>
                    <a:pt x="91707" y="101818"/>
                    <a:pt x="91707" y="101818"/>
                  </a:cubicBezTo>
                  <a:close/>
                  <a:moveTo>
                    <a:pt x="94634" y="100320"/>
                  </a:moveTo>
                  <a:cubicBezTo>
                    <a:pt x="94634" y="100320"/>
                    <a:pt x="94634" y="100320"/>
                    <a:pt x="94634" y="100320"/>
                  </a:cubicBezTo>
                  <a:cubicBezTo>
                    <a:pt x="93658" y="101176"/>
                    <a:pt x="93658" y="101176"/>
                    <a:pt x="93658" y="101176"/>
                  </a:cubicBezTo>
                  <a:cubicBezTo>
                    <a:pt x="92682" y="101818"/>
                    <a:pt x="92682" y="101818"/>
                    <a:pt x="92682" y="101818"/>
                  </a:cubicBezTo>
                  <a:cubicBezTo>
                    <a:pt x="92682" y="101818"/>
                    <a:pt x="92926" y="102673"/>
                    <a:pt x="92926" y="103101"/>
                  </a:cubicBezTo>
                  <a:cubicBezTo>
                    <a:pt x="93170" y="103529"/>
                    <a:pt x="93902" y="104598"/>
                    <a:pt x="93902" y="104598"/>
                  </a:cubicBezTo>
                  <a:cubicBezTo>
                    <a:pt x="96341" y="104598"/>
                    <a:pt x="96341" y="104598"/>
                    <a:pt x="96341" y="104598"/>
                  </a:cubicBezTo>
                  <a:cubicBezTo>
                    <a:pt x="98048" y="103743"/>
                    <a:pt x="98048" y="103743"/>
                    <a:pt x="98048" y="103743"/>
                  </a:cubicBezTo>
                  <a:cubicBezTo>
                    <a:pt x="98292" y="102245"/>
                    <a:pt x="98292" y="102245"/>
                    <a:pt x="98292" y="102245"/>
                  </a:cubicBezTo>
                  <a:cubicBezTo>
                    <a:pt x="99024" y="100748"/>
                    <a:pt x="99024" y="100748"/>
                    <a:pt x="99024" y="100748"/>
                  </a:cubicBezTo>
                  <a:cubicBezTo>
                    <a:pt x="100487" y="99893"/>
                    <a:pt x="100487" y="99893"/>
                    <a:pt x="100487" y="99893"/>
                  </a:cubicBezTo>
                  <a:cubicBezTo>
                    <a:pt x="101707" y="98823"/>
                    <a:pt x="101707" y="98823"/>
                    <a:pt x="101707" y="98823"/>
                  </a:cubicBezTo>
                  <a:cubicBezTo>
                    <a:pt x="102439" y="97754"/>
                    <a:pt x="102439" y="97754"/>
                    <a:pt x="102439" y="97754"/>
                  </a:cubicBezTo>
                  <a:cubicBezTo>
                    <a:pt x="102682" y="94973"/>
                    <a:pt x="102682" y="94973"/>
                    <a:pt x="102682" y="94973"/>
                  </a:cubicBezTo>
                  <a:cubicBezTo>
                    <a:pt x="103414" y="92834"/>
                    <a:pt x="103414" y="92834"/>
                    <a:pt x="103414" y="92834"/>
                  </a:cubicBezTo>
                  <a:cubicBezTo>
                    <a:pt x="107317" y="91550"/>
                    <a:pt x="107317" y="91550"/>
                    <a:pt x="107317" y="91550"/>
                  </a:cubicBezTo>
                  <a:cubicBezTo>
                    <a:pt x="108048" y="91122"/>
                    <a:pt x="108048" y="91122"/>
                    <a:pt x="108048" y="91122"/>
                  </a:cubicBezTo>
                  <a:cubicBezTo>
                    <a:pt x="108048" y="91122"/>
                    <a:pt x="108048" y="90695"/>
                    <a:pt x="107804" y="90267"/>
                  </a:cubicBezTo>
                  <a:cubicBezTo>
                    <a:pt x="107804" y="90053"/>
                    <a:pt x="107073" y="89411"/>
                    <a:pt x="107073" y="89411"/>
                  </a:cubicBezTo>
                  <a:cubicBezTo>
                    <a:pt x="107073" y="89411"/>
                    <a:pt x="107317" y="88770"/>
                    <a:pt x="107317" y="88556"/>
                  </a:cubicBezTo>
                  <a:cubicBezTo>
                    <a:pt x="107317" y="88342"/>
                    <a:pt x="107073" y="86844"/>
                    <a:pt x="107073" y="86844"/>
                  </a:cubicBezTo>
                  <a:cubicBezTo>
                    <a:pt x="106585" y="85347"/>
                    <a:pt x="106585" y="85347"/>
                    <a:pt x="106585" y="85347"/>
                  </a:cubicBezTo>
                  <a:cubicBezTo>
                    <a:pt x="106585" y="85347"/>
                    <a:pt x="106097" y="85347"/>
                    <a:pt x="105365" y="84919"/>
                  </a:cubicBezTo>
                  <a:cubicBezTo>
                    <a:pt x="104634" y="84705"/>
                    <a:pt x="103414" y="84064"/>
                    <a:pt x="103414" y="84064"/>
                  </a:cubicBezTo>
                  <a:cubicBezTo>
                    <a:pt x="102195" y="83636"/>
                    <a:pt x="102195" y="83636"/>
                    <a:pt x="102195" y="83636"/>
                  </a:cubicBezTo>
                  <a:cubicBezTo>
                    <a:pt x="100731" y="83422"/>
                    <a:pt x="100731" y="83422"/>
                    <a:pt x="100731" y="83422"/>
                  </a:cubicBezTo>
                  <a:cubicBezTo>
                    <a:pt x="100243" y="82352"/>
                    <a:pt x="100243" y="82352"/>
                    <a:pt x="100243" y="82352"/>
                  </a:cubicBezTo>
                  <a:cubicBezTo>
                    <a:pt x="101219" y="79358"/>
                    <a:pt x="101219" y="79358"/>
                    <a:pt x="101219" y="79358"/>
                  </a:cubicBezTo>
                  <a:cubicBezTo>
                    <a:pt x="100487" y="77860"/>
                    <a:pt x="100487" y="77860"/>
                    <a:pt x="100487" y="77860"/>
                  </a:cubicBezTo>
                  <a:cubicBezTo>
                    <a:pt x="102682" y="75721"/>
                    <a:pt x="102682" y="75721"/>
                    <a:pt x="102682" y="75721"/>
                  </a:cubicBezTo>
                  <a:cubicBezTo>
                    <a:pt x="103658" y="74224"/>
                    <a:pt x="103658" y="74224"/>
                    <a:pt x="103658" y="74224"/>
                  </a:cubicBezTo>
                  <a:cubicBezTo>
                    <a:pt x="104878" y="73368"/>
                    <a:pt x="104878" y="73368"/>
                    <a:pt x="104878" y="73368"/>
                  </a:cubicBezTo>
                  <a:cubicBezTo>
                    <a:pt x="106829" y="73796"/>
                    <a:pt x="106829" y="73796"/>
                    <a:pt x="106829" y="73796"/>
                  </a:cubicBezTo>
                  <a:cubicBezTo>
                    <a:pt x="107560" y="74652"/>
                    <a:pt x="107560" y="74652"/>
                    <a:pt x="107560" y="74652"/>
                  </a:cubicBezTo>
                  <a:cubicBezTo>
                    <a:pt x="108780" y="74866"/>
                    <a:pt x="108780" y="74866"/>
                    <a:pt x="108780" y="74866"/>
                  </a:cubicBezTo>
                  <a:cubicBezTo>
                    <a:pt x="110975" y="74866"/>
                    <a:pt x="110975" y="74866"/>
                    <a:pt x="110975" y="74866"/>
                  </a:cubicBezTo>
                  <a:cubicBezTo>
                    <a:pt x="113414" y="75294"/>
                    <a:pt x="113414" y="75294"/>
                    <a:pt x="113414" y="75294"/>
                  </a:cubicBezTo>
                  <a:cubicBezTo>
                    <a:pt x="114390" y="76577"/>
                    <a:pt x="114390" y="76577"/>
                    <a:pt x="114390" y="76577"/>
                  </a:cubicBezTo>
                  <a:cubicBezTo>
                    <a:pt x="115365" y="78074"/>
                    <a:pt x="115365" y="78074"/>
                    <a:pt x="115365" y="78074"/>
                  </a:cubicBezTo>
                  <a:cubicBezTo>
                    <a:pt x="115365" y="78074"/>
                    <a:pt x="115853" y="78716"/>
                    <a:pt x="116097" y="78930"/>
                  </a:cubicBezTo>
                  <a:cubicBezTo>
                    <a:pt x="116097" y="78930"/>
                    <a:pt x="117073" y="79572"/>
                    <a:pt x="117317" y="79572"/>
                  </a:cubicBezTo>
                  <a:cubicBezTo>
                    <a:pt x="117560" y="79786"/>
                    <a:pt x="119024" y="80000"/>
                    <a:pt x="119024" y="80000"/>
                  </a:cubicBezTo>
                  <a:cubicBezTo>
                    <a:pt x="119024" y="80000"/>
                    <a:pt x="119024" y="78502"/>
                    <a:pt x="119268" y="78074"/>
                  </a:cubicBezTo>
                  <a:cubicBezTo>
                    <a:pt x="119512" y="77860"/>
                    <a:pt x="120000" y="77005"/>
                    <a:pt x="120000" y="76791"/>
                  </a:cubicBezTo>
                  <a:cubicBezTo>
                    <a:pt x="120000" y="76577"/>
                    <a:pt x="119512" y="75080"/>
                    <a:pt x="119512" y="75080"/>
                  </a:cubicBezTo>
                  <a:cubicBezTo>
                    <a:pt x="117804" y="73368"/>
                    <a:pt x="117804" y="73368"/>
                    <a:pt x="117804" y="73368"/>
                  </a:cubicBezTo>
                  <a:cubicBezTo>
                    <a:pt x="116097" y="72299"/>
                    <a:pt x="116097" y="72299"/>
                    <a:pt x="116097" y="72299"/>
                  </a:cubicBezTo>
                  <a:cubicBezTo>
                    <a:pt x="111951" y="69946"/>
                    <a:pt x="111951" y="69946"/>
                    <a:pt x="111951" y="69946"/>
                  </a:cubicBezTo>
                  <a:cubicBezTo>
                    <a:pt x="106097" y="68235"/>
                    <a:pt x="106097" y="68235"/>
                    <a:pt x="106097" y="68235"/>
                  </a:cubicBezTo>
                  <a:cubicBezTo>
                    <a:pt x="102195" y="66096"/>
                    <a:pt x="102195" y="66096"/>
                    <a:pt x="102195" y="66096"/>
                  </a:cubicBezTo>
                  <a:cubicBezTo>
                    <a:pt x="99024" y="65454"/>
                    <a:pt x="99024" y="65454"/>
                    <a:pt x="99024" y="65454"/>
                  </a:cubicBezTo>
                  <a:cubicBezTo>
                    <a:pt x="99024" y="65454"/>
                    <a:pt x="95609" y="63957"/>
                    <a:pt x="95365" y="63957"/>
                  </a:cubicBezTo>
                  <a:cubicBezTo>
                    <a:pt x="95121" y="63957"/>
                    <a:pt x="94390" y="63743"/>
                    <a:pt x="94390" y="63743"/>
                  </a:cubicBezTo>
                  <a:cubicBezTo>
                    <a:pt x="94390" y="63743"/>
                    <a:pt x="92439" y="63315"/>
                    <a:pt x="92439" y="63101"/>
                  </a:cubicBezTo>
                  <a:cubicBezTo>
                    <a:pt x="92195" y="62887"/>
                    <a:pt x="91951" y="62245"/>
                    <a:pt x="91707" y="62032"/>
                  </a:cubicBezTo>
                  <a:cubicBezTo>
                    <a:pt x="91707" y="61818"/>
                    <a:pt x="91951" y="61176"/>
                    <a:pt x="91951" y="61176"/>
                  </a:cubicBezTo>
                  <a:cubicBezTo>
                    <a:pt x="92926" y="60320"/>
                    <a:pt x="92926" y="60320"/>
                    <a:pt x="92926" y="60320"/>
                  </a:cubicBezTo>
                  <a:cubicBezTo>
                    <a:pt x="92926" y="60320"/>
                    <a:pt x="93902" y="59465"/>
                    <a:pt x="93902" y="59251"/>
                  </a:cubicBezTo>
                  <a:cubicBezTo>
                    <a:pt x="93902" y="59037"/>
                    <a:pt x="94146" y="57754"/>
                    <a:pt x="94146" y="57754"/>
                  </a:cubicBezTo>
                  <a:cubicBezTo>
                    <a:pt x="92926" y="57326"/>
                    <a:pt x="92926" y="57326"/>
                    <a:pt x="92926" y="57326"/>
                  </a:cubicBezTo>
                  <a:cubicBezTo>
                    <a:pt x="90000" y="57540"/>
                    <a:pt x="90000" y="57540"/>
                    <a:pt x="90000" y="57540"/>
                  </a:cubicBezTo>
                  <a:cubicBezTo>
                    <a:pt x="85365" y="57967"/>
                    <a:pt x="85365" y="57967"/>
                    <a:pt x="85365" y="57967"/>
                  </a:cubicBezTo>
                  <a:cubicBezTo>
                    <a:pt x="82926" y="57967"/>
                    <a:pt x="82926" y="57967"/>
                    <a:pt x="82926" y="57967"/>
                  </a:cubicBezTo>
                  <a:cubicBezTo>
                    <a:pt x="79756" y="56256"/>
                    <a:pt x="79756" y="56256"/>
                    <a:pt x="79756" y="56256"/>
                  </a:cubicBezTo>
                  <a:cubicBezTo>
                    <a:pt x="77073" y="54331"/>
                    <a:pt x="77073" y="54331"/>
                    <a:pt x="77073" y="54331"/>
                  </a:cubicBezTo>
                  <a:cubicBezTo>
                    <a:pt x="75365" y="53475"/>
                    <a:pt x="75365" y="53475"/>
                    <a:pt x="75365" y="53475"/>
                  </a:cubicBezTo>
                  <a:cubicBezTo>
                    <a:pt x="72926" y="51122"/>
                    <a:pt x="72926" y="51122"/>
                    <a:pt x="72926" y="51122"/>
                  </a:cubicBezTo>
                  <a:cubicBezTo>
                    <a:pt x="71707" y="49625"/>
                    <a:pt x="71707" y="49625"/>
                    <a:pt x="71707" y="49625"/>
                  </a:cubicBezTo>
                  <a:cubicBezTo>
                    <a:pt x="71707" y="49625"/>
                    <a:pt x="70975" y="47486"/>
                    <a:pt x="70731" y="46631"/>
                  </a:cubicBezTo>
                  <a:cubicBezTo>
                    <a:pt x="70487" y="45989"/>
                    <a:pt x="68536" y="43636"/>
                    <a:pt x="68536" y="43636"/>
                  </a:cubicBezTo>
                  <a:cubicBezTo>
                    <a:pt x="68536" y="43636"/>
                    <a:pt x="67560" y="41711"/>
                    <a:pt x="67560" y="41497"/>
                  </a:cubicBezTo>
                  <a:cubicBezTo>
                    <a:pt x="67560" y="41283"/>
                    <a:pt x="67073" y="39786"/>
                    <a:pt x="67073" y="39786"/>
                  </a:cubicBezTo>
                  <a:cubicBezTo>
                    <a:pt x="63902" y="38502"/>
                    <a:pt x="63902" y="38502"/>
                    <a:pt x="63902" y="38502"/>
                  </a:cubicBezTo>
                  <a:cubicBezTo>
                    <a:pt x="59756" y="36363"/>
                    <a:pt x="59756" y="36363"/>
                    <a:pt x="59756" y="36363"/>
                  </a:cubicBezTo>
                  <a:cubicBezTo>
                    <a:pt x="56341" y="34438"/>
                    <a:pt x="56341" y="34438"/>
                    <a:pt x="56341" y="34438"/>
                  </a:cubicBezTo>
                  <a:cubicBezTo>
                    <a:pt x="54634" y="32299"/>
                    <a:pt x="54634" y="32299"/>
                    <a:pt x="54634" y="32299"/>
                  </a:cubicBezTo>
                  <a:cubicBezTo>
                    <a:pt x="53170" y="28877"/>
                    <a:pt x="53170" y="28877"/>
                    <a:pt x="53170" y="28877"/>
                  </a:cubicBezTo>
                  <a:cubicBezTo>
                    <a:pt x="52926" y="26096"/>
                    <a:pt x="52926" y="26096"/>
                    <a:pt x="52926" y="26096"/>
                  </a:cubicBezTo>
                  <a:cubicBezTo>
                    <a:pt x="54634" y="25454"/>
                    <a:pt x="54634" y="25454"/>
                    <a:pt x="54634" y="25454"/>
                  </a:cubicBezTo>
                  <a:cubicBezTo>
                    <a:pt x="54634" y="24171"/>
                    <a:pt x="54634" y="24171"/>
                    <a:pt x="54634" y="24171"/>
                  </a:cubicBezTo>
                  <a:cubicBezTo>
                    <a:pt x="53170" y="23315"/>
                    <a:pt x="53170" y="23315"/>
                    <a:pt x="53170" y="23315"/>
                  </a:cubicBezTo>
                  <a:cubicBezTo>
                    <a:pt x="53170" y="22032"/>
                    <a:pt x="53170" y="22032"/>
                    <a:pt x="53170" y="22032"/>
                  </a:cubicBezTo>
                  <a:cubicBezTo>
                    <a:pt x="52439" y="21604"/>
                    <a:pt x="52439" y="21604"/>
                    <a:pt x="52439" y="21604"/>
                  </a:cubicBezTo>
                  <a:cubicBezTo>
                    <a:pt x="51463" y="20534"/>
                    <a:pt x="51463" y="20534"/>
                    <a:pt x="51463" y="20534"/>
                  </a:cubicBezTo>
                  <a:cubicBezTo>
                    <a:pt x="53414" y="19679"/>
                    <a:pt x="53414" y="19679"/>
                    <a:pt x="53414" y="19679"/>
                  </a:cubicBezTo>
                  <a:cubicBezTo>
                    <a:pt x="53414" y="19679"/>
                    <a:pt x="54146" y="18823"/>
                    <a:pt x="55121" y="18823"/>
                  </a:cubicBezTo>
                  <a:cubicBezTo>
                    <a:pt x="56097" y="18823"/>
                    <a:pt x="56829" y="17967"/>
                    <a:pt x="56829" y="17967"/>
                  </a:cubicBezTo>
                  <a:cubicBezTo>
                    <a:pt x="56829" y="17967"/>
                    <a:pt x="57560" y="17326"/>
                    <a:pt x="57804" y="17326"/>
                  </a:cubicBezTo>
                  <a:cubicBezTo>
                    <a:pt x="58292" y="17326"/>
                    <a:pt x="58780" y="17112"/>
                    <a:pt x="59268" y="16898"/>
                  </a:cubicBezTo>
                  <a:cubicBezTo>
                    <a:pt x="59512" y="16898"/>
                    <a:pt x="60243" y="16684"/>
                    <a:pt x="60243" y="16684"/>
                  </a:cubicBezTo>
                  <a:cubicBezTo>
                    <a:pt x="60243" y="16470"/>
                    <a:pt x="60487" y="14973"/>
                    <a:pt x="60731" y="14973"/>
                  </a:cubicBezTo>
                  <a:cubicBezTo>
                    <a:pt x="60975" y="14973"/>
                    <a:pt x="61463" y="15828"/>
                    <a:pt x="62195" y="15828"/>
                  </a:cubicBezTo>
                  <a:cubicBezTo>
                    <a:pt x="62439" y="15828"/>
                    <a:pt x="62926" y="16256"/>
                    <a:pt x="63170" y="16042"/>
                  </a:cubicBezTo>
                  <a:cubicBezTo>
                    <a:pt x="63658" y="15828"/>
                    <a:pt x="63902" y="15187"/>
                    <a:pt x="63902" y="15187"/>
                  </a:cubicBezTo>
                  <a:cubicBezTo>
                    <a:pt x="64146" y="14973"/>
                    <a:pt x="64390" y="14759"/>
                    <a:pt x="65121" y="14545"/>
                  </a:cubicBezTo>
                  <a:cubicBezTo>
                    <a:pt x="65121" y="14545"/>
                    <a:pt x="65121" y="14545"/>
                    <a:pt x="65121" y="14545"/>
                  </a:cubicBezTo>
                  <a:cubicBezTo>
                    <a:pt x="65121" y="14545"/>
                    <a:pt x="64634" y="14331"/>
                    <a:pt x="64634" y="14331"/>
                  </a:cubicBezTo>
                  <a:cubicBezTo>
                    <a:pt x="64634" y="14117"/>
                    <a:pt x="64634" y="14117"/>
                    <a:pt x="64878" y="13903"/>
                  </a:cubicBezTo>
                  <a:cubicBezTo>
                    <a:pt x="64878" y="13689"/>
                    <a:pt x="64878" y="13689"/>
                    <a:pt x="65121" y="13475"/>
                  </a:cubicBezTo>
                  <a:cubicBezTo>
                    <a:pt x="65121" y="13475"/>
                    <a:pt x="65121" y="13048"/>
                    <a:pt x="65121" y="13048"/>
                  </a:cubicBezTo>
                  <a:cubicBezTo>
                    <a:pt x="65121" y="13048"/>
                    <a:pt x="65365" y="12834"/>
                    <a:pt x="65121" y="12834"/>
                  </a:cubicBezTo>
                  <a:cubicBezTo>
                    <a:pt x="65121" y="12620"/>
                    <a:pt x="64878" y="12406"/>
                    <a:pt x="64878" y="12406"/>
                  </a:cubicBezTo>
                  <a:cubicBezTo>
                    <a:pt x="64878" y="12406"/>
                    <a:pt x="64878" y="12406"/>
                    <a:pt x="64634" y="12406"/>
                  </a:cubicBezTo>
                  <a:cubicBezTo>
                    <a:pt x="64634" y="12620"/>
                    <a:pt x="64634" y="12620"/>
                    <a:pt x="64634" y="12620"/>
                  </a:cubicBezTo>
                  <a:cubicBezTo>
                    <a:pt x="64146" y="12834"/>
                    <a:pt x="64146" y="12834"/>
                    <a:pt x="64146" y="12834"/>
                  </a:cubicBezTo>
                  <a:cubicBezTo>
                    <a:pt x="64146" y="12834"/>
                    <a:pt x="63902" y="12406"/>
                    <a:pt x="63902" y="12406"/>
                  </a:cubicBezTo>
                  <a:cubicBezTo>
                    <a:pt x="63658" y="12406"/>
                    <a:pt x="63658" y="12406"/>
                    <a:pt x="63658" y="12192"/>
                  </a:cubicBezTo>
                  <a:cubicBezTo>
                    <a:pt x="63658" y="12192"/>
                    <a:pt x="63902" y="11978"/>
                    <a:pt x="63902" y="11978"/>
                  </a:cubicBezTo>
                  <a:cubicBezTo>
                    <a:pt x="63902" y="11978"/>
                    <a:pt x="63658" y="11764"/>
                    <a:pt x="63658" y="11764"/>
                  </a:cubicBezTo>
                  <a:cubicBezTo>
                    <a:pt x="63658" y="11764"/>
                    <a:pt x="63902" y="11336"/>
                    <a:pt x="64146" y="11336"/>
                  </a:cubicBezTo>
                  <a:cubicBezTo>
                    <a:pt x="64390" y="11122"/>
                    <a:pt x="64878" y="10695"/>
                    <a:pt x="64878" y="10695"/>
                  </a:cubicBezTo>
                  <a:cubicBezTo>
                    <a:pt x="65121" y="10267"/>
                    <a:pt x="65121" y="10267"/>
                    <a:pt x="65121" y="10267"/>
                  </a:cubicBezTo>
                  <a:cubicBezTo>
                    <a:pt x="64878" y="10053"/>
                    <a:pt x="64878" y="10053"/>
                    <a:pt x="64878" y="10053"/>
                  </a:cubicBezTo>
                  <a:cubicBezTo>
                    <a:pt x="64878" y="10053"/>
                    <a:pt x="64634" y="10267"/>
                    <a:pt x="64634" y="10267"/>
                  </a:cubicBezTo>
                  <a:cubicBezTo>
                    <a:pt x="64146" y="10053"/>
                    <a:pt x="64146" y="10053"/>
                    <a:pt x="64146" y="10053"/>
                  </a:cubicBezTo>
                  <a:cubicBezTo>
                    <a:pt x="63658" y="9839"/>
                    <a:pt x="63658" y="9839"/>
                    <a:pt x="63658" y="9839"/>
                  </a:cubicBezTo>
                  <a:cubicBezTo>
                    <a:pt x="62926" y="9839"/>
                    <a:pt x="62926" y="9839"/>
                    <a:pt x="62926" y="9839"/>
                  </a:cubicBezTo>
                  <a:cubicBezTo>
                    <a:pt x="62439" y="9411"/>
                    <a:pt x="62439" y="9411"/>
                    <a:pt x="62439" y="9411"/>
                  </a:cubicBezTo>
                  <a:cubicBezTo>
                    <a:pt x="62682" y="8983"/>
                    <a:pt x="62682" y="8983"/>
                    <a:pt x="62682" y="8983"/>
                  </a:cubicBezTo>
                  <a:cubicBezTo>
                    <a:pt x="62682" y="8556"/>
                    <a:pt x="62682" y="8556"/>
                    <a:pt x="62682" y="8556"/>
                  </a:cubicBezTo>
                  <a:cubicBezTo>
                    <a:pt x="62682" y="8556"/>
                    <a:pt x="63170" y="8128"/>
                    <a:pt x="63170" y="8128"/>
                  </a:cubicBezTo>
                  <a:cubicBezTo>
                    <a:pt x="63414" y="7914"/>
                    <a:pt x="63902" y="7700"/>
                    <a:pt x="63902" y="7700"/>
                  </a:cubicBezTo>
                  <a:cubicBezTo>
                    <a:pt x="64146" y="7272"/>
                    <a:pt x="64146" y="7272"/>
                    <a:pt x="64146" y="7272"/>
                  </a:cubicBezTo>
                  <a:cubicBezTo>
                    <a:pt x="64146" y="7272"/>
                    <a:pt x="64390" y="7058"/>
                    <a:pt x="64634" y="7058"/>
                  </a:cubicBezTo>
                  <a:cubicBezTo>
                    <a:pt x="64878" y="7058"/>
                    <a:pt x="64878" y="7272"/>
                    <a:pt x="64878" y="7058"/>
                  </a:cubicBezTo>
                  <a:cubicBezTo>
                    <a:pt x="65121" y="7058"/>
                    <a:pt x="65121" y="6631"/>
                    <a:pt x="65121" y="6417"/>
                  </a:cubicBezTo>
                  <a:cubicBezTo>
                    <a:pt x="65121" y="5775"/>
                    <a:pt x="65121" y="5775"/>
                    <a:pt x="65121" y="5775"/>
                  </a:cubicBezTo>
                  <a:cubicBezTo>
                    <a:pt x="63902" y="5989"/>
                    <a:pt x="63902" y="5989"/>
                    <a:pt x="63902" y="5989"/>
                  </a:cubicBezTo>
                  <a:cubicBezTo>
                    <a:pt x="63902" y="5989"/>
                    <a:pt x="62682" y="5775"/>
                    <a:pt x="61951" y="5775"/>
                  </a:cubicBezTo>
                  <a:cubicBezTo>
                    <a:pt x="60975" y="5775"/>
                    <a:pt x="59024" y="5347"/>
                    <a:pt x="59024" y="5347"/>
                  </a:cubicBezTo>
                  <a:cubicBezTo>
                    <a:pt x="56585" y="4705"/>
                    <a:pt x="56585" y="4705"/>
                    <a:pt x="56585" y="4705"/>
                  </a:cubicBezTo>
                  <a:cubicBezTo>
                    <a:pt x="55121" y="4705"/>
                    <a:pt x="55121" y="4705"/>
                    <a:pt x="55121" y="4705"/>
                  </a:cubicBezTo>
                  <a:cubicBezTo>
                    <a:pt x="52926" y="4491"/>
                    <a:pt x="52926" y="4491"/>
                    <a:pt x="52926" y="4491"/>
                  </a:cubicBezTo>
                  <a:cubicBezTo>
                    <a:pt x="52926" y="4491"/>
                    <a:pt x="52682" y="4064"/>
                    <a:pt x="52439" y="3850"/>
                  </a:cubicBezTo>
                  <a:cubicBezTo>
                    <a:pt x="52439" y="3636"/>
                    <a:pt x="51707" y="3208"/>
                    <a:pt x="51707" y="3208"/>
                  </a:cubicBezTo>
                  <a:cubicBezTo>
                    <a:pt x="51707" y="2780"/>
                    <a:pt x="51707" y="2780"/>
                    <a:pt x="51707" y="2780"/>
                  </a:cubicBezTo>
                  <a:cubicBezTo>
                    <a:pt x="51219" y="1711"/>
                    <a:pt x="51219" y="1711"/>
                    <a:pt x="51219" y="1711"/>
                  </a:cubicBezTo>
                  <a:cubicBezTo>
                    <a:pt x="50731" y="855"/>
                    <a:pt x="50731" y="855"/>
                    <a:pt x="50731" y="855"/>
                  </a:cubicBezTo>
                  <a:cubicBezTo>
                    <a:pt x="51219" y="213"/>
                    <a:pt x="51219" y="213"/>
                    <a:pt x="51219" y="213"/>
                  </a:cubicBezTo>
                  <a:cubicBezTo>
                    <a:pt x="50731" y="0"/>
                    <a:pt x="50731" y="0"/>
                    <a:pt x="50731" y="0"/>
                  </a:cubicBezTo>
                  <a:cubicBezTo>
                    <a:pt x="50731" y="0"/>
                    <a:pt x="49756" y="213"/>
                    <a:pt x="49268" y="213"/>
                  </a:cubicBezTo>
                  <a:cubicBezTo>
                    <a:pt x="49024" y="427"/>
                    <a:pt x="47560" y="641"/>
                    <a:pt x="47560" y="641"/>
                  </a:cubicBezTo>
                  <a:cubicBezTo>
                    <a:pt x="47073" y="855"/>
                    <a:pt x="47073" y="855"/>
                    <a:pt x="47073" y="855"/>
                  </a:cubicBezTo>
                  <a:cubicBezTo>
                    <a:pt x="45121" y="855"/>
                    <a:pt x="45121" y="855"/>
                    <a:pt x="45121" y="855"/>
                  </a:cubicBezTo>
                  <a:cubicBezTo>
                    <a:pt x="43170" y="1069"/>
                    <a:pt x="43170" y="1069"/>
                    <a:pt x="43170" y="1069"/>
                  </a:cubicBezTo>
                  <a:cubicBezTo>
                    <a:pt x="42439" y="1497"/>
                    <a:pt x="42439" y="1497"/>
                    <a:pt x="42439" y="1497"/>
                  </a:cubicBezTo>
                  <a:cubicBezTo>
                    <a:pt x="40975" y="2139"/>
                    <a:pt x="40975" y="2139"/>
                    <a:pt x="40975" y="2139"/>
                  </a:cubicBezTo>
                  <a:cubicBezTo>
                    <a:pt x="40975" y="2994"/>
                    <a:pt x="40975" y="2994"/>
                    <a:pt x="40975" y="2994"/>
                  </a:cubicBezTo>
                  <a:cubicBezTo>
                    <a:pt x="40243" y="3850"/>
                    <a:pt x="40243" y="3850"/>
                    <a:pt x="40243" y="3850"/>
                  </a:cubicBezTo>
                  <a:cubicBezTo>
                    <a:pt x="39024" y="3850"/>
                    <a:pt x="39024" y="3850"/>
                    <a:pt x="39024" y="3850"/>
                  </a:cubicBezTo>
                  <a:cubicBezTo>
                    <a:pt x="37804" y="2994"/>
                    <a:pt x="37804" y="2994"/>
                    <a:pt x="37804" y="2994"/>
                  </a:cubicBezTo>
                  <a:cubicBezTo>
                    <a:pt x="37317" y="3422"/>
                    <a:pt x="37317" y="3422"/>
                    <a:pt x="37317" y="3422"/>
                  </a:cubicBezTo>
                  <a:cubicBezTo>
                    <a:pt x="36097" y="3208"/>
                    <a:pt x="36097" y="3208"/>
                    <a:pt x="36097" y="3208"/>
                  </a:cubicBezTo>
                  <a:cubicBezTo>
                    <a:pt x="35853" y="3208"/>
                    <a:pt x="35853" y="3208"/>
                    <a:pt x="35853" y="3208"/>
                  </a:cubicBezTo>
                  <a:cubicBezTo>
                    <a:pt x="35609" y="3208"/>
                    <a:pt x="35609" y="3208"/>
                    <a:pt x="35609" y="3208"/>
                  </a:cubicBezTo>
                  <a:cubicBezTo>
                    <a:pt x="35609" y="3208"/>
                    <a:pt x="35365" y="3422"/>
                    <a:pt x="35365" y="3422"/>
                  </a:cubicBezTo>
                  <a:cubicBezTo>
                    <a:pt x="35609" y="3850"/>
                    <a:pt x="35609" y="3850"/>
                    <a:pt x="35609" y="3850"/>
                  </a:cubicBezTo>
                  <a:cubicBezTo>
                    <a:pt x="35365" y="4064"/>
                    <a:pt x="35365" y="4064"/>
                    <a:pt x="35365" y="4064"/>
                  </a:cubicBezTo>
                  <a:cubicBezTo>
                    <a:pt x="35609" y="4491"/>
                    <a:pt x="35609" y="4491"/>
                    <a:pt x="35609" y="4491"/>
                  </a:cubicBezTo>
                  <a:cubicBezTo>
                    <a:pt x="35609" y="4491"/>
                    <a:pt x="35365" y="4705"/>
                    <a:pt x="35121" y="4919"/>
                  </a:cubicBezTo>
                  <a:cubicBezTo>
                    <a:pt x="34878" y="4919"/>
                    <a:pt x="35365" y="5347"/>
                    <a:pt x="35365" y="5347"/>
                  </a:cubicBezTo>
                  <a:cubicBezTo>
                    <a:pt x="35365" y="5347"/>
                    <a:pt x="35609" y="5347"/>
                    <a:pt x="36097" y="5561"/>
                  </a:cubicBezTo>
                  <a:cubicBezTo>
                    <a:pt x="36341" y="5775"/>
                    <a:pt x="36097" y="5775"/>
                    <a:pt x="36097" y="5775"/>
                  </a:cubicBezTo>
                  <a:cubicBezTo>
                    <a:pt x="36097" y="5989"/>
                    <a:pt x="36097" y="6203"/>
                    <a:pt x="35853" y="6203"/>
                  </a:cubicBezTo>
                  <a:cubicBezTo>
                    <a:pt x="35853" y="6417"/>
                    <a:pt x="35853" y="6417"/>
                    <a:pt x="35853" y="6417"/>
                  </a:cubicBezTo>
                  <a:cubicBezTo>
                    <a:pt x="35609" y="6417"/>
                    <a:pt x="35609" y="6417"/>
                    <a:pt x="35609" y="6417"/>
                  </a:cubicBezTo>
                  <a:cubicBezTo>
                    <a:pt x="35609" y="6417"/>
                    <a:pt x="34878" y="6631"/>
                    <a:pt x="34878" y="6417"/>
                  </a:cubicBezTo>
                  <a:cubicBezTo>
                    <a:pt x="34634" y="6417"/>
                    <a:pt x="34878" y="6417"/>
                    <a:pt x="34878" y="6417"/>
                  </a:cubicBezTo>
                  <a:cubicBezTo>
                    <a:pt x="34634" y="6417"/>
                    <a:pt x="34634" y="6417"/>
                    <a:pt x="34634" y="6417"/>
                  </a:cubicBezTo>
                  <a:cubicBezTo>
                    <a:pt x="34634" y="6417"/>
                    <a:pt x="33902" y="5989"/>
                    <a:pt x="33902" y="5989"/>
                  </a:cubicBezTo>
                  <a:cubicBezTo>
                    <a:pt x="33902" y="5775"/>
                    <a:pt x="33902" y="5775"/>
                    <a:pt x="33902" y="5775"/>
                  </a:cubicBezTo>
                  <a:cubicBezTo>
                    <a:pt x="33902" y="5775"/>
                    <a:pt x="33658" y="5561"/>
                    <a:pt x="33658" y="5561"/>
                  </a:cubicBezTo>
                  <a:cubicBezTo>
                    <a:pt x="33414" y="5561"/>
                    <a:pt x="33414" y="5775"/>
                    <a:pt x="33414" y="5775"/>
                  </a:cubicBezTo>
                  <a:cubicBezTo>
                    <a:pt x="33170" y="5775"/>
                    <a:pt x="32926" y="5775"/>
                    <a:pt x="32682" y="5775"/>
                  </a:cubicBezTo>
                  <a:cubicBezTo>
                    <a:pt x="32682" y="5775"/>
                    <a:pt x="32682" y="5989"/>
                    <a:pt x="32439" y="5989"/>
                  </a:cubicBezTo>
                  <a:cubicBezTo>
                    <a:pt x="32439" y="6203"/>
                    <a:pt x="32439" y="6203"/>
                    <a:pt x="32439" y="6417"/>
                  </a:cubicBezTo>
                  <a:cubicBezTo>
                    <a:pt x="32195" y="6417"/>
                    <a:pt x="32195" y="6631"/>
                    <a:pt x="32195" y="6631"/>
                  </a:cubicBezTo>
                  <a:cubicBezTo>
                    <a:pt x="32195" y="6844"/>
                    <a:pt x="32195" y="6844"/>
                    <a:pt x="32195" y="6844"/>
                  </a:cubicBezTo>
                  <a:cubicBezTo>
                    <a:pt x="31951" y="7272"/>
                    <a:pt x="31951" y="7272"/>
                    <a:pt x="31951" y="7272"/>
                  </a:cubicBezTo>
                  <a:cubicBezTo>
                    <a:pt x="32195" y="7272"/>
                    <a:pt x="32195" y="7272"/>
                    <a:pt x="32195" y="7272"/>
                  </a:cubicBezTo>
                  <a:cubicBezTo>
                    <a:pt x="32195" y="7272"/>
                    <a:pt x="32195" y="7700"/>
                    <a:pt x="32195" y="7700"/>
                  </a:cubicBezTo>
                  <a:cubicBezTo>
                    <a:pt x="32195" y="7914"/>
                    <a:pt x="32195" y="7914"/>
                    <a:pt x="32195" y="7914"/>
                  </a:cubicBezTo>
                  <a:cubicBezTo>
                    <a:pt x="32439" y="8128"/>
                    <a:pt x="32682" y="7914"/>
                    <a:pt x="32682" y="7914"/>
                  </a:cubicBezTo>
                  <a:cubicBezTo>
                    <a:pt x="32682" y="7914"/>
                    <a:pt x="32926" y="8128"/>
                    <a:pt x="32926" y="8342"/>
                  </a:cubicBezTo>
                  <a:cubicBezTo>
                    <a:pt x="33170" y="8342"/>
                    <a:pt x="32926" y="8556"/>
                    <a:pt x="32926" y="8556"/>
                  </a:cubicBezTo>
                  <a:cubicBezTo>
                    <a:pt x="32926" y="8556"/>
                    <a:pt x="32682" y="8770"/>
                    <a:pt x="32682" y="8770"/>
                  </a:cubicBezTo>
                  <a:cubicBezTo>
                    <a:pt x="32439" y="8770"/>
                    <a:pt x="32439" y="8770"/>
                    <a:pt x="32682" y="8983"/>
                  </a:cubicBezTo>
                  <a:cubicBezTo>
                    <a:pt x="32682" y="9197"/>
                    <a:pt x="32926" y="9197"/>
                    <a:pt x="32926" y="9197"/>
                  </a:cubicBezTo>
                  <a:cubicBezTo>
                    <a:pt x="33170" y="9197"/>
                    <a:pt x="33170" y="9839"/>
                    <a:pt x="33170" y="9839"/>
                  </a:cubicBezTo>
                  <a:cubicBezTo>
                    <a:pt x="33170" y="10053"/>
                    <a:pt x="32926" y="10267"/>
                    <a:pt x="32926" y="10267"/>
                  </a:cubicBezTo>
                  <a:cubicBezTo>
                    <a:pt x="32926" y="10267"/>
                    <a:pt x="32926" y="10267"/>
                    <a:pt x="32926" y="10267"/>
                  </a:cubicBezTo>
                  <a:cubicBezTo>
                    <a:pt x="32682" y="10267"/>
                    <a:pt x="32682" y="10267"/>
                    <a:pt x="32682" y="10481"/>
                  </a:cubicBezTo>
                  <a:cubicBezTo>
                    <a:pt x="32682" y="10481"/>
                    <a:pt x="32195" y="10481"/>
                    <a:pt x="32195" y="10481"/>
                  </a:cubicBezTo>
                  <a:cubicBezTo>
                    <a:pt x="32195" y="10481"/>
                    <a:pt x="32439" y="10053"/>
                    <a:pt x="32195" y="10053"/>
                  </a:cubicBezTo>
                  <a:cubicBezTo>
                    <a:pt x="32195" y="9839"/>
                    <a:pt x="31951" y="9839"/>
                    <a:pt x="31707" y="9625"/>
                  </a:cubicBezTo>
                  <a:cubicBezTo>
                    <a:pt x="31463" y="9197"/>
                    <a:pt x="31707" y="9197"/>
                    <a:pt x="31707" y="9197"/>
                  </a:cubicBezTo>
                  <a:cubicBezTo>
                    <a:pt x="31707" y="9197"/>
                    <a:pt x="31707" y="9197"/>
                    <a:pt x="31463" y="8983"/>
                  </a:cubicBezTo>
                  <a:cubicBezTo>
                    <a:pt x="31463" y="8770"/>
                    <a:pt x="31463" y="8556"/>
                    <a:pt x="31463" y="8556"/>
                  </a:cubicBezTo>
                  <a:cubicBezTo>
                    <a:pt x="31463" y="8556"/>
                    <a:pt x="30975" y="8556"/>
                    <a:pt x="30731" y="8556"/>
                  </a:cubicBezTo>
                  <a:cubicBezTo>
                    <a:pt x="30243" y="8556"/>
                    <a:pt x="30487" y="8770"/>
                    <a:pt x="30487" y="8770"/>
                  </a:cubicBezTo>
                  <a:cubicBezTo>
                    <a:pt x="30000" y="8770"/>
                    <a:pt x="30000" y="8770"/>
                    <a:pt x="30000" y="8770"/>
                  </a:cubicBezTo>
                  <a:cubicBezTo>
                    <a:pt x="30000" y="8770"/>
                    <a:pt x="29756" y="8983"/>
                    <a:pt x="29756" y="8983"/>
                  </a:cubicBezTo>
                  <a:cubicBezTo>
                    <a:pt x="29512" y="9197"/>
                    <a:pt x="29512" y="8983"/>
                    <a:pt x="29268" y="8983"/>
                  </a:cubicBezTo>
                  <a:cubicBezTo>
                    <a:pt x="29268" y="8983"/>
                    <a:pt x="29024" y="8983"/>
                    <a:pt x="29024" y="8983"/>
                  </a:cubicBezTo>
                  <a:cubicBezTo>
                    <a:pt x="29024" y="8983"/>
                    <a:pt x="28780" y="9197"/>
                    <a:pt x="29024" y="9411"/>
                  </a:cubicBezTo>
                  <a:cubicBezTo>
                    <a:pt x="29024" y="9625"/>
                    <a:pt x="29024" y="9625"/>
                    <a:pt x="28780" y="9625"/>
                  </a:cubicBezTo>
                  <a:cubicBezTo>
                    <a:pt x="28780" y="9839"/>
                    <a:pt x="28292" y="9625"/>
                    <a:pt x="27804" y="9625"/>
                  </a:cubicBezTo>
                  <a:cubicBezTo>
                    <a:pt x="27073" y="9625"/>
                    <a:pt x="27560" y="9411"/>
                    <a:pt x="27317" y="9411"/>
                  </a:cubicBezTo>
                  <a:cubicBezTo>
                    <a:pt x="27317" y="9197"/>
                    <a:pt x="26829" y="9197"/>
                    <a:pt x="26829" y="8983"/>
                  </a:cubicBezTo>
                  <a:cubicBezTo>
                    <a:pt x="26829" y="8556"/>
                    <a:pt x="26829" y="8556"/>
                    <a:pt x="26829" y="8342"/>
                  </a:cubicBezTo>
                  <a:cubicBezTo>
                    <a:pt x="26829" y="8128"/>
                    <a:pt x="26585" y="7914"/>
                    <a:pt x="26585" y="7914"/>
                  </a:cubicBezTo>
                  <a:cubicBezTo>
                    <a:pt x="26341" y="7700"/>
                    <a:pt x="26585" y="7486"/>
                    <a:pt x="26829" y="7486"/>
                  </a:cubicBezTo>
                  <a:cubicBezTo>
                    <a:pt x="26829" y="7272"/>
                    <a:pt x="26585" y="7272"/>
                    <a:pt x="26585" y="7272"/>
                  </a:cubicBezTo>
                  <a:cubicBezTo>
                    <a:pt x="26097" y="7486"/>
                    <a:pt x="26097" y="7486"/>
                    <a:pt x="26097" y="7486"/>
                  </a:cubicBezTo>
                  <a:cubicBezTo>
                    <a:pt x="25853" y="7486"/>
                    <a:pt x="25853" y="7486"/>
                    <a:pt x="25853" y="7486"/>
                  </a:cubicBezTo>
                  <a:cubicBezTo>
                    <a:pt x="25853" y="7486"/>
                    <a:pt x="25609" y="7272"/>
                    <a:pt x="25365" y="7272"/>
                  </a:cubicBezTo>
                  <a:cubicBezTo>
                    <a:pt x="25365" y="7058"/>
                    <a:pt x="25121" y="7272"/>
                    <a:pt x="25121" y="7272"/>
                  </a:cubicBezTo>
                  <a:cubicBezTo>
                    <a:pt x="24634" y="7700"/>
                    <a:pt x="24634" y="7700"/>
                    <a:pt x="24634" y="7700"/>
                  </a:cubicBezTo>
                  <a:cubicBezTo>
                    <a:pt x="24634" y="7914"/>
                    <a:pt x="24634" y="7914"/>
                    <a:pt x="24634" y="7914"/>
                  </a:cubicBezTo>
                  <a:cubicBezTo>
                    <a:pt x="24878" y="8342"/>
                    <a:pt x="24878" y="8342"/>
                    <a:pt x="24878" y="8342"/>
                  </a:cubicBezTo>
                  <a:cubicBezTo>
                    <a:pt x="24878" y="8770"/>
                    <a:pt x="24878" y="8770"/>
                    <a:pt x="24878" y="8770"/>
                  </a:cubicBezTo>
                  <a:cubicBezTo>
                    <a:pt x="24878" y="8770"/>
                    <a:pt x="24878" y="8983"/>
                    <a:pt x="24878" y="9197"/>
                  </a:cubicBezTo>
                  <a:cubicBezTo>
                    <a:pt x="24878" y="9197"/>
                    <a:pt x="24878" y="9411"/>
                    <a:pt x="24878" y="9411"/>
                  </a:cubicBezTo>
                  <a:cubicBezTo>
                    <a:pt x="24878" y="9625"/>
                    <a:pt x="24878" y="9625"/>
                    <a:pt x="24878" y="9625"/>
                  </a:cubicBezTo>
                  <a:cubicBezTo>
                    <a:pt x="24878" y="9625"/>
                    <a:pt x="24634" y="9839"/>
                    <a:pt x="24634" y="10053"/>
                  </a:cubicBezTo>
                  <a:cubicBezTo>
                    <a:pt x="24634" y="10053"/>
                    <a:pt x="24634" y="10267"/>
                    <a:pt x="24634" y="10481"/>
                  </a:cubicBezTo>
                  <a:cubicBezTo>
                    <a:pt x="24390" y="10695"/>
                    <a:pt x="24390" y="10695"/>
                    <a:pt x="24390" y="10695"/>
                  </a:cubicBezTo>
                  <a:cubicBezTo>
                    <a:pt x="24390" y="10695"/>
                    <a:pt x="24146" y="10909"/>
                    <a:pt x="24146" y="11122"/>
                  </a:cubicBezTo>
                  <a:cubicBezTo>
                    <a:pt x="24146" y="11122"/>
                    <a:pt x="23658" y="11122"/>
                    <a:pt x="23658" y="11122"/>
                  </a:cubicBezTo>
                  <a:cubicBezTo>
                    <a:pt x="23658" y="11122"/>
                    <a:pt x="23414" y="11550"/>
                    <a:pt x="23170" y="11550"/>
                  </a:cubicBezTo>
                  <a:cubicBezTo>
                    <a:pt x="23170" y="11550"/>
                    <a:pt x="23170" y="11978"/>
                    <a:pt x="23170" y="12192"/>
                  </a:cubicBezTo>
                  <a:cubicBezTo>
                    <a:pt x="23170" y="12192"/>
                    <a:pt x="23170" y="12406"/>
                    <a:pt x="23170" y="12406"/>
                  </a:cubicBezTo>
                  <a:cubicBezTo>
                    <a:pt x="22682" y="12620"/>
                    <a:pt x="22682" y="12620"/>
                    <a:pt x="22682" y="12620"/>
                  </a:cubicBezTo>
                  <a:cubicBezTo>
                    <a:pt x="22682" y="12620"/>
                    <a:pt x="22926" y="13048"/>
                    <a:pt x="22926" y="13048"/>
                  </a:cubicBezTo>
                  <a:cubicBezTo>
                    <a:pt x="22926" y="13262"/>
                    <a:pt x="22682" y="13262"/>
                    <a:pt x="22682" y="13262"/>
                  </a:cubicBezTo>
                  <a:cubicBezTo>
                    <a:pt x="22439" y="13475"/>
                    <a:pt x="22682" y="13475"/>
                    <a:pt x="22682" y="13689"/>
                  </a:cubicBezTo>
                  <a:cubicBezTo>
                    <a:pt x="22439" y="13903"/>
                    <a:pt x="22682" y="13903"/>
                    <a:pt x="22682" y="13903"/>
                  </a:cubicBezTo>
                  <a:cubicBezTo>
                    <a:pt x="22682" y="14117"/>
                    <a:pt x="23414" y="14331"/>
                    <a:pt x="23414" y="14331"/>
                  </a:cubicBezTo>
                  <a:cubicBezTo>
                    <a:pt x="23414" y="14331"/>
                    <a:pt x="23414" y="14331"/>
                    <a:pt x="23170" y="14545"/>
                  </a:cubicBezTo>
                  <a:cubicBezTo>
                    <a:pt x="22682" y="14759"/>
                    <a:pt x="22926" y="15187"/>
                    <a:pt x="22926" y="15187"/>
                  </a:cubicBezTo>
                  <a:cubicBezTo>
                    <a:pt x="22682" y="15401"/>
                    <a:pt x="22682" y="15401"/>
                    <a:pt x="22682" y="15401"/>
                  </a:cubicBezTo>
                  <a:cubicBezTo>
                    <a:pt x="22682" y="15401"/>
                    <a:pt x="22439" y="15187"/>
                    <a:pt x="22195" y="15187"/>
                  </a:cubicBezTo>
                  <a:cubicBezTo>
                    <a:pt x="22195" y="15187"/>
                    <a:pt x="22195" y="15187"/>
                    <a:pt x="21707" y="15187"/>
                  </a:cubicBezTo>
                  <a:cubicBezTo>
                    <a:pt x="21219" y="15187"/>
                    <a:pt x="21707" y="14973"/>
                    <a:pt x="21707" y="14973"/>
                  </a:cubicBezTo>
                  <a:cubicBezTo>
                    <a:pt x="21707" y="14973"/>
                    <a:pt x="21707" y="14545"/>
                    <a:pt x="21707" y="14331"/>
                  </a:cubicBezTo>
                  <a:cubicBezTo>
                    <a:pt x="21707" y="14331"/>
                    <a:pt x="21707" y="14331"/>
                    <a:pt x="21707" y="14331"/>
                  </a:cubicBezTo>
                  <a:cubicBezTo>
                    <a:pt x="21707" y="14331"/>
                    <a:pt x="21707" y="14117"/>
                    <a:pt x="21463" y="13903"/>
                  </a:cubicBezTo>
                  <a:cubicBezTo>
                    <a:pt x="21463" y="13689"/>
                    <a:pt x="21219" y="13689"/>
                    <a:pt x="21219" y="13689"/>
                  </a:cubicBezTo>
                  <a:cubicBezTo>
                    <a:pt x="20487" y="13262"/>
                    <a:pt x="20487" y="13262"/>
                    <a:pt x="20487" y="13262"/>
                  </a:cubicBezTo>
                  <a:cubicBezTo>
                    <a:pt x="20487" y="13262"/>
                    <a:pt x="20731" y="12834"/>
                    <a:pt x="20975" y="12620"/>
                  </a:cubicBezTo>
                  <a:cubicBezTo>
                    <a:pt x="20975" y="12620"/>
                    <a:pt x="20975" y="12620"/>
                    <a:pt x="20975" y="12620"/>
                  </a:cubicBezTo>
                  <a:cubicBezTo>
                    <a:pt x="20975" y="12620"/>
                    <a:pt x="20975" y="12620"/>
                    <a:pt x="21219" y="12406"/>
                  </a:cubicBezTo>
                  <a:cubicBezTo>
                    <a:pt x="21219" y="12192"/>
                    <a:pt x="20975" y="12192"/>
                    <a:pt x="20975" y="12192"/>
                  </a:cubicBezTo>
                  <a:cubicBezTo>
                    <a:pt x="20731" y="12192"/>
                    <a:pt x="20731" y="12192"/>
                    <a:pt x="20731" y="12192"/>
                  </a:cubicBezTo>
                  <a:cubicBezTo>
                    <a:pt x="20487" y="11978"/>
                    <a:pt x="20487" y="11978"/>
                    <a:pt x="20487" y="11978"/>
                  </a:cubicBezTo>
                  <a:cubicBezTo>
                    <a:pt x="20487" y="11978"/>
                    <a:pt x="20000" y="12192"/>
                    <a:pt x="20000" y="11978"/>
                  </a:cubicBezTo>
                  <a:cubicBezTo>
                    <a:pt x="19756" y="11978"/>
                    <a:pt x="19268" y="11978"/>
                    <a:pt x="19268" y="11764"/>
                  </a:cubicBezTo>
                  <a:cubicBezTo>
                    <a:pt x="19268" y="11764"/>
                    <a:pt x="19024" y="11764"/>
                    <a:pt x="18780" y="11764"/>
                  </a:cubicBezTo>
                  <a:cubicBezTo>
                    <a:pt x="18780" y="11764"/>
                    <a:pt x="18536" y="11764"/>
                    <a:pt x="18536" y="11764"/>
                  </a:cubicBezTo>
                  <a:cubicBezTo>
                    <a:pt x="18292" y="11550"/>
                    <a:pt x="18048" y="11336"/>
                    <a:pt x="18048" y="11336"/>
                  </a:cubicBezTo>
                  <a:cubicBezTo>
                    <a:pt x="18048" y="11122"/>
                    <a:pt x="17804" y="10909"/>
                    <a:pt x="17804" y="10909"/>
                  </a:cubicBezTo>
                  <a:cubicBezTo>
                    <a:pt x="17560" y="10909"/>
                    <a:pt x="17560" y="10909"/>
                    <a:pt x="17560" y="10909"/>
                  </a:cubicBezTo>
                  <a:cubicBezTo>
                    <a:pt x="17560" y="10909"/>
                    <a:pt x="17317" y="10481"/>
                    <a:pt x="17073" y="10481"/>
                  </a:cubicBezTo>
                  <a:cubicBezTo>
                    <a:pt x="17073" y="10481"/>
                    <a:pt x="17073" y="10267"/>
                    <a:pt x="17073" y="10267"/>
                  </a:cubicBezTo>
                  <a:cubicBezTo>
                    <a:pt x="16829" y="10053"/>
                    <a:pt x="16829" y="10053"/>
                    <a:pt x="16829" y="10053"/>
                  </a:cubicBezTo>
                  <a:cubicBezTo>
                    <a:pt x="16829" y="10053"/>
                    <a:pt x="16829" y="9839"/>
                    <a:pt x="16829" y="9625"/>
                  </a:cubicBezTo>
                  <a:cubicBezTo>
                    <a:pt x="16829" y="9625"/>
                    <a:pt x="17073" y="9197"/>
                    <a:pt x="17073" y="9197"/>
                  </a:cubicBezTo>
                  <a:cubicBezTo>
                    <a:pt x="17073" y="9197"/>
                    <a:pt x="16829" y="8770"/>
                    <a:pt x="16829" y="8556"/>
                  </a:cubicBezTo>
                  <a:cubicBezTo>
                    <a:pt x="16829" y="8342"/>
                    <a:pt x="17073" y="7914"/>
                    <a:pt x="17073" y="7914"/>
                  </a:cubicBezTo>
                  <a:cubicBezTo>
                    <a:pt x="17073" y="7914"/>
                    <a:pt x="16097" y="8128"/>
                    <a:pt x="15853" y="8342"/>
                  </a:cubicBezTo>
                  <a:cubicBezTo>
                    <a:pt x="15609" y="8342"/>
                    <a:pt x="15609" y="8556"/>
                    <a:pt x="15609" y="8556"/>
                  </a:cubicBezTo>
                  <a:cubicBezTo>
                    <a:pt x="15609" y="8556"/>
                    <a:pt x="15609" y="8770"/>
                    <a:pt x="15609" y="8983"/>
                  </a:cubicBezTo>
                  <a:cubicBezTo>
                    <a:pt x="15365" y="8983"/>
                    <a:pt x="15365" y="8983"/>
                    <a:pt x="15365" y="8983"/>
                  </a:cubicBezTo>
                  <a:cubicBezTo>
                    <a:pt x="15365" y="8983"/>
                    <a:pt x="14878" y="9411"/>
                    <a:pt x="14634" y="9411"/>
                  </a:cubicBezTo>
                  <a:cubicBezTo>
                    <a:pt x="14634" y="9625"/>
                    <a:pt x="14634" y="9625"/>
                    <a:pt x="14390" y="9625"/>
                  </a:cubicBezTo>
                  <a:cubicBezTo>
                    <a:pt x="14146" y="9625"/>
                    <a:pt x="13902" y="9839"/>
                    <a:pt x="13902" y="9839"/>
                  </a:cubicBezTo>
                  <a:cubicBezTo>
                    <a:pt x="13658" y="10053"/>
                    <a:pt x="13658" y="10053"/>
                    <a:pt x="13658" y="10053"/>
                  </a:cubicBezTo>
                  <a:cubicBezTo>
                    <a:pt x="13902" y="10267"/>
                    <a:pt x="13902" y="10267"/>
                    <a:pt x="13902" y="10267"/>
                  </a:cubicBezTo>
                  <a:cubicBezTo>
                    <a:pt x="14146" y="10909"/>
                    <a:pt x="14146" y="10909"/>
                    <a:pt x="14146" y="10909"/>
                  </a:cubicBezTo>
                  <a:cubicBezTo>
                    <a:pt x="13902" y="11336"/>
                    <a:pt x="13902" y="11336"/>
                    <a:pt x="13902" y="11336"/>
                  </a:cubicBezTo>
                  <a:cubicBezTo>
                    <a:pt x="13902" y="11336"/>
                    <a:pt x="13902" y="11336"/>
                    <a:pt x="13902" y="11550"/>
                  </a:cubicBezTo>
                  <a:cubicBezTo>
                    <a:pt x="13658" y="11978"/>
                    <a:pt x="13658" y="11978"/>
                    <a:pt x="13658" y="11978"/>
                  </a:cubicBezTo>
                  <a:cubicBezTo>
                    <a:pt x="13414" y="12192"/>
                    <a:pt x="13414" y="12192"/>
                    <a:pt x="13414" y="12192"/>
                  </a:cubicBezTo>
                  <a:cubicBezTo>
                    <a:pt x="13170" y="12406"/>
                    <a:pt x="13170" y="12406"/>
                    <a:pt x="13170" y="12406"/>
                  </a:cubicBezTo>
                  <a:cubicBezTo>
                    <a:pt x="13170" y="12406"/>
                    <a:pt x="13170" y="12620"/>
                    <a:pt x="13170" y="12834"/>
                  </a:cubicBezTo>
                  <a:cubicBezTo>
                    <a:pt x="13170" y="12834"/>
                    <a:pt x="13170" y="13048"/>
                    <a:pt x="12926" y="13262"/>
                  </a:cubicBezTo>
                  <a:cubicBezTo>
                    <a:pt x="12682" y="13475"/>
                    <a:pt x="12682" y="13475"/>
                    <a:pt x="12682" y="13475"/>
                  </a:cubicBezTo>
                  <a:cubicBezTo>
                    <a:pt x="12682" y="13475"/>
                    <a:pt x="12439" y="13475"/>
                    <a:pt x="12195" y="13475"/>
                  </a:cubicBezTo>
                  <a:cubicBezTo>
                    <a:pt x="11951" y="13475"/>
                    <a:pt x="11951" y="13689"/>
                    <a:pt x="11707" y="13689"/>
                  </a:cubicBezTo>
                  <a:cubicBezTo>
                    <a:pt x="11219" y="13689"/>
                    <a:pt x="11463" y="13903"/>
                    <a:pt x="11463" y="14117"/>
                  </a:cubicBezTo>
                  <a:cubicBezTo>
                    <a:pt x="11463" y="14117"/>
                    <a:pt x="11463" y="14117"/>
                    <a:pt x="11463" y="14331"/>
                  </a:cubicBezTo>
                  <a:cubicBezTo>
                    <a:pt x="11219" y="14331"/>
                    <a:pt x="10731" y="14331"/>
                    <a:pt x="10731" y="14117"/>
                  </a:cubicBezTo>
                  <a:cubicBezTo>
                    <a:pt x="10487" y="14117"/>
                    <a:pt x="10487" y="14117"/>
                    <a:pt x="10243" y="14117"/>
                  </a:cubicBezTo>
                  <a:cubicBezTo>
                    <a:pt x="10243" y="14331"/>
                    <a:pt x="10000" y="13903"/>
                    <a:pt x="10000" y="13903"/>
                  </a:cubicBezTo>
                  <a:cubicBezTo>
                    <a:pt x="10000" y="13903"/>
                    <a:pt x="9756" y="13689"/>
                    <a:pt x="9756" y="13689"/>
                  </a:cubicBezTo>
                  <a:cubicBezTo>
                    <a:pt x="9756" y="13475"/>
                    <a:pt x="9268" y="13689"/>
                    <a:pt x="9268" y="13689"/>
                  </a:cubicBezTo>
                  <a:cubicBezTo>
                    <a:pt x="9024" y="13475"/>
                    <a:pt x="8536" y="13475"/>
                    <a:pt x="8536" y="13475"/>
                  </a:cubicBezTo>
                  <a:cubicBezTo>
                    <a:pt x="8292" y="13475"/>
                    <a:pt x="8536" y="13689"/>
                    <a:pt x="8536" y="13689"/>
                  </a:cubicBezTo>
                  <a:cubicBezTo>
                    <a:pt x="8536" y="13689"/>
                    <a:pt x="8292" y="13689"/>
                    <a:pt x="8048" y="13689"/>
                  </a:cubicBezTo>
                  <a:cubicBezTo>
                    <a:pt x="7804" y="13689"/>
                    <a:pt x="7804" y="13903"/>
                    <a:pt x="7804" y="13903"/>
                  </a:cubicBezTo>
                  <a:cubicBezTo>
                    <a:pt x="7804" y="14331"/>
                    <a:pt x="7804" y="14331"/>
                    <a:pt x="7804" y="14331"/>
                  </a:cubicBezTo>
                  <a:cubicBezTo>
                    <a:pt x="7804" y="14331"/>
                    <a:pt x="7073" y="14331"/>
                    <a:pt x="6829" y="14331"/>
                  </a:cubicBezTo>
                  <a:cubicBezTo>
                    <a:pt x="6585" y="14331"/>
                    <a:pt x="6341" y="14117"/>
                    <a:pt x="6097" y="14117"/>
                  </a:cubicBezTo>
                  <a:cubicBezTo>
                    <a:pt x="5853" y="14117"/>
                    <a:pt x="5609" y="14331"/>
                    <a:pt x="5609" y="14331"/>
                  </a:cubicBezTo>
                  <a:cubicBezTo>
                    <a:pt x="5609" y="14331"/>
                    <a:pt x="5121" y="14545"/>
                    <a:pt x="5121" y="14545"/>
                  </a:cubicBezTo>
                  <a:cubicBezTo>
                    <a:pt x="5121" y="14545"/>
                    <a:pt x="4878" y="14759"/>
                    <a:pt x="4634" y="14759"/>
                  </a:cubicBezTo>
                  <a:cubicBezTo>
                    <a:pt x="4390" y="14759"/>
                    <a:pt x="4390" y="14545"/>
                    <a:pt x="4390" y="14545"/>
                  </a:cubicBezTo>
                  <a:cubicBezTo>
                    <a:pt x="4390" y="14545"/>
                    <a:pt x="3902" y="14117"/>
                    <a:pt x="3902" y="14117"/>
                  </a:cubicBezTo>
                  <a:cubicBezTo>
                    <a:pt x="3902" y="14117"/>
                    <a:pt x="3902" y="14117"/>
                    <a:pt x="3902" y="14117"/>
                  </a:cubicBezTo>
                  <a:cubicBezTo>
                    <a:pt x="2926" y="14545"/>
                    <a:pt x="2926" y="14545"/>
                    <a:pt x="2926" y="14545"/>
                  </a:cubicBezTo>
                  <a:cubicBezTo>
                    <a:pt x="1707" y="15401"/>
                    <a:pt x="1707" y="15401"/>
                    <a:pt x="1707" y="15401"/>
                  </a:cubicBezTo>
                  <a:cubicBezTo>
                    <a:pt x="1707" y="16470"/>
                    <a:pt x="1707" y="16470"/>
                    <a:pt x="1707" y="16470"/>
                  </a:cubicBezTo>
                  <a:cubicBezTo>
                    <a:pt x="2682" y="16898"/>
                    <a:pt x="2195" y="17326"/>
                    <a:pt x="4390" y="18181"/>
                  </a:cubicBezTo>
                  <a:cubicBezTo>
                    <a:pt x="4634" y="18181"/>
                    <a:pt x="5121" y="19251"/>
                    <a:pt x="5121" y="19251"/>
                  </a:cubicBezTo>
                  <a:cubicBezTo>
                    <a:pt x="5121" y="19465"/>
                    <a:pt x="4634" y="21176"/>
                    <a:pt x="4390" y="21390"/>
                  </a:cubicBezTo>
                  <a:cubicBezTo>
                    <a:pt x="3902" y="21604"/>
                    <a:pt x="3414" y="22459"/>
                    <a:pt x="3414" y="22459"/>
                  </a:cubicBezTo>
                  <a:cubicBezTo>
                    <a:pt x="3414" y="22459"/>
                    <a:pt x="2439" y="23315"/>
                    <a:pt x="2195" y="23315"/>
                  </a:cubicBezTo>
                  <a:cubicBezTo>
                    <a:pt x="1951" y="23315"/>
                    <a:pt x="1219" y="23529"/>
                    <a:pt x="975" y="23529"/>
                  </a:cubicBezTo>
                  <a:cubicBezTo>
                    <a:pt x="975" y="23529"/>
                    <a:pt x="0" y="23529"/>
                    <a:pt x="243" y="23743"/>
                  </a:cubicBezTo>
                  <a:cubicBezTo>
                    <a:pt x="243" y="23743"/>
                    <a:pt x="243" y="24171"/>
                    <a:pt x="243" y="24171"/>
                  </a:cubicBezTo>
                  <a:cubicBezTo>
                    <a:pt x="487" y="24385"/>
                    <a:pt x="1219" y="25240"/>
                    <a:pt x="1219" y="25240"/>
                  </a:cubicBezTo>
                  <a:cubicBezTo>
                    <a:pt x="2439" y="25882"/>
                    <a:pt x="2439" y="25882"/>
                    <a:pt x="2439" y="25882"/>
                  </a:cubicBezTo>
                  <a:cubicBezTo>
                    <a:pt x="3170" y="26524"/>
                    <a:pt x="3170" y="26524"/>
                    <a:pt x="3170" y="26524"/>
                  </a:cubicBezTo>
                  <a:cubicBezTo>
                    <a:pt x="3414" y="28663"/>
                    <a:pt x="3414" y="28663"/>
                    <a:pt x="3414" y="28663"/>
                  </a:cubicBezTo>
                  <a:cubicBezTo>
                    <a:pt x="2439" y="29946"/>
                    <a:pt x="2439" y="29946"/>
                    <a:pt x="2439" y="29946"/>
                  </a:cubicBezTo>
                  <a:cubicBezTo>
                    <a:pt x="1463" y="31016"/>
                    <a:pt x="1951" y="30374"/>
                    <a:pt x="2195" y="31871"/>
                  </a:cubicBezTo>
                  <a:cubicBezTo>
                    <a:pt x="2926" y="31871"/>
                    <a:pt x="2926" y="31871"/>
                    <a:pt x="2926" y="31871"/>
                  </a:cubicBezTo>
                  <a:cubicBezTo>
                    <a:pt x="4146" y="33582"/>
                    <a:pt x="4146" y="33582"/>
                    <a:pt x="4146" y="33582"/>
                  </a:cubicBezTo>
                  <a:cubicBezTo>
                    <a:pt x="6585" y="34438"/>
                    <a:pt x="6585" y="34438"/>
                    <a:pt x="6585" y="34438"/>
                  </a:cubicBezTo>
                  <a:cubicBezTo>
                    <a:pt x="8780" y="34438"/>
                    <a:pt x="8780" y="34438"/>
                    <a:pt x="8780" y="34438"/>
                  </a:cubicBezTo>
                  <a:cubicBezTo>
                    <a:pt x="9756" y="35080"/>
                    <a:pt x="9756" y="35080"/>
                    <a:pt x="9756" y="35080"/>
                  </a:cubicBezTo>
                  <a:cubicBezTo>
                    <a:pt x="9024" y="37433"/>
                    <a:pt x="9024" y="37433"/>
                    <a:pt x="9024" y="37433"/>
                  </a:cubicBezTo>
                  <a:cubicBezTo>
                    <a:pt x="7560" y="38502"/>
                    <a:pt x="7560" y="38502"/>
                    <a:pt x="7560" y="38502"/>
                  </a:cubicBezTo>
                  <a:cubicBezTo>
                    <a:pt x="7560" y="38502"/>
                    <a:pt x="7560" y="38502"/>
                    <a:pt x="7317" y="38502"/>
                  </a:cubicBezTo>
                  <a:cubicBezTo>
                    <a:pt x="7317" y="38502"/>
                    <a:pt x="7560" y="38716"/>
                    <a:pt x="8292" y="38930"/>
                  </a:cubicBezTo>
                  <a:cubicBezTo>
                    <a:pt x="8780" y="38930"/>
                    <a:pt x="8780" y="39358"/>
                    <a:pt x="9512" y="39144"/>
                  </a:cubicBezTo>
                  <a:cubicBezTo>
                    <a:pt x="10243" y="38930"/>
                    <a:pt x="11219" y="38716"/>
                    <a:pt x="11463" y="38502"/>
                  </a:cubicBezTo>
                  <a:cubicBezTo>
                    <a:pt x="11707" y="38074"/>
                    <a:pt x="12195" y="37860"/>
                    <a:pt x="12439" y="37647"/>
                  </a:cubicBezTo>
                  <a:cubicBezTo>
                    <a:pt x="12682" y="37219"/>
                    <a:pt x="14146" y="35721"/>
                    <a:pt x="14390" y="35721"/>
                  </a:cubicBezTo>
                  <a:cubicBezTo>
                    <a:pt x="14390" y="35721"/>
                    <a:pt x="15853" y="34010"/>
                    <a:pt x="16097" y="33796"/>
                  </a:cubicBezTo>
                  <a:cubicBezTo>
                    <a:pt x="16341" y="33582"/>
                    <a:pt x="18292" y="32299"/>
                    <a:pt x="18292" y="32299"/>
                  </a:cubicBezTo>
                  <a:cubicBezTo>
                    <a:pt x="20975" y="31443"/>
                    <a:pt x="20975" y="31443"/>
                    <a:pt x="20975" y="31443"/>
                  </a:cubicBezTo>
                  <a:cubicBezTo>
                    <a:pt x="20975" y="31443"/>
                    <a:pt x="22195" y="32513"/>
                    <a:pt x="22439" y="32727"/>
                  </a:cubicBezTo>
                  <a:cubicBezTo>
                    <a:pt x="22682" y="32727"/>
                    <a:pt x="25365" y="33796"/>
                    <a:pt x="25365" y="33796"/>
                  </a:cubicBezTo>
                  <a:cubicBezTo>
                    <a:pt x="25365" y="33796"/>
                    <a:pt x="27073" y="34438"/>
                    <a:pt x="27317" y="34652"/>
                  </a:cubicBezTo>
                  <a:cubicBezTo>
                    <a:pt x="27317" y="34866"/>
                    <a:pt x="28780" y="35935"/>
                    <a:pt x="28780" y="35935"/>
                  </a:cubicBezTo>
                  <a:cubicBezTo>
                    <a:pt x="29756" y="36363"/>
                    <a:pt x="29756" y="36363"/>
                    <a:pt x="29756" y="36363"/>
                  </a:cubicBezTo>
                  <a:cubicBezTo>
                    <a:pt x="30487" y="35721"/>
                    <a:pt x="30487" y="35721"/>
                    <a:pt x="30487" y="35721"/>
                  </a:cubicBezTo>
                  <a:cubicBezTo>
                    <a:pt x="31463" y="36149"/>
                    <a:pt x="31463" y="36149"/>
                    <a:pt x="31463" y="36149"/>
                  </a:cubicBezTo>
                  <a:cubicBezTo>
                    <a:pt x="33170" y="37005"/>
                    <a:pt x="33170" y="37005"/>
                    <a:pt x="33170" y="37005"/>
                  </a:cubicBezTo>
                  <a:cubicBezTo>
                    <a:pt x="33902" y="38288"/>
                    <a:pt x="33902" y="38288"/>
                    <a:pt x="33902" y="38288"/>
                  </a:cubicBezTo>
                  <a:cubicBezTo>
                    <a:pt x="33902" y="38288"/>
                    <a:pt x="34390" y="40000"/>
                    <a:pt x="34390" y="40641"/>
                  </a:cubicBezTo>
                  <a:cubicBezTo>
                    <a:pt x="34390" y="41283"/>
                    <a:pt x="34634" y="42352"/>
                    <a:pt x="34634" y="42352"/>
                  </a:cubicBezTo>
                  <a:cubicBezTo>
                    <a:pt x="36829" y="43208"/>
                    <a:pt x="36829" y="43208"/>
                    <a:pt x="36829" y="43208"/>
                  </a:cubicBezTo>
                  <a:cubicBezTo>
                    <a:pt x="36829" y="43208"/>
                    <a:pt x="36829" y="45133"/>
                    <a:pt x="36829" y="45347"/>
                  </a:cubicBezTo>
                  <a:cubicBezTo>
                    <a:pt x="36829" y="45775"/>
                    <a:pt x="37073" y="46417"/>
                    <a:pt x="37073" y="47058"/>
                  </a:cubicBezTo>
                  <a:cubicBezTo>
                    <a:pt x="37073" y="47700"/>
                    <a:pt x="37073" y="48342"/>
                    <a:pt x="37073" y="48342"/>
                  </a:cubicBezTo>
                  <a:cubicBezTo>
                    <a:pt x="38048" y="48983"/>
                    <a:pt x="38048" y="48983"/>
                    <a:pt x="38048" y="48983"/>
                  </a:cubicBezTo>
                  <a:cubicBezTo>
                    <a:pt x="39268" y="49625"/>
                    <a:pt x="39268" y="49625"/>
                    <a:pt x="39268" y="49625"/>
                  </a:cubicBezTo>
                  <a:cubicBezTo>
                    <a:pt x="39512" y="50695"/>
                    <a:pt x="39512" y="50695"/>
                    <a:pt x="39512" y="50695"/>
                  </a:cubicBezTo>
                  <a:cubicBezTo>
                    <a:pt x="41463" y="51336"/>
                    <a:pt x="41463" y="51336"/>
                    <a:pt x="41463" y="51336"/>
                  </a:cubicBezTo>
                  <a:cubicBezTo>
                    <a:pt x="41951" y="52620"/>
                    <a:pt x="41951" y="52620"/>
                    <a:pt x="41951" y="52620"/>
                  </a:cubicBezTo>
                  <a:cubicBezTo>
                    <a:pt x="43170" y="53689"/>
                    <a:pt x="43170" y="53689"/>
                    <a:pt x="43170" y="53689"/>
                  </a:cubicBezTo>
                  <a:cubicBezTo>
                    <a:pt x="43170" y="54545"/>
                    <a:pt x="43170" y="54545"/>
                    <a:pt x="43170" y="54545"/>
                  </a:cubicBezTo>
                  <a:cubicBezTo>
                    <a:pt x="43170" y="54545"/>
                    <a:pt x="43170" y="54973"/>
                    <a:pt x="43658" y="54973"/>
                  </a:cubicBezTo>
                  <a:cubicBezTo>
                    <a:pt x="44146" y="54973"/>
                    <a:pt x="45853" y="54759"/>
                    <a:pt x="45853" y="54759"/>
                  </a:cubicBezTo>
                  <a:cubicBezTo>
                    <a:pt x="47560" y="56042"/>
                    <a:pt x="47560" y="56042"/>
                    <a:pt x="47560" y="56042"/>
                  </a:cubicBezTo>
                  <a:cubicBezTo>
                    <a:pt x="49512" y="57540"/>
                    <a:pt x="49512" y="57540"/>
                    <a:pt x="49512" y="57540"/>
                  </a:cubicBezTo>
                  <a:cubicBezTo>
                    <a:pt x="50487" y="59037"/>
                    <a:pt x="50487" y="59037"/>
                    <a:pt x="50487" y="59037"/>
                  </a:cubicBezTo>
                  <a:cubicBezTo>
                    <a:pt x="51951" y="59465"/>
                    <a:pt x="51951" y="59465"/>
                    <a:pt x="51951" y="59465"/>
                  </a:cubicBezTo>
                  <a:cubicBezTo>
                    <a:pt x="53902" y="60534"/>
                    <a:pt x="53902" y="60534"/>
                    <a:pt x="53902" y="60534"/>
                  </a:cubicBezTo>
                  <a:cubicBezTo>
                    <a:pt x="54634" y="62032"/>
                    <a:pt x="54634" y="62032"/>
                    <a:pt x="54634" y="62032"/>
                  </a:cubicBezTo>
                  <a:cubicBezTo>
                    <a:pt x="56341" y="63529"/>
                    <a:pt x="56341" y="63529"/>
                    <a:pt x="56341" y="63529"/>
                  </a:cubicBezTo>
                  <a:cubicBezTo>
                    <a:pt x="57317" y="63957"/>
                    <a:pt x="57317" y="63957"/>
                    <a:pt x="57317" y="63957"/>
                  </a:cubicBezTo>
                  <a:cubicBezTo>
                    <a:pt x="57804" y="64812"/>
                    <a:pt x="57804" y="64812"/>
                    <a:pt x="57804" y="64812"/>
                  </a:cubicBezTo>
                  <a:cubicBezTo>
                    <a:pt x="58780" y="65240"/>
                    <a:pt x="58780" y="65240"/>
                    <a:pt x="58780" y="65240"/>
                  </a:cubicBezTo>
                  <a:cubicBezTo>
                    <a:pt x="59756" y="65454"/>
                    <a:pt x="59756" y="65454"/>
                    <a:pt x="59756" y="65454"/>
                  </a:cubicBezTo>
                  <a:cubicBezTo>
                    <a:pt x="61219" y="65668"/>
                    <a:pt x="61219" y="65668"/>
                    <a:pt x="61219" y="65668"/>
                  </a:cubicBezTo>
                  <a:cubicBezTo>
                    <a:pt x="62195" y="66524"/>
                    <a:pt x="62195" y="66524"/>
                    <a:pt x="62195" y="66524"/>
                  </a:cubicBezTo>
                  <a:cubicBezTo>
                    <a:pt x="62195" y="66524"/>
                    <a:pt x="62682" y="66951"/>
                    <a:pt x="62682" y="67165"/>
                  </a:cubicBezTo>
                  <a:cubicBezTo>
                    <a:pt x="62682" y="67593"/>
                    <a:pt x="62195" y="67807"/>
                    <a:pt x="62926" y="67807"/>
                  </a:cubicBezTo>
                  <a:cubicBezTo>
                    <a:pt x="63658" y="67807"/>
                    <a:pt x="64390" y="67593"/>
                    <a:pt x="64390" y="67593"/>
                  </a:cubicBezTo>
                  <a:cubicBezTo>
                    <a:pt x="65853" y="67379"/>
                    <a:pt x="65853" y="67379"/>
                    <a:pt x="65853" y="67379"/>
                  </a:cubicBezTo>
                  <a:cubicBezTo>
                    <a:pt x="66829" y="67379"/>
                    <a:pt x="66829" y="67379"/>
                    <a:pt x="66829" y="67379"/>
                  </a:cubicBezTo>
                  <a:cubicBezTo>
                    <a:pt x="67804" y="67379"/>
                    <a:pt x="67804" y="67379"/>
                    <a:pt x="67804" y="67379"/>
                  </a:cubicBezTo>
                  <a:cubicBezTo>
                    <a:pt x="69512" y="67165"/>
                    <a:pt x="69512" y="67165"/>
                    <a:pt x="69512" y="67165"/>
                  </a:cubicBezTo>
                  <a:cubicBezTo>
                    <a:pt x="70487" y="67807"/>
                    <a:pt x="70487" y="67807"/>
                    <a:pt x="70487" y="67807"/>
                  </a:cubicBezTo>
                  <a:cubicBezTo>
                    <a:pt x="73170" y="70588"/>
                    <a:pt x="73170" y="70588"/>
                    <a:pt x="73170" y="70588"/>
                  </a:cubicBezTo>
                  <a:cubicBezTo>
                    <a:pt x="73170" y="70588"/>
                    <a:pt x="73902" y="71657"/>
                    <a:pt x="73902" y="72085"/>
                  </a:cubicBezTo>
                  <a:cubicBezTo>
                    <a:pt x="73902" y="72299"/>
                    <a:pt x="74878" y="72085"/>
                    <a:pt x="75121" y="72085"/>
                  </a:cubicBezTo>
                  <a:cubicBezTo>
                    <a:pt x="75365" y="72085"/>
                    <a:pt x="77317" y="72085"/>
                    <a:pt x="77317" y="72085"/>
                  </a:cubicBezTo>
                  <a:cubicBezTo>
                    <a:pt x="78780" y="72941"/>
                    <a:pt x="78780" y="72941"/>
                    <a:pt x="78780" y="72941"/>
                  </a:cubicBezTo>
                  <a:cubicBezTo>
                    <a:pt x="77804" y="74010"/>
                    <a:pt x="77804" y="74010"/>
                    <a:pt x="77804" y="74010"/>
                  </a:cubicBezTo>
                  <a:cubicBezTo>
                    <a:pt x="79268" y="74652"/>
                    <a:pt x="79268" y="74652"/>
                    <a:pt x="79268" y="74652"/>
                  </a:cubicBezTo>
                  <a:cubicBezTo>
                    <a:pt x="80000" y="73796"/>
                    <a:pt x="80000" y="73796"/>
                    <a:pt x="80000" y="73796"/>
                  </a:cubicBezTo>
                  <a:cubicBezTo>
                    <a:pt x="81463" y="74010"/>
                    <a:pt x="81463" y="74010"/>
                    <a:pt x="81463" y="74010"/>
                  </a:cubicBezTo>
                  <a:cubicBezTo>
                    <a:pt x="82682" y="74866"/>
                    <a:pt x="82682" y="74866"/>
                    <a:pt x="82682" y="74866"/>
                  </a:cubicBezTo>
                  <a:cubicBezTo>
                    <a:pt x="82926" y="75508"/>
                    <a:pt x="82926" y="75508"/>
                    <a:pt x="82926" y="75508"/>
                  </a:cubicBezTo>
                  <a:cubicBezTo>
                    <a:pt x="83658" y="75935"/>
                    <a:pt x="83658" y="75935"/>
                    <a:pt x="83658" y="75935"/>
                  </a:cubicBezTo>
                  <a:cubicBezTo>
                    <a:pt x="83414" y="77005"/>
                    <a:pt x="83414" y="77005"/>
                    <a:pt x="83414" y="77005"/>
                  </a:cubicBezTo>
                  <a:cubicBezTo>
                    <a:pt x="83414" y="77647"/>
                    <a:pt x="83414" y="77647"/>
                    <a:pt x="83414" y="77647"/>
                  </a:cubicBezTo>
                  <a:cubicBezTo>
                    <a:pt x="83902" y="78502"/>
                    <a:pt x="83902" y="78502"/>
                    <a:pt x="83902" y="78502"/>
                  </a:cubicBezTo>
                  <a:cubicBezTo>
                    <a:pt x="85121" y="78930"/>
                    <a:pt x="85121" y="78930"/>
                    <a:pt x="85121" y="78930"/>
                  </a:cubicBezTo>
                  <a:cubicBezTo>
                    <a:pt x="86341" y="79572"/>
                    <a:pt x="86341" y="79572"/>
                    <a:pt x="86341" y="79572"/>
                  </a:cubicBezTo>
                  <a:cubicBezTo>
                    <a:pt x="87073" y="80000"/>
                    <a:pt x="87073" y="80000"/>
                    <a:pt x="87073" y="80000"/>
                  </a:cubicBezTo>
                  <a:cubicBezTo>
                    <a:pt x="88048" y="80000"/>
                    <a:pt x="88048" y="80000"/>
                    <a:pt x="88048" y="80000"/>
                  </a:cubicBezTo>
                  <a:cubicBezTo>
                    <a:pt x="89512" y="79786"/>
                    <a:pt x="89512" y="79786"/>
                    <a:pt x="89512" y="79786"/>
                  </a:cubicBezTo>
                  <a:cubicBezTo>
                    <a:pt x="91219" y="80000"/>
                    <a:pt x="91219" y="80000"/>
                    <a:pt x="91219" y="80000"/>
                  </a:cubicBezTo>
                  <a:cubicBezTo>
                    <a:pt x="92682" y="82139"/>
                    <a:pt x="92682" y="82139"/>
                    <a:pt x="92682" y="82139"/>
                  </a:cubicBezTo>
                  <a:cubicBezTo>
                    <a:pt x="93414" y="84064"/>
                    <a:pt x="93414" y="84064"/>
                    <a:pt x="93414" y="84064"/>
                  </a:cubicBezTo>
                  <a:cubicBezTo>
                    <a:pt x="94390" y="85775"/>
                    <a:pt x="94390" y="85775"/>
                    <a:pt x="94390" y="85775"/>
                  </a:cubicBezTo>
                  <a:cubicBezTo>
                    <a:pt x="95121" y="86844"/>
                    <a:pt x="95121" y="86844"/>
                    <a:pt x="95121" y="86844"/>
                  </a:cubicBezTo>
                  <a:cubicBezTo>
                    <a:pt x="95609" y="88556"/>
                    <a:pt x="95609" y="88556"/>
                    <a:pt x="95609" y="88556"/>
                  </a:cubicBezTo>
                  <a:cubicBezTo>
                    <a:pt x="96341" y="89411"/>
                    <a:pt x="96341" y="89411"/>
                    <a:pt x="96341" y="89411"/>
                  </a:cubicBezTo>
                  <a:cubicBezTo>
                    <a:pt x="97560" y="91550"/>
                    <a:pt x="97560" y="91550"/>
                    <a:pt x="97560" y="91550"/>
                  </a:cubicBezTo>
                  <a:cubicBezTo>
                    <a:pt x="98048" y="92406"/>
                    <a:pt x="98048" y="92406"/>
                    <a:pt x="98048" y="92406"/>
                  </a:cubicBezTo>
                  <a:cubicBezTo>
                    <a:pt x="97560" y="93475"/>
                    <a:pt x="97560" y="93475"/>
                    <a:pt x="97560" y="93475"/>
                  </a:cubicBezTo>
                  <a:cubicBezTo>
                    <a:pt x="97560" y="93475"/>
                    <a:pt x="97073" y="94545"/>
                    <a:pt x="96829" y="94545"/>
                  </a:cubicBezTo>
                  <a:cubicBezTo>
                    <a:pt x="96829" y="94759"/>
                    <a:pt x="96097" y="94973"/>
                    <a:pt x="95853" y="94973"/>
                  </a:cubicBezTo>
                  <a:cubicBezTo>
                    <a:pt x="95609" y="95187"/>
                    <a:pt x="95365" y="95187"/>
                    <a:pt x="95121" y="95401"/>
                  </a:cubicBezTo>
                  <a:cubicBezTo>
                    <a:pt x="94878" y="95614"/>
                    <a:pt x="94634" y="96256"/>
                    <a:pt x="94634" y="96256"/>
                  </a:cubicBezTo>
                  <a:cubicBezTo>
                    <a:pt x="95365" y="97540"/>
                    <a:pt x="95365" y="97540"/>
                    <a:pt x="95365" y="97540"/>
                  </a:cubicBezTo>
                  <a:cubicBezTo>
                    <a:pt x="95121" y="99037"/>
                    <a:pt x="95121" y="99037"/>
                    <a:pt x="95121" y="99037"/>
                  </a:cubicBezTo>
                  <a:cubicBezTo>
                    <a:pt x="94634" y="100320"/>
                    <a:pt x="94634" y="100320"/>
                    <a:pt x="94634" y="100320"/>
                  </a:cubicBezTo>
                  <a:close/>
                  <a:moveTo>
                    <a:pt x="13902" y="73796"/>
                  </a:moveTo>
                  <a:cubicBezTo>
                    <a:pt x="13902" y="73796"/>
                    <a:pt x="13902" y="73796"/>
                    <a:pt x="13902" y="73796"/>
                  </a:cubicBezTo>
                  <a:cubicBezTo>
                    <a:pt x="14634" y="71657"/>
                    <a:pt x="14634" y="71657"/>
                    <a:pt x="14634" y="71657"/>
                  </a:cubicBezTo>
                  <a:cubicBezTo>
                    <a:pt x="15609" y="70802"/>
                    <a:pt x="15609" y="70802"/>
                    <a:pt x="15609" y="70802"/>
                  </a:cubicBezTo>
                  <a:cubicBezTo>
                    <a:pt x="15365" y="71871"/>
                    <a:pt x="15365" y="71871"/>
                    <a:pt x="15365" y="71871"/>
                  </a:cubicBezTo>
                  <a:cubicBezTo>
                    <a:pt x="15121" y="73155"/>
                    <a:pt x="15121" y="73155"/>
                    <a:pt x="15121" y="73155"/>
                  </a:cubicBezTo>
                  <a:cubicBezTo>
                    <a:pt x="15121" y="73155"/>
                    <a:pt x="17073" y="73796"/>
                    <a:pt x="17317" y="73796"/>
                  </a:cubicBezTo>
                  <a:cubicBezTo>
                    <a:pt x="17560" y="73796"/>
                    <a:pt x="17804" y="73368"/>
                    <a:pt x="18292" y="73155"/>
                  </a:cubicBezTo>
                  <a:cubicBezTo>
                    <a:pt x="18536" y="72941"/>
                    <a:pt x="20243" y="72941"/>
                    <a:pt x="20243" y="72941"/>
                  </a:cubicBezTo>
                  <a:cubicBezTo>
                    <a:pt x="20243" y="72941"/>
                    <a:pt x="20487" y="72299"/>
                    <a:pt x="20731" y="71871"/>
                  </a:cubicBezTo>
                  <a:cubicBezTo>
                    <a:pt x="20975" y="71443"/>
                    <a:pt x="22195" y="70374"/>
                    <a:pt x="22439" y="70160"/>
                  </a:cubicBezTo>
                  <a:cubicBezTo>
                    <a:pt x="22682" y="70160"/>
                    <a:pt x="23170" y="69732"/>
                    <a:pt x="23414" y="69732"/>
                  </a:cubicBezTo>
                  <a:cubicBezTo>
                    <a:pt x="23658" y="69518"/>
                    <a:pt x="24878" y="69090"/>
                    <a:pt x="24878" y="69090"/>
                  </a:cubicBezTo>
                  <a:cubicBezTo>
                    <a:pt x="28048" y="70160"/>
                    <a:pt x="28048" y="70160"/>
                    <a:pt x="28048" y="70160"/>
                  </a:cubicBezTo>
                  <a:cubicBezTo>
                    <a:pt x="28536" y="71871"/>
                    <a:pt x="28536" y="71871"/>
                    <a:pt x="28536" y="71871"/>
                  </a:cubicBezTo>
                  <a:cubicBezTo>
                    <a:pt x="30243" y="74652"/>
                    <a:pt x="30243" y="74652"/>
                    <a:pt x="30243" y="74652"/>
                  </a:cubicBezTo>
                  <a:cubicBezTo>
                    <a:pt x="30731" y="75935"/>
                    <a:pt x="30731" y="75935"/>
                    <a:pt x="30731" y="75935"/>
                  </a:cubicBezTo>
                  <a:cubicBezTo>
                    <a:pt x="30731" y="75935"/>
                    <a:pt x="31463" y="76577"/>
                    <a:pt x="31219" y="77219"/>
                  </a:cubicBezTo>
                  <a:cubicBezTo>
                    <a:pt x="30975" y="78074"/>
                    <a:pt x="29512" y="80213"/>
                    <a:pt x="29512" y="80213"/>
                  </a:cubicBezTo>
                  <a:cubicBezTo>
                    <a:pt x="29512" y="81497"/>
                    <a:pt x="29512" y="81497"/>
                    <a:pt x="29512" y="81497"/>
                  </a:cubicBezTo>
                  <a:cubicBezTo>
                    <a:pt x="30487" y="83208"/>
                    <a:pt x="30487" y="83208"/>
                    <a:pt x="30487" y="83208"/>
                  </a:cubicBezTo>
                  <a:cubicBezTo>
                    <a:pt x="29024" y="86417"/>
                    <a:pt x="29024" y="86417"/>
                    <a:pt x="29024" y="86417"/>
                  </a:cubicBezTo>
                  <a:cubicBezTo>
                    <a:pt x="29756" y="88770"/>
                    <a:pt x="29756" y="88770"/>
                    <a:pt x="29756" y="88770"/>
                  </a:cubicBezTo>
                  <a:cubicBezTo>
                    <a:pt x="29268" y="91978"/>
                    <a:pt x="29268" y="91978"/>
                    <a:pt x="29268" y="91978"/>
                  </a:cubicBezTo>
                  <a:cubicBezTo>
                    <a:pt x="29024" y="93689"/>
                    <a:pt x="29024" y="93689"/>
                    <a:pt x="29024" y="93689"/>
                  </a:cubicBezTo>
                  <a:cubicBezTo>
                    <a:pt x="29024" y="93689"/>
                    <a:pt x="28048" y="94545"/>
                    <a:pt x="27560" y="94331"/>
                  </a:cubicBezTo>
                  <a:cubicBezTo>
                    <a:pt x="27073" y="94117"/>
                    <a:pt x="24634" y="92620"/>
                    <a:pt x="24634" y="92620"/>
                  </a:cubicBezTo>
                  <a:cubicBezTo>
                    <a:pt x="23658" y="92406"/>
                    <a:pt x="23658" y="92406"/>
                    <a:pt x="23658" y="92406"/>
                  </a:cubicBezTo>
                  <a:cubicBezTo>
                    <a:pt x="22926" y="93903"/>
                    <a:pt x="22926" y="93903"/>
                    <a:pt x="22926" y="93903"/>
                  </a:cubicBezTo>
                  <a:cubicBezTo>
                    <a:pt x="23170" y="94973"/>
                    <a:pt x="23170" y="94973"/>
                    <a:pt x="23170" y="94973"/>
                  </a:cubicBezTo>
                  <a:cubicBezTo>
                    <a:pt x="21951" y="96898"/>
                    <a:pt x="21951" y="96898"/>
                    <a:pt x="21951" y="96898"/>
                  </a:cubicBezTo>
                  <a:cubicBezTo>
                    <a:pt x="20731" y="96898"/>
                    <a:pt x="20731" y="96898"/>
                    <a:pt x="20731" y="96898"/>
                  </a:cubicBezTo>
                  <a:cubicBezTo>
                    <a:pt x="19268" y="96470"/>
                    <a:pt x="19268" y="96470"/>
                    <a:pt x="19268" y="96470"/>
                  </a:cubicBezTo>
                  <a:cubicBezTo>
                    <a:pt x="17804" y="94759"/>
                    <a:pt x="17804" y="94759"/>
                    <a:pt x="17804" y="94759"/>
                  </a:cubicBezTo>
                  <a:cubicBezTo>
                    <a:pt x="17804" y="94759"/>
                    <a:pt x="17804" y="95187"/>
                    <a:pt x="17317" y="95401"/>
                  </a:cubicBezTo>
                  <a:cubicBezTo>
                    <a:pt x="16829" y="95401"/>
                    <a:pt x="16097" y="95187"/>
                    <a:pt x="16097" y="95187"/>
                  </a:cubicBezTo>
                  <a:cubicBezTo>
                    <a:pt x="16585" y="93903"/>
                    <a:pt x="16585" y="93903"/>
                    <a:pt x="16585" y="93903"/>
                  </a:cubicBezTo>
                  <a:cubicBezTo>
                    <a:pt x="16097" y="92406"/>
                    <a:pt x="16097" y="92406"/>
                    <a:pt x="16097" y="92406"/>
                  </a:cubicBezTo>
                  <a:cubicBezTo>
                    <a:pt x="16585" y="90909"/>
                    <a:pt x="16585" y="90909"/>
                    <a:pt x="16585" y="90909"/>
                  </a:cubicBezTo>
                  <a:cubicBezTo>
                    <a:pt x="16585" y="88770"/>
                    <a:pt x="16585" y="88770"/>
                    <a:pt x="16585" y="88770"/>
                  </a:cubicBezTo>
                  <a:cubicBezTo>
                    <a:pt x="17073" y="87914"/>
                    <a:pt x="17073" y="87914"/>
                    <a:pt x="17073" y="87914"/>
                  </a:cubicBezTo>
                  <a:cubicBezTo>
                    <a:pt x="17317" y="86844"/>
                    <a:pt x="17317" y="86844"/>
                    <a:pt x="17317" y="86844"/>
                  </a:cubicBezTo>
                  <a:cubicBezTo>
                    <a:pt x="18048" y="85561"/>
                    <a:pt x="18048" y="85561"/>
                    <a:pt x="18048" y="85561"/>
                  </a:cubicBezTo>
                  <a:cubicBezTo>
                    <a:pt x="17804" y="84491"/>
                    <a:pt x="17804" y="84491"/>
                    <a:pt x="17804" y="84491"/>
                  </a:cubicBezTo>
                  <a:cubicBezTo>
                    <a:pt x="17317" y="84705"/>
                    <a:pt x="17317" y="84705"/>
                    <a:pt x="17317" y="84705"/>
                  </a:cubicBezTo>
                  <a:cubicBezTo>
                    <a:pt x="15853" y="83422"/>
                    <a:pt x="15853" y="83422"/>
                    <a:pt x="15853" y="83422"/>
                  </a:cubicBezTo>
                  <a:cubicBezTo>
                    <a:pt x="15853" y="83422"/>
                    <a:pt x="16341" y="82994"/>
                    <a:pt x="16829" y="82566"/>
                  </a:cubicBezTo>
                  <a:cubicBezTo>
                    <a:pt x="17317" y="82139"/>
                    <a:pt x="17317" y="81925"/>
                    <a:pt x="17317" y="81497"/>
                  </a:cubicBezTo>
                  <a:cubicBezTo>
                    <a:pt x="17317" y="81069"/>
                    <a:pt x="17073" y="80000"/>
                    <a:pt x="16829" y="80000"/>
                  </a:cubicBezTo>
                  <a:cubicBezTo>
                    <a:pt x="16585" y="79786"/>
                    <a:pt x="16097" y="79358"/>
                    <a:pt x="16097" y="79358"/>
                  </a:cubicBezTo>
                  <a:cubicBezTo>
                    <a:pt x="16097" y="78074"/>
                    <a:pt x="16097" y="78074"/>
                    <a:pt x="16097" y="78074"/>
                  </a:cubicBezTo>
                  <a:cubicBezTo>
                    <a:pt x="16097" y="78074"/>
                    <a:pt x="15853" y="77433"/>
                    <a:pt x="15609" y="77433"/>
                  </a:cubicBezTo>
                  <a:cubicBezTo>
                    <a:pt x="15121" y="77219"/>
                    <a:pt x="13902" y="76577"/>
                    <a:pt x="13902" y="76577"/>
                  </a:cubicBezTo>
                  <a:cubicBezTo>
                    <a:pt x="14146" y="75080"/>
                    <a:pt x="14146" y="75080"/>
                    <a:pt x="14146" y="75080"/>
                  </a:cubicBezTo>
                  <a:cubicBezTo>
                    <a:pt x="13658" y="74652"/>
                    <a:pt x="13658" y="74652"/>
                    <a:pt x="13658" y="74652"/>
                  </a:cubicBezTo>
                  <a:lnTo>
                    <a:pt x="13902" y="73796"/>
                  </a:lnTo>
                  <a:close/>
                </a:path>
              </a:pathLst>
            </a:custGeom>
            <a:grpFill/>
            <a:ln w="3175" cap="flat" cmpd="sng">
              <a:solidFill>
                <a:schemeClr val="tx1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defTabSz="457178"/>
              <a:endParaRPr kern="0">
                <a:solidFill>
                  <a:srgbClr val="7F7F7F"/>
                </a:solidFill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41" name="Shape 2048">
              <a:extLst>
                <a:ext uri="{FF2B5EF4-FFF2-40B4-BE49-F238E27FC236}">
                  <a16:creationId xmlns:a16="http://schemas.microsoft.com/office/drawing/2014/main" id="{C70BEB92-9274-452F-BE1E-39ADDA3610CB}"/>
                </a:ext>
              </a:extLst>
            </p:cNvPr>
            <p:cNvSpPr/>
            <p:nvPr/>
          </p:nvSpPr>
          <p:spPr>
            <a:xfrm>
              <a:off x="5904410" y="2909082"/>
              <a:ext cx="841064" cy="58811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22439" y="27518"/>
                  </a:moveTo>
                  <a:cubicBezTo>
                    <a:pt x="22439" y="27518"/>
                    <a:pt x="22439" y="27518"/>
                    <a:pt x="22439" y="27518"/>
                  </a:cubicBezTo>
                  <a:cubicBezTo>
                    <a:pt x="21463" y="27969"/>
                    <a:pt x="21463" y="27969"/>
                    <a:pt x="21463" y="27969"/>
                  </a:cubicBezTo>
                  <a:cubicBezTo>
                    <a:pt x="20813" y="28872"/>
                    <a:pt x="20813" y="28872"/>
                    <a:pt x="20813" y="28872"/>
                  </a:cubicBezTo>
                  <a:cubicBezTo>
                    <a:pt x="20162" y="31578"/>
                    <a:pt x="20162" y="31578"/>
                    <a:pt x="20162" y="31578"/>
                  </a:cubicBezTo>
                  <a:cubicBezTo>
                    <a:pt x="20162" y="31578"/>
                    <a:pt x="20162" y="31578"/>
                    <a:pt x="20162" y="31578"/>
                  </a:cubicBezTo>
                  <a:cubicBezTo>
                    <a:pt x="19186" y="32932"/>
                    <a:pt x="19186" y="32932"/>
                    <a:pt x="19186" y="32932"/>
                  </a:cubicBezTo>
                  <a:cubicBezTo>
                    <a:pt x="19186" y="32932"/>
                    <a:pt x="19186" y="32932"/>
                    <a:pt x="19186" y="32932"/>
                  </a:cubicBezTo>
                  <a:cubicBezTo>
                    <a:pt x="18861" y="35187"/>
                    <a:pt x="18861" y="35187"/>
                    <a:pt x="18861" y="35187"/>
                  </a:cubicBezTo>
                  <a:cubicBezTo>
                    <a:pt x="18861" y="35187"/>
                    <a:pt x="19186" y="36992"/>
                    <a:pt x="19186" y="37443"/>
                  </a:cubicBezTo>
                  <a:cubicBezTo>
                    <a:pt x="19186" y="37443"/>
                    <a:pt x="19186" y="37443"/>
                    <a:pt x="19186" y="37443"/>
                  </a:cubicBezTo>
                  <a:cubicBezTo>
                    <a:pt x="19186" y="37443"/>
                    <a:pt x="19186" y="37443"/>
                    <a:pt x="19186" y="37443"/>
                  </a:cubicBezTo>
                  <a:cubicBezTo>
                    <a:pt x="19186" y="37443"/>
                    <a:pt x="19186" y="37443"/>
                    <a:pt x="19186" y="37443"/>
                  </a:cubicBezTo>
                  <a:cubicBezTo>
                    <a:pt x="19186" y="37443"/>
                    <a:pt x="19186" y="37443"/>
                    <a:pt x="19186" y="37443"/>
                  </a:cubicBezTo>
                  <a:cubicBezTo>
                    <a:pt x="19186" y="37443"/>
                    <a:pt x="19186" y="37443"/>
                    <a:pt x="19186" y="37443"/>
                  </a:cubicBezTo>
                  <a:cubicBezTo>
                    <a:pt x="19186" y="37443"/>
                    <a:pt x="19186" y="37443"/>
                    <a:pt x="19186" y="37443"/>
                  </a:cubicBezTo>
                  <a:cubicBezTo>
                    <a:pt x="19186" y="37443"/>
                    <a:pt x="19186" y="37443"/>
                    <a:pt x="19186" y="37443"/>
                  </a:cubicBezTo>
                  <a:cubicBezTo>
                    <a:pt x="19186" y="37443"/>
                    <a:pt x="19186" y="37443"/>
                    <a:pt x="19186" y="37443"/>
                  </a:cubicBezTo>
                  <a:cubicBezTo>
                    <a:pt x="19186" y="37443"/>
                    <a:pt x="19186" y="37443"/>
                    <a:pt x="19186" y="37443"/>
                  </a:cubicBezTo>
                  <a:cubicBezTo>
                    <a:pt x="19186" y="37443"/>
                    <a:pt x="19186" y="37443"/>
                    <a:pt x="19186" y="37443"/>
                  </a:cubicBezTo>
                  <a:cubicBezTo>
                    <a:pt x="19186" y="37443"/>
                    <a:pt x="19186" y="37443"/>
                    <a:pt x="19186" y="37443"/>
                  </a:cubicBezTo>
                  <a:cubicBezTo>
                    <a:pt x="19186" y="37443"/>
                    <a:pt x="19186" y="37443"/>
                    <a:pt x="19186" y="37443"/>
                  </a:cubicBezTo>
                  <a:cubicBezTo>
                    <a:pt x="18861" y="37894"/>
                    <a:pt x="18861" y="37894"/>
                    <a:pt x="18861" y="37894"/>
                  </a:cubicBezTo>
                  <a:cubicBezTo>
                    <a:pt x="18861" y="37894"/>
                    <a:pt x="18861" y="37894"/>
                    <a:pt x="18861" y="37894"/>
                  </a:cubicBezTo>
                  <a:cubicBezTo>
                    <a:pt x="18861" y="37894"/>
                    <a:pt x="18861" y="37894"/>
                    <a:pt x="18861" y="37894"/>
                  </a:cubicBezTo>
                  <a:cubicBezTo>
                    <a:pt x="18861" y="37894"/>
                    <a:pt x="18861" y="37894"/>
                    <a:pt x="18861" y="37894"/>
                  </a:cubicBezTo>
                  <a:cubicBezTo>
                    <a:pt x="18861" y="37894"/>
                    <a:pt x="18861" y="37894"/>
                    <a:pt x="18861" y="37894"/>
                  </a:cubicBezTo>
                  <a:cubicBezTo>
                    <a:pt x="18861" y="37894"/>
                    <a:pt x="18861" y="37894"/>
                    <a:pt x="18861" y="37894"/>
                  </a:cubicBezTo>
                  <a:cubicBezTo>
                    <a:pt x="18861" y="37894"/>
                    <a:pt x="18861" y="37894"/>
                    <a:pt x="18861" y="37894"/>
                  </a:cubicBezTo>
                  <a:cubicBezTo>
                    <a:pt x="18861" y="37894"/>
                    <a:pt x="18861" y="37894"/>
                    <a:pt x="18861" y="37894"/>
                  </a:cubicBezTo>
                  <a:cubicBezTo>
                    <a:pt x="18861" y="37894"/>
                    <a:pt x="18861" y="37894"/>
                    <a:pt x="18861" y="37894"/>
                  </a:cubicBezTo>
                  <a:cubicBezTo>
                    <a:pt x="18861" y="37894"/>
                    <a:pt x="18861" y="37894"/>
                    <a:pt x="18861" y="37894"/>
                  </a:cubicBezTo>
                  <a:cubicBezTo>
                    <a:pt x="18861" y="37894"/>
                    <a:pt x="18861" y="37894"/>
                    <a:pt x="18861" y="37894"/>
                  </a:cubicBezTo>
                  <a:cubicBezTo>
                    <a:pt x="18861" y="37894"/>
                    <a:pt x="18861" y="37894"/>
                    <a:pt x="18861" y="37894"/>
                  </a:cubicBezTo>
                  <a:cubicBezTo>
                    <a:pt x="18861" y="37894"/>
                    <a:pt x="18861" y="37894"/>
                    <a:pt x="18861" y="37894"/>
                  </a:cubicBezTo>
                  <a:cubicBezTo>
                    <a:pt x="18861" y="37894"/>
                    <a:pt x="18861" y="37894"/>
                    <a:pt x="18861" y="37894"/>
                  </a:cubicBezTo>
                  <a:cubicBezTo>
                    <a:pt x="18861" y="37894"/>
                    <a:pt x="18861" y="37894"/>
                    <a:pt x="18861" y="37894"/>
                  </a:cubicBezTo>
                  <a:cubicBezTo>
                    <a:pt x="18536" y="37894"/>
                    <a:pt x="18211" y="37894"/>
                    <a:pt x="18211" y="37894"/>
                  </a:cubicBezTo>
                  <a:cubicBezTo>
                    <a:pt x="18211" y="37894"/>
                    <a:pt x="18211" y="37894"/>
                    <a:pt x="18211" y="37894"/>
                  </a:cubicBezTo>
                  <a:cubicBezTo>
                    <a:pt x="18211" y="37894"/>
                    <a:pt x="18211" y="37894"/>
                    <a:pt x="18211" y="37894"/>
                  </a:cubicBezTo>
                  <a:cubicBezTo>
                    <a:pt x="18211" y="37894"/>
                    <a:pt x="18211" y="37894"/>
                    <a:pt x="18211" y="37894"/>
                  </a:cubicBezTo>
                  <a:cubicBezTo>
                    <a:pt x="18211" y="37894"/>
                    <a:pt x="18211" y="37894"/>
                    <a:pt x="18211" y="37894"/>
                  </a:cubicBezTo>
                  <a:cubicBezTo>
                    <a:pt x="18211" y="37894"/>
                    <a:pt x="18211" y="37894"/>
                    <a:pt x="18211" y="37894"/>
                  </a:cubicBezTo>
                  <a:cubicBezTo>
                    <a:pt x="18211" y="37894"/>
                    <a:pt x="18211" y="37894"/>
                    <a:pt x="18211" y="37894"/>
                  </a:cubicBezTo>
                  <a:cubicBezTo>
                    <a:pt x="18211" y="37894"/>
                    <a:pt x="18211" y="37894"/>
                    <a:pt x="18211" y="37894"/>
                  </a:cubicBezTo>
                  <a:cubicBezTo>
                    <a:pt x="18211" y="37894"/>
                    <a:pt x="18211" y="37894"/>
                    <a:pt x="18211" y="37894"/>
                  </a:cubicBezTo>
                  <a:cubicBezTo>
                    <a:pt x="18211" y="38345"/>
                    <a:pt x="18211" y="38345"/>
                    <a:pt x="18211" y="38345"/>
                  </a:cubicBezTo>
                  <a:cubicBezTo>
                    <a:pt x="18211" y="38345"/>
                    <a:pt x="18211" y="38345"/>
                    <a:pt x="18211" y="38345"/>
                  </a:cubicBezTo>
                  <a:cubicBezTo>
                    <a:pt x="18211" y="38345"/>
                    <a:pt x="18211" y="38345"/>
                    <a:pt x="18211" y="38345"/>
                  </a:cubicBezTo>
                  <a:cubicBezTo>
                    <a:pt x="18211" y="38345"/>
                    <a:pt x="18211" y="38345"/>
                    <a:pt x="18211" y="38345"/>
                  </a:cubicBezTo>
                  <a:cubicBezTo>
                    <a:pt x="18211" y="38345"/>
                    <a:pt x="18211" y="38345"/>
                    <a:pt x="18211" y="38345"/>
                  </a:cubicBezTo>
                  <a:cubicBezTo>
                    <a:pt x="18211" y="38345"/>
                    <a:pt x="18211" y="38345"/>
                    <a:pt x="18211" y="38345"/>
                  </a:cubicBezTo>
                  <a:cubicBezTo>
                    <a:pt x="18211" y="38345"/>
                    <a:pt x="18211" y="38345"/>
                    <a:pt x="18211" y="38345"/>
                  </a:cubicBezTo>
                  <a:cubicBezTo>
                    <a:pt x="18211" y="38345"/>
                    <a:pt x="18211" y="38345"/>
                    <a:pt x="18211" y="38345"/>
                  </a:cubicBezTo>
                  <a:cubicBezTo>
                    <a:pt x="18211" y="38345"/>
                    <a:pt x="18211" y="38345"/>
                    <a:pt x="18211" y="38345"/>
                  </a:cubicBezTo>
                  <a:cubicBezTo>
                    <a:pt x="18211" y="38345"/>
                    <a:pt x="18211" y="38345"/>
                    <a:pt x="18211" y="38345"/>
                  </a:cubicBezTo>
                  <a:cubicBezTo>
                    <a:pt x="18211" y="38345"/>
                    <a:pt x="18211" y="38345"/>
                    <a:pt x="18211" y="38345"/>
                  </a:cubicBezTo>
                  <a:cubicBezTo>
                    <a:pt x="18211" y="38345"/>
                    <a:pt x="18211" y="38345"/>
                    <a:pt x="18211" y="38345"/>
                  </a:cubicBezTo>
                  <a:cubicBezTo>
                    <a:pt x="18211" y="38345"/>
                    <a:pt x="18211" y="38345"/>
                    <a:pt x="18211" y="38345"/>
                  </a:cubicBezTo>
                  <a:cubicBezTo>
                    <a:pt x="18211" y="38345"/>
                    <a:pt x="18211" y="38345"/>
                    <a:pt x="18211" y="38345"/>
                  </a:cubicBezTo>
                  <a:cubicBezTo>
                    <a:pt x="18211" y="38345"/>
                    <a:pt x="18211" y="38345"/>
                    <a:pt x="18211" y="38345"/>
                  </a:cubicBezTo>
                  <a:cubicBezTo>
                    <a:pt x="18211" y="38345"/>
                    <a:pt x="18211" y="38345"/>
                    <a:pt x="18211" y="38345"/>
                  </a:cubicBezTo>
                  <a:cubicBezTo>
                    <a:pt x="18211" y="38345"/>
                    <a:pt x="18211" y="38345"/>
                    <a:pt x="18211" y="38345"/>
                  </a:cubicBezTo>
                  <a:cubicBezTo>
                    <a:pt x="18211" y="38345"/>
                    <a:pt x="18211" y="38345"/>
                    <a:pt x="18211" y="38345"/>
                  </a:cubicBezTo>
                  <a:cubicBezTo>
                    <a:pt x="18211" y="38345"/>
                    <a:pt x="18211" y="38345"/>
                    <a:pt x="18211" y="38345"/>
                  </a:cubicBezTo>
                  <a:cubicBezTo>
                    <a:pt x="18211" y="38345"/>
                    <a:pt x="18211" y="38345"/>
                    <a:pt x="18211" y="38345"/>
                  </a:cubicBezTo>
                  <a:cubicBezTo>
                    <a:pt x="18211" y="38345"/>
                    <a:pt x="18211" y="38345"/>
                    <a:pt x="18211" y="38345"/>
                  </a:cubicBezTo>
                  <a:cubicBezTo>
                    <a:pt x="18211" y="38345"/>
                    <a:pt x="18211" y="38345"/>
                    <a:pt x="18211" y="38345"/>
                  </a:cubicBezTo>
                  <a:cubicBezTo>
                    <a:pt x="17886" y="41954"/>
                    <a:pt x="17886" y="41954"/>
                    <a:pt x="17886" y="41954"/>
                  </a:cubicBezTo>
                  <a:cubicBezTo>
                    <a:pt x="16585" y="43759"/>
                    <a:pt x="16585" y="43759"/>
                    <a:pt x="16585" y="43759"/>
                  </a:cubicBezTo>
                  <a:cubicBezTo>
                    <a:pt x="16260" y="46015"/>
                    <a:pt x="16260" y="46015"/>
                    <a:pt x="16260" y="46015"/>
                  </a:cubicBezTo>
                  <a:cubicBezTo>
                    <a:pt x="16260" y="47368"/>
                    <a:pt x="16260" y="47368"/>
                    <a:pt x="16260" y="47368"/>
                  </a:cubicBezTo>
                  <a:cubicBezTo>
                    <a:pt x="16260" y="47368"/>
                    <a:pt x="16260" y="47368"/>
                    <a:pt x="16260" y="47368"/>
                  </a:cubicBezTo>
                  <a:cubicBezTo>
                    <a:pt x="16260" y="47368"/>
                    <a:pt x="16260" y="47368"/>
                    <a:pt x="16260" y="47368"/>
                  </a:cubicBezTo>
                  <a:cubicBezTo>
                    <a:pt x="16260" y="47819"/>
                    <a:pt x="16260" y="47819"/>
                    <a:pt x="16260" y="47819"/>
                  </a:cubicBezTo>
                  <a:cubicBezTo>
                    <a:pt x="16260" y="47819"/>
                    <a:pt x="16260" y="47819"/>
                    <a:pt x="16260" y="47819"/>
                  </a:cubicBezTo>
                  <a:cubicBezTo>
                    <a:pt x="16260" y="47819"/>
                    <a:pt x="16260" y="47819"/>
                    <a:pt x="16260" y="47819"/>
                  </a:cubicBezTo>
                  <a:cubicBezTo>
                    <a:pt x="16260" y="47819"/>
                    <a:pt x="16260" y="47819"/>
                    <a:pt x="16260" y="47819"/>
                  </a:cubicBezTo>
                  <a:cubicBezTo>
                    <a:pt x="16260" y="47819"/>
                    <a:pt x="16260" y="47819"/>
                    <a:pt x="16260" y="47819"/>
                  </a:cubicBezTo>
                  <a:cubicBezTo>
                    <a:pt x="16260" y="47819"/>
                    <a:pt x="16260" y="47819"/>
                    <a:pt x="16260" y="47819"/>
                  </a:cubicBezTo>
                  <a:cubicBezTo>
                    <a:pt x="16260" y="47819"/>
                    <a:pt x="16260" y="47819"/>
                    <a:pt x="16260" y="47819"/>
                  </a:cubicBezTo>
                  <a:cubicBezTo>
                    <a:pt x="16260" y="47819"/>
                    <a:pt x="16260" y="47819"/>
                    <a:pt x="16260" y="47819"/>
                  </a:cubicBezTo>
                  <a:cubicBezTo>
                    <a:pt x="16260" y="47819"/>
                    <a:pt x="16260" y="47819"/>
                    <a:pt x="16260" y="47819"/>
                  </a:cubicBezTo>
                  <a:cubicBezTo>
                    <a:pt x="16260" y="47819"/>
                    <a:pt x="16260" y="47819"/>
                    <a:pt x="16260" y="47819"/>
                  </a:cubicBezTo>
                  <a:cubicBezTo>
                    <a:pt x="16260" y="47819"/>
                    <a:pt x="16260" y="47819"/>
                    <a:pt x="16260" y="47819"/>
                  </a:cubicBezTo>
                  <a:cubicBezTo>
                    <a:pt x="16260" y="47819"/>
                    <a:pt x="16260" y="47819"/>
                    <a:pt x="16260" y="47819"/>
                  </a:cubicBezTo>
                  <a:cubicBezTo>
                    <a:pt x="16260" y="47819"/>
                    <a:pt x="16260" y="47819"/>
                    <a:pt x="16260" y="47819"/>
                  </a:cubicBezTo>
                  <a:cubicBezTo>
                    <a:pt x="16260" y="47819"/>
                    <a:pt x="16260" y="47819"/>
                    <a:pt x="16260" y="47819"/>
                  </a:cubicBezTo>
                  <a:cubicBezTo>
                    <a:pt x="16260" y="47819"/>
                    <a:pt x="16260" y="47819"/>
                    <a:pt x="16260" y="47819"/>
                  </a:cubicBezTo>
                  <a:cubicBezTo>
                    <a:pt x="16260" y="47819"/>
                    <a:pt x="16260" y="47819"/>
                    <a:pt x="16260" y="47819"/>
                  </a:cubicBezTo>
                  <a:cubicBezTo>
                    <a:pt x="16260" y="47819"/>
                    <a:pt x="16260" y="47819"/>
                    <a:pt x="16260" y="47819"/>
                  </a:cubicBezTo>
                  <a:cubicBezTo>
                    <a:pt x="16260" y="47819"/>
                    <a:pt x="16260" y="47819"/>
                    <a:pt x="16260" y="47819"/>
                  </a:cubicBezTo>
                  <a:cubicBezTo>
                    <a:pt x="16260" y="48270"/>
                    <a:pt x="16260" y="48270"/>
                    <a:pt x="16260" y="48270"/>
                  </a:cubicBezTo>
                  <a:cubicBezTo>
                    <a:pt x="16260" y="48270"/>
                    <a:pt x="16260" y="48270"/>
                    <a:pt x="16260" y="48270"/>
                  </a:cubicBezTo>
                  <a:cubicBezTo>
                    <a:pt x="16260" y="48270"/>
                    <a:pt x="16260" y="48270"/>
                    <a:pt x="16260" y="48270"/>
                  </a:cubicBezTo>
                  <a:cubicBezTo>
                    <a:pt x="16260" y="48270"/>
                    <a:pt x="16260" y="48270"/>
                    <a:pt x="16260" y="48270"/>
                  </a:cubicBezTo>
                  <a:cubicBezTo>
                    <a:pt x="16260" y="48270"/>
                    <a:pt x="16260" y="48270"/>
                    <a:pt x="16260" y="48270"/>
                  </a:cubicBezTo>
                  <a:cubicBezTo>
                    <a:pt x="16260" y="48270"/>
                    <a:pt x="16260" y="48270"/>
                    <a:pt x="16260" y="48270"/>
                  </a:cubicBezTo>
                  <a:cubicBezTo>
                    <a:pt x="16260" y="48270"/>
                    <a:pt x="16260" y="48270"/>
                    <a:pt x="16260" y="48270"/>
                  </a:cubicBezTo>
                  <a:cubicBezTo>
                    <a:pt x="16260" y="48270"/>
                    <a:pt x="16260" y="48270"/>
                    <a:pt x="16260" y="48270"/>
                  </a:cubicBezTo>
                  <a:cubicBezTo>
                    <a:pt x="16260" y="48270"/>
                    <a:pt x="16260" y="48270"/>
                    <a:pt x="16260" y="48270"/>
                  </a:cubicBezTo>
                  <a:cubicBezTo>
                    <a:pt x="16260" y="48270"/>
                    <a:pt x="16260" y="48270"/>
                    <a:pt x="16260" y="48270"/>
                  </a:cubicBezTo>
                  <a:cubicBezTo>
                    <a:pt x="16260" y="48270"/>
                    <a:pt x="16260" y="48270"/>
                    <a:pt x="16260" y="48270"/>
                  </a:cubicBezTo>
                  <a:cubicBezTo>
                    <a:pt x="16260" y="48270"/>
                    <a:pt x="16260" y="48270"/>
                    <a:pt x="16260" y="48270"/>
                  </a:cubicBezTo>
                  <a:cubicBezTo>
                    <a:pt x="16260" y="48270"/>
                    <a:pt x="16260" y="48270"/>
                    <a:pt x="16260" y="48270"/>
                  </a:cubicBezTo>
                  <a:cubicBezTo>
                    <a:pt x="16260" y="48270"/>
                    <a:pt x="16260" y="48270"/>
                    <a:pt x="16260" y="48270"/>
                  </a:cubicBezTo>
                  <a:cubicBezTo>
                    <a:pt x="16260" y="48270"/>
                    <a:pt x="16260" y="48270"/>
                    <a:pt x="16260" y="48270"/>
                  </a:cubicBezTo>
                  <a:cubicBezTo>
                    <a:pt x="16260" y="48270"/>
                    <a:pt x="16260" y="48270"/>
                    <a:pt x="16260" y="48270"/>
                  </a:cubicBezTo>
                  <a:cubicBezTo>
                    <a:pt x="16260" y="48270"/>
                    <a:pt x="16260" y="48270"/>
                    <a:pt x="16260" y="48270"/>
                  </a:cubicBezTo>
                  <a:cubicBezTo>
                    <a:pt x="16260" y="48270"/>
                    <a:pt x="16260" y="48270"/>
                    <a:pt x="16260" y="48270"/>
                  </a:cubicBezTo>
                  <a:cubicBezTo>
                    <a:pt x="16260" y="48270"/>
                    <a:pt x="16260" y="48270"/>
                    <a:pt x="16260" y="48270"/>
                  </a:cubicBezTo>
                  <a:cubicBezTo>
                    <a:pt x="16260" y="48270"/>
                    <a:pt x="16260" y="48270"/>
                    <a:pt x="16260" y="48270"/>
                  </a:cubicBezTo>
                  <a:cubicBezTo>
                    <a:pt x="16260" y="48721"/>
                    <a:pt x="16260" y="48721"/>
                    <a:pt x="16260" y="48721"/>
                  </a:cubicBezTo>
                  <a:cubicBezTo>
                    <a:pt x="16260" y="48721"/>
                    <a:pt x="16260" y="48721"/>
                    <a:pt x="16260" y="48721"/>
                  </a:cubicBezTo>
                  <a:cubicBezTo>
                    <a:pt x="16260" y="48721"/>
                    <a:pt x="16260" y="48721"/>
                    <a:pt x="16260" y="48721"/>
                  </a:cubicBezTo>
                  <a:cubicBezTo>
                    <a:pt x="16260" y="48721"/>
                    <a:pt x="16260" y="48721"/>
                    <a:pt x="16260" y="48721"/>
                  </a:cubicBezTo>
                  <a:cubicBezTo>
                    <a:pt x="16260" y="48721"/>
                    <a:pt x="16260" y="48721"/>
                    <a:pt x="16260" y="48721"/>
                  </a:cubicBezTo>
                  <a:cubicBezTo>
                    <a:pt x="16260" y="48721"/>
                    <a:pt x="16260" y="48721"/>
                    <a:pt x="16260" y="48721"/>
                  </a:cubicBezTo>
                  <a:cubicBezTo>
                    <a:pt x="16260" y="48721"/>
                    <a:pt x="16260" y="48721"/>
                    <a:pt x="16260" y="48721"/>
                  </a:cubicBezTo>
                  <a:cubicBezTo>
                    <a:pt x="16260" y="48721"/>
                    <a:pt x="16260" y="48721"/>
                    <a:pt x="16260" y="48721"/>
                  </a:cubicBezTo>
                  <a:cubicBezTo>
                    <a:pt x="16260" y="48721"/>
                    <a:pt x="16260" y="48721"/>
                    <a:pt x="16260" y="48721"/>
                  </a:cubicBezTo>
                  <a:cubicBezTo>
                    <a:pt x="16260" y="48721"/>
                    <a:pt x="16260" y="48721"/>
                    <a:pt x="16260" y="48721"/>
                  </a:cubicBezTo>
                  <a:cubicBezTo>
                    <a:pt x="16260" y="48721"/>
                    <a:pt x="16260" y="48721"/>
                    <a:pt x="16260" y="48721"/>
                  </a:cubicBezTo>
                  <a:cubicBezTo>
                    <a:pt x="16260" y="48721"/>
                    <a:pt x="16260" y="48721"/>
                    <a:pt x="16260" y="48721"/>
                  </a:cubicBezTo>
                  <a:cubicBezTo>
                    <a:pt x="16260" y="48721"/>
                    <a:pt x="16260" y="48721"/>
                    <a:pt x="16260" y="48721"/>
                  </a:cubicBezTo>
                  <a:cubicBezTo>
                    <a:pt x="16260" y="49172"/>
                    <a:pt x="16260" y="49172"/>
                    <a:pt x="15934" y="49172"/>
                  </a:cubicBezTo>
                  <a:cubicBezTo>
                    <a:pt x="15284" y="49624"/>
                    <a:pt x="14959" y="50526"/>
                    <a:pt x="14959" y="50526"/>
                  </a:cubicBezTo>
                  <a:cubicBezTo>
                    <a:pt x="14959" y="53684"/>
                    <a:pt x="14959" y="53684"/>
                    <a:pt x="14959" y="53684"/>
                  </a:cubicBezTo>
                  <a:cubicBezTo>
                    <a:pt x="14634" y="54586"/>
                    <a:pt x="14634" y="54586"/>
                    <a:pt x="14634" y="54586"/>
                  </a:cubicBezTo>
                  <a:cubicBezTo>
                    <a:pt x="13983" y="55939"/>
                    <a:pt x="13983" y="55939"/>
                    <a:pt x="13983" y="55939"/>
                  </a:cubicBezTo>
                  <a:cubicBezTo>
                    <a:pt x="14308" y="57744"/>
                    <a:pt x="14308" y="57744"/>
                    <a:pt x="14308" y="57744"/>
                  </a:cubicBezTo>
                  <a:cubicBezTo>
                    <a:pt x="14308" y="57744"/>
                    <a:pt x="14308" y="57744"/>
                    <a:pt x="14308" y="57744"/>
                  </a:cubicBezTo>
                  <a:cubicBezTo>
                    <a:pt x="13658" y="59097"/>
                    <a:pt x="13658" y="59097"/>
                    <a:pt x="13658" y="59097"/>
                  </a:cubicBezTo>
                  <a:cubicBezTo>
                    <a:pt x="13983" y="61353"/>
                    <a:pt x="13983" y="61353"/>
                    <a:pt x="13983" y="61353"/>
                  </a:cubicBezTo>
                  <a:cubicBezTo>
                    <a:pt x="13333" y="62706"/>
                    <a:pt x="13333" y="62706"/>
                    <a:pt x="13333" y="62706"/>
                  </a:cubicBezTo>
                  <a:cubicBezTo>
                    <a:pt x="13008" y="63157"/>
                    <a:pt x="13008" y="63157"/>
                    <a:pt x="13008" y="63157"/>
                  </a:cubicBezTo>
                  <a:cubicBezTo>
                    <a:pt x="12682" y="64511"/>
                    <a:pt x="12682" y="64511"/>
                    <a:pt x="12682" y="64511"/>
                  </a:cubicBezTo>
                  <a:cubicBezTo>
                    <a:pt x="12032" y="66766"/>
                    <a:pt x="12032" y="66766"/>
                    <a:pt x="12032" y="66766"/>
                  </a:cubicBezTo>
                  <a:cubicBezTo>
                    <a:pt x="9430" y="69924"/>
                    <a:pt x="9430" y="69924"/>
                    <a:pt x="9430" y="69924"/>
                  </a:cubicBezTo>
                  <a:cubicBezTo>
                    <a:pt x="8455" y="69473"/>
                    <a:pt x="8455" y="69473"/>
                    <a:pt x="8455" y="69473"/>
                  </a:cubicBezTo>
                  <a:cubicBezTo>
                    <a:pt x="7804" y="69924"/>
                    <a:pt x="7804" y="69924"/>
                    <a:pt x="7804" y="69924"/>
                  </a:cubicBezTo>
                  <a:cubicBezTo>
                    <a:pt x="7154" y="70827"/>
                    <a:pt x="7154" y="70827"/>
                    <a:pt x="7154" y="70827"/>
                  </a:cubicBezTo>
                  <a:cubicBezTo>
                    <a:pt x="7154" y="70827"/>
                    <a:pt x="7479" y="70827"/>
                    <a:pt x="6829" y="71729"/>
                  </a:cubicBezTo>
                  <a:cubicBezTo>
                    <a:pt x="6178" y="72180"/>
                    <a:pt x="4878" y="72631"/>
                    <a:pt x="4878" y="72631"/>
                  </a:cubicBezTo>
                  <a:cubicBezTo>
                    <a:pt x="4227" y="72631"/>
                    <a:pt x="4227" y="72631"/>
                    <a:pt x="4227" y="72631"/>
                  </a:cubicBezTo>
                  <a:cubicBezTo>
                    <a:pt x="1951" y="72631"/>
                    <a:pt x="1951" y="72631"/>
                    <a:pt x="1951" y="72631"/>
                  </a:cubicBezTo>
                  <a:cubicBezTo>
                    <a:pt x="1951" y="72631"/>
                    <a:pt x="1951" y="72631"/>
                    <a:pt x="1951" y="72631"/>
                  </a:cubicBezTo>
                  <a:cubicBezTo>
                    <a:pt x="1951" y="72631"/>
                    <a:pt x="1951" y="72631"/>
                    <a:pt x="1951" y="72631"/>
                  </a:cubicBezTo>
                  <a:cubicBezTo>
                    <a:pt x="1951" y="72631"/>
                    <a:pt x="1626" y="72180"/>
                    <a:pt x="1300" y="72631"/>
                  </a:cubicBezTo>
                  <a:cubicBezTo>
                    <a:pt x="1300" y="72631"/>
                    <a:pt x="975" y="72631"/>
                    <a:pt x="975" y="72631"/>
                  </a:cubicBezTo>
                  <a:cubicBezTo>
                    <a:pt x="975" y="72631"/>
                    <a:pt x="975" y="72631"/>
                    <a:pt x="975" y="72631"/>
                  </a:cubicBezTo>
                  <a:cubicBezTo>
                    <a:pt x="650" y="72631"/>
                    <a:pt x="650" y="72631"/>
                    <a:pt x="650" y="72631"/>
                  </a:cubicBezTo>
                  <a:cubicBezTo>
                    <a:pt x="650" y="72631"/>
                    <a:pt x="650" y="72631"/>
                    <a:pt x="650" y="72631"/>
                  </a:cubicBezTo>
                  <a:cubicBezTo>
                    <a:pt x="650" y="72631"/>
                    <a:pt x="650" y="72631"/>
                    <a:pt x="650" y="72631"/>
                  </a:cubicBezTo>
                  <a:cubicBezTo>
                    <a:pt x="650" y="72631"/>
                    <a:pt x="650" y="72631"/>
                    <a:pt x="650" y="72631"/>
                  </a:cubicBezTo>
                  <a:cubicBezTo>
                    <a:pt x="650" y="72631"/>
                    <a:pt x="650" y="72631"/>
                    <a:pt x="650" y="72631"/>
                  </a:cubicBezTo>
                  <a:cubicBezTo>
                    <a:pt x="650" y="72631"/>
                    <a:pt x="650" y="72631"/>
                    <a:pt x="650" y="72631"/>
                  </a:cubicBezTo>
                  <a:cubicBezTo>
                    <a:pt x="650" y="72631"/>
                    <a:pt x="650" y="72631"/>
                    <a:pt x="650" y="72631"/>
                  </a:cubicBezTo>
                  <a:cubicBezTo>
                    <a:pt x="650" y="72631"/>
                    <a:pt x="650" y="72631"/>
                    <a:pt x="650" y="72631"/>
                  </a:cubicBezTo>
                  <a:cubicBezTo>
                    <a:pt x="650" y="72631"/>
                    <a:pt x="650" y="72631"/>
                    <a:pt x="650" y="72631"/>
                  </a:cubicBezTo>
                  <a:cubicBezTo>
                    <a:pt x="325" y="72631"/>
                    <a:pt x="325" y="72631"/>
                    <a:pt x="325" y="72631"/>
                  </a:cubicBezTo>
                  <a:cubicBezTo>
                    <a:pt x="325" y="72631"/>
                    <a:pt x="325" y="72631"/>
                    <a:pt x="325" y="72631"/>
                  </a:cubicBezTo>
                  <a:cubicBezTo>
                    <a:pt x="325" y="72631"/>
                    <a:pt x="325" y="72631"/>
                    <a:pt x="325" y="72631"/>
                  </a:cubicBezTo>
                  <a:cubicBezTo>
                    <a:pt x="325" y="72631"/>
                    <a:pt x="325" y="72631"/>
                    <a:pt x="325" y="72631"/>
                  </a:cubicBezTo>
                  <a:cubicBezTo>
                    <a:pt x="325" y="72631"/>
                    <a:pt x="325" y="72631"/>
                    <a:pt x="325" y="72631"/>
                  </a:cubicBezTo>
                  <a:cubicBezTo>
                    <a:pt x="325" y="72631"/>
                    <a:pt x="325" y="72631"/>
                    <a:pt x="325" y="72631"/>
                  </a:cubicBezTo>
                  <a:cubicBezTo>
                    <a:pt x="0" y="72631"/>
                    <a:pt x="0" y="72631"/>
                    <a:pt x="0" y="72631"/>
                  </a:cubicBezTo>
                  <a:cubicBezTo>
                    <a:pt x="0" y="72631"/>
                    <a:pt x="0" y="72631"/>
                    <a:pt x="0" y="72631"/>
                  </a:cubicBezTo>
                  <a:cubicBezTo>
                    <a:pt x="0" y="72631"/>
                    <a:pt x="0" y="72631"/>
                    <a:pt x="0" y="72631"/>
                  </a:cubicBezTo>
                  <a:cubicBezTo>
                    <a:pt x="0" y="72631"/>
                    <a:pt x="0" y="72631"/>
                    <a:pt x="0" y="72631"/>
                  </a:cubicBezTo>
                  <a:cubicBezTo>
                    <a:pt x="0" y="72631"/>
                    <a:pt x="0" y="72631"/>
                    <a:pt x="0" y="72631"/>
                  </a:cubicBezTo>
                  <a:cubicBezTo>
                    <a:pt x="0" y="72631"/>
                    <a:pt x="0" y="72631"/>
                    <a:pt x="0" y="72631"/>
                  </a:cubicBezTo>
                  <a:cubicBezTo>
                    <a:pt x="0" y="72631"/>
                    <a:pt x="0" y="72631"/>
                    <a:pt x="0" y="72631"/>
                  </a:cubicBezTo>
                  <a:cubicBezTo>
                    <a:pt x="0" y="72631"/>
                    <a:pt x="0" y="72631"/>
                    <a:pt x="0" y="72631"/>
                  </a:cubicBezTo>
                  <a:cubicBezTo>
                    <a:pt x="0" y="72631"/>
                    <a:pt x="0" y="72631"/>
                    <a:pt x="0" y="72631"/>
                  </a:cubicBezTo>
                  <a:cubicBezTo>
                    <a:pt x="0" y="72631"/>
                    <a:pt x="0" y="72631"/>
                    <a:pt x="0" y="72631"/>
                  </a:cubicBezTo>
                  <a:cubicBezTo>
                    <a:pt x="0" y="72631"/>
                    <a:pt x="0" y="72631"/>
                    <a:pt x="0" y="72631"/>
                  </a:cubicBezTo>
                  <a:cubicBezTo>
                    <a:pt x="0" y="72631"/>
                    <a:pt x="0" y="72631"/>
                    <a:pt x="0" y="72631"/>
                  </a:cubicBezTo>
                  <a:cubicBezTo>
                    <a:pt x="0" y="72631"/>
                    <a:pt x="325" y="73082"/>
                    <a:pt x="650" y="73082"/>
                  </a:cubicBezTo>
                  <a:cubicBezTo>
                    <a:pt x="1300" y="73533"/>
                    <a:pt x="1626" y="74887"/>
                    <a:pt x="1951" y="74887"/>
                  </a:cubicBezTo>
                  <a:cubicBezTo>
                    <a:pt x="2601" y="75338"/>
                    <a:pt x="3252" y="75338"/>
                    <a:pt x="3577" y="75338"/>
                  </a:cubicBezTo>
                  <a:cubicBezTo>
                    <a:pt x="3902" y="75789"/>
                    <a:pt x="4552" y="76240"/>
                    <a:pt x="4552" y="76240"/>
                  </a:cubicBezTo>
                  <a:cubicBezTo>
                    <a:pt x="4552" y="76240"/>
                    <a:pt x="6178" y="78496"/>
                    <a:pt x="6504" y="78496"/>
                  </a:cubicBezTo>
                  <a:cubicBezTo>
                    <a:pt x="6829" y="78496"/>
                    <a:pt x="6829" y="78496"/>
                    <a:pt x="7154" y="79398"/>
                  </a:cubicBezTo>
                  <a:cubicBezTo>
                    <a:pt x="7479" y="79849"/>
                    <a:pt x="8455" y="79398"/>
                    <a:pt x="8455" y="79398"/>
                  </a:cubicBezTo>
                  <a:cubicBezTo>
                    <a:pt x="8455" y="79398"/>
                    <a:pt x="8780" y="80751"/>
                    <a:pt x="8455" y="81203"/>
                  </a:cubicBezTo>
                  <a:cubicBezTo>
                    <a:pt x="8455" y="81654"/>
                    <a:pt x="8455" y="83007"/>
                    <a:pt x="8455" y="83007"/>
                  </a:cubicBezTo>
                  <a:cubicBezTo>
                    <a:pt x="8455" y="83007"/>
                    <a:pt x="8455" y="83458"/>
                    <a:pt x="8455" y="83909"/>
                  </a:cubicBezTo>
                  <a:cubicBezTo>
                    <a:pt x="8780" y="84812"/>
                    <a:pt x="9105" y="84812"/>
                    <a:pt x="9105" y="85714"/>
                  </a:cubicBezTo>
                  <a:cubicBezTo>
                    <a:pt x="9430" y="86165"/>
                    <a:pt x="9105" y="86165"/>
                    <a:pt x="9430" y="86616"/>
                  </a:cubicBezTo>
                  <a:cubicBezTo>
                    <a:pt x="9756" y="87067"/>
                    <a:pt x="10081" y="87969"/>
                    <a:pt x="10406" y="87969"/>
                  </a:cubicBezTo>
                  <a:cubicBezTo>
                    <a:pt x="10731" y="87969"/>
                    <a:pt x="11056" y="87969"/>
                    <a:pt x="12032" y="88421"/>
                  </a:cubicBezTo>
                  <a:cubicBezTo>
                    <a:pt x="13008" y="89323"/>
                    <a:pt x="13333" y="89323"/>
                    <a:pt x="13658" y="89774"/>
                  </a:cubicBezTo>
                  <a:cubicBezTo>
                    <a:pt x="14308" y="90225"/>
                    <a:pt x="13983" y="89774"/>
                    <a:pt x="14959" y="90225"/>
                  </a:cubicBezTo>
                  <a:cubicBezTo>
                    <a:pt x="16260" y="90676"/>
                    <a:pt x="15934" y="90225"/>
                    <a:pt x="16260" y="90676"/>
                  </a:cubicBezTo>
                  <a:cubicBezTo>
                    <a:pt x="16585" y="90676"/>
                    <a:pt x="16260" y="90225"/>
                    <a:pt x="16910" y="90676"/>
                  </a:cubicBezTo>
                  <a:cubicBezTo>
                    <a:pt x="17886" y="90676"/>
                    <a:pt x="18536" y="91127"/>
                    <a:pt x="18536" y="91127"/>
                  </a:cubicBezTo>
                  <a:cubicBezTo>
                    <a:pt x="18536" y="92030"/>
                    <a:pt x="18536" y="92030"/>
                    <a:pt x="18536" y="92030"/>
                  </a:cubicBezTo>
                  <a:cubicBezTo>
                    <a:pt x="17886" y="93834"/>
                    <a:pt x="17886" y="93834"/>
                    <a:pt x="17886" y="93834"/>
                  </a:cubicBezTo>
                  <a:cubicBezTo>
                    <a:pt x="17886" y="95187"/>
                    <a:pt x="17886" y="95187"/>
                    <a:pt x="17886" y="95187"/>
                  </a:cubicBezTo>
                  <a:cubicBezTo>
                    <a:pt x="17886" y="95187"/>
                    <a:pt x="17235" y="95187"/>
                    <a:pt x="17886" y="95639"/>
                  </a:cubicBezTo>
                  <a:cubicBezTo>
                    <a:pt x="18536" y="96090"/>
                    <a:pt x="19837" y="96541"/>
                    <a:pt x="19837" y="96541"/>
                  </a:cubicBezTo>
                  <a:cubicBezTo>
                    <a:pt x="20813" y="97443"/>
                    <a:pt x="20813" y="97443"/>
                    <a:pt x="20813" y="97443"/>
                  </a:cubicBezTo>
                  <a:cubicBezTo>
                    <a:pt x="20813" y="97443"/>
                    <a:pt x="20162" y="98796"/>
                    <a:pt x="19837" y="99248"/>
                  </a:cubicBezTo>
                  <a:cubicBezTo>
                    <a:pt x="19512" y="99248"/>
                    <a:pt x="18536" y="99248"/>
                    <a:pt x="18536" y="99248"/>
                  </a:cubicBezTo>
                  <a:cubicBezTo>
                    <a:pt x="18536" y="99248"/>
                    <a:pt x="18211" y="100601"/>
                    <a:pt x="18861" y="100601"/>
                  </a:cubicBezTo>
                  <a:cubicBezTo>
                    <a:pt x="19186" y="101052"/>
                    <a:pt x="19837" y="101052"/>
                    <a:pt x="20162" y="101052"/>
                  </a:cubicBezTo>
                  <a:cubicBezTo>
                    <a:pt x="20487" y="101052"/>
                    <a:pt x="21138" y="101503"/>
                    <a:pt x="21138" y="101503"/>
                  </a:cubicBezTo>
                  <a:cubicBezTo>
                    <a:pt x="21138" y="101503"/>
                    <a:pt x="21463" y="101503"/>
                    <a:pt x="21788" y="101954"/>
                  </a:cubicBezTo>
                  <a:cubicBezTo>
                    <a:pt x="21788" y="102857"/>
                    <a:pt x="22113" y="103308"/>
                    <a:pt x="22439" y="103308"/>
                  </a:cubicBezTo>
                  <a:cubicBezTo>
                    <a:pt x="22764" y="103308"/>
                    <a:pt x="23414" y="103308"/>
                    <a:pt x="23739" y="103308"/>
                  </a:cubicBezTo>
                  <a:cubicBezTo>
                    <a:pt x="24065" y="103308"/>
                    <a:pt x="24065" y="102857"/>
                    <a:pt x="24390" y="102857"/>
                  </a:cubicBezTo>
                  <a:cubicBezTo>
                    <a:pt x="24715" y="103308"/>
                    <a:pt x="26666" y="102857"/>
                    <a:pt x="26666" y="102857"/>
                  </a:cubicBezTo>
                  <a:cubicBezTo>
                    <a:pt x="26666" y="102857"/>
                    <a:pt x="26666" y="102857"/>
                    <a:pt x="26991" y="103759"/>
                  </a:cubicBezTo>
                  <a:cubicBezTo>
                    <a:pt x="27642" y="105112"/>
                    <a:pt x="28617" y="105563"/>
                    <a:pt x="28617" y="105563"/>
                  </a:cubicBezTo>
                  <a:cubicBezTo>
                    <a:pt x="28617" y="105563"/>
                    <a:pt x="28943" y="106015"/>
                    <a:pt x="28943" y="105563"/>
                  </a:cubicBezTo>
                  <a:cubicBezTo>
                    <a:pt x="28943" y="105112"/>
                    <a:pt x="29268" y="104661"/>
                    <a:pt x="29268" y="104661"/>
                  </a:cubicBezTo>
                  <a:cubicBezTo>
                    <a:pt x="29268" y="104661"/>
                    <a:pt x="29918" y="103308"/>
                    <a:pt x="29918" y="102857"/>
                  </a:cubicBezTo>
                  <a:cubicBezTo>
                    <a:pt x="30243" y="102406"/>
                    <a:pt x="30569" y="101052"/>
                    <a:pt x="30894" y="101052"/>
                  </a:cubicBezTo>
                  <a:cubicBezTo>
                    <a:pt x="31219" y="100601"/>
                    <a:pt x="32195" y="99699"/>
                    <a:pt x="32195" y="99699"/>
                  </a:cubicBezTo>
                  <a:cubicBezTo>
                    <a:pt x="32195" y="99699"/>
                    <a:pt x="32195" y="99248"/>
                    <a:pt x="32845" y="99699"/>
                  </a:cubicBezTo>
                  <a:cubicBezTo>
                    <a:pt x="33170" y="100601"/>
                    <a:pt x="34146" y="101503"/>
                    <a:pt x="34146" y="101503"/>
                  </a:cubicBezTo>
                  <a:cubicBezTo>
                    <a:pt x="35772" y="101503"/>
                    <a:pt x="35772" y="101503"/>
                    <a:pt x="35772" y="101503"/>
                  </a:cubicBezTo>
                  <a:cubicBezTo>
                    <a:pt x="35772" y="101503"/>
                    <a:pt x="36747" y="101954"/>
                    <a:pt x="36747" y="102406"/>
                  </a:cubicBezTo>
                  <a:cubicBezTo>
                    <a:pt x="36747" y="102857"/>
                    <a:pt x="36422" y="102857"/>
                    <a:pt x="35772" y="103308"/>
                  </a:cubicBezTo>
                  <a:cubicBezTo>
                    <a:pt x="35447" y="103308"/>
                    <a:pt x="34471" y="101954"/>
                    <a:pt x="34471" y="102406"/>
                  </a:cubicBezTo>
                  <a:cubicBezTo>
                    <a:pt x="34146" y="102857"/>
                    <a:pt x="34146" y="103759"/>
                    <a:pt x="34146" y="103759"/>
                  </a:cubicBezTo>
                  <a:cubicBezTo>
                    <a:pt x="32845" y="104661"/>
                    <a:pt x="32845" y="104661"/>
                    <a:pt x="32845" y="104661"/>
                  </a:cubicBezTo>
                  <a:cubicBezTo>
                    <a:pt x="33170" y="105563"/>
                    <a:pt x="33170" y="105563"/>
                    <a:pt x="33170" y="105563"/>
                  </a:cubicBezTo>
                  <a:cubicBezTo>
                    <a:pt x="33170" y="105563"/>
                    <a:pt x="34796" y="106466"/>
                    <a:pt x="34796" y="106917"/>
                  </a:cubicBezTo>
                  <a:cubicBezTo>
                    <a:pt x="34796" y="107368"/>
                    <a:pt x="34796" y="108270"/>
                    <a:pt x="34796" y="108270"/>
                  </a:cubicBezTo>
                  <a:cubicBezTo>
                    <a:pt x="35772" y="108721"/>
                    <a:pt x="35772" y="108721"/>
                    <a:pt x="35772" y="108721"/>
                  </a:cubicBezTo>
                  <a:cubicBezTo>
                    <a:pt x="36422" y="108270"/>
                    <a:pt x="36422" y="108270"/>
                    <a:pt x="36422" y="108270"/>
                  </a:cubicBezTo>
                  <a:cubicBezTo>
                    <a:pt x="36422" y="110075"/>
                    <a:pt x="36422" y="110075"/>
                    <a:pt x="36422" y="110075"/>
                  </a:cubicBezTo>
                  <a:cubicBezTo>
                    <a:pt x="36422" y="111879"/>
                    <a:pt x="36422" y="111879"/>
                    <a:pt x="36422" y="111879"/>
                  </a:cubicBezTo>
                  <a:cubicBezTo>
                    <a:pt x="36422" y="111879"/>
                    <a:pt x="36422" y="111879"/>
                    <a:pt x="36422" y="111879"/>
                  </a:cubicBezTo>
                  <a:cubicBezTo>
                    <a:pt x="36422" y="111879"/>
                    <a:pt x="36422" y="111879"/>
                    <a:pt x="36422" y="111879"/>
                  </a:cubicBezTo>
                  <a:cubicBezTo>
                    <a:pt x="38699" y="110977"/>
                    <a:pt x="40650" y="112781"/>
                    <a:pt x="41626" y="112781"/>
                  </a:cubicBezTo>
                  <a:cubicBezTo>
                    <a:pt x="43577" y="113233"/>
                    <a:pt x="39349" y="116390"/>
                    <a:pt x="40000" y="116390"/>
                  </a:cubicBezTo>
                  <a:cubicBezTo>
                    <a:pt x="40650" y="115939"/>
                    <a:pt x="40000" y="118646"/>
                    <a:pt x="40975" y="119097"/>
                  </a:cubicBezTo>
                  <a:cubicBezTo>
                    <a:pt x="42601" y="119548"/>
                    <a:pt x="43902" y="117744"/>
                    <a:pt x="45853" y="117744"/>
                  </a:cubicBezTo>
                  <a:cubicBezTo>
                    <a:pt x="47479" y="117293"/>
                    <a:pt x="49430" y="118646"/>
                    <a:pt x="50081" y="117744"/>
                  </a:cubicBezTo>
                  <a:cubicBezTo>
                    <a:pt x="51382" y="115488"/>
                    <a:pt x="56585" y="120000"/>
                    <a:pt x="59186" y="117744"/>
                  </a:cubicBezTo>
                  <a:cubicBezTo>
                    <a:pt x="60813" y="115939"/>
                    <a:pt x="67317" y="115037"/>
                    <a:pt x="69593" y="115037"/>
                  </a:cubicBezTo>
                  <a:cubicBezTo>
                    <a:pt x="75447" y="114586"/>
                    <a:pt x="75772" y="114586"/>
                    <a:pt x="78373" y="112330"/>
                  </a:cubicBezTo>
                  <a:cubicBezTo>
                    <a:pt x="78373" y="112330"/>
                    <a:pt x="80000" y="107368"/>
                    <a:pt x="80975" y="105112"/>
                  </a:cubicBezTo>
                  <a:cubicBezTo>
                    <a:pt x="81626" y="103308"/>
                    <a:pt x="83577" y="102406"/>
                    <a:pt x="85528" y="100601"/>
                  </a:cubicBezTo>
                  <a:cubicBezTo>
                    <a:pt x="87154" y="98796"/>
                    <a:pt x="91382" y="96992"/>
                    <a:pt x="92357" y="96541"/>
                  </a:cubicBezTo>
                  <a:cubicBezTo>
                    <a:pt x="93333" y="96541"/>
                    <a:pt x="100162" y="96992"/>
                    <a:pt x="100162" y="96992"/>
                  </a:cubicBezTo>
                  <a:cubicBezTo>
                    <a:pt x="103739" y="95639"/>
                    <a:pt x="103739" y="95639"/>
                    <a:pt x="103739" y="95639"/>
                  </a:cubicBezTo>
                  <a:cubicBezTo>
                    <a:pt x="103739" y="95639"/>
                    <a:pt x="104390" y="99248"/>
                    <a:pt x="105365" y="99699"/>
                  </a:cubicBezTo>
                  <a:cubicBezTo>
                    <a:pt x="109593" y="100601"/>
                    <a:pt x="112195" y="100150"/>
                    <a:pt x="112520" y="96992"/>
                  </a:cubicBezTo>
                  <a:cubicBezTo>
                    <a:pt x="112845" y="94736"/>
                    <a:pt x="111219" y="90676"/>
                    <a:pt x="110894" y="87518"/>
                  </a:cubicBezTo>
                  <a:cubicBezTo>
                    <a:pt x="110569" y="83909"/>
                    <a:pt x="111869" y="80300"/>
                    <a:pt x="111869" y="77142"/>
                  </a:cubicBezTo>
                  <a:cubicBezTo>
                    <a:pt x="111869" y="76691"/>
                    <a:pt x="111219" y="75789"/>
                    <a:pt x="113170" y="72180"/>
                  </a:cubicBezTo>
                  <a:cubicBezTo>
                    <a:pt x="114796" y="68571"/>
                    <a:pt x="119349" y="70375"/>
                    <a:pt x="120000" y="68120"/>
                  </a:cubicBezTo>
                  <a:cubicBezTo>
                    <a:pt x="118048" y="55488"/>
                    <a:pt x="118048" y="55488"/>
                    <a:pt x="118048" y="55488"/>
                  </a:cubicBezTo>
                  <a:cubicBezTo>
                    <a:pt x="117723" y="55488"/>
                    <a:pt x="117723" y="55488"/>
                    <a:pt x="117723" y="55488"/>
                  </a:cubicBezTo>
                  <a:cubicBezTo>
                    <a:pt x="117398" y="55488"/>
                    <a:pt x="117398" y="55488"/>
                    <a:pt x="117398" y="55488"/>
                  </a:cubicBezTo>
                  <a:cubicBezTo>
                    <a:pt x="116747" y="55037"/>
                    <a:pt x="116747" y="55037"/>
                    <a:pt x="116747" y="55037"/>
                  </a:cubicBezTo>
                  <a:cubicBezTo>
                    <a:pt x="116097" y="55037"/>
                    <a:pt x="116097" y="55037"/>
                    <a:pt x="116097" y="55037"/>
                  </a:cubicBezTo>
                  <a:cubicBezTo>
                    <a:pt x="115447" y="54586"/>
                    <a:pt x="115447" y="54586"/>
                    <a:pt x="115447" y="54586"/>
                  </a:cubicBezTo>
                  <a:cubicBezTo>
                    <a:pt x="114796" y="54135"/>
                    <a:pt x="114796" y="54135"/>
                    <a:pt x="114796" y="54135"/>
                  </a:cubicBezTo>
                  <a:cubicBezTo>
                    <a:pt x="114146" y="54135"/>
                    <a:pt x="114146" y="54135"/>
                    <a:pt x="114146" y="54135"/>
                  </a:cubicBezTo>
                  <a:cubicBezTo>
                    <a:pt x="114146" y="54135"/>
                    <a:pt x="114146" y="54135"/>
                    <a:pt x="114146" y="54135"/>
                  </a:cubicBezTo>
                  <a:cubicBezTo>
                    <a:pt x="113821" y="54135"/>
                    <a:pt x="113821" y="54135"/>
                    <a:pt x="113821" y="54135"/>
                  </a:cubicBezTo>
                  <a:cubicBezTo>
                    <a:pt x="111544" y="53684"/>
                    <a:pt x="108617" y="60902"/>
                    <a:pt x="108617" y="60902"/>
                  </a:cubicBezTo>
                  <a:cubicBezTo>
                    <a:pt x="107317" y="64060"/>
                    <a:pt x="107317" y="64060"/>
                    <a:pt x="107317" y="64060"/>
                  </a:cubicBezTo>
                  <a:cubicBezTo>
                    <a:pt x="104065" y="63157"/>
                    <a:pt x="100813" y="62706"/>
                    <a:pt x="98536" y="59097"/>
                  </a:cubicBezTo>
                  <a:cubicBezTo>
                    <a:pt x="98536" y="57744"/>
                    <a:pt x="98536" y="57744"/>
                    <a:pt x="98536" y="57744"/>
                  </a:cubicBezTo>
                  <a:cubicBezTo>
                    <a:pt x="98536" y="57744"/>
                    <a:pt x="98536" y="57744"/>
                    <a:pt x="98536" y="57744"/>
                  </a:cubicBezTo>
                  <a:cubicBezTo>
                    <a:pt x="98536" y="57744"/>
                    <a:pt x="98536" y="57744"/>
                    <a:pt x="98536" y="57744"/>
                  </a:cubicBezTo>
                  <a:cubicBezTo>
                    <a:pt x="98211" y="57293"/>
                    <a:pt x="98211" y="57293"/>
                    <a:pt x="98211" y="57293"/>
                  </a:cubicBezTo>
                  <a:cubicBezTo>
                    <a:pt x="98211" y="57293"/>
                    <a:pt x="97886" y="57293"/>
                    <a:pt x="97886" y="57293"/>
                  </a:cubicBezTo>
                  <a:cubicBezTo>
                    <a:pt x="97560" y="57293"/>
                    <a:pt x="97235" y="56842"/>
                    <a:pt x="97235" y="56842"/>
                  </a:cubicBezTo>
                  <a:cubicBezTo>
                    <a:pt x="97560" y="55939"/>
                    <a:pt x="97560" y="55939"/>
                    <a:pt x="97560" y="55939"/>
                  </a:cubicBezTo>
                  <a:cubicBezTo>
                    <a:pt x="97560" y="55939"/>
                    <a:pt x="97886" y="55488"/>
                    <a:pt x="97886" y="55488"/>
                  </a:cubicBezTo>
                  <a:cubicBezTo>
                    <a:pt x="98211" y="55488"/>
                    <a:pt x="97886" y="55488"/>
                    <a:pt x="97886" y="55037"/>
                  </a:cubicBezTo>
                  <a:cubicBezTo>
                    <a:pt x="97886" y="55037"/>
                    <a:pt x="97886" y="54135"/>
                    <a:pt x="97886" y="53684"/>
                  </a:cubicBezTo>
                  <a:cubicBezTo>
                    <a:pt x="97560" y="53233"/>
                    <a:pt x="97560" y="53233"/>
                    <a:pt x="97560" y="53233"/>
                  </a:cubicBezTo>
                  <a:cubicBezTo>
                    <a:pt x="97560" y="53233"/>
                    <a:pt x="97235" y="52330"/>
                    <a:pt x="96910" y="51879"/>
                  </a:cubicBezTo>
                  <a:cubicBezTo>
                    <a:pt x="96585" y="51879"/>
                    <a:pt x="96910" y="51428"/>
                    <a:pt x="96910" y="51428"/>
                  </a:cubicBezTo>
                  <a:cubicBezTo>
                    <a:pt x="96585" y="50977"/>
                    <a:pt x="96910" y="50977"/>
                    <a:pt x="96910" y="50526"/>
                  </a:cubicBezTo>
                  <a:cubicBezTo>
                    <a:pt x="96910" y="50526"/>
                    <a:pt x="96585" y="49624"/>
                    <a:pt x="96585" y="49624"/>
                  </a:cubicBezTo>
                  <a:cubicBezTo>
                    <a:pt x="96585" y="49624"/>
                    <a:pt x="95934" y="48270"/>
                    <a:pt x="95609" y="47368"/>
                  </a:cubicBezTo>
                  <a:cubicBezTo>
                    <a:pt x="95609" y="46917"/>
                    <a:pt x="95609" y="46466"/>
                    <a:pt x="95609" y="46466"/>
                  </a:cubicBezTo>
                  <a:cubicBezTo>
                    <a:pt x="95934" y="46015"/>
                    <a:pt x="95284" y="45563"/>
                    <a:pt x="95284" y="45563"/>
                  </a:cubicBezTo>
                  <a:cubicBezTo>
                    <a:pt x="95284" y="45563"/>
                    <a:pt x="95284" y="44661"/>
                    <a:pt x="95284" y="44661"/>
                  </a:cubicBezTo>
                  <a:cubicBezTo>
                    <a:pt x="95284" y="44661"/>
                    <a:pt x="95284" y="43759"/>
                    <a:pt x="95284" y="43759"/>
                  </a:cubicBezTo>
                  <a:cubicBezTo>
                    <a:pt x="95609" y="43308"/>
                    <a:pt x="95284" y="42857"/>
                    <a:pt x="95284" y="42406"/>
                  </a:cubicBezTo>
                  <a:cubicBezTo>
                    <a:pt x="95284" y="42406"/>
                    <a:pt x="94634" y="41954"/>
                    <a:pt x="94634" y="41954"/>
                  </a:cubicBezTo>
                  <a:cubicBezTo>
                    <a:pt x="94959" y="41052"/>
                    <a:pt x="94959" y="41052"/>
                    <a:pt x="94959" y="41052"/>
                  </a:cubicBezTo>
                  <a:cubicBezTo>
                    <a:pt x="94959" y="40601"/>
                    <a:pt x="94959" y="40601"/>
                    <a:pt x="94959" y="40601"/>
                  </a:cubicBezTo>
                  <a:cubicBezTo>
                    <a:pt x="94959" y="40601"/>
                    <a:pt x="95284" y="39699"/>
                    <a:pt x="95284" y="39699"/>
                  </a:cubicBezTo>
                  <a:cubicBezTo>
                    <a:pt x="95609" y="39248"/>
                    <a:pt x="95284" y="38796"/>
                    <a:pt x="94959" y="38796"/>
                  </a:cubicBezTo>
                  <a:cubicBezTo>
                    <a:pt x="94634" y="38796"/>
                    <a:pt x="94959" y="38345"/>
                    <a:pt x="94959" y="38345"/>
                  </a:cubicBezTo>
                  <a:cubicBezTo>
                    <a:pt x="95284" y="37443"/>
                    <a:pt x="95284" y="37443"/>
                    <a:pt x="95284" y="37443"/>
                  </a:cubicBezTo>
                  <a:cubicBezTo>
                    <a:pt x="94959" y="36090"/>
                    <a:pt x="94959" y="36090"/>
                    <a:pt x="94959" y="36090"/>
                  </a:cubicBezTo>
                  <a:cubicBezTo>
                    <a:pt x="94959" y="35639"/>
                    <a:pt x="94959" y="35639"/>
                    <a:pt x="94959" y="35639"/>
                  </a:cubicBezTo>
                  <a:cubicBezTo>
                    <a:pt x="94959" y="35639"/>
                    <a:pt x="94634" y="34736"/>
                    <a:pt x="94634" y="34736"/>
                  </a:cubicBezTo>
                  <a:cubicBezTo>
                    <a:pt x="94634" y="34285"/>
                    <a:pt x="94308" y="33383"/>
                    <a:pt x="94308" y="33383"/>
                  </a:cubicBezTo>
                  <a:cubicBezTo>
                    <a:pt x="94308" y="33383"/>
                    <a:pt x="94308" y="32932"/>
                    <a:pt x="94308" y="32932"/>
                  </a:cubicBezTo>
                  <a:cubicBezTo>
                    <a:pt x="94308" y="32481"/>
                    <a:pt x="94308" y="32481"/>
                    <a:pt x="94308" y="32481"/>
                  </a:cubicBezTo>
                  <a:cubicBezTo>
                    <a:pt x="94308" y="32030"/>
                    <a:pt x="93983" y="31578"/>
                    <a:pt x="93658" y="31127"/>
                  </a:cubicBezTo>
                  <a:cubicBezTo>
                    <a:pt x="93333" y="30225"/>
                    <a:pt x="93333" y="30225"/>
                    <a:pt x="93333" y="30225"/>
                  </a:cubicBezTo>
                  <a:cubicBezTo>
                    <a:pt x="93333" y="30225"/>
                    <a:pt x="92682" y="29323"/>
                    <a:pt x="92357" y="28872"/>
                  </a:cubicBezTo>
                  <a:cubicBezTo>
                    <a:pt x="92357" y="27969"/>
                    <a:pt x="92357" y="27969"/>
                    <a:pt x="92032" y="27518"/>
                  </a:cubicBezTo>
                  <a:cubicBezTo>
                    <a:pt x="92032" y="26616"/>
                    <a:pt x="91382" y="25714"/>
                    <a:pt x="91056" y="25714"/>
                  </a:cubicBezTo>
                  <a:cubicBezTo>
                    <a:pt x="91056" y="25714"/>
                    <a:pt x="90731" y="24360"/>
                    <a:pt x="90731" y="23909"/>
                  </a:cubicBezTo>
                  <a:cubicBezTo>
                    <a:pt x="90406" y="23909"/>
                    <a:pt x="89756" y="23458"/>
                    <a:pt x="89756" y="23458"/>
                  </a:cubicBezTo>
                  <a:cubicBezTo>
                    <a:pt x="89430" y="23458"/>
                    <a:pt x="88780" y="23007"/>
                    <a:pt x="88780" y="23007"/>
                  </a:cubicBezTo>
                  <a:cubicBezTo>
                    <a:pt x="87804" y="22556"/>
                    <a:pt x="87804" y="22556"/>
                    <a:pt x="87804" y="22556"/>
                  </a:cubicBezTo>
                  <a:cubicBezTo>
                    <a:pt x="86829" y="21203"/>
                    <a:pt x="86829" y="21203"/>
                    <a:pt x="86829" y="21203"/>
                  </a:cubicBezTo>
                  <a:cubicBezTo>
                    <a:pt x="86829" y="21203"/>
                    <a:pt x="86504" y="21203"/>
                    <a:pt x="86178" y="20751"/>
                  </a:cubicBezTo>
                  <a:cubicBezTo>
                    <a:pt x="86178" y="20751"/>
                    <a:pt x="85853" y="19849"/>
                    <a:pt x="85853" y="19849"/>
                  </a:cubicBezTo>
                  <a:cubicBezTo>
                    <a:pt x="85528" y="18947"/>
                    <a:pt x="85528" y="18947"/>
                    <a:pt x="85528" y="18947"/>
                  </a:cubicBezTo>
                  <a:cubicBezTo>
                    <a:pt x="83577" y="18045"/>
                    <a:pt x="83577" y="18045"/>
                    <a:pt x="83577" y="18045"/>
                  </a:cubicBezTo>
                  <a:cubicBezTo>
                    <a:pt x="83577" y="18045"/>
                    <a:pt x="83252" y="17142"/>
                    <a:pt x="83252" y="17142"/>
                  </a:cubicBezTo>
                  <a:cubicBezTo>
                    <a:pt x="83252" y="16691"/>
                    <a:pt x="82926" y="16691"/>
                    <a:pt x="82926" y="16240"/>
                  </a:cubicBezTo>
                  <a:cubicBezTo>
                    <a:pt x="82926" y="15789"/>
                    <a:pt x="82601" y="15789"/>
                    <a:pt x="82601" y="15338"/>
                  </a:cubicBezTo>
                  <a:cubicBezTo>
                    <a:pt x="82601" y="14887"/>
                    <a:pt x="82276" y="14887"/>
                    <a:pt x="82276" y="14887"/>
                  </a:cubicBezTo>
                  <a:cubicBezTo>
                    <a:pt x="81951" y="14887"/>
                    <a:pt x="81626" y="14887"/>
                    <a:pt x="81626" y="14887"/>
                  </a:cubicBezTo>
                  <a:cubicBezTo>
                    <a:pt x="81626" y="14887"/>
                    <a:pt x="81300" y="14436"/>
                    <a:pt x="81300" y="14436"/>
                  </a:cubicBezTo>
                  <a:cubicBezTo>
                    <a:pt x="81300" y="14436"/>
                    <a:pt x="80650" y="13533"/>
                    <a:pt x="80325" y="13533"/>
                  </a:cubicBezTo>
                  <a:cubicBezTo>
                    <a:pt x="80325" y="13082"/>
                    <a:pt x="80325" y="13082"/>
                    <a:pt x="80325" y="13082"/>
                  </a:cubicBezTo>
                  <a:cubicBezTo>
                    <a:pt x="80325" y="13082"/>
                    <a:pt x="80325" y="13082"/>
                    <a:pt x="80000" y="13082"/>
                  </a:cubicBezTo>
                  <a:cubicBezTo>
                    <a:pt x="79674" y="13082"/>
                    <a:pt x="79674" y="13082"/>
                    <a:pt x="79674" y="12631"/>
                  </a:cubicBezTo>
                  <a:cubicBezTo>
                    <a:pt x="79349" y="12631"/>
                    <a:pt x="79349" y="11729"/>
                    <a:pt x="79024" y="11729"/>
                  </a:cubicBezTo>
                  <a:cubicBezTo>
                    <a:pt x="79024" y="11729"/>
                    <a:pt x="79024" y="11729"/>
                    <a:pt x="78699" y="11729"/>
                  </a:cubicBezTo>
                  <a:cubicBezTo>
                    <a:pt x="78373" y="11729"/>
                    <a:pt x="78048" y="10827"/>
                    <a:pt x="78048" y="10827"/>
                  </a:cubicBezTo>
                  <a:cubicBezTo>
                    <a:pt x="77723" y="10827"/>
                    <a:pt x="78048" y="10375"/>
                    <a:pt x="78048" y="9924"/>
                  </a:cubicBezTo>
                  <a:cubicBezTo>
                    <a:pt x="78048" y="9473"/>
                    <a:pt x="77723" y="9473"/>
                    <a:pt x="77723" y="9473"/>
                  </a:cubicBezTo>
                  <a:cubicBezTo>
                    <a:pt x="77723" y="9473"/>
                    <a:pt x="77723" y="9473"/>
                    <a:pt x="77723" y="9473"/>
                  </a:cubicBezTo>
                  <a:cubicBezTo>
                    <a:pt x="77723" y="9473"/>
                    <a:pt x="77398" y="9473"/>
                    <a:pt x="77398" y="9022"/>
                  </a:cubicBezTo>
                  <a:cubicBezTo>
                    <a:pt x="77398" y="9022"/>
                    <a:pt x="77073" y="8571"/>
                    <a:pt x="77073" y="8120"/>
                  </a:cubicBezTo>
                  <a:cubicBezTo>
                    <a:pt x="77073" y="7669"/>
                    <a:pt x="77073" y="7669"/>
                    <a:pt x="77073" y="7669"/>
                  </a:cubicBezTo>
                  <a:cubicBezTo>
                    <a:pt x="77073" y="7669"/>
                    <a:pt x="76747" y="7218"/>
                    <a:pt x="76747" y="7218"/>
                  </a:cubicBezTo>
                  <a:cubicBezTo>
                    <a:pt x="76422" y="6766"/>
                    <a:pt x="76422" y="6766"/>
                    <a:pt x="76422" y="6766"/>
                  </a:cubicBezTo>
                  <a:cubicBezTo>
                    <a:pt x="76422" y="6315"/>
                    <a:pt x="76422" y="6315"/>
                    <a:pt x="76422" y="6315"/>
                  </a:cubicBezTo>
                  <a:cubicBezTo>
                    <a:pt x="76097" y="6315"/>
                    <a:pt x="76097" y="6315"/>
                    <a:pt x="76097" y="6315"/>
                  </a:cubicBezTo>
                  <a:cubicBezTo>
                    <a:pt x="75772" y="6315"/>
                    <a:pt x="75772" y="5864"/>
                    <a:pt x="75772" y="5413"/>
                  </a:cubicBezTo>
                  <a:cubicBezTo>
                    <a:pt x="75772" y="5413"/>
                    <a:pt x="75772" y="5413"/>
                    <a:pt x="75772" y="5413"/>
                  </a:cubicBezTo>
                  <a:cubicBezTo>
                    <a:pt x="75447" y="4962"/>
                    <a:pt x="75447" y="4962"/>
                    <a:pt x="75447" y="4962"/>
                  </a:cubicBezTo>
                  <a:cubicBezTo>
                    <a:pt x="75121" y="4511"/>
                    <a:pt x="75121" y="4511"/>
                    <a:pt x="75121" y="4511"/>
                  </a:cubicBezTo>
                  <a:cubicBezTo>
                    <a:pt x="74796" y="4060"/>
                    <a:pt x="74796" y="4060"/>
                    <a:pt x="74796" y="4060"/>
                  </a:cubicBezTo>
                  <a:cubicBezTo>
                    <a:pt x="74796" y="4060"/>
                    <a:pt x="74471" y="3609"/>
                    <a:pt x="74471" y="3609"/>
                  </a:cubicBezTo>
                  <a:cubicBezTo>
                    <a:pt x="74146" y="3157"/>
                    <a:pt x="73821" y="2706"/>
                    <a:pt x="73821" y="2706"/>
                  </a:cubicBezTo>
                  <a:cubicBezTo>
                    <a:pt x="73821" y="2706"/>
                    <a:pt x="73821" y="2255"/>
                    <a:pt x="73821" y="2255"/>
                  </a:cubicBezTo>
                  <a:cubicBezTo>
                    <a:pt x="73821" y="2255"/>
                    <a:pt x="73495" y="2255"/>
                    <a:pt x="73495" y="2255"/>
                  </a:cubicBezTo>
                  <a:cubicBezTo>
                    <a:pt x="72845" y="2255"/>
                    <a:pt x="72845" y="2255"/>
                    <a:pt x="72845" y="2255"/>
                  </a:cubicBezTo>
                  <a:cubicBezTo>
                    <a:pt x="72845" y="1353"/>
                    <a:pt x="72845" y="1353"/>
                    <a:pt x="72845" y="1353"/>
                  </a:cubicBezTo>
                  <a:cubicBezTo>
                    <a:pt x="72845" y="1353"/>
                    <a:pt x="72845" y="1353"/>
                    <a:pt x="72520" y="1353"/>
                  </a:cubicBezTo>
                  <a:cubicBezTo>
                    <a:pt x="72195" y="1353"/>
                    <a:pt x="72195" y="902"/>
                    <a:pt x="72195" y="902"/>
                  </a:cubicBezTo>
                  <a:cubicBezTo>
                    <a:pt x="72195" y="451"/>
                    <a:pt x="72195" y="451"/>
                    <a:pt x="72195" y="451"/>
                  </a:cubicBezTo>
                  <a:cubicBezTo>
                    <a:pt x="71219" y="902"/>
                    <a:pt x="71219" y="902"/>
                    <a:pt x="71219" y="902"/>
                  </a:cubicBezTo>
                  <a:cubicBezTo>
                    <a:pt x="71219" y="902"/>
                    <a:pt x="71219" y="902"/>
                    <a:pt x="71219" y="902"/>
                  </a:cubicBezTo>
                  <a:cubicBezTo>
                    <a:pt x="71219" y="902"/>
                    <a:pt x="70569" y="451"/>
                    <a:pt x="70569" y="451"/>
                  </a:cubicBezTo>
                  <a:cubicBezTo>
                    <a:pt x="70569" y="0"/>
                    <a:pt x="70243" y="0"/>
                    <a:pt x="70243" y="0"/>
                  </a:cubicBezTo>
                  <a:cubicBezTo>
                    <a:pt x="69918" y="451"/>
                    <a:pt x="69918" y="451"/>
                    <a:pt x="69918" y="451"/>
                  </a:cubicBezTo>
                  <a:cubicBezTo>
                    <a:pt x="69268" y="451"/>
                    <a:pt x="69268" y="451"/>
                    <a:pt x="69268" y="451"/>
                  </a:cubicBezTo>
                  <a:cubicBezTo>
                    <a:pt x="68943" y="451"/>
                    <a:pt x="68943" y="451"/>
                    <a:pt x="68943" y="451"/>
                  </a:cubicBezTo>
                  <a:cubicBezTo>
                    <a:pt x="68617" y="0"/>
                    <a:pt x="68617" y="0"/>
                    <a:pt x="68617" y="0"/>
                  </a:cubicBezTo>
                  <a:cubicBezTo>
                    <a:pt x="67642" y="451"/>
                    <a:pt x="67317" y="451"/>
                    <a:pt x="67317" y="451"/>
                  </a:cubicBezTo>
                  <a:cubicBezTo>
                    <a:pt x="66341" y="902"/>
                    <a:pt x="64715" y="2255"/>
                    <a:pt x="64715" y="3157"/>
                  </a:cubicBezTo>
                  <a:cubicBezTo>
                    <a:pt x="64390" y="4060"/>
                    <a:pt x="64715" y="6315"/>
                    <a:pt x="64065" y="6766"/>
                  </a:cubicBezTo>
                  <a:cubicBezTo>
                    <a:pt x="63089" y="6766"/>
                    <a:pt x="62113" y="9022"/>
                    <a:pt x="61788" y="9022"/>
                  </a:cubicBezTo>
                  <a:cubicBezTo>
                    <a:pt x="58861" y="11278"/>
                    <a:pt x="58861" y="11278"/>
                    <a:pt x="58861" y="11278"/>
                  </a:cubicBezTo>
                  <a:cubicBezTo>
                    <a:pt x="58861" y="11278"/>
                    <a:pt x="56585" y="12631"/>
                    <a:pt x="55284" y="12631"/>
                  </a:cubicBezTo>
                  <a:cubicBezTo>
                    <a:pt x="53983" y="13082"/>
                    <a:pt x="53008" y="14436"/>
                    <a:pt x="53008" y="14436"/>
                  </a:cubicBezTo>
                  <a:cubicBezTo>
                    <a:pt x="51382" y="17593"/>
                    <a:pt x="51382" y="17593"/>
                    <a:pt x="51382" y="17593"/>
                  </a:cubicBezTo>
                  <a:cubicBezTo>
                    <a:pt x="48780" y="18045"/>
                    <a:pt x="48780" y="18045"/>
                    <a:pt x="48780" y="18045"/>
                  </a:cubicBezTo>
                  <a:cubicBezTo>
                    <a:pt x="47479" y="16240"/>
                    <a:pt x="47479" y="16240"/>
                    <a:pt x="47479" y="16240"/>
                  </a:cubicBezTo>
                  <a:cubicBezTo>
                    <a:pt x="46178" y="16691"/>
                    <a:pt x="46178" y="16691"/>
                    <a:pt x="46178" y="16691"/>
                  </a:cubicBezTo>
                  <a:cubicBezTo>
                    <a:pt x="45853" y="16240"/>
                    <a:pt x="45853" y="16240"/>
                    <a:pt x="45853" y="16240"/>
                  </a:cubicBezTo>
                  <a:cubicBezTo>
                    <a:pt x="45203" y="16691"/>
                    <a:pt x="45203" y="16691"/>
                    <a:pt x="45203" y="16691"/>
                  </a:cubicBezTo>
                  <a:cubicBezTo>
                    <a:pt x="41300" y="16240"/>
                    <a:pt x="41300" y="16240"/>
                    <a:pt x="41300" y="16240"/>
                  </a:cubicBezTo>
                  <a:cubicBezTo>
                    <a:pt x="39349" y="17593"/>
                    <a:pt x="39349" y="17593"/>
                    <a:pt x="39349" y="17593"/>
                  </a:cubicBezTo>
                  <a:cubicBezTo>
                    <a:pt x="35772" y="17142"/>
                    <a:pt x="35772" y="17142"/>
                    <a:pt x="35772" y="17142"/>
                  </a:cubicBezTo>
                  <a:cubicBezTo>
                    <a:pt x="35772" y="17142"/>
                    <a:pt x="33170" y="17593"/>
                    <a:pt x="32520" y="17593"/>
                  </a:cubicBezTo>
                  <a:cubicBezTo>
                    <a:pt x="31544" y="17593"/>
                    <a:pt x="31544" y="17593"/>
                    <a:pt x="31544" y="17593"/>
                  </a:cubicBezTo>
                  <a:cubicBezTo>
                    <a:pt x="30894" y="17142"/>
                    <a:pt x="30243" y="16240"/>
                    <a:pt x="30243" y="16240"/>
                  </a:cubicBezTo>
                  <a:cubicBezTo>
                    <a:pt x="30243" y="16240"/>
                    <a:pt x="28943" y="16691"/>
                    <a:pt x="28617" y="17142"/>
                  </a:cubicBezTo>
                  <a:cubicBezTo>
                    <a:pt x="28292" y="17593"/>
                    <a:pt x="26991" y="19849"/>
                    <a:pt x="26991" y="19849"/>
                  </a:cubicBezTo>
                  <a:cubicBezTo>
                    <a:pt x="26991" y="20300"/>
                    <a:pt x="26991" y="20300"/>
                    <a:pt x="26991" y="20300"/>
                  </a:cubicBezTo>
                  <a:cubicBezTo>
                    <a:pt x="27642" y="22556"/>
                    <a:pt x="27642" y="22556"/>
                    <a:pt x="27642" y="22556"/>
                  </a:cubicBezTo>
                  <a:cubicBezTo>
                    <a:pt x="26341" y="23909"/>
                    <a:pt x="26341" y="23909"/>
                    <a:pt x="26341" y="23909"/>
                  </a:cubicBezTo>
                  <a:cubicBezTo>
                    <a:pt x="26341" y="23909"/>
                    <a:pt x="26341" y="23909"/>
                    <a:pt x="26341" y="23909"/>
                  </a:cubicBezTo>
                  <a:cubicBezTo>
                    <a:pt x="26341" y="23909"/>
                    <a:pt x="26341" y="23909"/>
                    <a:pt x="26341" y="23909"/>
                  </a:cubicBezTo>
                  <a:cubicBezTo>
                    <a:pt x="26341" y="23909"/>
                    <a:pt x="26341" y="23909"/>
                    <a:pt x="26341" y="23909"/>
                  </a:cubicBezTo>
                  <a:cubicBezTo>
                    <a:pt x="26341" y="23909"/>
                    <a:pt x="26341" y="23909"/>
                    <a:pt x="26341" y="23909"/>
                  </a:cubicBezTo>
                  <a:cubicBezTo>
                    <a:pt x="26341" y="24360"/>
                    <a:pt x="26341" y="24360"/>
                    <a:pt x="26341" y="24360"/>
                  </a:cubicBezTo>
                  <a:cubicBezTo>
                    <a:pt x="26341" y="24360"/>
                    <a:pt x="26341" y="24360"/>
                    <a:pt x="26341" y="24360"/>
                  </a:cubicBezTo>
                  <a:cubicBezTo>
                    <a:pt x="26341" y="24360"/>
                    <a:pt x="26341" y="24360"/>
                    <a:pt x="26341" y="24360"/>
                  </a:cubicBezTo>
                  <a:cubicBezTo>
                    <a:pt x="26341" y="24360"/>
                    <a:pt x="26341" y="24360"/>
                    <a:pt x="26341" y="24360"/>
                  </a:cubicBezTo>
                  <a:cubicBezTo>
                    <a:pt x="26341" y="24360"/>
                    <a:pt x="26341" y="24360"/>
                    <a:pt x="26341" y="24360"/>
                  </a:cubicBezTo>
                  <a:cubicBezTo>
                    <a:pt x="26341" y="24360"/>
                    <a:pt x="26341" y="24360"/>
                    <a:pt x="26341" y="24360"/>
                  </a:cubicBezTo>
                  <a:cubicBezTo>
                    <a:pt x="26341" y="24360"/>
                    <a:pt x="26341" y="24360"/>
                    <a:pt x="26341" y="24360"/>
                  </a:cubicBezTo>
                  <a:cubicBezTo>
                    <a:pt x="26341" y="24360"/>
                    <a:pt x="26341" y="24360"/>
                    <a:pt x="26341" y="24360"/>
                  </a:cubicBezTo>
                  <a:cubicBezTo>
                    <a:pt x="26341" y="24360"/>
                    <a:pt x="26341" y="24360"/>
                    <a:pt x="26341" y="24360"/>
                  </a:cubicBezTo>
                  <a:cubicBezTo>
                    <a:pt x="26341" y="24360"/>
                    <a:pt x="26341" y="24360"/>
                    <a:pt x="26341" y="24360"/>
                  </a:cubicBezTo>
                  <a:cubicBezTo>
                    <a:pt x="26341" y="24812"/>
                    <a:pt x="26016" y="24812"/>
                    <a:pt x="25691" y="24812"/>
                  </a:cubicBezTo>
                  <a:cubicBezTo>
                    <a:pt x="25691" y="25263"/>
                    <a:pt x="25365" y="25263"/>
                    <a:pt x="25040" y="25263"/>
                  </a:cubicBezTo>
                  <a:cubicBezTo>
                    <a:pt x="25040" y="25263"/>
                    <a:pt x="25040" y="25263"/>
                    <a:pt x="25040" y="25263"/>
                  </a:cubicBezTo>
                  <a:cubicBezTo>
                    <a:pt x="25040" y="25263"/>
                    <a:pt x="25040" y="25263"/>
                    <a:pt x="25040" y="25263"/>
                  </a:cubicBezTo>
                  <a:cubicBezTo>
                    <a:pt x="25040" y="25263"/>
                    <a:pt x="25040" y="25263"/>
                    <a:pt x="25040" y="25263"/>
                  </a:cubicBezTo>
                  <a:cubicBezTo>
                    <a:pt x="25040" y="25263"/>
                    <a:pt x="25040" y="25263"/>
                    <a:pt x="25040" y="25263"/>
                  </a:cubicBezTo>
                  <a:cubicBezTo>
                    <a:pt x="25040" y="25263"/>
                    <a:pt x="25040" y="25263"/>
                    <a:pt x="25040" y="25263"/>
                  </a:cubicBezTo>
                  <a:cubicBezTo>
                    <a:pt x="25040" y="25263"/>
                    <a:pt x="25040" y="25263"/>
                    <a:pt x="25040" y="25263"/>
                  </a:cubicBezTo>
                  <a:cubicBezTo>
                    <a:pt x="25040" y="25263"/>
                    <a:pt x="25040" y="25263"/>
                    <a:pt x="25040" y="25263"/>
                  </a:cubicBezTo>
                  <a:cubicBezTo>
                    <a:pt x="25040" y="25263"/>
                    <a:pt x="25040" y="25263"/>
                    <a:pt x="25040" y="25263"/>
                  </a:cubicBezTo>
                  <a:cubicBezTo>
                    <a:pt x="25040" y="25263"/>
                    <a:pt x="25040" y="25263"/>
                    <a:pt x="25040" y="25263"/>
                  </a:cubicBezTo>
                  <a:cubicBezTo>
                    <a:pt x="25040" y="25263"/>
                    <a:pt x="25040" y="25263"/>
                    <a:pt x="25040" y="25263"/>
                  </a:cubicBezTo>
                  <a:cubicBezTo>
                    <a:pt x="25040" y="25263"/>
                    <a:pt x="25040" y="25263"/>
                    <a:pt x="25040" y="25263"/>
                  </a:cubicBezTo>
                  <a:cubicBezTo>
                    <a:pt x="25040" y="25263"/>
                    <a:pt x="25040" y="25263"/>
                    <a:pt x="25040" y="25263"/>
                  </a:cubicBezTo>
                  <a:cubicBezTo>
                    <a:pt x="25040" y="25263"/>
                    <a:pt x="25040" y="25263"/>
                    <a:pt x="25040" y="25263"/>
                  </a:cubicBezTo>
                  <a:cubicBezTo>
                    <a:pt x="24715" y="25714"/>
                    <a:pt x="24715" y="25714"/>
                    <a:pt x="24715" y="25714"/>
                  </a:cubicBezTo>
                  <a:cubicBezTo>
                    <a:pt x="23739" y="27067"/>
                    <a:pt x="23739" y="27067"/>
                    <a:pt x="23739" y="27067"/>
                  </a:cubicBezTo>
                  <a:cubicBezTo>
                    <a:pt x="22439" y="27518"/>
                    <a:pt x="22439" y="27518"/>
                    <a:pt x="22439" y="27518"/>
                  </a:cubicBezTo>
                  <a:close/>
                </a:path>
              </a:pathLst>
            </a:custGeom>
            <a:solidFill>
              <a:srgbClr val="FCE5EA"/>
            </a:solidFill>
            <a:ln w="3175" cap="flat" cmpd="sng">
              <a:solidFill>
                <a:schemeClr val="tx1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defTabSz="457178"/>
              <a:endParaRPr kern="0" dirty="0">
                <a:solidFill>
                  <a:srgbClr val="7F7F7F"/>
                </a:solidFill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42" name="Shape 2049">
              <a:extLst>
                <a:ext uri="{FF2B5EF4-FFF2-40B4-BE49-F238E27FC236}">
                  <a16:creationId xmlns:a16="http://schemas.microsoft.com/office/drawing/2014/main" id="{930878DF-69C4-4FB0-96BF-29B7EB4A8A26}"/>
                </a:ext>
              </a:extLst>
            </p:cNvPr>
            <p:cNvSpPr/>
            <p:nvPr/>
          </p:nvSpPr>
          <p:spPr>
            <a:xfrm>
              <a:off x="6015453" y="2278355"/>
              <a:ext cx="1400673" cy="94396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27557" y="85714"/>
                  </a:moveTo>
                  <a:cubicBezTo>
                    <a:pt x="27752" y="85714"/>
                    <a:pt x="28338" y="84309"/>
                    <a:pt x="28925" y="84309"/>
                  </a:cubicBezTo>
                  <a:cubicBezTo>
                    <a:pt x="29315" y="84028"/>
                    <a:pt x="29120" y="82622"/>
                    <a:pt x="29315" y="82060"/>
                  </a:cubicBezTo>
                  <a:cubicBezTo>
                    <a:pt x="29511" y="81498"/>
                    <a:pt x="30488" y="80374"/>
                    <a:pt x="31074" y="80093"/>
                  </a:cubicBezTo>
                  <a:cubicBezTo>
                    <a:pt x="31270" y="80093"/>
                    <a:pt x="31270" y="80093"/>
                    <a:pt x="31270" y="80093"/>
                  </a:cubicBezTo>
                  <a:cubicBezTo>
                    <a:pt x="31270" y="79531"/>
                    <a:pt x="31270" y="79531"/>
                    <a:pt x="31270" y="79531"/>
                  </a:cubicBezTo>
                  <a:cubicBezTo>
                    <a:pt x="31270" y="79531"/>
                    <a:pt x="31856" y="79250"/>
                    <a:pt x="31856" y="78969"/>
                  </a:cubicBezTo>
                  <a:cubicBezTo>
                    <a:pt x="32052" y="78969"/>
                    <a:pt x="32052" y="79250"/>
                    <a:pt x="32052" y="79250"/>
                  </a:cubicBezTo>
                  <a:cubicBezTo>
                    <a:pt x="32052" y="79250"/>
                    <a:pt x="32247" y="79531"/>
                    <a:pt x="32442" y="79531"/>
                  </a:cubicBezTo>
                  <a:cubicBezTo>
                    <a:pt x="32442" y="79531"/>
                    <a:pt x="32638" y="79250"/>
                    <a:pt x="32638" y="79250"/>
                  </a:cubicBezTo>
                  <a:cubicBezTo>
                    <a:pt x="32638" y="78969"/>
                    <a:pt x="32638" y="78688"/>
                    <a:pt x="32638" y="78688"/>
                  </a:cubicBezTo>
                  <a:cubicBezTo>
                    <a:pt x="32442" y="78407"/>
                    <a:pt x="32442" y="78126"/>
                    <a:pt x="32442" y="78126"/>
                  </a:cubicBezTo>
                  <a:cubicBezTo>
                    <a:pt x="32442" y="78126"/>
                    <a:pt x="32442" y="78126"/>
                    <a:pt x="32442" y="78126"/>
                  </a:cubicBezTo>
                  <a:cubicBezTo>
                    <a:pt x="32442" y="78126"/>
                    <a:pt x="32638" y="78126"/>
                    <a:pt x="32638" y="78126"/>
                  </a:cubicBezTo>
                  <a:cubicBezTo>
                    <a:pt x="32638" y="78126"/>
                    <a:pt x="32833" y="77845"/>
                    <a:pt x="32833" y="77845"/>
                  </a:cubicBezTo>
                  <a:cubicBezTo>
                    <a:pt x="33224" y="78126"/>
                    <a:pt x="33224" y="78126"/>
                    <a:pt x="33224" y="78126"/>
                  </a:cubicBezTo>
                  <a:cubicBezTo>
                    <a:pt x="33224" y="78126"/>
                    <a:pt x="33420" y="78126"/>
                    <a:pt x="33420" y="78126"/>
                  </a:cubicBezTo>
                  <a:cubicBezTo>
                    <a:pt x="33615" y="78407"/>
                    <a:pt x="33811" y="77845"/>
                    <a:pt x="33811" y="77845"/>
                  </a:cubicBezTo>
                  <a:cubicBezTo>
                    <a:pt x="34006" y="77564"/>
                    <a:pt x="34006" y="77564"/>
                    <a:pt x="34006" y="77564"/>
                  </a:cubicBezTo>
                  <a:cubicBezTo>
                    <a:pt x="34006" y="77564"/>
                    <a:pt x="34006" y="77564"/>
                    <a:pt x="34006" y="77283"/>
                  </a:cubicBezTo>
                  <a:cubicBezTo>
                    <a:pt x="34006" y="77283"/>
                    <a:pt x="34201" y="77283"/>
                    <a:pt x="34397" y="77283"/>
                  </a:cubicBezTo>
                  <a:cubicBezTo>
                    <a:pt x="34397" y="77283"/>
                    <a:pt x="34788" y="77283"/>
                    <a:pt x="34983" y="77283"/>
                  </a:cubicBezTo>
                  <a:cubicBezTo>
                    <a:pt x="35179" y="77283"/>
                    <a:pt x="35179" y="77283"/>
                    <a:pt x="35179" y="77283"/>
                  </a:cubicBezTo>
                  <a:cubicBezTo>
                    <a:pt x="35570" y="77002"/>
                    <a:pt x="35570" y="77002"/>
                    <a:pt x="35570" y="77002"/>
                  </a:cubicBezTo>
                  <a:cubicBezTo>
                    <a:pt x="35570" y="77002"/>
                    <a:pt x="35765" y="76721"/>
                    <a:pt x="35765" y="76721"/>
                  </a:cubicBezTo>
                  <a:cubicBezTo>
                    <a:pt x="35765" y="76440"/>
                    <a:pt x="35765" y="76159"/>
                    <a:pt x="35765" y="76159"/>
                  </a:cubicBezTo>
                  <a:cubicBezTo>
                    <a:pt x="35765" y="75878"/>
                    <a:pt x="36156" y="75878"/>
                    <a:pt x="36156" y="75878"/>
                  </a:cubicBezTo>
                  <a:cubicBezTo>
                    <a:pt x="36156" y="75878"/>
                    <a:pt x="36156" y="75878"/>
                    <a:pt x="36156" y="75878"/>
                  </a:cubicBezTo>
                  <a:cubicBezTo>
                    <a:pt x="36351" y="75878"/>
                    <a:pt x="36351" y="76159"/>
                    <a:pt x="36351" y="76159"/>
                  </a:cubicBezTo>
                  <a:cubicBezTo>
                    <a:pt x="36351" y="76159"/>
                    <a:pt x="36547" y="75878"/>
                    <a:pt x="36547" y="75878"/>
                  </a:cubicBezTo>
                  <a:cubicBezTo>
                    <a:pt x="36547" y="75597"/>
                    <a:pt x="36742" y="75597"/>
                    <a:pt x="36742" y="75597"/>
                  </a:cubicBezTo>
                  <a:cubicBezTo>
                    <a:pt x="36742" y="75597"/>
                    <a:pt x="37133" y="75316"/>
                    <a:pt x="37133" y="75035"/>
                  </a:cubicBezTo>
                  <a:cubicBezTo>
                    <a:pt x="37328" y="74754"/>
                    <a:pt x="37328" y="75035"/>
                    <a:pt x="37328" y="74473"/>
                  </a:cubicBezTo>
                  <a:cubicBezTo>
                    <a:pt x="37328" y="74192"/>
                    <a:pt x="37524" y="74473"/>
                    <a:pt x="37524" y="74754"/>
                  </a:cubicBezTo>
                  <a:cubicBezTo>
                    <a:pt x="37524" y="74754"/>
                    <a:pt x="37524" y="74754"/>
                    <a:pt x="37719" y="75035"/>
                  </a:cubicBezTo>
                  <a:cubicBezTo>
                    <a:pt x="37719" y="75035"/>
                    <a:pt x="37719" y="75035"/>
                    <a:pt x="38110" y="75035"/>
                  </a:cubicBezTo>
                  <a:cubicBezTo>
                    <a:pt x="38306" y="75316"/>
                    <a:pt x="38306" y="74754"/>
                    <a:pt x="38697" y="74754"/>
                  </a:cubicBezTo>
                  <a:cubicBezTo>
                    <a:pt x="39087" y="74754"/>
                    <a:pt x="38892" y="74754"/>
                    <a:pt x="39087" y="75035"/>
                  </a:cubicBezTo>
                  <a:cubicBezTo>
                    <a:pt x="39283" y="75035"/>
                    <a:pt x="39283" y="75035"/>
                    <a:pt x="39478" y="75035"/>
                  </a:cubicBezTo>
                  <a:cubicBezTo>
                    <a:pt x="39674" y="75316"/>
                    <a:pt x="39674" y="75316"/>
                    <a:pt x="39674" y="75316"/>
                  </a:cubicBezTo>
                  <a:cubicBezTo>
                    <a:pt x="39674" y="75316"/>
                    <a:pt x="39869" y="75316"/>
                    <a:pt x="40065" y="75597"/>
                  </a:cubicBezTo>
                  <a:cubicBezTo>
                    <a:pt x="40065" y="75878"/>
                    <a:pt x="40456" y="75878"/>
                    <a:pt x="40456" y="75878"/>
                  </a:cubicBezTo>
                  <a:cubicBezTo>
                    <a:pt x="40456" y="75878"/>
                    <a:pt x="40456" y="75878"/>
                    <a:pt x="40456" y="75878"/>
                  </a:cubicBezTo>
                  <a:cubicBezTo>
                    <a:pt x="40456" y="75878"/>
                    <a:pt x="40456" y="75878"/>
                    <a:pt x="40456" y="75878"/>
                  </a:cubicBezTo>
                  <a:cubicBezTo>
                    <a:pt x="40456" y="75878"/>
                    <a:pt x="40456" y="75878"/>
                    <a:pt x="40456" y="75878"/>
                  </a:cubicBezTo>
                  <a:cubicBezTo>
                    <a:pt x="40456" y="75878"/>
                    <a:pt x="40456" y="75878"/>
                    <a:pt x="40456" y="75878"/>
                  </a:cubicBezTo>
                  <a:cubicBezTo>
                    <a:pt x="40456" y="75878"/>
                    <a:pt x="40456" y="75878"/>
                    <a:pt x="40456" y="75878"/>
                  </a:cubicBezTo>
                  <a:cubicBezTo>
                    <a:pt x="40456" y="75878"/>
                    <a:pt x="40456" y="75878"/>
                    <a:pt x="40456" y="75878"/>
                  </a:cubicBezTo>
                  <a:cubicBezTo>
                    <a:pt x="40456" y="75878"/>
                    <a:pt x="40456" y="75878"/>
                    <a:pt x="40456" y="75878"/>
                  </a:cubicBezTo>
                  <a:cubicBezTo>
                    <a:pt x="40456" y="75878"/>
                    <a:pt x="40456" y="75878"/>
                    <a:pt x="40456" y="75878"/>
                  </a:cubicBezTo>
                  <a:cubicBezTo>
                    <a:pt x="40456" y="75878"/>
                    <a:pt x="40456" y="75878"/>
                    <a:pt x="40456" y="75878"/>
                  </a:cubicBezTo>
                  <a:cubicBezTo>
                    <a:pt x="40651" y="75878"/>
                    <a:pt x="40651" y="75878"/>
                    <a:pt x="40651" y="75878"/>
                  </a:cubicBezTo>
                  <a:cubicBezTo>
                    <a:pt x="40651" y="75878"/>
                    <a:pt x="40651" y="75878"/>
                    <a:pt x="40651" y="75878"/>
                  </a:cubicBezTo>
                  <a:cubicBezTo>
                    <a:pt x="40651" y="75878"/>
                    <a:pt x="40651" y="75878"/>
                    <a:pt x="40651" y="75878"/>
                  </a:cubicBezTo>
                  <a:cubicBezTo>
                    <a:pt x="40651" y="75878"/>
                    <a:pt x="40651" y="75878"/>
                    <a:pt x="40651" y="75878"/>
                  </a:cubicBezTo>
                  <a:cubicBezTo>
                    <a:pt x="40651" y="75878"/>
                    <a:pt x="40651" y="75878"/>
                    <a:pt x="40651" y="75878"/>
                  </a:cubicBezTo>
                  <a:cubicBezTo>
                    <a:pt x="40651" y="75878"/>
                    <a:pt x="40651" y="75878"/>
                    <a:pt x="40651" y="75878"/>
                  </a:cubicBezTo>
                  <a:cubicBezTo>
                    <a:pt x="40651" y="75878"/>
                    <a:pt x="40651" y="75878"/>
                    <a:pt x="40651" y="75878"/>
                  </a:cubicBezTo>
                  <a:cubicBezTo>
                    <a:pt x="40651" y="75878"/>
                    <a:pt x="40651" y="75878"/>
                    <a:pt x="40651" y="75878"/>
                  </a:cubicBezTo>
                  <a:cubicBezTo>
                    <a:pt x="40651" y="75878"/>
                    <a:pt x="40651" y="75878"/>
                    <a:pt x="40651" y="75878"/>
                  </a:cubicBezTo>
                  <a:cubicBezTo>
                    <a:pt x="40651" y="75878"/>
                    <a:pt x="40651" y="75878"/>
                    <a:pt x="40651" y="75878"/>
                  </a:cubicBezTo>
                  <a:cubicBezTo>
                    <a:pt x="40651" y="75878"/>
                    <a:pt x="40651" y="75878"/>
                    <a:pt x="40651" y="75878"/>
                  </a:cubicBezTo>
                  <a:cubicBezTo>
                    <a:pt x="40651" y="75878"/>
                    <a:pt x="40651" y="75878"/>
                    <a:pt x="40651" y="75878"/>
                  </a:cubicBezTo>
                  <a:cubicBezTo>
                    <a:pt x="40651" y="75878"/>
                    <a:pt x="40651" y="75878"/>
                    <a:pt x="40651" y="75878"/>
                  </a:cubicBezTo>
                  <a:cubicBezTo>
                    <a:pt x="40651" y="75878"/>
                    <a:pt x="40651" y="75878"/>
                    <a:pt x="40651" y="75878"/>
                  </a:cubicBezTo>
                  <a:cubicBezTo>
                    <a:pt x="40651" y="75878"/>
                    <a:pt x="40651" y="75878"/>
                    <a:pt x="40651" y="75878"/>
                  </a:cubicBezTo>
                  <a:cubicBezTo>
                    <a:pt x="40846" y="75878"/>
                    <a:pt x="40846" y="75878"/>
                    <a:pt x="40846" y="75878"/>
                  </a:cubicBezTo>
                  <a:cubicBezTo>
                    <a:pt x="40846" y="75878"/>
                    <a:pt x="40846" y="75878"/>
                    <a:pt x="40846" y="75878"/>
                  </a:cubicBezTo>
                  <a:cubicBezTo>
                    <a:pt x="40846" y="75878"/>
                    <a:pt x="40846" y="75878"/>
                    <a:pt x="40846" y="75878"/>
                  </a:cubicBezTo>
                  <a:cubicBezTo>
                    <a:pt x="40846" y="75878"/>
                    <a:pt x="40846" y="75878"/>
                    <a:pt x="40846" y="75878"/>
                  </a:cubicBezTo>
                  <a:cubicBezTo>
                    <a:pt x="40846" y="75878"/>
                    <a:pt x="40846" y="75878"/>
                    <a:pt x="40846" y="75878"/>
                  </a:cubicBezTo>
                  <a:cubicBezTo>
                    <a:pt x="40846" y="75878"/>
                    <a:pt x="40846" y="75878"/>
                    <a:pt x="40846" y="75878"/>
                  </a:cubicBezTo>
                  <a:cubicBezTo>
                    <a:pt x="40846" y="75878"/>
                    <a:pt x="40846" y="75878"/>
                    <a:pt x="40846" y="75878"/>
                  </a:cubicBezTo>
                  <a:cubicBezTo>
                    <a:pt x="40846" y="75878"/>
                    <a:pt x="40846" y="75878"/>
                    <a:pt x="40846" y="75878"/>
                  </a:cubicBezTo>
                  <a:cubicBezTo>
                    <a:pt x="40846" y="75878"/>
                    <a:pt x="40846" y="75878"/>
                    <a:pt x="40846" y="75878"/>
                  </a:cubicBezTo>
                  <a:cubicBezTo>
                    <a:pt x="40846" y="75878"/>
                    <a:pt x="40846" y="75878"/>
                    <a:pt x="40846" y="75878"/>
                  </a:cubicBezTo>
                  <a:cubicBezTo>
                    <a:pt x="40846" y="75878"/>
                    <a:pt x="40846" y="75878"/>
                    <a:pt x="40846" y="75878"/>
                  </a:cubicBezTo>
                  <a:cubicBezTo>
                    <a:pt x="40846" y="75878"/>
                    <a:pt x="40846" y="75878"/>
                    <a:pt x="40846" y="75878"/>
                  </a:cubicBezTo>
                  <a:cubicBezTo>
                    <a:pt x="40846" y="75878"/>
                    <a:pt x="40846" y="75878"/>
                    <a:pt x="40846" y="75878"/>
                  </a:cubicBezTo>
                  <a:cubicBezTo>
                    <a:pt x="41042" y="75878"/>
                    <a:pt x="41042" y="75878"/>
                    <a:pt x="41042" y="75878"/>
                  </a:cubicBezTo>
                  <a:cubicBezTo>
                    <a:pt x="41042" y="75878"/>
                    <a:pt x="41042" y="75878"/>
                    <a:pt x="41042" y="75878"/>
                  </a:cubicBezTo>
                  <a:cubicBezTo>
                    <a:pt x="41042" y="75878"/>
                    <a:pt x="41042" y="75878"/>
                    <a:pt x="41042" y="75878"/>
                  </a:cubicBezTo>
                  <a:cubicBezTo>
                    <a:pt x="41042" y="75878"/>
                    <a:pt x="41042" y="75878"/>
                    <a:pt x="41042" y="75878"/>
                  </a:cubicBezTo>
                  <a:cubicBezTo>
                    <a:pt x="41042" y="75878"/>
                    <a:pt x="41042" y="75878"/>
                    <a:pt x="41042" y="75878"/>
                  </a:cubicBezTo>
                  <a:cubicBezTo>
                    <a:pt x="41042" y="75878"/>
                    <a:pt x="41042" y="75878"/>
                    <a:pt x="41042" y="75878"/>
                  </a:cubicBezTo>
                  <a:cubicBezTo>
                    <a:pt x="41042" y="75878"/>
                    <a:pt x="41042" y="75878"/>
                    <a:pt x="41042" y="75878"/>
                  </a:cubicBezTo>
                  <a:cubicBezTo>
                    <a:pt x="41042" y="75878"/>
                    <a:pt x="41042" y="75878"/>
                    <a:pt x="41042" y="75878"/>
                  </a:cubicBezTo>
                  <a:cubicBezTo>
                    <a:pt x="41042" y="75878"/>
                    <a:pt x="41042" y="75878"/>
                    <a:pt x="41042" y="75878"/>
                  </a:cubicBezTo>
                  <a:cubicBezTo>
                    <a:pt x="41042" y="75878"/>
                    <a:pt x="41042" y="75878"/>
                    <a:pt x="41042" y="75878"/>
                  </a:cubicBezTo>
                  <a:cubicBezTo>
                    <a:pt x="41042" y="75878"/>
                    <a:pt x="41042" y="75878"/>
                    <a:pt x="41042" y="75878"/>
                  </a:cubicBezTo>
                  <a:cubicBezTo>
                    <a:pt x="41042" y="75878"/>
                    <a:pt x="41042" y="75878"/>
                    <a:pt x="41042" y="75878"/>
                  </a:cubicBezTo>
                  <a:cubicBezTo>
                    <a:pt x="41042" y="75878"/>
                    <a:pt x="41042" y="75878"/>
                    <a:pt x="41042" y="75878"/>
                  </a:cubicBezTo>
                  <a:cubicBezTo>
                    <a:pt x="41042" y="75878"/>
                    <a:pt x="41042" y="75878"/>
                    <a:pt x="41042" y="75878"/>
                  </a:cubicBezTo>
                  <a:cubicBezTo>
                    <a:pt x="41042" y="75878"/>
                    <a:pt x="41042" y="75878"/>
                    <a:pt x="41042" y="75878"/>
                  </a:cubicBezTo>
                  <a:cubicBezTo>
                    <a:pt x="41042" y="75878"/>
                    <a:pt x="41042" y="75878"/>
                    <a:pt x="41042" y="75878"/>
                  </a:cubicBezTo>
                  <a:cubicBezTo>
                    <a:pt x="41042" y="75878"/>
                    <a:pt x="41042" y="75878"/>
                    <a:pt x="41042" y="75878"/>
                  </a:cubicBezTo>
                  <a:cubicBezTo>
                    <a:pt x="41042" y="75878"/>
                    <a:pt x="41042" y="75878"/>
                    <a:pt x="41042" y="75878"/>
                  </a:cubicBezTo>
                  <a:cubicBezTo>
                    <a:pt x="41237" y="75878"/>
                    <a:pt x="41237" y="75878"/>
                    <a:pt x="41237" y="75878"/>
                  </a:cubicBezTo>
                  <a:cubicBezTo>
                    <a:pt x="41237" y="75878"/>
                    <a:pt x="41237" y="75878"/>
                    <a:pt x="41237" y="75878"/>
                  </a:cubicBezTo>
                  <a:cubicBezTo>
                    <a:pt x="41237" y="75878"/>
                    <a:pt x="41237" y="75878"/>
                    <a:pt x="41237" y="75878"/>
                  </a:cubicBezTo>
                  <a:cubicBezTo>
                    <a:pt x="41237" y="75878"/>
                    <a:pt x="41237" y="75878"/>
                    <a:pt x="41237" y="75878"/>
                  </a:cubicBezTo>
                  <a:cubicBezTo>
                    <a:pt x="41237" y="75878"/>
                    <a:pt x="41237" y="75878"/>
                    <a:pt x="41237" y="75878"/>
                  </a:cubicBezTo>
                  <a:cubicBezTo>
                    <a:pt x="41237" y="75878"/>
                    <a:pt x="41237" y="75878"/>
                    <a:pt x="41237" y="75878"/>
                  </a:cubicBezTo>
                  <a:cubicBezTo>
                    <a:pt x="41237" y="75878"/>
                    <a:pt x="41237" y="75878"/>
                    <a:pt x="41237" y="75878"/>
                  </a:cubicBezTo>
                  <a:cubicBezTo>
                    <a:pt x="41237" y="75878"/>
                    <a:pt x="41237" y="75878"/>
                    <a:pt x="41237" y="75878"/>
                  </a:cubicBezTo>
                  <a:cubicBezTo>
                    <a:pt x="41237" y="75878"/>
                    <a:pt x="41237" y="75878"/>
                    <a:pt x="41237" y="75878"/>
                  </a:cubicBezTo>
                  <a:cubicBezTo>
                    <a:pt x="41433" y="76159"/>
                    <a:pt x="41433" y="76159"/>
                    <a:pt x="41433" y="76159"/>
                  </a:cubicBezTo>
                  <a:cubicBezTo>
                    <a:pt x="41433" y="76159"/>
                    <a:pt x="41433" y="76721"/>
                    <a:pt x="41628" y="76721"/>
                  </a:cubicBezTo>
                  <a:cubicBezTo>
                    <a:pt x="41628" y="77002"/>
                    <a:pt x="41628" y="77002"/>
                    <a:pt x="41824" y="77002"/>
                  </a:cubicBezTo>
                  <a:cubicBezTo>
                    <a:pt x="41824" y="77002"/>
                    <a:pt x="42019" y="76440"/>
                    <a:pt x="42019" y="76159"/>
                  </a:cubicBezTo>
                  <a:cubicBezTo>
                    <a:pt x="42019" y="76159"/>
                    <a:pt x="42214" y="76440"/>
                    <a:pt x="42214" y="76440"/>
                  </a:cubicBezTo>
                  <a:cubicBezTo>
                    <a:pt x="42214" y="76440"/>
                    <a:pt x="42214" y="77002"/>
                    <a:pt x="42410" y="77002"/>
                  </a:cubicBezTo>
                  <a:cubicBezTo>
                    <a:pt x="42410" y="76721"/>
                    <a:pt x="42605" y="76721"/>
                    <a:pt x="42605" y="76721"/>
                  </a:cubicBezTo>
                  <a:cubicBezTo>
                    <a:pt x="42801" y="76721"/>
                    <a:pt x="42605" y="76440"/>
                    <a:pt x="42605" y="76440"/>
                  </a:cubicBezTo>
                  <a:cubicBezTo>
                    <a:pt x="42605" y="76440"/>
                    <a:pt x="42801" y="76159"/>
                    <a:pt x="42801" y="76159"/>
                  </a:cubicBezTo>
                  <a:cubicBezTo>
                    <a:pt x="42996" y="76159"/>
                    <a:pt x="43387" y="76159"/>
                    <a:pt x="43387" y="76159"/>
                  </a:cubicBezTo>
                  <a:cubicBezTo>
                    <a:pt x="43583" y="76159"/>
                    <a:pt x="43583" y="76721"/>
                    <a:pt x="43583" y="76721"/>
                  </a:cubicBezTo>
                  <a:cubicBezTo>
                    <a:pt x="43583" y="76721"/>
                    <a:pt x="43387" y="77283"/>
                    <a:pt x="43387" y="77283"/>
                  </a:cubicBezTo>
                  <a:cubicBezTo>
                    <a:pt x="43387" y="77283"/>
                    <a:pt x="43192" y="77564"/>
                    <a:pt x="43192" y="77845"/>
                  </a:cubicBezTo>
                  <a:cubicBezTo>
                    <a:pt x="43192" y="77845"/>
                    <a:pt x="43192" y="77845"/>
                    <a:pt x="43387" y="77564"/>
                  </a:cubicBezTo>
                  <a:cubicBezTo>
                    <a:pt x="43778" y="77564"/>
                    <a:pt x="43583" y="77283"/>
                    <a:pt x="43583" y="77283"/>
                  </a:cubicBezTo>
                  <a:cubicBezTo>
                    <a:pt x="43778" y="76721"/>
                    <a:pt x="43778" y="76721"/>
                    <a:pt x="43778" y="76721"/>
                  </a:cubicBezTo>
                  <a:cubicBezTo>
                    <a:pt x="43778" y="76721"/>
                    <a:pt x="44169" y="77002"/>
                    <a:pt x="44169" y="77283"/>
                  </a:cubicBezTo>
                  <a:cubicBezTo>
                    <a:pt x="44169" y="77283"/>
                    <a:pt x="44169" y="77564"/>
                    <a:pt x="44169" y="77564"/>
                  </a:cubicBezTo>
                  <a:cubicBezTo>
                    <a:pt x="44169" y="77845"/>
                    <a:pt x="44364" y="77845"/>
                    <a:pt x="44364" y="78126"/>
                  </a:cubicBezTo>
                  <a:cubicBezTo>
                    <a:pt x="44560" y="78407"/>
                    <a:pt x="44364" y="78126"/>
                    <a:pt x="44364" y="78126"/>
                  </a:cubicBezTo>
                  <a:cubicBezTo>
                    <a:pt x="44364" y="77845"/>
                    <a:pt x="44560" y="77283"/>
                    <a:pt x="44560" y="77283"/>
                  </a:cubicBezTo>
                  <a:cubicBezTo>
                    <a:pt x="44755" y="76721"/>
                    <a:pt x="44755" y="76721"/>
                    <a:pt x="44755" y="76721"/>
                  </a:cubicBezTo>
                  <a:cubicBezTo>
                    <a:pt x="44755" y="76721"/>
                    <a:pt x="45537" y="76721"/>
                    <a:pt x="46319" y="76721"/>
                  </a:cubicBezTo>
                  <a:cubicBezTo>
                    <a:pt x="47100" y="76721"/>
                    <a:pt x="46514" y="76440"/>
                    <a:pt x="46514" y="76440"/>
                  </a:cubicBezTo>
                  <a:cubicBezTo>
                    <a:pt x="46905" y="76440"/>
                    <a:pt x="46905" y="76440"/>
                    <a:pt x="46905" y="76440"/>
                  </a:cubicBezTo>
                  <a:cubicBezTo>
                    <a:pt x="47100" y="77564"/>
                    <a:pt x="47100" y="77564"/>
                    <a:pt x="47100" y="77564"/>
                  </a:cubicBezTo>
                  <a:cubicBezTo>
                    <a:pt x="47100" y="77564"/>
                    <a:pt x="47491" y="78126"/>
                    <a:pt x="47687" y="78126"/>
                  </a:cubicBezTo>
                  <a:cubicBezTo>
                    <a:pt x="47882" y="78407"/>
                    <a:pt x="47882" y="78407"/>
                    <a:pt x="48273" y="78688"/>
                  </a:cubicBezTo>
                  <a:cubicBezTo>
                    <a:pt x="48859" y="78688"/>
                    <a:pt x="48664" y="78688"/>
                    <a:pt x="48664" y="78688"/>
                  </a:cubicBezTo>
                  <a:cubicBezTo>
                    <a:pt x="48859" y="78688"/>
                    <a:pt x="48859" y="78126"/>
                    <a:pt x="49055" y="77845"/>
                  </a:cubicBezTo>
                  <a:cubicBezTo>
                    <a:pt x="49055" y="77564"/>
                    <a:pt x="49250" y="77564"/>
                    <a:pt x="49250" y="77564"/>
                  </a:cubicBezTo>
                  <a:cubicBezTo>
                    <a:pt x="49250" y="77564"/>
                    <a:pt x="49641" y="78126"/>
                    <a:pt x="49641" y="78126"/>
                  </a:cubicBezTo>
                  <a:cubicBezTo>
                    <a:pt x="49837" y="78407"/>
                    <a:pt x="49837" y="78688"/>
                    <a:pt x="49837" y="78688"/>
                  </a:cubicBezTo>
                  <a:cubicBezTo>
                    <a:pt x="50423" y="78969"/>
                    <a:pt x="50423" y="78969"/>
                    <a:pt x="50423" y="78969"/>
                  </a:cubicBezTo>
                  <a:cubicBezTo>
                    <a:pt x="50423" y="79250"/>
                    <a:pt x="50423" y="79250"/>
                    <a:pt x="50423" y="79250"/>
                  </a:cubicBezTo>
                  <a:cubicBezTo>
                    <a:pt x="50423" y="80093"/>
                    <a:pt x="50423" y="80093"/>
                    <a:pt x="50423" y="80093"/>
                  </a:cubicBezTo>
                  <a:cubicBezTo>
                    <a:pt x="50814" y="80374"/>
                    <a:pt x="50814" y="80374"/>
                    <a:pt x="50814" y="80374"/>
                  </a:cubicBezTo>
                  <a:cubicBezTo>
                    <a:pt x="50618" y="80936"/>
                    <a:pt x="50618" y="80936"/>
                    <a:pt x="50618" y="80936"/>
                  </a:cubicBezTo>
                  <a:cubicBezTo>
                    <a:pt x="50618" y="80936"/>
                    <a:pt x="50814" y="81498"/>
                    <a:pt x="50814" y="81779"/>
                  </a:cubicBezTo>
                  <a:cubicBezTo>
                    <a:pt x="50814" y="81779"/>
                    <a:pt x="51009" y="82341"/>
                    <a:pt x="51009" y="82341"/>
                  </a:cubicBezTo>
                  <a:cubicBezTo>
                    <a:pt x="51009" y="83185"/>
                    <a:pt x="51009" y="83185"/>
                    <a:pt x="51009" y="83185"/>
                  </a:cubicBezTo>
                  <a:cubicBezTo>
                    <a:pt x="50814" y="83747"/>
                    <a:pt x="50814" y="83747"/>
                    <a:pt x="50814" y="83747"/>
                  </a:cubicBezTo>
                  <a:cubicBezTo>
                    <a:pt x="51009" y="84028"/>
                    <a:pt x="51009" y="84028"/>
                    <a:pt x="51009" y="84028"/>
                  </a:cubicBezTo>
                  <a:cubicBezTo>
                    <a:pt x="51009" y="84028"/>
                    <a:pt x="51009" y="84871"/>
                    <a:pt x="51205" y="85152"/>
                  </a:cubicBezTo>
                  <a:cubicBezTo>
                    <a:pt x="51400" y="85714"/>
                    <a:pt x="51596" y="84871"/>
                    <a:pt x="51596" y="84871"/>
                  </a:cubicBezTo>
                  <a:cubicBezTo>
                    <a:pt x="51986" y="84871"/>
                    <a:pt x="51986" y="84871"/>
                    <a:pt x="51986" y="84871"/>
                  </a:cubicBezTo>
                  <a:cubicBezTo>
                    <a:pt x="52377" y="85714"/>
                    <a:pt x="52377" y="85714"/>
                    <a:pt x="52377" y="85714"/>
                  </a:cubicBezTo>
                  <a:cubicBezTo>
                    <a:pt x="52573" y="85714"/>
                    <a:pt x="52573" y="85714"/>
                    <a:pt x="52573" y="85714"/>
                  </a:cubicBezTo>
                  <a:cubicBezTo>
                    <a:pt x="52964" y="85995"/>
                    <a:pt x="52964" y="85995"/>
                    <a:pt x="52964" y="85995"/>
                  </a:cubicBezTo>
                  <a:cubicBezTo>
                    <a:pt x="53159" y="86838"/>
                    <a:pt x="53159" y="86838"/>
                    <a:pt x="53159" y="86838"/>
                  </a:cubicBezTo>
                  <a:cubicBezTo>
                    <a:pt x="53550" y="86557"/>
                    <a:pt x="53550" y="86557"/>
                    <a:pt x="53550" y="86557"/>
                  </a:cubicBezTo>
                  <a:cubicBezTo>
                    <a:pt x="53745" y="85714"/>
                    <a:pt x="53745" y="85714"/>
                    <a:pt x="53745" y="85714"/>
                  </a:cubicBezTo>
                  <a:cubicBezTo>
                    <a:pt x="54136" y="85995"/>
                    <a:pt x="54136" y="85995"/>
                    <a:pt x="54136" y="85995"/>
                  </a:cubicBezTo>
                  <a:cubicBezTo>
                    <a:pt x="54527" y="85995"/>
                    <a:pt x="54527" y="85995"/>
                    <a:pt x="54527" y="85995"/>
                  </a:cubicBezTo>
                  <a:cubicBezTo>
                    <a:pt x="54527" y="87119"/>
                    <a:pt x="54527" y="87119"/>
                    <a:pt x="54527" y="87119"/>
                  </a:cubicBezTo>
                  <a:cubicBezTo>
                    <a:pt x="54527" y="87119"/>
                    <a:pt x="54723" y="87400"/>
                    <a:pt x="54723" y="87681"/>
                  </a:cubicBezTo>
                  <a:cubicBezTo>
                    <a:pt x="54723" y="87681"/>
                    <a:pt x="54723" y="88243"/>
                    <a:pt x="54723" y="88243"/>
                  </a:cubicBezTo>
                  <a:cubicBezTo>
                    <a:pt x="54918" y="88805"/>
                    <a:pt x="54918" y="88805"/>
                    <a:pt x="54918" y="88805"/>
                  </a:cubicBezTo>
                  <a:cubicBezTo>
                    <a:pt x="54332" y="89086"/>
                    <a:pt x="54332" y="89086"/>
                    <a:pt x="54332" y="89086"/>
                  </a:cubicBezTo>
                  <a:cubicBezTo>
                    <a:pt x="54723" y="89367"/>
                    <a:pt x="54723" y="89367"/>
                    <a:pt x="54723" y="89367"/>
                  </a:cubicBezTo>
                  <a:cubicBezTo>
                    <a:pt x="54723" y="89367"/>
                    <a:pt x="55114" y="89367"/>
                    <a:pt x="55309" y="89367"/>
                  </a:cubicBezTo>
                  <a:cubicBezTo>
                    <a:pt x="55504" y="89367"/>
                    <a:pt x="55504" y="90210"/>
                    <a:pt x="55504" y="90210"/>
                  </a:cubicBezTo>
                  <a:cubicBezTo>
                    <a:pt x="55504" y="90210"/>
                    <a:pt x="55504" y="90491"/>
                    <a:pt x="55309" y="90772"/>
                  </a:cubicBezTo>
                  <a:cubicBezTo>
                    <a:pt x="55309" y="90772"/>
                    <a:pt x="55309" y="91053"/>
                    <a:pt x="55309" y="91334"/>
                  </a:cubicBezTo>
                  <a:cubicBezTo>
                    <a:pt x="55504" y="91334"/>
                    <a:pt x="55895" y="91615"/>
                    <a:pt x="56091" y="91615"/>
                  </a:cubicBezTo>
                  <a:cubicBezTo>
                    <a:pt x="56482" y="91615"/>
                    <a:pt x="56482" y="91615"/>
                    <a:pt x="56482" y="91615"/>
                  </a:cubicBezTo>
                  <a:cubicBezTo>
                    <a:pt x="56872" y="91615"/>
                    <a:pt x="56872" y="91615"/>
                    <a:pt x="56872" y="91615"/>
                  </a:cubicBezTo>
                  <a:cubicBezTo>
                    <a:pt x="56872" y="91615"/>
                    <a:pt x="57068" y="91896"/>
                    <a:pt x="57263" y="91896"/>
                  </a:cubicBezTo>
                  <a:cubicBezTo>
                    <a:pt x="57263" y="91615"/>
                    <a:pt x="57654" y="91615"/>
                    <a:pt x="57654" y="91615"/>
                  </a:cubicBezTo>
                  <a:cubicBezTo>
                    <a:pt x="58045" y="92177"/>
                    <a:pt x="58045" y="92177"/>
                    <a:pt x="58045" y="92177"/>
                  </a:cubicBezTo>
                  <a:cubicBezTo>
                    <a:pt x="58436" y="91896"/>
                    <a:pt x="58436" y="91896"/>
                    <a:pt x="58436" y="91896"/>
                  </a:cubicBezTo>
                  <a:cubicBezTo>
                    <a:pt x="58436" y="92459"/>
                    <a:pt x="58436" y="92459"/>
                    <a:pt x="58436" y="92459"/>
                  </a:cubicBezTo>
                  <a:cubicBezTo>
                    <a:pt x="58436" y="92459"/>
                    <a:pt x="58827" y="93583"/>
                    <a:pt x="58827" y="93583"/>
                  </a:cubicBezTo>
                  <a:cubicBezTo>
                    <a:pt x="59022" y="93864"/>
                    <a:pt x="59022" y="94426"/>
                    <a:pt x="59022" y="94707"/>
                  </a:cubicBezTo>
                  <a:cubicBezTo>
                    <a:pt x="59022" y="94988"/>
                    <a:pt x="59218" y="95550"/>
                    <a:pt x="59218" y="95550"/>
                  </a:cubicBezTo>
                  <a:cubicBezTo>
                    <a:pt x="59218" y="95550"/>
                    <a:pt x="59022" y="95550"/>
                    <a:pt x="58827" y="95831"/>
                  </a:cubicBezTo>
                  <a:cubicBezTo>
                    <a:pt x="58631" y="96112"/>
                    <a:pt x="59022" y="96393"/>
                    <a:pt x="59022" y="96393"/>
                  </a:cubicBezTo>
                  <a:cubicBezTo>
                    <a:pt x="59413" y="96393"/>
                    <a:pt x="59413" y="96393"/>
                    <a:pt x="59413" y="96393"/>
                  </a:cubicBezTo>
                  <a:cubicBezTo>
                    <a:pt x="59413" y="96393"/>
                    <a:pt x="59804" y="96955"/>
                    <a:pt x="59804" y="97236"/>
                  </a:cubicBezTo>
                  <a:cubicBezTo>
                    <a:pt x="59999" y="97517"/>
                    <a:pt x="60390" y="97236"/>
                    <a:pt x="60586" y="97236"/>
                  </a:cubicBezTo>
                  <a:cubicBezTo>
                    <a:pt x="60781" y="96955"/>
                    <a:pt x="61172" y="97236"/>
                    <a:pt x="61172" y="97517"/>
                  </a:cubicBezTo>
                  <a:cubicBezTo>
                    <a:pt x="61172" y="97517"/>
                    <a:pt x="60586" y="97798"/>
                    <a:pt x="60390" y="97798"/>
                  </a:cubicBezTo>
                  <a:cubicBezTo>
                    <a:pt x="60195" y="98079"/>
                    <a:pt x="59609" y="98079"/>
                    <a:pt x="59609" y="98079"/>
                  </a:cubicBezTo>
                  <a:cubicBezTo>
                    <a:pt x="59413" y="98922"/>
                    <a:pt x="59413" y="98922"/>
                    <a:pt x="59413" y="98922"/>
                  </a:cubicBezTo>
                  <a:cubicBezTo>
                    <a:pt x="59022" y="99203"/>
                    <a:pt x="59022" y="99203"/>
                    <a:pt x="59022" y="99203"/>
                  </a:cubicBezTo>
                  <a:cubicBezTo>
                    <a:pt x="58827" y="98360"/>
                    <a:pt x="58827" y="98360"/>
                    <a:pt x="58827" y="98360"/>
                  </a:cubicBezTo>
                  <a:cubicBezTo>
                    <a:pt x="58045" y="97517"/>
                    <a:pt x="58045" y="97517"/>
                    <a:pt x="58045" y="97517"/>
                  </a:cubicBezTo>
                  <a:cubicBezTo>
                    <a:pt x="58045" y="98360"/>
                    <a:pt x="58045" y="98360"/>
                    <a:pt x="58045" y="98360"/>
                  </a:cubicBezTo>
                  <a:cubicBezTo>
                    <a:pt x="57654" y="98641"/>
                    <a:pt x="57654" y="98641"/>
                    <a:pt x="57654" y="98641"/>
                  </a:cubicBezTo>
                  <a:cubicBezTo>
                    <a:pt x="57654" y="98641"/>
                    <a:pt x="57654" y="98922"/>
                    <a:pt x="57654" y="99203"/>
                  </a:cubicBezTo>
                  <a:cubicBezTo>
                    <a:pt x="57654" y="99484"/>
                    <a:pt x="57459" y="99484"/>
                    <a:pt x="57459" y="99484"/>
                  </a:cubicBezTo>
                  <a:cubicBezTo>
                    <a:pt x="57068" y="99203"/>
                    <a:pt x="57068" y="99203"/>
                    <a:pt x="57068" y="99203"/>
                  </a:cubicBezTo>
                  <a:cubicBezTo>
                    <a:pt x="57068" y="99203"/>
                    <a:pt x="56677" y="99203"/>
                    <a:pt x="56482" y="99203"/>
                  </a:cubicBezTo>
                  <a:cubicBezTo>
                    <a:pt x="56286" y="99203"/>
                    <a:pt x="56286" y="98641"/>
                    <a:pt x="56286" y="98641"/>
                  </a:cubicBezTo>
                  <a:cubicBezTo>
                    <a:pt x="56091" y="98922"/>
                    <a:pt x="56091" y="98922"/>
                    <a:pt x="56091" y="98922"/>
                  </a:cubicBezTo>
                  <a:cubicBezTo>
                    <a:pt x="56091" y="98922"/>
                    <a:pt x="56091" y="99203"/>
                    <a:pt x="55895" y="99484"/>
                  </a:cubicBezTo>
                  <a:cubicBezTo>
                    <a:pt x="55895" y="99765"/>
                    <a:pt x="55895" y="99484"/>
                    <a:pt x="55504" y="99484"/>
                  </a:cubicBezTo>
                  <a:cubicBezTo>
                    <a:pt x="55309" y="99765"/>
                    <a:pt x="55309" y="99203"/>
                    <a:pt x="55114" y="98922"/>
                  </a:cubicBezTo>
                  <a:cubicBezTo>
                    <a:pt x="55114" y="98360"/>
                    <a:pt x="55114" y="98922"/>
                    <a:pt x="54918" y="98922"/>
                  </a:cubicBezTo>
                  <a:cubicBezTo>
                    <a:pt x="54723" y="98922"/>
                    <a:pt x="55114" y="99765"/>
                    <a:pt x="55114" y="99765"/>
                  </a:cubicBezTo>
                  <a:cubicBezTo>
                    <a:pt x="54918" y="100046"/>
                    <a:pt x="54918" y="100046"/>
                    <a:pt x="54918" y="100046"/>
                  </a:cubicBezTo>
                  <a:cubicBezTo>
                    <a:pt x="54918" y="100046"/>
                    <a:pt x="54918" y="100608"/>
                    <a:pt x="54527" y="100889"/>
                  </a:cubicBezTo>
                  <a:cubicBezTo>
                    <a:pt x="54332" y="100889"/>
                    <a:pt x="54527" y="100327"/>
                    <a:pt x="54527" y="100327"/>
                  </a:cubicBezTo>
                  <a:cubicBezTo>
                    <a:pt x="54527" y="99203"/>
                    <a:pt x="54527" y="99203"/>
                    <a:pt x="54527" y="99203"/>
                  </a:cubicBezTo>
                  <a:cubicBezTo>
                    <a:pt x="54136" y="97798"/>
                    <a:pt x="54136" y="97798"/>
                    <a:pt x="54136" y="97798"/>
                  </a:cubicBezTo>
                  <a:cubicBezTo>
                    <a:pt x="54136" y="97798"/>
                    <a:pt x="53355" y="98922"/>
                    <a:pt x="53159" y="98922"/>
                  </a:cubicBezTo>
                  <a:cubicBezTo>
                    <a:pt x="53159" y="99203"/>
                    <a:pt x="52768" y="100327"/>
                    <a:pt x="52573" y="100327"/>
                  </a:cubicBezTo>
                  <a:cubicBezTo>
                    <a:pt x="52573" y="100608"/>
                    <a:pt x="52573" y="101170"/>
                    <a:pt x="52573" y="101170"/>
                  </a:cubicBezTo>
                  <a:cubicBezTo>
                    <a:pt x="52964" y="102014"/>
                    <a:pt x="52964" y="102014"/>
                    <a:pt x="52964" y="102014"/>
                  </a:cubicBezTo>
                  <a:cubicBezTo>
                    <a:pt x="52964" y="102857"/>
                    <a:pt x="52964" y="102857"/>
                    <a:pt x="52964" y="102857"/>
                  </a:cubicBezTo>
                  <a:cubicBezTo>
                    <a:pt x="53355" y="103419"/>
                    <a:pt x="53355" y="103419"/>
                    <a:pt x="53355" y="103419"/>
                  </a:cubicBezTo>
                  <a:cubicBezTo>
                    <a:pt x="53355" y="103419"/>
                    <a:pt x="53745" y="103419"/>
                    <a:pt x="53941" y="103700"/>
                  </a:cubicBezTo>
                  <a:cubicBezTo>
                    <a:pt x="54136" y="103700"/>
                    <a:pt x="53941" y="104262"/>
                    <a:pt x="53941" y="104262"/>
                  </a:cubicBezTo>
                  <a:cubicBezTo>
                    <a:pt x="53745" y="105386"/>
                    <a:pt x="53745" y="105386"/>
                    <a:pt x="53745" y="105386"/>
                  </a:cubicBezTo>
                  <a:cubicBezTo>
                    <a:pt x="53745" y="105386"/>
                    <a:pt x="53941" y="105667"/>
                    <a:pt x="54136" y="105948"/>
                  </a:cubicBezTo>
                  <a:cubicBezTo>
                    <a:pt x="54136" y="106229"/>
                    <a:pt x="53745" y="106791"/>
                    <a:pt x="53745" y="106791"/>
                  </a:cubicBezTo>
                  <a:cubicBezTo>
                    <a:pt x="53550" y="106791"/>
                    <a:pt x="52964" y="107634"/>
                    <a:pt x="52964" y="107634"/>
                  </a:cubicBezTo>
                  <a:cubicBezTo>
                    <a:pt x="52964" y="107634"/>
                    <a:pt x="52768" y="107915"/>
                    <a:pt x="52573" y="107915"/>
                  </a:cubicBezTo>
                  <a:cubicBezTo>
                    <a:pt x="52377" y="107915"/>
                    <a:pt x="52768" y="108758"/>
                    <a:pt x="52768" y="108758"/>
                  </a:cubicBezTo>
                  <a:cubicBezTo>
                    <a:pt x="52964" y="109601"/>
                    <a:pt x="52964" y="109601"/>
                    <a:pt x="52964" y="109601"/>
                  </a:cubicBezTo>
                  <a:cubicBezTo>
                    <a:pt x="52964" y="109601"/>
                    <a:pt x="52768" y="109882"/>
                    <a:pt x="52768" y="109882"/>
                  </a:cubicBezTo>
                  <a:cubicBezTo>
                    <a:pt x="52573" y="110163"/>
                    <a:pt x="52573" y="110725"/>
                    <a:pt x="52573" y="110725"/>
                  </a:cubicBezTo>
                  <a:cubicBezTo>
                    <a:pt x="52182" y="110725"/>
                    <a:pt x="52182" y="110725"/>
                    <a:pt x="52182" y="110725"/>
                  </a:cubicBezTo>
                  <a:cubicBezTo>
                    <a:pt x="51986" y="111288"/>
                    <a:pt x="51986" y="111288"/>
                    <a:pt x="51986" y="111288"/>
                  </a:cubicBezTo>
                  <a:cubicBezTo>
                    <a:pt x="51986" y="111288"/>
                    <a:pt x="51986" y="112131"/>
                    <a:pt x="51791" y="112131"/>
                  </a:cubicBezTo>
                  <a:cubicBezTo>
                    <a:pt x="51596" y="112131"/>
                    <a:pt x="51791" y="112693"/>
                    <a:pt x="51791" y="112693"/>
                  </a:cubicBezTo>
                  <a:cubicBezTo>
                    <a:pt x="51596" y="113255"/>
                    <a:pt x="51596" y="113255"/>
                    <a:pt x="51596" y="113255"/>
                  </a:cubicBezTo>
                  <a:cubicBezTo>
                    <a:pt x="52377" y="113817"/>
                    <a:pt x="52377" y="113817"/>
                    <a:pt x="52377" y="113817"/>
                  </a:cubicBezTo>
                  <a:cubicBezTo>
                    <a:pt x="52182" y="114379"/>
                    <a:pt x="52182" y="114379"/>
                    <a:pt x="52182" y="114379"/>
                  </a:cubicBezTo>
                  <a:cubicBezTo>
                    <a:pt x="52182" y="114941"/>
                    <a:pt x="52182" y="114941"/>
                    <a:pt x="52182" y="114941"/>
                  </a:cubicBezTo>
                  <a:cubicBezTo>
                    <a:pt x="52377" y="114941"/>
                    <a:pt x="52377" y="114941"/>
                    <a:pt x="52377" y="114941"/>
                  </a:cubicBezTo>
                  <a:cubicBezTo>
                    <a:pt x="52377" y="114941"/>
                    <a:pt x="51986" y="115222"/>
                    <a:pt x="51791" y="115222"/>
                  </a:cubicBezTo>
                  <a:cubicBezTo>
                    <a:pt x="51596" y="115503"/>
                    <a:pt x="51400" y="115222"/>
                    <a:pt x="51205" y="115503"/>
                  </a:cubicBezTo>
                  <a:cubicBezTo>
                    <a:pt x="51009" y="115503"/>
                    <a:pt x="50423" y="115784"/>
                    <a:pt x="50423" y="115784"/>
                  </a:cubicBezTo>
                  <a:cubicBezTo>
                    <a:pt x="50228" y="116908"/>
                    <a:pt x="50228" y="116908"/>
                    <a:pt x="50228" y="116908"/>
                  </a:cubicBezTo>
                  <a:cubicBezTo>
                    <a:pt x="49837" y="116908"/>
                    <a:pt x="49837" y="116908"/>
                    <a:pt x="49837" y="116908"/>
                  </a:cubicBezTo>
                  <a:cubicBezTo>
                    <a:pt x="49837" y="116346"/>
                    <a:pt x="49837" y="116346"/>
                    <a:pt x="49837" y="116346"/>
                  </a:cubicBezTo>
                  <a:cubicBezTo>
                    <a:pt x="49641" y="116065"/>
                    <a:pt x="49641" y="116065"/>
                    <a:pt x="49641" y="116065"/>
                  </a:cubicBezTo>
                  <a:cubicBezTo>
                    <a:pt x="49641" y="116627"/>
                    <a:pt x="49641" y="116908"/>
                    <a:pt x="49641" y="116908"/>
                  </a:cubicBezTo>
                  <a:cubicBezTo>
                    <a:pt x="51596" y="118875"/>
                    <a:pt x="51596" y="118875"/>
                    <a:pt x="51596" y="118875"/>
                  </a:cubicBezTo>
                  <a:cubicBezTo>
                    <a:pt x="54918" y="120000"/>
                    <a:pt x="54918" y="120000"/>
                    <a:pt x="54918" y="120000"/>
                  </a:cubicBezTo>
                  <a:cubicBezTo>
                    <a:pt x="55700" y="118032"/>
                    <a:pt x="55700" y="118032"/>
                    <a:pt x="55700" y="118032"/>
                  </a:cubicBezTo>
                  <a:cubicBezTo>
                    <a:pt x="55700" y="118032"/>
                    <a:pt x="57459" y="113536"/>
                    <a:pt x="58827" y="113817"/>
                  </a:cubicBezTo>
                  <a:cubicBezTo>
                    <a:pt x="59804" y="114098"/>
                    <a:pt x="61172" y="114660"/>
                    <a:pt x="61368" y="114660"/>
                  </a:cubicBezTo>
                  <a:cubicBezTo>
                    <a:pt x="61172" y="112974"/>
                    <a:pt x="59022" y="110163"/>
                    <a:pt x="59413" y="109601"/>
                  </a:cubicBezTo>
                  <a:cubicBezTo>
                    <a:pt x="59804" y="108758"/>
                    <a:pt x="60781" y="106791"/>
                    <a:pt x="61368" y="105667"/>
                  </a:cubicBezTo>
                  <a:cubicBezTo>
                    <a:pt x="61758" y="104543"/>
                    <a:pt x="63713" y="103700"/>
                    <a:pt x="63713" y="103700"/>
                  </a:cubicBezTo>
                  <a:cubicBezTo>
                    <a:pt x="65276" y="99484"/>
                    <a:pt x="65276" y="99484"/>
                    <a:pt x="65276" y="99484"/>
                  </a:cubicBezTo>
                  <a:cubicBezTo>
                    <a:pt x="64885" y="93021"/>
                    <a:pt x="64495" y="91334"/>
                    <a:pt x="69185" y="90491"/>
                  </a:cubicBezTo>
                  <a:cubicBezTo>
                    <a:pt x="69967" y="90210"/>
                    <a:pt x="70944" y="89367"/>
                    <a:pt x="70944" y="89367"/>
                  </a:cubicBezTo>
                  <a:cubicBezTo>
                    <a:pt x="72508" y="88524"/>
                    <a:pt x="72508" y="88524"/>
                    <a:pt x="72508" y="88524"/>
                  </a:cubicBezTo>
                  <a:cubicBezTo>
                    <a:pt x="75439" y="87962"/>
                    <a:pt x="75439" y="87962"/>
                    <a:pt x="75439" y="87962"/>
                  </a:cubicBezTo>
                  <a:cubicBezTo>
                    <a:pt x="73094" y="89929"/>
                    <a:pt x="73094" y="89929"/>
                    <a:pt x="73094" y="89929"/>
                  </a:cubicBezTo>
                  <a:cubicBezTo>
                    <a:pt x="71335" y="92740"/>
                    <a:pt x="71335" y="92740"/>
                    <a:pt x="71335" y="92740"/>
                  </a:cubicBezTo>
                  <a:cubicBezTo>
                    <a:pt x="73680" y="93583"/>
                    <a:pt x="73680" y="93583"/>
                    <a:pt x="73680" y="93583"/>
                  </a:cubicBezTo>
                  <a:cubicBezTo>
                    <a:pt x="73680" y="93583"/>
                    <a:pt x="73680" y="96112"/>
                    <a:pt x="74853" y="95550"/>
                  </a:cubicBezTo>
                  <a:cubicBezTo>
                    <a:pt x="75830" y="94988"/>
                    <a:pt x="78175" y="93583"/>
                    <a:pt x="78566" y="93583"/>
                  </a:cubicBezTo>
                  <a:cubicBezTo>
                    <a:pt x="78957" y="93302"/>
                    <a:pt x="81107" y="92459"/>
                    <a:pt x="81693" y="92459"/>
                  </a:cubicBezTo>
                  <a:cubicBezTo>
                    <a:pt x="82280" y="92459"/>
                    <a:pt x="85407" y="91896"/>
                    <a:pt x="85407" y="91896"/>
                  </a:cubicBezTo>
                  <a:cubicBezTo>
                    <a:pt x="85798" y="94426"/>
                    <a:pt x="85798" y="94426"/>
                    <a:pt x="85798" y="94426"/>
                  </a:cubicBezTo>
                  <a:cubicBezTo>
                    <a:pt x="84429" y="96955"/>
                    <a:pt x="84429" y="96955"/>
                    <a:pt x="84429" y="96955"/>
                  </a:cubicBezTo>
                  <a:cubicBezTo>
                    <a:pt x="82671" y="99484"/>
                    <a:pt x="82671" y="99484"/>
                    <a:pt x="82671" y="99484"/>
                  </a:cubicBezTo>
                  <a:cubicBezTo>
                    <a:pt x="79934" y="103138"/>
                    <a:pt x="79934" y="103138"/>
                    <a:pt x="79934" y="103138"/>
                  </a:cubicBezTo>
                  <a:cubicBezTo>
                    <a:pt x="79934" y="103138"/>
                    <a:pt x="79153" y="105105"/>
                    <a:pt x="79543" y="105386"/>
                  </a:cubicBezTo>
                  <a:cubicBezTo>
                    <a:pt x="79934" y="105667"/>
                    <a:pt x="82866" y="105105"/>
                    <a:pt x="82866" y="105105"/>
                  </a:cubicBezTo>
                  <a:cubicBezTo>
                    <a:pt x="86188" y="105386"/>
                    <a:pt x="86188" y="105386"/>
                    <a:pt x="86188" y="105386"/>
                  </a:cubicBezTo>
                  <a:cubicBezTo>
                    <a:pt x="86188" y="105386"/>
                    <a:pt x="86775" y="105667"/>
                    <a:pt x="87166" y="107353"/>
                  </a:cubicBezTo>
                  <a:cubicBezTo>
                    <a:pt x="87752" y="109320"/>
                    <a:pt x="88143" y="110163"/>
                    <a:pt x="88338" y="110725"/>
                  </a:cubicBezTo>
                  <a:cubicBezTo>
                    <a:pt x="88729" y="111569"/>
                    <a:pt x="89511" y="113255"/>
                    <a:pt x="89511" y="113255"/>
                  </a:cubicBezTo>
                  <a:cubicBezTo>
                    <a:pt x="89511" y="113255"/>
                    <a:pt x="88729" y="114379"/>
                    <a:pt x="89706" y="114098"/>
                  </a:cubicBezTo>
                  <a:cubicBezTo>
                    <a:pt x="90879" y="114098"/>
                    <a:pt x="91661" y="113817"/>
                    <a:pt x="91661" y="113817"/>
                  </a:cubicBezTo>
                  <a:cubicBezTo>
                    <a:pt x="91661" y="113817"/>
                    <a:pt x="91856" y="112131"/>
                    <a:pt x="92247" y="111569"/>
                  </a:cubicBezTo>
                  <a:cubicBezTo>
                    <a:pt x="92833" y="111288"/>
                    <a:pt x="93420" y="110444"/>
                    <a:pt x="93420" y="110444"/>
                  </a:cubicBezTo>
                  <a:cubicBezTo>
                    <a:pt x="93420" y="110444"/>
                    <a:pt x="93224" y="108758"/>
                    <a:pt x="93811" y="108196"/>
                  </a:cubicBezTo>
                  <a:cubicBezTo>
                    <a:pt x="94397" y="107915"/>
                    <a:pt x="95179" y="107634"/>
                    <a:pt x="95960" y="107353"/>
                  </a:cubicBezTo>
                  <a:cubicBezTo>
                    <a:pt x="96742" y="106791"/>
                    <a:pt x="97524" y="104824"/>
                    <a:pt x="97524" y="104824"/>
                  </a:cubicBezTo>
                  <a:cubicBezTo>
                    <a:pt x="98501" y="103700"/>
                    <a:pt x="98501" y="103700"/>
                    <a:pt x="98501" y="103700"/>
                  </a:cubicBezTo>
                  <a:cubicBezTo>
                    <a:pt x="100846" y="102576"/>
                    <a:pt x="100846" y="102576"/>
                    <a:pt x="100846" y="102576"/>
                  </a:cubicBezTo>
                  <a:cubicBezTo>
                    <a:pt x="100651" y="99765"/>
                    <a:pt x="100651" y="99765"/>
                    <a:pt x="100651" y="99765"/>
                  </a:cubicBezTo>
                  <a:cubicBezTo>
                    <a:pt x="100651" y="99765"/>
                    <a:pt x="100846" y="99203"/>
                    <a:pt x="101433" y="99203"/>
                  </a:cubicBezTo>
                  <a:cubicBezTo>
                    <a:pt x="101824" y="98922"/>
                    <a:pt x="105928" y="96955"/>
                    <a:pt x="105928" y="96955"/>
                  </a:cubicBezTo>
                  <a:cubicBezTo>
                    <a:pt x="107100" y="94145"/>
                    <a:pt x="107100" y="94145"/>
                    <a:pt x="107100" y="94145"/>
                  </a:cubicBezTo>
                  <a:cubicBezTo>
                    <a:pt x="107100" y="91334"/>
                    <a:pt x="107100" y="91334"/>
                    <a:pt x="107100" y="91334"/>
                  </a:cubicBezTo>
                  <a:cubicBezTo>
                    <a:pt x="107100" y="91334"/>
                    <a:pt x="107491" y="89648"/>
                    <a:pt x="106710" y="89648"/>
                  </a:cubicBezTo>
                  <a:cubicBezTo>
                    <a:pt x="105928" y="89648"/>
                    <a:pt x="103973" y="92459"/>
                    <a:pt x="103973" y="92459"/>
                  </a:cubicBezTo>
                  <a:cubicBezTo>
                    <a:pt x="101824" y="92740"/>
                    <a:pt x="101824" y="92740"/>
                    <a:pt x="101824" y="92740"/>
                  </a:cubicBezTo>
                  <a:cubicBezTo>
                    <a:pt x="101824" y="92740"/>
                    <a:pt x="100846" y="95269"/>
                    <a:pt x="100456" y="95269"/>
                  </a:cubicBezTo>
                  <a:cubicBezTo>
                    <a:pt x="100065" y="95550"/>
                    <a:pt x="98892" y="96112"/>
                    <a:pt x="98501" y="95831"/>
                  </a:cubicBezTo>
                  <a:cubicBezTo>
                    <a:pt x="98110" y="95831"/>
                    <a:pt x="98697" y="98922"/>
                    <a:pt x="97328" y="95269"/>
                  </a:cubicBezTo>
                  <a:cubicBezTo>
                    <a:pt x="95960" y="91615"/>
                    <a:pt x="95374" y="91615"/>
                    <a:pt x="95374" y="91615"/>
                  </a:cubicBezTo>
                  <a:cubicBezTo>
                    <a:pt x="94006" y="91615"/>
                    <a:pt x="94006" y="91615"/>
                    <a:pt x="94006" y="91615"/>
                  </a:cubicBezTo>
                  <a:cubicBezTo>
                    <a:pt x="94006" y="91615"/>
                    <a:pt x="92833" y="92459"/>
                    <a:pt x="92638" y="91896"/>
                  </a:cubicBezTo>
                  <a:cubicBezTo>
                    <a:pt x="92638" y="91334"/>
                    <a:pt x="92052" y="89648"/>
                    <a:pt x="92052" y="89648"/>
                  </a:cubicBezTo>
                  <a:cubicBezTo>
                    <a:pt x="90097" y="89648"/>
                    <a:pt x="90097" y="89648"/>
                    <a:pt x="90097" y="89648"/>
                  </a:cubicBezTo>
                  <a:cubicBezTo>
                    <a:pt x="89315" y="90210"/>
                    <a:pt x="89315" y="90210"/>
                    <a:pt x="89315" y="90210"/>
                  </a:cubicBezTo>
                  <a:cubicBezTo>
                    <a:pt x="86384" y="89929"/>
                    <a:pt x="86384" y="89929"/>
                    <a:pt x="86384" y="89929"/>
                  </a:cubicBezTo>
                  <a:cubicBezTo>
                    <a:pt x="85211" y="88805"/>
                    <a:pt x="85211" y="88805"/>
                    <a:pt x="85211" y="88805"/>
                  </a:cubicBezTo>
                  <a:cubicBezTo>
                    <a:pt x="86775" y="87681"/>
                    <a:pt x="86775" y="87681"/>
                    <a:pt x="86775" y="87681"/>
                  </a:cubicBezTo>
                  <a:cubicBezTo>
                    <a:pt x="86775" y="87681"/>
                    <a:pt x="87361" y="88524"/>
                    <a:pt x="87557" y="88524"/>
                  </a:cubicBezTo>
                  <a:cubicBezTo>
                    <a:pt x="87947" y="88243"/>
                    <a:pt x="87557" y="87400"/>
                    <a:pt x="87947" y="87119"/>
                  </a:cubicBezTo>
                  <a:cubicBezTo>
                    <a:pt x="88534" y="86838"/>
                    <a:pt x="89120" y="85995"/>
                    <a:pt x="89706" y="86557"/>
                  </a:cubicBezTo>
                  <a:cubicBezTo>
                    <a:pt x="90293" y="86838"/>
                    <a:pt x="89706" y="88524"/>
                    <a:pt x="90684" y="87400"/>
                  </a:cubicBezTo>
                  <a:cubicBezTo>
                    <a:pt x="91661" y="86276"/>
                    <a:pt x="92638" y="86557"/>
                    <a:pt x="92638" y="86557"/>
                  </a:cubicBezTo>
                  <a:cubicBezTo>
                    <a:pt x="93811" y="83747"/>
                    <a:pt x="93811" y="83747"/>
                    <a:pt x="93811" y="83747"/>
                  </a:cubicBezTo>
                  <a:cubicBezTo>
                    <a:pt x="94592" y="81217"/>
                    <a:pt x="94592" y="81217"/>
                    <a:pt x="94592" y="81217"/>
                  </a:cubicBezTo>
                  <a:cubicBezTo>
                    <a:pt x="94592" y="81217"/>
                    <a:pt x="94983" y="81498"/>
                    <a:pt x="95374" y="81779"/>
                  </a:cubicBezTo>
                  <a:cubicBezTo>
                    <a:pt x="95960" y="81779"/>
                    <a:pt x="97328" y="78407"/>
                    <a:pt x="97328" y="78407"/>
                  </a:cubicBezTo>
                  <a:cubicBezTo>
                    <a:pt x="97328" y="78407"/>
                    <a:pt x="97524" y="75035"/>
                    <a:pt x="97915" y="75035"/>
                  </a:cubicBezTo>
                  <a:cubicBezTo>
                    <a:pt x="98306" y="74754"/>
                    <a:pt x="101237" y="73348"/>
                    <a:pt x="101237" y="73348"/>
                  </a:cubicBezTo>
                  <a:cubicBezTo>
                    <a:pt x="103192" y="71662"/>
                    <a:pt x="103192" y="71662"/>
                    <a:pt x="103192" y="71662"/>
                  </a:cubicBezTo>
                  <a:cubicBezTo>
                    <a:pt x="103192" y="71662"/>
                    <a:pt x="104169" y="69695"/>
                    <a:pt x="104560" y="69414"/>
                  </a:cubicBezTo>
                  <a:cubicBezTo>
                    <a:pt x="104951" y="69414"/>
                    <a:pt x="105342" y="68290"/>
                    <a:pt x="105732" y="66885"/>
                  </a:cubicBezTo>
                  <a:cubicBezTo>
                    <a:pt x="106319" y="65761"/>
                    <a:pt x="106710" y="64918"/>
                    <a:pt x="106710" y="64918"/>
                  </a:cubicBezTo>
                  <a:cubicBezTo>
                    <a:pt x="106710" y="64918"/>
                    <a:pt x="109055" y="64074"/>
                    <a:pt x="108859" y="63793"/>
                  </a:cubicBezTo>
                  <a:cubicBezTo>
                    <a:pt x="108859" y="63231"/>
                    <a:pt x="107882" y="62107"/>
                    <a:pt x="109055" y="62107"/>
                  </a:cubicBezTo>
                  <a:cubicBezTo>
                    <a:pt x="110228" y="62107"/>
                    <a:pt x="110228" y="62107"/>
                    <a:pt x="110814" y="61545"/>
                  </a:cubicBezTo>
                  <a:cubicBezTo>
                    <a:pt x="111205" y="61264"/>
                    <a:pt x="111009" y="60983"/>
                    <a:pt x="111205" y="60140"/>
                  </a:cubicBezTo>
                  <a:cubicBezTo>
                    <a:pt x="111596" y="59578"/>
                    <a:pt x="111791" y="58735"/>
                    <a:pt x="111791" y="58173"/>
                  </a:cubicBezTo>
                  <a:cubicBezTo>
                    <a:pt x="111596" y="57611"/>
                    <a:pt x="110618" y="55362"/>
                    <a:pt x="110618" y="54800"/>
                  </a:cubicBezTo>
                  <a:cubicBezTo>
                    <a:pt x="110423" y="53957"/>
                    <a:pt x="110618" y="52271"/>
                    <a:pt x="110618" y="52271"/>
                  </a:cubicBezTo>
                  <a:cubicBezTo>
                    <a:pt x="110618" y="52271"/>
                    <a:pt x="111205" y="51990"/>
                    <a:pt x="111791" y="51709"/>
                  </a:cubicBezTo>
                  <a:cubicBezTo>
                    <a:pt x="112182" y="51147"/>
                    <a:pt x="112964" y="49180"/>
                    <a:pt x="112964" y="49180"/>
                  </a:cubicBezTo>
                  <a:cubicBezTo>
                    <a:pt x="113159" y="47775"/>
                    <a:pt x="113159" y="47775"/>
                    <a:pt x="113159" y="47775"/>
                  </a:cubicBezTo>
                  <a:cubicBezTo>
                    <a:pt x="113159" y="47775"/>
                    <a:pt x="113941" y="46932"/>
                    <a:pt x="114136" y="46932"/>
                  </a:cubicBezTo>
                  <a:cubicBezTo>
                    <a:pt x="114527" y="46651"/>
                    <a:pt x="117654" y="44964"/>
                    <a:pt x="117850" y="44964"/>
                  </a:cubicBezTo>
                  <a:cubicBezTo>
                    <a:pt x="118045" y="44964"/>
                    <a:pt x="119999" y="45245"/>
                    <a:pt x="119413" y="43840"/>
                  </a:cubicBezTo>
                  <a:cubicBezTo>
                    <a:pt x="118827" y="42716"/>
                    <a:pt x="118631" y="42154"/>
                    <a:pt x="118436" y="41311"/>
                  </a:cubicBezTo>
                  <a:cubicBezTo>
                    <a:pt x="118241" y="40468"/>
                    <a:pt x="118241" y="38501"/>
                    <a:pt x="118241" y="38220"/>
                  </a:cubicBezTo>
                  <a:cubicBezTo>
                    <a:pt x="118436" y="37939"/>
                    <a:pt x="119999" y="37096"/>
                    <a:pt x="118241" y="36814"/>
                  </a:cubicBezTo>
                  <a:cubicBezTo>
                    <a:pt x="116482" y="36533"/>
                    <a:pt x="117850" y="35690"/>
                    <a:pt x="117459" y="35128"/>
                  </a:cubicBezTo>
                  <a:cubicBezTo>
                    <a:pt x="116872" y="34566"/>
                    <a:pt x="115700" y="33442"/>
                    <a:pt x="115700" y="33442"/>
                  </a:cubicBezTo>
                  <a:cubicBezTo>
                    <a:pt x="115114" y="33442"/>
                    <a:pt x="115114" y="33442"/>
                    <a:pt x="115114" y="33442"/>
                  </a:cubicBezTo>
                  <a:cubicBezTo>
                    <a:pt x="115309" y="30632"/>
                    <a:pt x="115309" y="30632"/>
                    <a:pt x="115309" y="30632"/>
                  </a:cubicBezTo>
                  <a:cubicBezTo>
                    <a:pt x="115309" y="30632"/>
                    <a:pt x="115895" y="29508"/>
                    <a:pt x="116091" y="29508"/>
                  </a:cubicBezTo>
                  <a:cubicBezTo>
                    <a:pt x="116286" y="29227"/>
                    <a:pt x="116482" y="28103"/>
                    <a:pt x="116091" y="28103"/>
                  </a:cubicBezTo>
                  <a:cubicBezTo>
                    <a:pt x="115700" y="28384"/>
                    <a:pt x="114527" y="28665"/>
                    <a:pt x="114527" y="28665"/>
                  </a:cubicBezTo>
                  <a:cubicBezTo>
                    <a:pt x="114527" y="28665"/>
                    <a:pt x="113550" y="28665"/>
                    <a:pt x="113745" y="28103"/>
                  </a:cubicBezTo>
                  <a:cubicBezTo>
                    <a:pt x="113745" y="27259"/>
                    <a:pt x="114136" y="27259"/>
                    <a:pt x="114723" y="26416"/>
                  </a:cubicBezTo>
                  <a:cubicBezTo>
                    <a:pt x="115309" y="25573"/>
                    <a:pt x="115504" y="25011"/>
                    <a:pt x="115504" y="25011"/>
                  </a:cubicBezTo>
                  <a:cubicBezTo>
                    <a:pt x="115309" y="23325"/>
                    <a:pt x="115309" y="23325"/>
                    <a:pt x="115309" y="23325"/>
                  </a:cubicBezTo>
                  <a:cubicBezTo>
                    <a:pt x="115309" y="23325"/>
                    <a:pt x="115309" y="22201"/>
                    <a:pt x="115114" y="22201"/>
                  </a:cubicBezTo>
                  <a:cubicBezTo>
                    <a:pt x="115114" y="21920"/>
                    <a:pt x="113941" y="18548"/>
                    <a:pt x="113941" y="18548"/>
                  </a:cubicBezTo>
                  <a:cubicBezTo>
                    <a:pt x="113941" y="18548"/>
                    <a:pt x="112768" y="17985"/>
                    <a:pt x="112573" y="18548"/>
                  </a:cubicBezTo>
                  <a:cubicBezTo>
                    <a:pt x="112573" y="19110"/>
                    <a:pt x="112182" y="20234"/>
                    <a:pt x="112182" y="20234"/>
                  </a:cubicBezTo>
                  <a:cubicBezTo>
                    <a:pt x="110814" y="20234"/>
                    <a:pt x="110814" y="20234"/>
                    <a:pt x="110814" y="20234"/>
                  </a:cubicBezTo>
                  <a:cubicBezTo>
                    <a:pt x="110032" y="19391"/>
                    <a:pt x="110032" y="19391"/>
                    <a:pt x="110032" y="19391"/>
                  </a:cubicBezTo>
                  <a:cubicBezTo>
                    <a:pt x="108469" y="18829"/>
                    <a:pt x="108469" y="18829"/>
                    <a:pt x="108469" y="18829"/>
                  </a:cubicBezTo>
                  <a:cubicBezTo>
                    <a:pt x="108469" y="18829"/>
                    <a:pt x="108273" y="19110"/>
                    <a:pt x="108078" y="19391"/>
                  </a:cubicBezTo>
                  <a:cubicBezTo>
                    <a:pt x="108078" y="19672"/>
                    <a:pt x="106514" y="18266"/>
                    <a:pt x="106514" y="18266"/>
                  </a:cubicBezTo>
                  <a:cubicBezTo>
                    <a:pt x="106514" y="18266"/>
                    <a:pt x="105928" y="19391"/>
                    <a:pt x="105732" y="19672"/>
                  </a:cubicBezTo>
                  <a:cubicBezTo>
                    <a:pt x="105732" y="19672"/>
                    <a:pt x="104169" y="19110"/>
                    <a:pt x="104169" y="19110"/>
                  </a:cubicBezTo>
                  <a:cubicBezTo>
                    <a:pt x="102605" y="19391"/>
                    <a:pt x="102605" y="19391"/>
                    <a:pt x="102605" y="19391"/>
                  </a:cubicBezTo>
                  <a:cubicBezTo>
                    <a:pt x="101237" y="19672"/>
                    <a:pt x="101237" y="19672"/>
                    <a:pt x="101237" y="19672"/>
                  </a:cubicBezTo>
                  <a:cubicBezTo>
                    <a:pt x="100065" y="18829"/>
                    <a:pt x="100065" y="18829"/>
                    <a:pt x="100065" y="18829"/>
                  </a:cubicBezTo>
                  <a:cubicBezTo>
                    <a:pt x="99674" y="19672"/>
                    <a:pt x="99674" y="19672"/>
                    <a:pt x="99674" y="19672"/>
                  </a:cubicBezTo>
                  <a:cubicBezTo>
                    <a:pt x="99869" y="21077"/>
                    <a:pt x="99869" y="21077"/>
                    <a:pt x="99869" y="21077"/>
                  </a:cubicBezTo>
                  <a:cubicBezTo>
                    <a:pt x="98892" y="21920"/>
                    <a:pt x="98892" y="21920"/>
                    <a:pt x="98892" y="21920"/>
                  </a:cubicBezTo>
                  <a:cubicBezTo>
                    <a:pt x="97719" y="20796"/>
                    <a:pt x="97719" y="20796"/>
                    <a:pt x="97719" y="20796"/>
                  </a:cubicBezTo>
                  <a:cubicBezTo>
                    <a:pt x="96742" y="20515"/>
                    <a:pt x="96742" y="20515"/>
                    <a:pt x="96742" y="20515"/>
                  </a:cubicBezTo>
                  <a:cubicBezTo>
                    <a:pt x="95374" y="18548"/>
                    <a:pt x="95374" y="18548"/>
                    <a:pt x="95374" y="18548"/>
                  </a:cubicBezTo>
                  <a:cubicBezTo>
                    <a:pt x="94201" y="17985"/>
                    <a:pt x="94201" y="17985"/>
                    <a:pt x="94201" y="17985"/>
                  </a:cubicBezTo>
                  <a:cubicBezTo>
                    <a:pt x="93029" y="17142"/>
                    <a:pt x="93029" y="17142"/>
                    <a:pt x="93029" y="17142"/>
                  </a:cubicBezTo>
                  <a:cubicBezTo>
                    <a:pt x="93029" y="17142"/>
                    <a:pt x="92442" y="19391"/>
                    <a:pt x="92247" y="19672"/>
                  </a:cubicBezTo>
                  <a:cubicBezTo>
                    <a:pt x="92052" y="19672"/>
                    <a:pt x="91074" y="20234"/>
                    <a:pt x="90879" y="20234"/>
                  </a:cubicBezTo>
                  <a:cubicBezTo>
                    <a:pt x="90488" y="20515"/>
                    <a:pt x="90293" y="21920"/>
                    <a:pt x="90293" y="21920"/>
                  </a:cubicBezTo>
                  <a:cubicBezTo>
                    <a:pt x="89315" y="22763"/>
                    <a:pt x="89315" y="22763"/>
                    <a:pt x="89315" y="22763"/>
                  </a:cubicBezTo>
                  <a:cubicBezTo>
                    <a:pt x="89315" y="22763"/>
                    <a:pt x="88729" y="22201"/>
                    <a:pt x="88338" y="22201"/>
                  </a:cubicBezTo>
                  <a:cubicBezTo>
                    <a:pt x="88143" y="22201"/>
                    <a:pt x="87947" y="22482"/>
                    <a:pt x="87947" y="22482"/>
                  </a:cubicBezTo>
                  <a:cubicBezTo>
                    <a:pt x="87557" y="23325"/>
                    <a:pt x="87557" y="23325"/>
                    <a:pt x="87557" y="23325"/>
                  </a:cubicBezTo>
                  <a:cubicBezTo>
                    <a:pt x="87557" y="23325"/>
                    <a:pt x="87361" y="23325"/>
                    <a:pt x="86775" y="22763"/>
                  </a:cubicBezTo>
                  <a:cubicBezTo>
                    <a:pt x="86384" y="22482"/>
                    <a:pt x="85798" y="21920"/>
                    <a:pt x="85798" y="21920"/>
                  </a:cubicBezTo>
                  <a:cubicBezTo>
                    <a:pt x="85211" y="21639"/>
                    <a:pt x="85211" y="21639"/>
                    <a:pt x="85211" y="21639"/>
                  </a:cubicBezTo>
                  <a:cubicBezTo>
                    <a:pt x="85211" y="21639"/>
                    <a:pt x="83452" y="22763"/>
                    <a:pt x="83257" y="23044"/>
                  </a:cubicBezTo>
                  <a:cubicBezTo>
                    <a:pt x="83257" y="23325"/>
                    <a:pt x="82866" y="24168"/>
                    <a:pt x="82866" y="24168"/>
                  </a:cubicBezTo>
                  <a:cubicBezTo>
                    <a:pt x="81889" y="23044"/>
                    <a:pt x="81889" y="23044"/>
                    <a:pt x="81889" y="23044"/>
                  </a:cubicBezTo>
                  <a:cubicBezTo>
                    <a:pt x="80716" y="21920"/>
                    <a:pt x="80716" y="21920"/>
                    <a:pt x="80716" y="21920"/>
                  </a:cubicBezTo>
                  <a:cubicBezTo>
                    <a:pt x="80521" y="19953"/>
                    <a:pt x="80521" y="19953"/>
                    <a:pt x="80521" y="19953"/>
                  </a:cubicBezTo>
                  <a:cubicBezTo>
                    <a:pt x="78371" y="17142"/>
                    <a:pt x="78371" y="17142"/>
                    <a:pt x="78371" y="17142"/>
                  </a:cubicBezTo>
                  <a:cubicBezTo>
                    <a:pt x="77980" y="14332"/>
                    <a:pt x="77980" y="14332"/>
                    <a:pt x="77980" y="14332"/>
                  </a:cubicBezTo>
                  <a:cubicBezTo>
                    <a:pt x="76416" y="12646"/>
                    <a:pt x="76416" y="12646"/>
                    <a:pt x="76416" y="12646"/>
                  </a:cubicBezTo>
                  <a:cubicBezTo>
                    <a:pt x="75439" y="14332"/>
                    <a:pt x="75439" y="14332"/>
                    <a:pt x="75439" y="14332"/>
                  </a:cubicBezTo>
                  <a:cubicBezTo>
                    <a:pt x="73876" y="14051"/>
                    <a:pt x="73876" y="14051"/>
                    <a:pt x="73876" y="14051"/>
                  </a:cubicBezTo>
                  <a:cubicBezTo>
                    <a:pt x="72312" y="14613"/>
                    <a:pt x="72312" y="14613"/>
                    <a:pt x="72312" y="14613"/>
                  </a:cubicBezTo>
                  <a:cubicBezTo>
                    <a:pt x="72312" y="14613"/>
                    <a:pt x="71335" y="16018"/>
                    <a:pt x="71335" y="15456"/>
                  </a:cubicBezTo>
                  <a:cubicBezTo>
                    <a:pt x="71140" y="14894"/>
                    <a:pt x="71530" y="13770"/>
                    <a:pt x="71530" y="13208"/>
                  </a:cubicBezTo>
                  <a:cubicBezTo>
                    <a:pt x="71335" y="12927"/>
                    <a:pt x="70358" y="13770"/>
                    <a:pt x="70553" y="12646"/>
                  </a:cubicBezTo>
                  <a:cubicBezTo>
                    <a:pt x="70749" y="12084"/>
                    <a:pt x="70553" y="11241"/>
                    <a:pt x="70358" y="10960"/>
                  </a:cubicBezTo>
                  <a:cubicBezTo>
                    <a:pt x="69967" y="10398"/>
                    <a:pt x="68794" y="10398"/>
                    <a:pt x="69185" y="9274"/>
                  </a:cubicBezTo>
                  <a:cubicBezTo>
                    <a:pt x="69576" y="8430"/>
                    <a:pt x="70553" y="7868"/>
                    <a:pt x="70553" y="7868"/>
                  </a:cubicBezTo>
                  <a:cubicBezTo>
                    <a:pt x="70553" y="7306"/>
                    <a:pt x="70553" y="7306"/>
                    <a:pt x="70553" y="7306"/>
                  </a:cubicBezTo>
                  <a:cubicBezTo>
                    <a:pt x="69771" y="6182"/>
                    <a:pt x="69771" y="6182"/>
                    <a:pt x="69771" y="6182"/>
                  </a:cubicBezTo>
                  <a:cubicBezTo>
                    <a:pt x="67622" y="4777"/>
                    <a:pt x="67622" y="4777"/>
                    <a:pt x="67622" y="4777"/>
                  </a:cubicBezTo>
                  <a:cubicBezTo>
                    <a:pt x="67622" y="4777"/>
                    <a:pt x="67426" y="3091"/>
                    <a:pt x="67035" y="3091"/>
                  </a:cubicBezTo>
                  <a:cubicBezTo>
                    <a:pt x="66840" y="2810"/>
                    <a:pt x="66254" y="1967"/>
                    <a:pt x="66254" y="1967"/>
                  </a:cubicBezTo>
                  <a:cubicBezTo>
                    <a:pt x="66254" y="1967"/>
                    <a:pt x="65667" y="843"/>
                    <a:pt x="64885" y="562"/>
                  </a:cubicBezTo>
                  <a:cubicBezTo>
                    <a:pt x="64104" y="0"/>
                    <a:pt x="63517" y="2529"/>
                    <a:pt x="63517" y="2529"/>
                  </a:cubicBezTo>
                  <a:cubicBezTo>
                    <a:pt x="62736" y="1405"/>
                    <a:pt x="62736" y="1405"/>
                    <a:pt x="62736" y="1405"/>
                  </a:cubicBezTo>
                  <a:cubicBezTo>
                    <a:pt x="61172" y="2248"/>
                    <a:pt x="61172" y="2248"/>
                    <a:pt x="61172" y="2248"/>
                  </a:cubicBezTo>
                  <a:cubicBezTo>
                    <a:pt x="59999" y="4777"/>
                    <a:pt x="59999" y="4777"/>
                    <a:pt x="59999" y="4777"/>
                  </a:cubicBezTo>
                  <a:cubicBezTo>
                    <a:pt x="59218" y="5058"/>
                    <a:pt x="59218" y="5058"/>
                    <a:pt x="59218" y="5058"/>
                  </a:cubicBezTo>
                  <a:cubicBezTo>
                    <a:pt x="58045" y="5339"/>
                    <a:pt x="58045" y="5339"/>
                    <a:pt x="58045" y="5339"/>
                  </a:cubicBezTo>
                  <a:cubicBezTo>
                    <a:pt x="56286" y="5901"/>
                    <a:pt x="56286" y="5901"/>
                    <a:pt x="56286" y="5901"/>
                  </a:cubicBezTo>
                  <a:cubicBezTo>
                    <a:pt x="55895" y="7587"/>
                    <a:pt x="55895" y="7587"/>
                    <a:pt x="55895" y="7587"/>
                  </a:cubicBezTo>
                  <a:cubicBezTo>
                    <a:pt x="56091" y="9274"/>
                    <a:pt x="56091" y="9274"/>
                    <a:pt x="56091" y="9274"/>
                  </a:cubicBezTo>
                  <a:cubicBezTo>
                    <a:pt x="55114" y="10398"/>
                    <a:pt x="55114" y="10398"/>
                    <a:pt x="55114" y="10398"/>
                  </a:cubicBezTo>
                  <a:cubicBezTo>
                    <a:pt x="52768" y="10117"/>
                    <a:pt x="52768" y="10117"/>
                    <a:pt x="52768" y="10117"/>
                  </a:cubicBezTo>
                  <a:cubicBezTo>
                    <a:pt x="51205" y="10679"/>
                    <a:pt x="51205" y="10679"/>
                    <a:pt x="51205" y="10679"/>
                  </a:cubicBezTo>
                  <a:cubicBezTo>
                    <a:pt x="50423" y="12365"/>
                    <a:pt x="50423" y="12365"/>
                    <a:pt x="50423" y="12365"/>
                  </a:cubicBezTo>
                  <a:cubicBezTo>
                    <a:pt x="48078" y="12365"/>
                    <a:pt x="48078" y="12365"/>
                    <a:pt x="48078" y="12365"/>
                  </a:cubicBezTo>
                  <a:cubicBezTo>
                    <a:pt x="47687" y="15737"/>
                    <a:pt x="47687" y="15737"/>
                    <a:pt x="47687" y="15737"/>
                  </a:cubicBezTo>
                  <a:cubicBezTo>
                    <a:pt x="47100" y="17985"/>
                    <a:pt x="47100" y="17985"/>
                    <a:pt x="47100" y="17985"/>
                  </a:cubicBezTo>
                  <a:cubicBezTo>
                    <a:pt x="46514" y="20515"/>
                    <a:pt x="46514" y="20515"/>
                    <a:pt x="46514" y="20515"/>
                  </a:cubicBezTo>
                  <a:cubicBezTo>
                    <a:pt x="46905" y="21920"/>
                    <a:pt x="46905" y="21920"/>
                    <a:pt x="46905" y="21920"/>
                  </a:cubicBezTo>
                  <a:cubicBezTo>
                    <a:pt x="47491" y="23887"/>
                    <a:pt x="47491" y="23887"/>
                    <a:pt x="47491" y="23887"/>
                  </a:cubicBezTo>
                  <a:cubicBezTo>
                    <a:pt x="48664" y="25854"/>
                    <a:pt x="48664" y="25854"/>
                    <a:pt x="48664" y="25854"/>
                  </a:cubicBezTo>
                  <a:cubicBezTo>
                    <a:pt x="48664" y="25854"/>
                    <a:pt x="48664" y="25854"/>
                    <a:pt x="48664" y="25854"/>
                  </a:cubicBezTo>
                  <a:cubicBezTo>
                    <a:pt x="47491" y="26416"/>
                    <a:pt x="47491" y="26416"/>
                    <a:pt x="47491" y="26416"/>
                  </a:cubicBezTo>
                  <a:cubicBezTo>
                    <a:pt x="46710" y="26697"/>
                    <a:pt x="46710" y="26697"/>
                    <a:pt x="46710" y="26697"/>
                  </a:cubicBezTo>
                  <a:cubicBezTo>
                    <a:pt x="45928" y="25011"/>
                    <a:pt x="45928" y="25011"/>
                    <a:pt x="45928" y="25011"/>
                  </a:cubicBezTo>
                  <a:cubicBezTo>
                    <a:pt x="44755" y="24449"/>
                    <a:pt x="44755" y="24449"/>
                    <a:pt x="44755" y="24449"/>
                  </a:cubicBezTo>
                  <a:cubicBezTo>
                    <a:pt x="43387" y="25292"/>
                    <a:pt x="43387" y="25292"/>
                    <a:pt x="43387" y="25292"/>
                  </a:cubicBezTo>
                  <a:cubicBezTo>
                    <a:pt x="42019" y="25854"/>
                    <a:pt x="42019" y="25854"/>
                    <a:pt x="42019" y="25854"/>
                  </a:cubicBezTo>
                  <a:cubicBezTo>
                    <a:pt x="41628" y="25854"/>
                    <a:pt x="41628" y="25854"/>
                    <a:pt x="41628" y="25854"/>
                  </a:cubicBezTo>
                  <a:cubicBezTo>
                    <a:pt x="41237" y="26978"/>
                    <a:pt x="41237" y="26978"/>
                    <a:pt x="41237" y="26978"/>
                  </a:cubicBezTo>
                  <a:cubicBezTo>
                    <a:pt x="40065" y="27822"/>
                    <a:pt x="40065" y="27822"/>
                    <a:pt x="40065" y="27822"/>
                  </a:cubicBezTo>
                  <a:cubicBezTo>
                    <a:pt x="40065" y="27822"/>
                    <a:pt x="39674" y="27259"/>
                    <a:pt x="39478" y="26978"/>
                  </a:cubicBezTo>
                  <a:cubicBezTo>
                    <a:pt x="39283" y="26697"/>
                    <a:pt x="38697" y="26135"/>
                    <a:pt x="38697" y="26135"/>
                  </a:cubicBezTo>
                  <a:cubicBezTo>
                    <a:pt x="38697" y="26135"/>
                    <a:pt x="38501" y="25573"/>
                    <a:pt x="38306" y="25292"/>
                  </a:cubicBezTo>
                  <a:cubicBezTo>
                    <a:pt x="38110" y="25292"/>
                    <a:pt x="36938" y="26416"/>
                    <a:pt x="36938" y="26416"/>
                  </a:cubicBezTo>
                  <a:cubicBezTo>
                    <a:pt x="36938" y="26416"/>
                    <a:pt x="35960" y="27259"/>
                    <a:pt x="35960" y="27540"/>
                  </a:cubicBezTo>
                  <a:cubicBezTo>
                    <a:pt x="36156" y="27540"/>
                    <a:pt x="35960" y="28946"/>
                    <a:pt x="35960" y="28946"/>
                  </a:cubicBezTo>
                  <a:cubicBezTo>
                    <a:pt x="34592" y="27259"/>
                    <a:pt x="34592" y="27259"/>
                    <a:pt x="34592" y="27259"/>
                  </a:cubicBezTo>
                  <a:cubicBezTo>
                    <a:pt x="33615" y="28384"/>
                    <a:pt x="33615" y="28384"/>
                    <a:pt x="33615" y="28384"/>
                  </a:cubicBezTo>
                  <a:cubicBezTo>
                    <a:pt x="32833" y="27540"/>
                    <a:pt x="32833" y="27540"/>
                    <a:pt x="32833" y="27540"/>
                  </a:cubicBezTo>
                  <a:cubicBezTo>
                    <a:pt x="32442" y="27259"/>
                    <a:pt x="32442" y="27259"/>
                    <a:pt x="32442" y="27259"/>
                  </a:cubicBezTo>
                  <a:cubicBezTo>
                    <a:pt x="31270" y="29227"/>
                    <a:pt x="31270" y="29227"/>
                    <a:pt x="31270" y="29227"/>
                  </a:cubicBezTo>
                  <a:cubicBezTo>
                    <a:pt x="30488" y="28665"/>
                    <a:pt x="30488" y="28665"/>
                    <a:pt x="30488" y="28665"/>
                  </a:cubicBezTo>
                  <a:cubicBezTo>
                    <a:pt x="30097" y="30632"/>
                    <a:pt x="30097" y="30632"/>
                    <a:pt x="30097" y="30632"/>
                  </a:cubicBezTo>
                  <a:cubicBezTo>
                    <a:pt x="29120" y="29508"/>
                    <a:pt x="29120" y="29508"/>
                    <a:pt x="29120" y="29508"/>
                  </a:cubicBezTo>
                  <a:cubicBezTo>
                    <a:pt x="29120" y="29508"/>
                    <a:pt x="28143" y="29227"/>
                    <a:pt x="27947" y="29227"/>
                  </a:cubicBezTo>
                  <a:cubicBezTo>
                    <a:pt x="27752" y="29227"/>
                    <a:pt x="27166" y="30351"/>
                    <a:pt x="27166" y="30351"/>
                  </a:cubicBezTo>
                  <a:cubicBezTo>
                    <a:pt x="26188" y="29227"/>
                    <a:pt x="26188" y="29227"/>
                    <a:pt x="26188" y="29227"/>
                  </a:cubicBezTo>
                  <a:cubicBezTo>
                    <a:pt x="25407" y="28384"/>
                    <a:pt x="25407" y="28384"/>
                    <a:pt x="25407" y="28384"/>
                  </a:cubicBezTo>
                  <a:cubicBezTo>
                    <a:pt x="25407" y="28384"/>
                    <a:pt x="23257" y="28665"/>
                    <a:pt x="23061" y="28665"/>
                  </a:cubicBezTo>
                  <a:cubicBezTo>
                    <a:pt x="22866" y="28665"/>
                    <a:pt x="21498" y="28384"/>
                    <a:pt x="21498" y="28384"/>
                  </a:cubicBezTo>
                  <a:cubicBezTo>
                    <a:pt x="19739" y="28946"/>
                    <a:pt x="19739" y="28946"/>
                    <a:pt x="19739" y="28946"/>
                  </a:cubicBezTo>
                  <a:cubicBezTo>
                    <a:pt x="17198" y="28946"/>
                    <a:pt x="17198" y="28946"/>
                    <a:pt x="17198" y="28946"/>
                  </a:cubicBezTo>
                  <a:cubicBezTo>
                    <a:pt x="14853" y="29227"/>
                    <a:pt x="14853" y="29227"/>
                    <a:pt x="14853" y="29227"/>
                  </a:cubicBezTo>
                  <a:cubicBezTo>
                    <a:pt x="13094" y="29227"/>
                    <a:pt x="13094" y="29227"/>
                    <a:pt x="13094" y="29227"/>
                  </a:cubicBezTo>
                  <a:cubicBezTo>
                    <a:pt x="11726" y="30632"/>
                    <a:pt x="11726" y="30632"/>
                    <a:pt x="11726" y="30632"/>
                  </a:cubicBezTo>
                  <a:cubicBezTo>
                    <a:pt x="10358" y="30913"/>
                    <a:pt x="10358" y="30913"/>
                    <a:pt x="10358" y="30913"/>
                  </a:cubicBezTo>
                  <a:cubicBezTo>
                    <a:pt x="8794" y="31194"/>
                    <a:pt x="8794" y="31194"/>
                    <a:pt x="8794" y="31194"/>
                  </a:cubicBezTo>
                  <a:cubicBezTo>
                    <a:pt x="8599" y="31194"/>
                    <a:pt x="8599" y="31194"/>
                    <a:pt x="8599" y="31194"/>
                  </a:cubicBezTo>
                  <a:cubicBezTo>
                    <a:pt x="8403" y="31475"/>
                    <a:pt x="8403" y="31475"/>
                    <a:pt x="8403" y="31475"/>
                  </a:cubicBezTo>
                  <a:cubicBezTo>
                    <a:pt x="7817" y="32037"/>
                    <a:pt x="7817" y="32037"/>
                    <a:pt x="7817" y="32037"/>
                  </a:cubicBezTo>
                  <a:cubicBezTo>
                    <a:pt x="7817" y="32318"/>
                    <a:pt x="7817" y="32318"/>
                    <a:pt x="7817" y="32318"/>
                  </a:cubicBezTo>
                  <a:cubicBezTo>
                    <a:pt x="7426" y="32880"/>
                    <a:pt x="7426" y="32880"/>
                    <a:pt x="7426" y="32880"/>
                  </a:cubicBezTo>
                  <a:cubicBezTo>
                    <a:pt x="7231" y="34285"/>
                    <a:pt x="7231" y="34285"/>
                    <a:pt x="7231" y="34285"/>
                  </a:cubicBezTo>
                  <a:cubicBezTo>
                    <a:pt x="7035" y="34847"/>
                    <a:pt x="6644" y="35409"/>
                    <a:pt x="6449" y="35971"/>
                  </a:cubicBezTo>
                  <a:cubicBezTo>
                    <a:pt x="6449" y="35971"/>
                    <a:pt x="6449" y="35971"/>
                    <a:pt x="6449" y="35971"/>
                  </a:cubicBezTo>
                  <a:cubicBezTo>
                    <a:pt x="6449" y="35971"/>
                    <a:pt x="5863" y="35690"/>
                    <a:pt x="5863" y="36252"/>
                  </a:cubicBezTo>
                  <a:cubicBezTo>
                    <a:pt x="5863" y="36533"/>
                    <a:pt x="5863" y="36533"/>
                    <a:pt x="5863" y="36533"/>
                  </a:cubicBezTo>
                  <a:cubicBezTo>
                    <a:pt x="5276" y="36814"/>
                    <a:pt x="4299" y="36252"/>
                    <a:pt x="4299" y="36252"/>
                  </a:cubicBezTo>
                  <a:cubicBezTo>
                    <a:pt x="3322" y="37096"/>
                    <a:pt x="3322" y="37096"/>
                    <a:pt x="3322" y="37096"/>
                  </a:cubicBezTo>
                  <a:cubicBezTo>
                    <a:pt x="3322" y="37377"/>
                    <a:pt x="3322" y="37658"/>
                    <a:pt x="3517" y="37658"/>
                  </a:cubicBezTo>
                  <a:cubicBezTo>
                    <a:pt x="3713" y="37939"/>
                    <a:pt x="3713" y="37939"/>
                    <a:pt x="3713" y="38220"/>
                  </a:cubicBezTo>
                  <a:cubicBezTo>
                    <a:pt x="3908" y="38220"/>
                    <a:pt x="3908" y="38501"/>
                    <a:pt x="3908" y="38501"/>
                  </a:cubicBezTo>
                  <a:cubicBezTo>
                    <a:pt x="4299" y="39906"/>
                    <a:pt x="4299" y="39906"/>
                    <a:pt x="4299" y="39906"/>
                  </a:cubicBezTo>
                  <a:cubicBezTo>
                    <a:pt x="4299" y="41030"/>
                    <a:pt x="4299" y="41030"/>
                    <a:pt x="4299" y="41030"/>
                  </a:cubicBezTo>
                  <a:cubicBezTo>
                    <a:pt x="4299" y="41030"/>
                    <a:pt x="4299" y="41873"/>
                    <a:pt x="4690" y="41873"/>
                  </a:cubicBezTo>
                  <a:cubicBezTo>
                    <a:pt x="5081" y="41873"/>
                    <a:pt x="5276" y="42154"/>
                    <a:pt x="5276" y="42716"/>
                  </a:cubicBezTo>
                  <a:cubicBezTo>
                    <a:pt x="5276" y="43278"/>
                    <a:pt x="6254" y="43840"/>
                    <a:pt x="6254" y="43840"/>
                  </a:cubicBezTo>
                  <a:cubicBezTo>
                    <a:pt x="6254" y="43840"/>
                    <a:pt x="6254" y="44964"/>
                    <a:pt x="6449" y="45245"/>
                  </a:cubicBezTo>
                  <a:cubicBezTo>
                    <a:pt x="6840" y="45526"/>
                    <a:pt x="7231" y="45807"/>
                    <a:pt x="7817" y="45807"/>
                  </a:cubicBezTo>
                  <a:cubicBezTo>
                    <a:pt x="8403" y="46088"/>
                    <a:pt x="8208" y="47213"/>
                    <a:pt x="8599" y="47494"/>
                  </a:cubicBezTo>
                  <a:cubicBezTo>
                    <a:pt x="8990" y="47775"/>
                    <a:pt x="9381" y="48337"/>
                    <a:pt x="8990" y="48337"/>
                  </a:cubicBezTo>
                  <a:cubicBezTo>
                    <a:pt x="8794" y="48618"/>
                    <a:pt x="8208" y="48618"/>
                    <a:pt x="8208" y="48618"/>
                  </a:cubicBezTo>
                  <a:cubicBezTo>
                    <a:pt x="8208" y="48618"/>
                    <a:pt x="8013" y="48899"/>
                    <a:pt x="8013" y="49461"/>
                  </a:cubicBezTo>
                  <a:cubicBezTo>
                    <a:pt x="8208" y="49742"/>
                    <a:pt x="8208" y="49742"/>
                    <a:pt x="8208" y="49742"/>
                  </a:cubicBezTo>
                  <a:cubicBezTo>
                    <a:pt x="8990" y="51147"/>
                    <a:pt x="8990" y="51147"/>
                    <a:pt x="8990" y="51147"/>
                  </a:cubicBezTo>
                  <a:cubicBezTo>
                    <a:pt x="8990" y="52833"/>
                    <a:pt x="8990" y="52833"/>
                    <a:pt x="8990" y="52833"/>
                  </a:cubicBezTo>
                  <a:cubicBezTo>
                    <a:pt x="8990" y="52833"/>
                    <a:pt x="8990" y="53395"/>
                    <a:pt x="8990" y="53957"/>
                  </a:cubicBezTo>
                  <a:cubicBezTo>
                    <a:pt x="8990" y="54238"/>
                    <a:pt x="8794" y="54800"/>
                    <a:pt x="8403" y="54800"/>
                  </a:cubicBezTo>
                  <a:cubicBezTo>
                    <a:pt x="8403" y="54800"/>
                    <a:pt x="8403" y="54800"/>
                    <a:pt x="8403" y="54800"/>
                  </a:cubicBezTo>
                  <a:cubicBezTo>
                    <a:pt x="8403" y="54800"/>
                    <a:pt x="8403" y="54800"/>
                    <a:pt x="8403" y="54800"/>
                  </a:cubicBezTo>
                  <a:cubicBezTo>
                    <a:pt x="8208" y="54800"/>
                    <a:pt x="8208" y="54800"/>
                    <a:pt x="8208" y="54800"/>
                  </a:cubicBezTo>
                  <a:cubicBezTo>
                    <a:pt x="8013" y="55081"/>
                    <a:pt x="8013" y="55644"/>
                    <a:pt x="7817" y="55644"/>
                  </a:cubicBezTo>
                  <a:cubicBezTo>
                    <a:pt x="7622" y="55925"/>
                    <a:pt x="7231" y="55081"/>
                    <a:pt x="7035" y="55925"/>
                  </a:cubicBezTo>
                  <a:cubicBezTo>
                    <a:pt x="6840" y="57049"/>
                    <a:pt x="6449" y="57892"/>
                    <a:pt x="6449" y="58173"/>
                  </a:cubicBezTo>
                  <a:cubicBezTo>
                    <a:pt x="6254" y="58454"/>
                    <a:pt x="5667" y="58735"/>
                    <a:pt x="5667" y="59297"/>
                  </a:cubicBezTo>
                  <a:cubicBezTo>
                    <a:pt x="5472" y="59859"/>
                    <a:pt x="5472" y="59297"/>
                    <a:pt x="5081" y="60702"/>
                  </a:cubicBezTo>
                  <a:cubicBezTo>
                    <a:pt x="4690" y="62107"/>
                    <a:pt x="4495" y="62669"/>
                    <a:pt x="4495" y="62669"/>
                  </a:cubicBezTo>
                  <a:cubicBezTo>
                    <a:pt x="2736" y="66042"/>
                    <a:pt x="2736" y="66042"/>
                    <a:pt x="2736" y="66042"/>
                  </a:cubicBezTo>
                  <a:cubicBezTo>
                    <a:pt x="2736" y="66042"/>
                    <a:pt x="1758" y="68290"/>
                    <a:pt x="1758" y="68571"/>
                  </a:cubicBezTo>
                  <a:cubicBezTo>
                    <a:pt x="1758" y="68852"/>
                    <a:pt x="1758" y="69976"/>
                    <a:pt x="1758" y="69976"/>
                  </a:cubicBezTo>
                  <a:cubicBezTo>
                    <a:pt x="2540" y="71100"/>
                    <a:pt x="2540" y="71100"/>
                    <a:pt x="2540" y="71100"/>
                  </a:cubicBezTo>
                  <a:cubicBezTo>
                    <a:pt x="2540" y="72224"/>
                    <a:pt x="2540" y="72224"/>
                    <a:pt x="2540" y="72224"/>
                  </a:cubicBezTo>
                  <a:cubicBezTo>
                    <a:pt x="2540" y="72224"/>
                    <a:pt x="2540" y="73067"/>
                    <a:pt x="2736" y="73348"/>
                  </a:cubicBezTo>
                  <a:cubicBezTo>
                    <a:pt x="2931" y="73348"/>
                    <a:pt x="2931" y="73348"/>
                    <a:pt x="2931" y="73348"/>
                  </a:cubicBezTo>
                  <a:cubicBezTo>
                    <a:pt x="2736" y="74192"/>
                    <a:pt x="2736" y="74192"/>
                    <a:pt x="2736" y="74192"/>
                  </a:cubicBezTo>
                  <a:cubicBezTo>
                    <a:pt x="2736" y="74192"/>
                    <a:pt x="2931" y="75035"/>
                    <a:pt x="3127" y="75035"/>
                  </a:cubicBezTo>
                  <a:cubicBezTo>
                    <a:pt x="3127" y="75035"/>
                    <a:pt x="3517" y="75316"/>
                    <a:pt x="3517" y="75316"/>
                  </a:cubicBezTo>
                  <a:cubicBezTo>
                    <a:pt x="3517" y="75316"/>
                    <a:pt x="3908" y="75878"/>
                    <a:pt x="3908" y="75878"/>
                  </a:cubicBezTo>
                  <a:cubicBezTo>
                    <a:pt x="4104" y="76159"/>
                    <a:pt x="3908" y="76721"/>
                    <a:pt x="3908" y="76721"/>
                  </a:cubicBezTo>
                  <a:cubicBezTo>
                    <a:pt x="3908" y="76721"/>
                    <a:pt x="3908" y="77002"/>
                    <a:pt x="3713" y="77002"/>
                  </a:cubicBezTo>
                  <a:cubicBezTo>
                    <a:pt x="3517" y="77002"/>
                    <a:pt x="3517" y="77002"/>
                    <a:pt x="3127" y="77002"/>
                  </a:cubicBezTo>
                  <a:cubicBezTo>
                    <a:pt x="3127" y="76721"/>
                    <a:pt x="3127" y="76721"/>
                    <a:pt x="2931" y="76721"/>
                  </a:cubicBezTo>
                  <a:cubicBezTo>
                    <a:pt x="2540" y="76721"/>
                    <a:pt x="2540" y="76721"/>
                    <a:pt x="2540" y="76721"/>
                  </a:cubicBezTo>
                  <a:cubicBezTo>
                    <a:pt x="2345" y="76721"/>
                    <a:pt x="2345" y="76721"/>
                    <a:pt x="2149" y="76721"/>
                  </a:cubicBezTo>
                  <a:cubicBezTo>
                    <a:pt x="1954" y="76721"/>
                    <a:pt x="1954" y="76721"/>
                    <a:pt x="1954" y="76721"/>
                  </a:cubicBezTo>
                  <a:cubicBezTo>
                    <a:pt x="1758" y="76721"/>
                    <a:pt x="1758" y="76721"/>
                    <a:pt x="1563" y="77002"/>
                  </a:cubicBezTo>
                  <a:cubicBezTo>
                    <a:pt x="1563" y="77283"/>
                    <a:pt x="1563" y="77283"/>
                    <a:pt x="1563" y="77283"/>
                  </a:cubicBezTo>
                  <a:cubicBezTo>
                    <a:pt x="1563" y="77283"/>
                    <a:pt x="1368" y="77564"/>
                    <a:pt x="1368" y="77845"/>
                  </a:cubicBezTo>
                  <a:cubicBezTo>
                    <a:pt x="1172" y="77845"/>
                    <a:pt x="1172" y="78407"/>
                    <a:pt x="1172" y="78407"/>
                  </a:cubicBezTo>
                  <a:cubicBezTo>
                    <a:pt x="1172" y="78407"/>
                    <a:pt x="1172" y="78688"/>
                    <a:pt x="1172" y="78688"/>
                  </a:cubicBezTo>
                  <a:cubicBezTo>
                    <a:pt x="1172" y="78688"/>
                    <a:pt x="1172" y="79250"/>
                    <a:pt x="1172" y="79250"/>
                  </a:cubicBezTo>
                  <a:cubicBezTo>
                    <a:pt x="977" y="79812"/>
                    <a:pt x="977" y="79812"/>
                    <a:pt x="977" y="79812"/>
                  </a:cubicBezTo>
                  <a:cubicBezTo>
                    <a:pt x="977" y="79812"/>
                    <a:pt x="781" y="80093"/>
                    <a:pt x="977" y="80374"/>
                  </a:cubicBezTo>
                  <a:cubicBezTo>
                    <a:pt x="977" y="80374"/>
                    <a:pt x="977" y="80655"/>
                    <a:pt x="977" y="80655"/>
                  </a:cubicBezTo>
                  <a:cubicBezTo>
                    <a:pt x="1172" y="80936"/>
                    <a:pt x="1172" y="80936"/>
                    <a:pt x="1172" y="80936"/>
                  </a:cubicBezTo>
                  <a:cubicBezTo>
                    <a:pt x="781" y="81498"/>
                    <a:pt x="781" y="81498"/>
                    <a:pt x="781" y="81498"/>
                  </a:cubicBezTo>
                  <a:cubicBezTo>
                    <a:pt x="781" y="82060"/>
                    <a:pt x="781" y="82060"/>
                    <a:pt x="781" y="82060"/>
                  </a:cubicBezTo>
                  <a:cubicBezTo>
                    <a:pt x="781" y="82060"/>
                    <a:pt x="977" y="82341"/>
                    <a:pt x="781" y="82622"/>
                  </a:cubicBezTo>
                  <a:cubicBezTo>
                    <a:pt x="781" y="82622"/>
                    <a:pt x="586" y="82903"/>
                    <a:pt x="586" y="82903"/>
                  </a:cubicBezTo>
                  <a:cubicBezTo>
                    <a:pt x="586" y="82903"/>
                    <a:pt x="195" y="83466"/>
                    <a:pt x="195" y="83466"/>
                  </a:cubicBezTo>
                  <a:cubicBezTo>
                    <a:pt x="195" y="83466"/>
                    <a:pt x="195" y="83747"/>
                    <a:pt x="195" y="83747"/>
                  </a:cubicBezTo>
                  <a:cubicBezTo>
                    <a:pt x="195" y="83747"/>
                    <a:pt x="0" y="84309"/>
                    <a:pt x="0" y="84309"/>
                  </a:cubicBezTo>
                  <a:cubicBezTo>
                    <a:pt x="0" y="84309"/>
                    <a:pt x="0" y="85152"/>
                    <a:pt x="0" y="85152"/>
                  </a:cubicBezTo>
                  <a:cubicBezTo>
                    <a:pt x="0" y="85152"/>
                    <a:pt x="195" y="85433"/>
                    <a:pt x="195" y="85433"/>
                  </a:cubicBezTo>
                  <a:cubicBezTo>
                    <a:pt x="195" y="85433"/>
                    <a:pt x="195" y="85714"/>
                    <a:pt x="195" y="85995"/>
                  </a:cubicBezTo>
                  <a:cubicBezTo>
                    <a:pt x="0" y="85995"/>
                    <a:pt x="195" y="86276"/>
                    <a:pt x="195" y="86557"/>
                  </a:cubicBezTo>
                  <a:cubicBezTo>
                    <a:pt x="195" y="86557"/>
                    <a:pt x="195" y="86838"/>
                    <a:pt x="195" y="86838"/>
                  </a:cubicBezTo>
                  <a:cubicBezTo>
                    <a:pt x="0" y="87400"/>
                    <a:pt x="0" y="87400"/>
                    <a:pt x="0" y="87400"/>
                  </a:cubicBezTo>
                  <a:cubicBezTo>
                    <a:pt x="0" y="87400"/>
                    <a:pt x="0" y="87400"/>
                    <a:pt x="0" y="87400"/>
                  </a:cubicBezTo>
                  <a:cubicBezTo>
                    <a:pt x="0" y="87681"/>
                    <a:pt x="0" y="87681"/>
                    <a:pt x="0" y="87681"/>
                  </a:cubicBezTo>
                  <a:cubicBezTo>
                    <a:pt x="0" y="88243"/>
                    <a:pt x="0" y="88243"/>
                    <a:pt x="0" y="88243"/>
                  </a:cubicBezTo>
                  <a:cubicBezTo>
                    <a:pt x="390" y="88243"/>
                    <a:pt x="390" y="88243"/>
                    <a:pt x="390" y="88243"/>
                  </a:cubicBezTo>
                  <a:cubicBezTo>
                    <a:pt x="586" y="87962"/>
                    <a:pt x="586" y="87962"/>
                    <a:pt x="586" y="87962"/>
                  </a:cubicBezTo>
                  <a:cubicBezTo>
                    <a:pt x="1563" y="87400"/>
                    <a:pt x="1563" y="87400"/>
                    <a:pt x="1563" y="87400"/>
                  </a:cubicBezTo>
                  <a:cubicBezTo>
                    <a:pt x="2149" y="88243"/>
                    <a:pt x="2149" y="88243"/>
                    <a:pt x="2149" y="88243"/>
                  </a:cubicBezTo>
                  <a:cubicBezTo>
                    <a:pt x="2736" y="89086"/>
                    <a:pt x="2736" y="89086"/>
                    <a:pt x="2736" y="89086"/>
                  </a:cubicBezTo>
                  <a:cubicBezTo>
                    <a:pt x="3713" y="89086"/>
                    <a:pt x="3713" y="89086"/>
                    <a:pt x="3713" y="89086"/>
                  </a:cubicBezTo>
                  <a:cubicBezTo>
                    <a:pt x="4299" y="90210"/>
                    <a:pt x="4299" y="90210"/>
                    <a:pt x="4299" y="90210"/>
                  </a:cubicBezTo>
                  <a:cubicBezTo>
                    <a:pt x="4885" y="91053"/>
                    <a:pt x="4885" y="91053"/>
                    <a:pt x="4885" y="91053"/>
                  </a:cubicBezTo>
                  <a:cubicBezTo>
                    <a:pt x="5863" y="90772"/>
                    <a:pt x="5863" y="90772"/>
                    <a:pt x="5863" y="90772"/>
                  </a:cubicBezTo>
                  <a:cubicBezTo>
                    <a:pt x="6840" y="91615"/>
                    <a:pt x="6840" y="91615"/>
                    <a:pt x="6840" y="91615"/>
                  </a:cubicBezTo>
                  <a:cubicBezTo>
                    <a:pt x="6644" y="92459"/>
                    <a:pt x="6644" y="92459"/>
                    <a:pt x="6644" y="92459"/>
                  </a:cubicBezTo>
                  <a:cubicBezTo>
                    <a:pt x="6644" y="92459"/>
                    <a:pt x="7426" y="91053"/>
                    <a:pt x="7622" y="90772"/>
                  </a:cubicBezTo>
                  <a:cubicBezTo>
                    <a:pt x="7817" y="90491"/>
                    <a:pt x="8599" y="90210"/>
                    <a:pt x="8599" y="90210"/>
                  </a:cubicBezTo>
                  <a:cubicBezTo>
                    <a:pt x="8599" y="90210"/>
                    <a:pt x="8990" y="90772"/>
                    <a:pt x="9381" y="91053"/>
                  </a:cubicBezTo>
                  <a:cubicBezTo>
                    <a:pt x="9967" y="91053"/>
                    <a:pt x="9967" y="91053"/>
                    <a:pt x="9967" y="91053"/>
                  </a:cubicBezTo>
                  <a:cubicBezTo>
                    <a:pt x="10358" y="91053"/>
                    <a:pt x="11921" y="90772"/>
                    <a:pt x="11921" y="90772"/>
                  </a:cubicBezTo>
                  <a:cubicBezTo>
                    <a:pt x="14071" y="91053"/>
                    <a:pt x="14071" y="91053"/>
                    <a:pt x="14071" y="91053"/>
                  </a:cubicBezTo>
                  <a:cubicBezTo>
                    <a:pt x="15244" y="90210"/>
                    <a:pt x="15244" y="90210"/>
                    <a:pt x="15244" y="90210"/>
                  </a:cubicBezTo>
                  <a:cubicBezTo>
                    <a:pt x="17589" y="90491"/>
                    <a:pt x="17589" y="90491"/>
                    <a:pt x="17589" y="90491"/>
                  </a:cubicBezTo>
                  <a:cubicBezTo>
                    <a:pt x="17980" y="90210"/>
                    <a:pt x="17980" y="90210"/>
                    <a:pt x="17980" y="90210"/>
                  </a:cubicBezTo>
                  <a:cubicBezTo>
                    <a:pt x="18175" y="90491"/>
                    <a:pt x="18175" y="90491"/>
                    <a:pt x="18175" y="90491"/>
                  </a:cubicBezTo>
                  <a:cubicBezTo>
                    <a:pt x="18957" y="90210"/>
                    <a:pt x="18957" y="90210"/>
                    <a:pt x="18957" y="90210"/>
                  </a:cubicBezTo>
                  <a:cubicBezTo>
                    <a:pt x="19739" y="91334"/>
                    <a:pt x="19739" y="91334"/>
                    <a:pt x="19739" y="91334"/>
                  </a:cubicBezTo>
                  <a:cubicBezTo>
                    <a:pt x="21302" y="91053"/>
                    <a:pt x="21302" y="91053"/>
                    <a:pt x="21302" y="91053"/>
                  </a:cubicBezTo>
                  <a:cubicBezTo>
                    <a:pt x="22280" y="89086"/>
                    <a:pt x="22280" y="89086"/>
                    <a:pt x="22280" y="89086"/>
                  </a:cubicBezTo>
                  <a:cubicBezTo>
                    <a:pt x="22280" y="89086"/>
                    <a:pt x="22866" y="88243"/>
                    <a:pt x="23648" y="87962"/>
                  </a:cubicBezTo>
                  <a:cubicBezTo>
                    <a:pt x="24429" y="87962"/>
                    <a:pt x="25798" y="87119"/>
                    <a:pt x="25798" y="87119"/>
                  </a:cubicBezTo>
                  <a:lnTo>
                    <a:pt x="27557" y="85714"/>
                  </a:lnTo>
                  <a:close/>
                </a:path>
              </a:pathLst>
            </a:custGeom>
            <a:solidFill>
              <a:srgbClr val="D9D9D9"/>
            </a:solidFill>
            <a:ln w="3175" cap="flat" cmpd="sng">
              <a:solidFill>
                <a:schemeClr val="tx1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defTabSz="457178"/>
              <a:endParaRPr kern="0">
                <a:solidFill>
                  <a:srgbClr val="7F7F7F"/>
                </a:solidFill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43" name="Shape 2050">
              <a:extLst>
                <a:ext uri="{FF2B5EF4-FFF2-40B4-BE49-F238E27FC236}">
                  <a16:creationId xmlns:a16="http://schemas.microsoft.com/office/drawing/2014/main" id="{A678B777-5EB3-45BB-8781-F505D14F960C}"/>
                </a:ext>
              </a:extLst>
            </p:cNvPr>
            <p:cNvSpPr/>
            <p:nvPr/>
          </p:nvSpPr>
          <p:spPr>
            <a:xfrm>
              <a:off x="5078737" y="538527"/>
              <a:ext cx="643166" cy="1694015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8510" y="13785"/>
                  </a:moveTo>
                  <a:cubicBezTo>
                    <a:pt x="108510" y="13629"/>
                    <a:pt x="108510" y="13629"/>
                    <a:pt x="108510" y="13629"/>
                  </a:cubicBezTo>
                  <a:cubicBezTo>
                    <a:pt x="108510" y="13629"/>
                    <a:pt x="107659" y="13002"/>
                    <a:pt x="108085" y="12689"/>
                  </a:cubicBezTo>
                  <a:cubicBezTo>
                    <a:pt x="108085" y="12689"/>
                    <a:pt x="108085" y="12689"/>
                    <a:pt x="108085" y="12532"/>
                  </a:cubicBezTo>
                  <a:cubicBezTo>
                    <a:pt x="108085" y="12375"/>
                    <a:pt x="108085" y="12375"/>
                    <a:pt x="108085" y="12375"/>
                  </a:cubicBezTo>
                  <a:cubicBezTo>
                    <a:pt x="106382" y="12532"/>
                    <a:pt x="106382" y="12532"/>
                    <a:pt x="106382" y="12532"/>
                  </a:cubicBezTo>
                  <a:cubicBezTo>
                    <a:pt x="105106" y="11906"/>
                    <a:pt x="105106" y="11906"/>
                    <a:pt x="105106" y="11906"/>
                  </a:cubicBezTo>
                  <a:cubicBezTo>
                    <a:pt x="105531" y="11122"/>
                    <a:pt x="105531" y="11122"/>
                    <a:pt x="105531" y="11122"/>
                  </a:cubicBezTo>
                  <a:cubicBezTo>
                    <a:pt x="104680" y="9242"/>
                    <a:pt x="104680" y="9242"/>
                    <a:pt x="104680" y="9242"/>
                  </a:cubicBezTo>
                  <a:cubicBezTo>
                    <a:pt x="105531" y="8302"/>
                    <a:pt x="105531" y="8302"/>
                    <a:pt x="105531" y="8302"/>
                  </a:cubicBezTo>
                  <a:cubicBezTo>
                    <a:pt x="102978" y="7832"/>
                    <a:pt x="102978" y="7832"/>
                    <a:pt x="102978" y="7832"/>
                  </a:cubicBezTo>
                  <a:cubicBezTo>
                    <a:pt x="101276" y="6892"/>
                    <a:pt x="101276" y="6892"/>
                    <a:pt x="101276" y="6892"/>
                  </a:cubicBezTo>
                  <a:cubicBezTo>
                    <a:pt x="101276" y="6892"/>
                    <a:pt x="100851" y="7206"/>
                    <a:pt x="100425" y="7049"/>
                  </a:cubicBezTo>
                  <a:cubicBezTo>
                    <a:pt x="100000" y="6892"/>
                    <a:pt x="97872" y="5639"/>
                    <a:pt x="97872" y="5639"/>
                  </a:cubicBezTo>
                  <a:cubicBezTo>
                    <a:pt x="94042" y="5169"/>
                    <a:pt x="94042" y="5169"/>
                    <a:pt x="94042" y="5169"/>
                  </a:cubicBezTo>
                  <a:cubicBezTo>
                    <a:pt x="92340" y="4856"/>
                    <a:pt x="92340" y="4856"/>
                    <a:pt x="92340" y="4856"/>
                  </a:cubicBezTo>
                  <a:cubicBezTo>
                    <a:pt x="90212" y="4699"/>
                    <a:pt x="90212" y="4699"/>
                    <a:pt x="90212" y="4699"/>
                  </a:cubicBezTo>
                  <a:cubicBezTo>
                    <a:pt x="90212" y="4699"/>
                    <a:pt x="89787" y="5013"/>
                    <a:pt x="89361" y="4699"/>
                  </a:cubicBezTo>
                  <a:cubicBezTo>
                    <a:pt x="88936" y="4386"/>
                    <a:pt x="88085" y="4073"/>
                    <a:pt x="88085" y="4073"/>
                  </a:cubicBezTo>
                  <a:cubicBezTo>
                    <a:pt x="86382" y="4229"/>
                    <a:pt x="86382" y="4229"/>
                    <a:pt x="86382" y="4229"/>
                  </a:cubicBezTo>
                  <a:cubicBezTo>
                    <a:pt x="85106" y="3603"/>
                    <a:pt x="85106" y="3603"/>
                    <a:pt x="85106" y="3603"/>
                  </a:cubicBezTo>
                  <a:cubicBezTo>
                    <a:pt x="85106" y="3603"/>
                    <a:pt x="84680" y="3603"/>
                    <a:pt x="84255" y="3603"/>
                  </a:cubicBezTo>
                  <a:cubicBezTo>
                    <a:pt x="83829" y="3446"/>
                    <a:pt x="82978" y="3289"/>
                    <a:pt x="82978" y="3289"/>
                  </a:cubicBezTo>
                  <a:cubicBezTo>
                    <a:pt x="81702" y="2506"/>
                    <a:pt x="81702" y="2506"/>
                    <a:pt x="81702" y="2506"/>
                  </a:cubicBezTo>
                  <a:cubicBezTo>
                    <a:pt x="80000" y="2193"/>
                    <a:pt x="80000" y="2193"/>
                    <a:pt x="80000" y="2193"/>
                  </a:cubicBezTo>
                  <a:cubicBezTo>
                    <a:pt x="77872" y="1879"/>
                    <a:pt x="77872" y="1879"/>
                    <a:pt x="77872" y="1879"/>
                  </a:cubicBezTo>
                  <a:cubicBezTo>
                    <a:pt x="77872" y="1253"/>
                    <a:pt x="77872" y="1253"/>
                    <a:pt x="77872" y="1253"/>
                  </a:cubicBezTo>
                  <a:cubicBezTo>
                    <a:pt x="74893" y="626"/>
                    <a:pt x="74893" y="626"/>
                    <a:pt x="74893" y="626"/>
                  </a:cubicBezTo>
                  <a:cubicBezTo>
                    <a:pt x="74893" y="626"/>
                    <a:pt x="74468" y="313"/>
                    <a:pt x="74893" y="313"/>
                  </a:cubicBezTo>
                  <a:cubicBezTo>
                    <a:pt x="75319" y="156"/>
                    <a:pt x="76595" y="156"/>
                    <a:pt x="77446" y="156"/>
                  </a:cubicBezTo>
                  <a:cubicBezTo>
                    <a:pt x="75319" y="0"/>
                    <a:pt x="75319" y="0"/>
                    <a:pt x="75319" y="0"/>
                  </a:cubicBezTo>
                  <a:cubicBezTo>
                    <a:pt x="72765" y="783"/>
                    <a:pt x="72765" y="783"/>
                    <a:pt x="72765" y="783"/>
                  </a:cubicBezTo>
                  <a:cubicBezTo>
                    <a:pt x="71489" y="783"/>
                    <a:pt x="71489" y="783"/>
                    <a:pt x="71489" y="783"/>
                  </a:cubicBezTo>
                  <a:cubicBezTo>
                    <a:pt x="71489" y="783"/>
                    <a:pt x="70638" y="939"/>
                    <a:pt x="70638" y="1096"/>
                  </a:cubicBezTo>
                  <a:cubicBezTo>
                    <a:pt x="71063" y="1253"/>
                    <a:pt x="71914" y="2663"/>
                    <a:pt x="72340" y="2976"/>
                  </a:cubicBezTo>
                  <a:cubicBezTo>
                    <a:pt x="72765" y="3133"/>
                    <a:pt x="72765" y="4229"/>
                    <a:pt x="71063" y="5013"/>
                  </a:cubicBezTo>
                  <a:cubicBezTo>
                    <a:pt x="72765" y="5639"/>
                    <a:pt x="72765" y="5639"/>
                    <a:pt x="72765" y="5639"/>
                  </a:cubicBezTo>
                  <a:cubicBezTo>
                    <a:pt x="71063" y="6422"/>
                    <a:pt x="71063" y="6422"/>
                    <a:pt x="71063" y="6422"/>
                  </a:cubicBezTo>
                  <a:cubicBezTo>
                    <a:pt x="68510" y="6579"/>
                    <a:pt x="68510" y="6579"/>
                    <a:pt x="68510" y="6579"/>
                  </a:cubicBezTo>
                  <a:cubicBezTo>
                    <a:pt x="68510" y="6579"/>
                    <a:pt x="65957" y="6422"/>
                    <a:pt x="65531" y="6266"/>
                  </a:cubicBezTo>
                  <a:cubicBezTo>
                    <a:pt x="65106" y="6109"/>
                    <a:pt x="62978" y="5796"/>
                    <a:pt x="62553" y="5796"/>
                  </a:cubicBezTo>
                  <a:cubicBezTo>
                    <a:pt x="61702" y="5953"/>
                    <a:pt x="55744" y="5796"/>
                    <a:pt x="55744" y="5796"/>
                  </a:cubicBezTo>
                  <a:cubicBezTo>
                    <a:pt x="54468" y="6422"/>
                    <a:pt x="54893" y="9712"/>
                    <a:pt x="55319" y="10182"/>
                  </a:cubicBezTo>
                  <a:cubicBezTo>
                    <a:pt x="54468" y="10809"/>
                    <a:pt x="54468" y="10809"/>
                    <a:pt x="54468" y="10809"/>
                  </a:cubicBezTo>
                  <a:cubicBezTo>
                    <a:pt x="52340" y="10809"/>
                    <a:pt x="52340" y="10809"/>
                    <a:pt x="52340" y="10809"/>
                  </a:cubicBezTo>
                  <a:cubicBezTo>
                    <a:pt x="48085" y="10026"/>
                    <a:pt x="48085" y="10026"/>
                    <a:pt x="48085" y="10026"/>
                  </a:cubicBezTo>
                  <a:cubicBezTo>
                    <a:pt x="46382" y="11279"/>
                    <a:pt x="46382" y="11279"/>
                    <a:pt x="46382" y="11279"/>
                  </a:cubicBezTo>
                  <a:cubicBezTo>
                    <a:pt x="46382" y="11279"/>
                    <a:pt x="44680" y="11906"/>
                    <a:pt x="44680" y="12219"/>
                  </a:cubicBezTo>
                  <a:cubicBezTo>
                    <a:pt x="44680" y="12375"/>
                    <a:pt x="43829" y="13002"/>
                    <a:pt x="43829" y="13002"/>
                  </a:cubicBezTo>
                  <a:cubicBezTo>
                    <a:pt x="43829" y="13159"/>
                    <a:pt x="43829" y="14255"/>
                    <a:pt x="43829" y="14255"/>
                  </a:cubicBezTo>
                  <a:cubicBezTo>
                    <a:pt x="42978" y="14882"/>
                    <a:pt x="42978" y="14882"/>
                    <a:pt x="42978" y="14882"/>
                  </a:cubicBezTo>
                  <a:cubicBezTo>
                    <a:pt x="40425" y="15509"/>
                    <a:pt x="40425" y="15509"/>
                    <a:pt x="40425" y="15509"/>
                  </a:cubicBezTo>
                  <a:cubicBezTo>
                    <a:pt x="40425" y="16292"/>
                    <a:pt x="40425" y="16292"/>
                    <a:pt x="40425" y="16292"/>
                  </a:cubicBezTo>
                  <a:cubicBezTo>
                    <a:pt x="40425" y="16292"/>
                    <a:pt x="41702" y="17232"/>
                    <a:pt x="42553" y="17389"/>
                  </a:cubicBezTo>
                  <a:cubicBezTo>
                    <a:pt x="42978" y="17702"/>
                    <a:pt x="43829" y="18955"/>
                    <a:pt x="43829" y="18955"/>
                  </a:cubicBezTo>
                  <a:cubicBezTo>
                    <a:pt x="43829" y="18955"/>
                    <a:pt x="42553" y="20052"/>
                    <a:pt x="42127" y="20365"/>
                  </a:cubicBezTo>
                  <a:cubicBezTo>
                    <a:pt x="41702" y="20678"/>
                    <a:pt x="38297" y="22245"/>
                    <a:pt x="38297" y="22245"/>
                  </a:cubicBezTo>
                  <a:cubicBezTo>
                    <a:pt x="36170" y="24281"/>
                    <a:pt x="36170" y="24281"/>
                    <a:pt x="36170" y="24281"/>
                  </a:cubicBezTo>
                  <a:cubicBezTo>
                    <a:pt x="36170" y="25691"/>
                    <a:pt x="36170" y="25691"/>
                    <a:pt x="36170" y="25691"/>
                  </a:cubicBezTo>
                  <a:cubicBezTo>
                    <a:pt x="35744" y="26475"/>
                    <a:pt x="35744" y="26475"/>
                    <a:pt x="35744" y="26475"/>
                  </a:cubicBezTo>
                  <a:cubicBezTo>
                    <a:pt x="32765" y="27571"/>
                    <a:pt x="32765" y="27571"/>
                    <a:pt x="32765" y="27571"/>
                  </a:cubicBezTo>
                  <a:cubicBezTo>
                    <a:pt x="28936" y="27728"/>
                    <a:pt x="28936" y="27728"/>
                    <a:pt x="28936" y="27728"/>
                  </a:cubicBezTo>
                  <a:cubicBezTo>
                    <a:pt x="27659" y="28198"/>
                    <a:pt x="27659" y="28198"/>
                    <a:pt x="27659" y="28198"/>
                  </a:cubicBezTo>
                  <a:cubicBezTo>
                    <a:pt x="29787" y="30861"/>
                    <a:pt x="29787" y="30861"/>
                    <a:pt x="29787" y="30861"/>
                  </a:cubicBezTo>
                  <a:cubicBezTo>
                    <a:pt x="28936" y="32114"/>
                    <a:pt x="28936" y="32114"/>
                    <a:pt x="28936" y="32114"/>
                  </a:cubicBezTo>
                  <a:cubicBezTo>
                    <a:pt x="28510" y="33211"/>
                    <a:pt x="28510" y="33211"/>
                    <a:pt x="28510" y="33211"/>
                  </a:cubicBezTo>
                  <a:cubicBezTo>
                    <a:pt x="28510" y="33211"/>
                    <a:pt x="27659" y="34151"/>
                    <a:pt x="28085" y="34308"/>
                  </a:cubicBezTo>
                  <a:cubicBezTo>
                    <a:pt x="28510" y="34621"/>
                    <a:pt x="28936" y="35248"/>
                    <a:pt x="28936" y="35248"/>
                  </a:cubicBezTo>
                  <a:cubicBezTo>
                    <a:pt x="27234" y="35718"/>
                    <a:pt x="27234" y="35718"/>
                    <a:pt x="27234" y="35718"/>
                  </a:cubicBezTo>
                  <a:cubicBezTo>
                    <a:pt x="27659" y="36657"/>
                    <a:pt x="27659" y="36657"/>
                    <a:pt x="27659" y="36657"/>
                  </a:cubicBezTo>
                  <a:cubicBezTo>
                    <a:pt x="21276" y="40731"/>
                    <a:pt x="21276" y="40731"/>
                    <a:pt x="21276" y="40731"/>
                  </a:cubicBezTo>
                  <a:cubicBezTo>
                    <a:pt x="22127" y="41514"/>
                    <a:pt x="22127" y="41514"/>
                    <a:pt x="22127" y="41514"/>
                  </a:cubicBezTo>
                  <a:cubicBezTo>
                    <a:pt x="25957" y="41827"/>
                    <a:pt x="25957" y="41827"/>
                    <a:pt x="25957" y="41827"/>
                  </a:cubicBezTo>
                  <a:cubicBezTo>
                    <a:pt x="26382" y="44334"/>
                    <a:pt x="26382" y="44334"/>
                    <a:pt x="26382" y="44334"/>
                  </a:cubicBezTo>
                  <a:cubicBezTo>
                    <a:pt x="25106" y="45430"/>
                    <a:pt x="25106" y="45430"/>
                    <a:pt x="25106" y="45430"/>
                  </a:cubicBezTo>
                  <a:cubicBezTo>
                    <a:pt x="24680" y="45744"/>
                    <a:pt x="24680" y="45744"/>
                    <a:pt x="24680" y="45744"/>
                  </a:cubicBezTo>
                  <a:cubicBezTo>
                    <a:pt x="14468" y="45900"/>
                    <a:pt x="14468" y="45900"/>
                    <a:pt x="14468" y="45900"/>
                  </a:cubicBezTo>
                  <a:cubicBezTo>
                    <a:pt x="8936" y="48563"/>
                    <a:pt x="8936" y="48563"/>
                    <a:pt x="8936" y="48563"/>
                  </a:cubicBezTo>
                  <a:cubicBezTo>
                    <a:pt x="8085" y="50130"/>
                    <a:pt x="8085" y="50130"/>
                    <a:pt x="8085" y="50130"/>
                  </a:cubicBezTo>
                  <a:cubicBezTo>
                    <a:pt x="7659" y="51227"/>
                    <a:pt x="7659" y="51227"/>
                    <a:pt x="7659" y="51227"/>
                  </a:cubicBezTo>
                  <a:cubicBezTo>
                    <a:pt x="7659" y="51227"/>
                    <a:pt x="6382" y="51853"/>
                    <a:pt x="6382" y="52167"/>
                  </a:cubicBezTo>
                  <a:cubicBezTo>
                    <a:pt x="6382" y="52323"/>
                    <a:pt x="6382" y="53263"/>
                    <a:pt x="6382" y="53263"/>
                  </a:cubicBezTo>
                  <a:cubicBezTo>
                    <a:pt x="8085" y="54516"/>
                    <a:pt x="8085" y="54516"/>
                    <a:pt x="8085" y="54516"/>
                  </a:cubicBezTo>
                  <a:cubicBezTo>
                    <a:pt x="8085" y="55456"/>
                    <a:pt x="8085" y="55456"/>
                    <a:pt x="8085" y="55456"/>
                  </a:cubicBezTo>
                  <a:cubicBezTo>
                    <a:pt x="7234" y="55926"/>
                    <a:pt x="7234" y="55926"/>
                    <a:pt x="7234" y="55926"/>
                  </a:cubicBezTo>
                  <a:cubicBezTo>
                    <a:pt x="7659" y="57023"/>
                    <a:pt x="7659" y="57023"/>
                    <a:pt x="7659" y="57023"/>
                  </a:cubicBezTo>
                  <a:cubicBezTo>
                    <a:pt x="7659" y="57023"/>
                    <a:pt x="8085" y="57336"/>
                    <a:pt x="7659" y="57493"/>
                  </a:cubicBezTo>
                  <a:cubicBezTo>
                    <a:pt x="6808" y="57806"/>
                    <a:pt x="6808" y="58120"/>
                    <a:pt x="7234" y="58433"/>
                  </a:cubicBezTo>
                  <a:cubicBezTo>
                    <a:pt x="7234" y="58590"/>
                    <a:pt x="10212" y="60626"/>
                    <a:pt x="10212" y="60626"/>
                  </a:cubicBezTo>
                  <a:cubicBezTo>
                    <a:pt x="10638" y="65483"/>
                    <a:pt x="10638" y="65483"/>
                    <a:pt x="10638" y="65483"/>
                  </a:cubicBezTo>
                  <a:cubicBezTo>
                    <a:pt x="11914" y="66736"/>
                    <a:pt x="11914" y="66736"/>
                    <a:pt x="11914" y="66736"/>
                  </a:cubicBezTo>
                  <a:cubicBezTo>
                    <a:pt x="14893" y="67519"/>
                    <a:pt x="14893" y="67519"/>
                    <a:pt x="14893" y="67519"/>
                  </a:cubicBezTo>
                  <a:cubicBezTo>
                    <a:pt x="17446" y="68302"/>
                    <a:pt x="17446" y="68302"/>
                    <a:pt x="17446" y="68302"/>
                  </a:cubicBezTo>
                  <a:cubicBezTo>
                    <a:pt x="17872" y="69712"/>
                    <a:pt x="17872" y="69712"/>
                    <a:pt x="17872" y="69712"/>
                  </a:cubicBezTo>
                  <a:cubicBezTo>
                    <a:pt x="17872" y="69712"/>
                    <a:pt x="17021" y="70809"/>
                    <a:pt x="17021" y="70966"/>
                  </a:cubicBezTo>
                  <a:cubicBezTo>
                    <a:pt x="17446" y="71122"/>
                    <a:pt x="14893" y="71122"/>
                    <a:pt x="14893" y="71122"/>
                  </a:cubicBezTo>
                  <a:cubicBezTo>
                    <a:pt x="12765" y="71279"/>
                    <a:pt x="12765" y="71279"/>
                    <a:pt x="12765" y="71279"/>
                  </a:cubicBezTo>
                  <a:cubicBezTo>
                    <a:pt x="10638" y="72062"/>
                    <a:pt x="10638" y="72062"/>
                    <a:pt x="10638" y="72062"/>
                  </a:cubicBezTo>
                  <a:cubicBezTo>
                    <a:pt x="11489" y="73002"/>
                    <a:pt x="11489" y="73002"/>
                    <a:pt x="11489" y="73002"/>
                  </a:cubicBezTo>
                  <a:cubicBezTo>
                    <a:pt x="12765" y="74412"/>
                    <a:pt x="12765" y="74412"/>
                    <a:pt x="12765" y="74412"/>
                  </a:cubicBezTo>
                  <a:cubicBezTo>
                    <a:pt x="15319" y="75509"/>
                    <a:pt x="15319" y="75509"/>
                    <a:pt x="15319" y="75509"/>
                  </a:cubicBezTo>
                  <a:cubicBezTo>
                    <a:pt x="16170" y="76449"/>
                    <a:pt x="16170" y="76449"/>
                    <a:pt x="16170" y="76449"/>
                  </a:cubicBezTo>
                  <a:cubicBezTo>
                    <a:pt x="14893" y="77389"/>
                    <a:pt x="14893" y="77389"/>
                    <a:pt x="14893" y="77389"/>
                  </a:cubicBezTo>
                  <a:cubicBezTo>
                    <a:pt x="14042" y="77859"/>
                    <a:pt x="14042" y="77859"/>
                    <a:pt x="14042" y="77859"/>
                  </a:cubicBezTo>
                  <a:cubicBezTo>
                    <a:pt x="14893" y="78642"/>
                    <a:pt x="14893" y="78642"/>
                    <a:pt x="14893" y="78642"/>
                  </a:cubicBezTo>
                  <a:cubicBezTo>
                    <a:pt x="14893" y="79425"/>
                    <a:pt x="14893" y="79425"/>
                    <a:pt x="14893" y="79425"/>
                  </a:cubicBezTo>
                  <a:cubicBezTo>
                    <a:pt x="14893" y="79425"/>
                    <a:pt x="14042" y="79895"/>
                    <a:pt x="14042" y="80052"/>
                  </a:cubicBezTo>
                  <a:cubicBezTo>
                    <a:pt x="14042" y="80208"/>
                    <a:pt x="12340" y="80678"/>
                    <a:pt x="12340" y="80678"/>
                  </a:cubicBezTo>
                  <a:cubicBezTo>
                    <a:pt x="11063" y="81148"/>
                    <a:pt x="11063" y="81148"/>
                    <a:pt x="11063" y="81148"/>
                  </a:cubicBezTo>
                  <a:cubicBezTo>
                    <a:pt x="9787" y="81305"/>
                    <a:pt x="9787" y="81305"/>
                    <a:pt x="9787" y="81305"/>
                  </a:cubicBezTo>
                  <a:cubicBezTo>
                    <a:pt x="9787" y="81305"/>
                    <a:pt x="8936" y="81148"/>
                    <a:pt x="8510" y="81305"/>
                  </a:cubicBezTo>
                  <a:cubicBezTo>
                    <a:pt x="8510" y="81305"/>
                    <a:pt x="7659" y="81618"/>
                    <a:pt x="7659" y="81618"/>
                  </a:cubicBezTo>
                  <a:cubicBezTo>
                    <a:pt x="7659" y="82088"/>
                    <a:pt x="7659" y="82088"/>
                    <a:pt x="7659" y="82088"/>
                  </a:cubicBezTo>
                  <a:cubicBezTo>
                    <a:pt x="8510" y="82402"/>
                    <a:pt x="8510" y="82402"/>
                    <a:pt x="8510" y="82402"/>
                  </a:cubicBezTo>
                  <a:cubicBezTo>
                    <a:pt x="8085" y="83185"/>
                    <a:pt x="8085" y="83185"/>
                    <a:pt x="8085" y="83185"/>
                  </a:cubicBezTo>
                  <a:cubicBezTo>
                    <a:pt x="6808" y="83655"/>
                    <a:pt x="6808" y="83655"/>
                    <a:pt x="6808" y="83655"/>
                  </a:cubicBezTo>
                  <a:cubicBezTo>
                    <a:pt x="5531" y="83812"/>
                    <a:pt x="5531" y="83812"/>
                    <a:pt x="5531" y="83812"/>
                  </a:cubicBezTo>
                  <a:cubicBezTo>
                    <a:pt x="6382" y="84751"/>
                    <a:pt x="6382" y="84751"/>
                    <a:pt x="6382" y="84751"/>
                  </a:cubicBezTo>
                  <a:cubicBezTo>
                    <a:pt x="8085" y="85848"/>
                    <a:pt x="8085" y="85848"/>
                    <a:pt x="8085" y="85848"/>
                  </a:cubicBezTo>
                  <a:cubicBezTo>
                    <a:pt x="8085" y="86788"/>
                    <a:pt x="8085" y="86788"/>
                    <a:pt x="8085" y="86788"/>
                  </a:cubicBezTo>
                  <a:cubicBezTo>
                    <a:pt x="6808" y="87728"/>
                    <a:pt x="6808" y="87728"/>
                    <a:pt x="6808" y="87728"/>
                  </a:cubicBezTo>
                  <a:cubicBezTo>
                    <a:pt x="6382" y="88825"/>
                    <a:pt x="6382" y="88825"/>
                    <a:pt x="6382" y="88825"/>
                  </a:cubicBezTo>
                  <a:cubicBezTo>
                    <a:pt x="5957" y="89765"/>
                    <a:pt x="5957" y="89765"/>
                    <a:pt x="5957" y="89765"/>
                  </a:cubicBezTo>
                  <a:cubicBezTo>
                    <a:pt x="5106" y="89921"/>
                    <a:pt x="5106" y="89921"/>
                    <a:pt x="5106" y="89921"/>
                  </a:cubicBezTo>
                  <a:cubicBezTo>
                    <a:pt x="3829" y="89921"/>
                    <a:pt x="3829" y="89921"/>
                    <a:pt x="3829" y="89921"/>
                  </a:cubicBezTo>
                  <a:cubicBezTo>
                    <a:pt x="3829" y="89921"/>
                    <a:pt x="3829" y="88981"/>
                    <a:pt x="3404" y="88825"/>
                  </a:cubicBezTo>
                  <a:cubicBezTo>
                    <a:pt x="3404" y="88825"/>
                    <a:pt x="425" y="87885"/>
                    <a:pt x="425" y="87885"/>
                  </a:cubicBezTo>
                  <a:cubicBezTo>
                    <a:pt x="425" y="88825"/>
                    <a:pt x="425" y="88825"/>
                    <a:pt x="425" y="88825"/>
                  </a:cubicBezTo>
                  <a:cubicBezTo>
                    <a:pt x="0" y="89921"/>
                    <a:pt x="0" y="89921"/>
                    <a:pt x="0" y="89921"/>
                  </a:cubicBezTo>
                  <a:cubicBezTo>
                    <a:pt x="0" y="89921"/>
                    <a:pt x="425" y="90548"/>
                    <a:pt x="851" y="90704"/>
                  </a:cubicBezTo>
                  <a:cubicBezTo>
                    <a:pt x="1276" y="90861"/>
                    <a:pt x="1702" y="91958"/>
                    <a:pt x="1702" y="91958"/>
                  </a:cubicBezTo>
                  <a:cubicBezTo>
                    <a:pt x="1276" y="93054"/>
                    <a:pt x="1276" y="93054"/>
                    <a:pt x="1276" y="93054"/>
                  </a:cubicBezTo>
                  <a:cubicBezTo>
                    <a:pt x="1276" y="93054"/>
                    <a:pt x="2127" y="93838"/>
                    <a:pt x="2127" y="93838"/>
                  </a:cubicBezTo>
                  <a:cubicBezTo>
                    <a:pt x="2127" y="93994"/>
                    <a:pt x="2553" y="94621"/>
                    <a:pt x="2553" y="94621"/>
                  </a:cubicBezTo>
                  <a:cubicBezTo>
                    <a:pt x="4255" y="94464"/>
                    <a:pt x="4255" y="94464"/>
                    <a:pt x="4255" y="94464"/>
                  </a:cubicBezTo>
                  <a:cubicBezTo>
                    <a:pt x="3829" y="93994"/>
                    <a:pt x="3829" y="93994"/>
                    <a:pt x="3829" y="93994"/>
                  </a:cubicBezTo>
                  <a:cubicBezTo>
                    <a:pt x="5106" y="94621"/>
                    <a:pt x="5106" y="94621"/>
                    <a:pt x="5106" y="94621"/>
                  </a:cubicBezTo>
                  <a:cubicBezTo>
                    <a:pt x="5106" y="94621"/>
                    <a:pt x="4255" y="94778"/>
                    <a:pt x="5106" y="94621"/>
                  </a:cubicBezTo>
                  <a:cubicBezTo>
                    <a:pt x="5531" y="94621"/>
                    <a:pt x="6382" y="94308"/>
                    <a:pt x="6382" y="94308"/>
                  </a:cubicBezTo>
                  <a:cubicBezTo>
                    <a:pt x="5957" y="94778"/>
                    <a:pt x="5957" y="94778"/>
                    <a:pt x="5957" y="94778"/>
                  </a:cubicBezTo>
                  <a:cubicBezTo>
                    <a:pt x="5106" y="95404"/>
                    <a:pt x="5106" y="95404"/>
                    <a:pt x="5106" y="95404"/>
                  </a:cubicBezTo>
                  <a:cubicBezTo>
                    <a:pt x="5531" y="95561"/>
                    <a:pt x="5531" y="95561"/>
                    <a:pt x="5531" y="95561"/>
                  </a:cubicBezTo>
                  <a:cubicBezTo>
                    <a:pt x="6808" y="95718"/>
                    <a:pt x="6808" y="95718"/>
                    <a:pt x="6808" y="95718"/>
                  </a:cubicBezTo>
                  <a:cubicBezTo>
                    <a:pt x="5106" y="96501"/>
                    <a:pt x="5106" y="96501"/>
                    <a:pt x="5106" y="96501"/>
                  </a:cubicBezTo>
                  <a:cubicBezTo>
                    <a:pt x="5106" y="96501"/>
                    <a:pt x="5957" y="96971"/>
                    <a:pt x="6382" y="97127"/>
                  </a:cubicBezTo>
                  <a:cubicBezTo>
                    <a:pt x="6382" y="97127"/>
                    <a:pt x="8085" y="96657"/>
                    <a:pt x="8085" y="96657"/>
                  </a:cubicBezTo>
                  <a:cubicBezTo>
                    <a:pt x="8085" y="96657"/>
                    <a:pt x="8085" y="96814"/>
                    <a:pt x="8085" y="96971"/>
                  </a:cubicBezTo>
                  <a:cubicBezTo>
                    <a:pt x="8085" y="96971"/>
                    <a:pt x="6808" y="97441"/>
                    <a:pt x="6808" y="97754"/>
                  </a:cubicBezTo>
                  <a:cubicBezTo>
                    <a:pt x="7234" y="97911"/>
                    <a:pt x="9361" y="97597"/>
                    <a:pt x="8936" y="97754"/>
                  </a:cubicBezTo>
                  <a:cubicBezTo>
                    <a:pt x="8510" y="97911"/>
                    <a:pt x="8510" y="98224"/>
                    <a:pt x="8510" y="98224"/>
                  </a:cubicBezTo>
                  <a:cubicBezTo>
                    <a:pt x="8510" y="98224"/>
                    <a:pt x="7234" y="98694"/>
                    <a:pt x="8085" y="98851"/>
                  </a:cubicBezTo>
                  <a:cubicBezTo>
                    <a:pt x="8510" y="99007"/>
                    <a:pt x="9787" y="99164"/>
                    <a:pt x="9361" y="99164"/>
                  </a:cubicBezTo>
                  <a:cubicBezTo>
                    <a:pt x="9361" y="99321"/>
                    <a:pt x="8085" y="99634"/>
                    <a:pt x="8085" y="99634"/>
                  </a:cubicBezTo>
                  <a:cubicBezTo>
                    <a:pt x="8085" y="99634"/>
                    <a:pt x="7659" y="99947"/>
                    <a:pt x="8085" y="100104"/>
                  </a:cubicBezTo>
                  <a:cubicBezTo>
                    <a:pt x="8510" y="100261"/>
                    <a:pt x="9787" y="100261"/>
                    <a:pt x="9787" y="100261"/>
                  </a:cubicBezTo>
                  <a:cubicBezTo>
                    <a:pt x="9787" y="100261"/>
                    <a:pt x="9787" y="99947"/>
                    <a:pt x="9787" y="100104"/>
                  </a:cubicBezTo>
                  <a:cubicBezTo>
                    <a:pt x="9787" y="100261"/>
                    <a:pt x="9361" y="100574"/>
                    <a:pt x="9361" y="100574"/>
                  </a:cubicBezTo>
                  <a:cubicBezTo>
                    <a:pt x="9361" y="100574"/>
                    <a:pt x="8936" y="100887"/>
                    <a:pt x="9361" y="101044"/>
                  </a:cubicBezTo>
                  <a:cubicBezTo>
                    <a:pt x="9787" y="101044"/>
                    <a:pt x="10638" y="101044"/>
                    <a:pt x="10638" y="101044"/>
                  </a:cubicBezTo>
                  <a:cubicBezTo>
                    <a:pt x="10638" y="101044"/>
                    <a:pt x="10638" y="101201"/>
                    <a:pt x="10638" y="101514"/>
                  </a:cubicBezTo>
                  <a:cubicBezTo>
                    <a:pt x="10638" y="101671"/>
                    <a:pt x="10638" y="102140"/>
                    <a:pt x="10638" y="102140"/>
                  </a:cubicBezTo>
                  <a:cubicBezTo>
                    <a:pt x="10638" y="102297"/>
                    <a:pt x="10638" y="102610"/>
                    <a:pt x="10638" y="102610"/>
                  </a:cubicBezTo>
                  <a:cubicBezTo>
                    <a:pt x="10638" y="102610"/>
                    <a:pt x="10212" y="102767"/>
                    <a:pt x="11489" y="102767"/>
                  </a:cubicBezTo>
                  <a:cubicBezTo>
                    <a:pt x="12340" y="102767"/>
                    <a:pt x="12340" y="102610"/>
                    <a:pt x="12765" y="102610"/>
                  </a:cubicBezTo>
                  <a:cubicBezTo>
                    <a:pt x="13191" y="102610"/>
                    <a:pt x="13191" y="102767"/>
                    <a:pt x="13617" y="102924"/>
                  </a:cubicBezTo>
                  <a:cubicBezTo>
                    <a:pt x="13617" y="103237"/>
                    <a:pt x="13617" y="103394"/>
                    <a:pt x="13617" y="103550"/>
                  </a:cubicBezTo>
                  <a:cubicBezTo>
                    <a:pt x="14042" y="103707"/>
                    <a:pt x="15744" y="105274"/>
                    <a:pt x="15744" y="105274"/>
                  </a:cubicBezTo>
                  <a:cubicBezTo>
                    <a:pt x="15744" y="105274"/>
                    <a:pt x="16170" y="105900"/>
                    <a:pt x="16595" y="106057"/>
                  </a:cubicBezTo>
                  <a:cubicBezTo>
                    <a:pt x="16595" y="106214"/>
                    <a:pt x="17021" y="106370"/>
                    <a:pt x="17446" y="106527"/>
                  </a:cubicBezTo>
                  <a:cubicBezTo>
                    <a:pt x="17446" y="106527"/>
                    <a:pt x="18297" y="106997"/>
                    <a:pt x="18297" y="106997"/>
                  </a:cubicBezTo>
                  <a:cubicBezTo>
                    <a:pt x="19574" y="107310"/>
                    <a:pt x="19574" y="107310"/>
                    <a:pt x="19574" y="107310"/>
                  </a:cubicBezTo>
                  <a:cubicBezTo>
                    <a:pt x="21276" y="108407"/>
                    <a:pt x="21276" y="108407"/>
                    <a:pt x="21276" y="108407"/>
                  </a:cubicBezTo>
                  <a:cubicBezTo>
                    <a:pt x="21276" y="108407"/>
                    <a:pt x="22553" y="108877"/>
                    <a:pt x="22553" y="108877"/>
                  </a:cubicBezTo>
                  <a:cubicBezTo>
                    <a:pt x="22978" y="108877"/>
                    <a:pt x="23829" y="108563"/>
                    <a:pt x="23829" y="108563"/>
                  </a:cubicBezTo>
                  <a:cubicBezTo>
                    <a:pt x="23829" y="108563"/>
                    <a:pt x="25106" y="108720"/>
                    <a:pt x="25106" y="108877"/>
                  </a:cubicBezTo>
                  <a:cubicBezTo>
                    <a:pt x="24680" y="108877"/>
                    <a:pt x="24255" y="109503"/>
                    <a:pt x="24255" y="109660"/>
                  </a:cubicBezTo>
                  <a:cubicBezTo>
                    <a:pt x="24680" y="109817"/>
                    <a:pt x="24680" y="110130"/>
                    <a:pt x="24680" y="110130"/>
                  </a:cubicBezTo>
                  <a:cubicBezTo>
                    <a:pt x="23829" y="110287"/>
                    <a:pt x="23829" y="110287"/>
                    <a:pt x="23829" y="110287"/>
                  </a:cubicBezTo>
                  <a:cubicBezTo>
                    <a:pt x="22978" y="110443"/>
                    <a:pt x="22978" y="110443"/>
                    <a:pt x="22978" y="110443"/>
                  </a:cubicBezTo>
                  <a:cubicBezTo>
                    <a:pt x="21276" y="110443"/>
                    <a:pt x="21276" y="110443"/>
                    <a:pt x="21276" y="110443"/>
                  </a:cubicBezTo>
                  <a:cubicBezTo>
                    <a:pt x="20851" y="111070"/>
                    <a:pt x="20851" y="111070"/>
                    <a:pt x="20851" y="111070"/>
                  </a:cubicBezTo>
                  <a:cubicBezTo>
                    <a:pt x="22553" y="111383"/>
                    <a:pt x="22553" y="111383"/>
                    <a:pt x="22553" y="111383"/>
                  </a:cubicBezTo>
                  <a:cubicBezTo>
                    <a:pt x="22553" y="111383"/>
                    <a:pt x="23404" y="111697"/>
                    <a:pt x="23829" y="111697"/>
                  </a:cubicBezTo>
                  <a:cubicBezTo>
                    <a:pt x="23829" y="111853"/>
                    <a:pt x="23829" y="112480"/>
                    <a:pt x="23829" y="112480"/>
                  </a:cubicBezTo>
                  <a:cubicBezTo>
                    <a:pt x="23404" y="112480"/>
                    <a:pt x="21702" y="112480"/>
                    <a:pt x="21702" y="112480"/>
                  </a:cubicBezTo>
                  <a:cubicBezTo>
                    <a:pt x="21702" y="112480"/>
                    <a:pt x="20851" y="112950"/>
                    <a:pt x="20851" y="112950"/>
                  </a:cubicBezTo>
                  <a:cubicBezTo>
                    <a:pt x="20851" y="113107"/>
                    <a:pt x="20425" y="113107"/>
                    <a:pt x="21276" y="113577"/>
                  </a:cubicBezTo>
                  <a:cubicBezTo>
                    <a:pt x="21702" y="113890"/>
                    <a:pt x="23829" y="114830"/>
                    <a:pt x="23829" y="114830"/>
                  </a:cubicBezTo>
                  <a:cubicBezTo>
                    <a:pt x="23829" y="114830"/>
                    <a:pt x="25531" y="115770"/>
                    <a:pt x="25531" y="115770"/>
                  </a:cubicBezTo>
                  <a:cubicBezTo>
                    <a:pt x="25531" y="115926"/>
                    <a:pt x="26808" y="116553"/>
                    <a:pt x="26808" y="116553"/>
                  </a:cubicBezTo>
                  <a:cubicBezTo>
                    <a:pt x="27234" y="116553"/>
                    <a:pt x="27234" y="117180"/>
                    <a:pt x="27234" y="117180"/>
                  </a:cubicBezTo>
                  <a:cubicBezTo>
                    <a:pt x="26808" y="117493"/>
                    <a:pt x="26808" y="117493"/>
                    <a:pt x="26808" y="117493"/>
                  </a:cubicBezTo>
                  <a:cubicBezTo>
                    <a:pt x="26382" y="117963"/>
                    <a:pt x="26382" y="117963"/>
                    <a:pt x="26382" y="117963"/>
                  </a:cubicBezTo>
                  <a:cubicBezTo>
                    <a:pt x="25957" y="118433"/>
                    <a:pt x="25957" y="118433"/>
                    <a:pt x="25957" y="118433"/>
                  </a:cubicBezTo>
                  <a:cubicBezTo>
                    <a:pt x="26382" y="118746"/>
                    <a:pt x="26382" y="118746"/>
                    <a:pt x="26382" y="118746"/>
                  </a:cubicBezTo>
                  <a:cubicBezTo>
                    <a:pt x="25957" y="119060"/>
                    <a:pt x="25957" y="119060"/>
                    <a:pt x="25957" y="119060"/>
                  </a:cubicBezTo>
                  <a:cubicBezTo>
                    <a:pt x="25106" y="119530"/>
                    <a:pt x="25106" y="119530"/>
                    <a:pt x="25106" y="119530"/>
                  </a:cubicBezTo>
                  <a:cubicBezTo>
                    <a:pt x="27234" y="119686"/>
                    <a:pt x="27234" y="119686"/>
                    <a:pt x="27234" y="119686"/>
                  </a:cubicBezTo>
                  <a:cubicBezTo>
                    <a:pt x="29787" y="119530"/>
                    <a:pt x="29787" y="119530"/>
                    <a:pt x="29787" y="119530"/>
                  </a:cubicBezTo>
                  <a:cubicBezTo>
                    <a:pt x="29787" y="119530"/>
                    <a:pt x="30212" y="119843"/>
                    <a:pt x="30212" y="119843"/>
                  </a:cubicBezTo>
                  <a:cubicBezTo>
                    <a:pt x="30638" y="120000"/>
                    <a:pt x="32765" y="119843"/>
                    <a:pt x="32765" y="119843"/>
                  </a:cubicBezTo>
                  <a:cubicBezTo>
                    <a:pt x="34468" y="119530"/>
                    <a:pt x="34468" y="119530"/>
                    <a:pt x="34468" y="119530"/>
                  </a:cubicBezTo>
                  <a:cubicBezTo>
                    <a:pt x="35744" y="119216"/>
                    <a:pt x="35744" y="119216"/>
                    <a:pt x="35744" y="119216"/>
                  </a:cubicBezTo>
                  <a:cubicBezTo>
                    <a:pt x="35744" y="118903"/>
                    <a:pt x="35744" y="118903"/>
                    <a:pt x="35744" y="118903"/>
                  </a:cubicBezTo>
                  <a:cubicBezTo>
                    <a:pt x="35744" y="118903"/>
                    <a:pt x="36595" y="118433"/>
                    <a:pt x="36595" y="118433"/>
                  </a:cubicBezTo>
                  <a:cubicBezTo>
                    <a:pt x="37021" y="118433"/>
                    <a:pt x="38297" y="118590"/>
                    <a:pt x="38297" y="118590"/>
                  </a:cubicBezTo>
                  <a:cubicBezTo>
                    <a:pt x="38297" y="118590"/>
                    <a:pt x="39574" y="118590"/>
                    <a:pt x="39574" y="118746"/>
                  </a:cubicBezTo>
                  <a:cubicBezTo>
                    <a:pt x="39574" y="118903"/>
                    <a:pt x="40425" y="119060"/>
                    <a:pt x="40425" y="119060"/>
                  </a:cubicBezTo>
                  <a:cubicBezTo>
                    <a:pt x="41702" y="119060"/>
                    <a:pt x="41702" y="119060"/>
                    <a:pt x="41702" y="119060"/>
                  </a:cubicBezTo>
                  <a:cubicBezTo>
                    <a:pt x="42978" y="118903"/>
                    <a:pt x="42978" y="118903"/>
                    <a:pt x="42978" y="118903"/>
                  </a:cubicBezTo>
                  <a:cubicBezTo>
                    <a:pt x="44680" y="118746"/>
                    <a:pt x="44680" y="118746"/>
                    <a:pt x="44680" y="118746"/>
                  </a:cubicBezTo>
                  <a:cubicBezTo>
                    <a:pt x="44680" y="118746"/>
                    <a:pt x="44255" y="118433"/>
                    <a:pt x="44680" y="118433"/>
                  </a:cubicBezTo>
                  <a:cubicBezTo>
                    <a:pt x="45106" y="118433"/>
                    <a:pt x="46382" y="118433"/>
                    <a:pt x="46382" y="118433"/>
                  </a:cubicBezTo>
                  <a:cubicBezTo>
                    <a:pt x="46382" y="118433"/>
                    <a:pt x="46808" y="118746"/>
                    <a:pt x="47234" y="118746"/>
                  </a:cubicBezTo>
                  <a:cubicBezTo>
                    <a:pt x="47234" y="118746"/>
                    <a:pt x="48085" y="118433"/>
                    <a:pt x="47659" y="118276"/>
                  </a:cubicBezTo>
                  <a:cubicBezTo>
                    <a:pt x="47234" y="118120"/>
                    <a:pt x="45531" y="117806"/>
                    <a:pt x="45531" y="117806"/>
                  </a:cubicBezTo>
                  <a:cubicBezTo>
                    <a:pt x="45531" y="117806"/>
                    <a:pt x="44680" y="117336"/>
                    <a:pt x="44680" y="117180"/>
                  </a:cubicBezTo>
                  <a:cubicBezTo>
                    <a:pt x="44255" y="117023"/>
                    <a:pt x="44255" y="116553"/>
                    <a:pt x="43829" y="116396"/>
                  </a:cubicBezTo>
                  <a:cubicBezTo>
                    <a:pt x="43404" y="116396"/>
                    <a:pt x="42978" y="116240"/>
                    <a:pt x="42978" y="115926"/>
                  </a:cubicBezTo>
                  <a:cubicBezTo>
                    <a:pt x="43404" y="115456"/>
                    <a:pt x="43404" y="115300"/>
                    <a:pt x="43404" y="115300"/>
                  </a:cubicBezTo>
                  <a:cubicBezTo>
                    <a:pt x="43404" y="115143"/>
                    <a:pt x="43404" y="114516"/>
                    <a:pt x="43404" y="114516"/>
                  </a:cubicBezTo>
                  <a:cubicBezTo>
                    <a:pt x="43404" y="114516"/>
                    <a:pt x="42978" y="114203"/>
                    <a:pt x="44255" y="113890"/>
                  </a:cubicBezTo>
                  <a:cubicBezTo>
                    <a:pt x="45531" y="113577"/>
                    <a:pt x="45531" y="113263"/>
                    <a:pt x="45957" y="113420"/>
                  </a:cubicBezTo>
                  <a:cubicBezTo>
                    <a:pt x="46382" y="113577"/>
                    <a:pt x="47234" y="113890"/>
                    <a:pt x="47659" y="113890"/>
                  </a:cubicBezTo>
                  <a:cubicBezTo>
                    <a:pt x="47659" y="114046"/>
                    <a:pt x="48085" y="114046"/>
                    <a:pt x="48510" y="114203"/>
                  </a:cubicBezTo>
                  <a:cubicBezTo>
                    <a:pt x="48510" y="114360"/>
                    <a:pt x="48085" y="114516"/>
                    <a:pt x="48936" y="114516"/>
                  </a:cubicBezTo>
                  <a:cubicBezTo>
                    <a:pt x="49361" y="114516"/>
                    <a:pt x="50212" y="114516"/>
                    <a:pt x="50212" y="114516"/>
                  </a:cubicBezTo>
                  <a:cubicBezTo>
                    <a:pt x="50212" y="114516"/>
                    <a:pt x="50638" y="114516"/>
                    <a:pt x="50638" y="114360"/>
                  </a:cubicBezTo>
                  <a:cubicBezTo>
                    <a:pt x="50638" y="114203"/>
                    <a:pt x="50638" y="113733"/>
                    <a:pt x="50212" y="113733"/>
                  </a:cubicBezTo>
                  <a:cubicBezTo>
                    <a:pt x="49787" y="113577"/>
                    <a:pt x="49361" y="113420"/>
                    <a:pt x="49361" y="113420"/>
                  </a:cubicBezTo>
                  <a:cubicBezTo>
                    <a:pt x="49361" y="113420"/>
                    <a:pt x="50212" y="113263"/>
                    <a:pt x="48936" y="113107"/>
                  </a:cubicBezTo>
                  <a:cubicBezTo>
                    <a:pt x="47659" y="112793"/>
                    <a:pt x="47659" y="112637"/>
                    <a:pt x="48085" y="112480"/>
                  </a:cubicBezTo>
                  <a:cubicBezTo>
                    <a:pt x="48936" y="112323"/>
                    <a:pt x="50638" y="112480"/>
                    <a:pt x="50638" y="112480"/>
                  </a:cubicBezTo>
                  <a:cubicBezTo>
                    <a:pt x="51914" y="112323"/>
                    <a:pt x="51914" y="112323"/>
                    <a:pt x="51914" y="112323"/>
                  </a:cubicBezTo>
                  <a:cubicBezTo>
                    <a:pt x="51914" y="112323"/>
                    <a:pt x="52765" y="112010"/>
                    <a:pt x="53617" y="112167"/>
                  </a:cubicBezTo>
                  <a:cubicBezTo>
                    <a:pt x="54042" y="112323"/>
                    <a:pt x="55744" y="112167"/>
                    <a:pt x="55744" y="112167"/>
                  </a:cubicBezTo>
                  <a:cubicBezTo>
                    <a:pt x="57872" y="112323"/>
                    <a:pt x="57872" y="112323"/>
                    <a:pt x="57872" y="112323"/>
                  </a:cubicBezTo>
                  <a:cubicBezTo>
                    <a:pt x="58723" y="112010"/>
                    <a:pt x="58723" y="112010"/>
                    <a:pt x="58723" y="112010"/>
                  </a:cubicBezTo>
                  <a:cubicBezTo>
                    <a:pt x="60851" y="112323"/>
                    <a:pt x="60851" y="112323"/>
                    <a:pt x="60851" y="112323"/>
                  </a:cubicBezTo>
                  <a:cubicBezTo>
                    <a:pt x="60851" y="112323"/>
                    <a:pt x="60425" y="112323"/>
                    <a:pt x="61702" y="112480"/>
                  </a:cubicBezTo>
                  <a:cubicBezTo>
                    <a:pt x="62553" y="112480"/>
                    <a:pt x="63829" y="112167"/>
                    <a:pt x="63829" y="112010"/>
                  </a:cubicBezTo>
                  <a:cubicBezTo>
                    <a:pt x="64255" y="112010"/>
                    <a:pt x="65957" y="110913"/>
                    <a:pt x="65957" y="110913"/>
                  </a:cubicBezTo>
                  <a:cubicBezTo>
                    <a:pt x="67234" y="107780"/>
                    <a:pt x="67234" y="107780"/>
                    <a:pt x="67234" y="107780"/>
                  </a:cubicBezTo>
                  <a:cubicBezTo>
                    <a:pt x="67234" y="107780"/>
                    <a:pt x="68936" y="107310"/>
                    <a:pt x="68510" y="107310"/>
                  </a:cubicBezTo>
                  <a:cubicBezTo>
                    <a:pt x="68510" y="107154"/>
                    <a:pt x="68510" y="106057"/>
                    <a:pt x="68510" y="105900"/>
                  </a:cubicBezTo>
                  <a:cubicBezTo>
                    <a:pt x="68510" y="105744"/>
                    <a:pt x="69361" y="104647"/>
                    <a:pt x="69361" y="104647"/>
                  </a:cubicBezTo>
                  <a:cubicBezTo>
                    <a:pt x="69361" y="104647"/>
                    <a:pt x="71063" y="104177"/>
                    <a:pt x="70212" y="103707"/>
                  </a:cubicBezTo>
                  <a:cubicBezTo>
                    <a:pt x="69787" y="103237"/>
                    <a:pt x="69361" y="102454"/>
                    <a:pt x="69361" y="102454"/>
                  </a:cubicBezTo>
                  <a:cubicBezTo>
                    <a:pt x="69361" y="102454"/>
                    <a:pt x="68936" y="101671"/>
                    <a:pt x="68936" y="101514"/>
                  </a:cubicBezTo>
                  <a:cubicBezTo>
                    <a:pt x="68936" y="101357"/>
                    <a:pt x="70638" y="100574"/>
                    <a:pt x="70638" y="100574"/>
                  </a:cubicBezTo>
                  <a:cubicBezTo>
                    <a:pt x="69361" y="99164"/>
                    <a:pt x="69361" y="99164"/>
                    <a:pt x="69361" y="99164"/>
                  </a:cubicBezTo>
                  <a:cubicBezTo>
                    <a:pt x="69361" y="99164"/>
                    <a:pt x="70212" y="98694"/>
                    <a:pt x="70212" y="98537"/>
                  </a:cubicBezTo>
                  <a:cubicBezTo>
                    <a:pt x="70212" y="98381"/>
                    <a:pt x="69361" y="96971"/>
                    <a:pt x="69361" y="96971"/>
                  </a:cubicBezTo>
                  <a:cubicBezTo>
                    <a:pt x="69361" y="96657"/>
                    <a:pt x="69361" y="96657"/>
                    <a:pt x="69361" y="96657"/>
                  </a:cubicBezTo>
                  <a:cubicBezTo>
                    <a:pt x="69361" y="96657"/>
                    <a:pt x="70638" y="95874"/>
                    <a:pt x="70212" y="95718"/>
                  </a:cubicBezTo>
                  <a:cubicBezTo>
                    <a:pt x="70212" y="95561"/>
                    <a:pt x="70212" y="94778"/>
                    <a:pt x="70212" y="94778"/>
                  </a:cubicBezTo>
                  <a:cubicBezTo>
                    <a:pt x="69361" y="93838"/>
                    <a:pt x="69361" y="93838"/>
                    <a:pt x="69361" y="93838"/>
                  </a:cubicBezTo>
                  <a:cubicBezTo>
                    <a:pt x="69361" y="93838"/>
                    <a:pt x="70212" y="93681"/>
                    <a:pt x="69787" y="93524"/>
                  </a:cubicBezTo>
                  <a:cubicBezTo>
                    <a:pt x="69361" y="93211"/>
                    <a:pt x="68936" y="93054"/>
                    <a:pt x="68936" y="93054"/>
                  </a:cubicBezTo>
                  <a:cubicBezTo>
                    <a:pt x="68936" y="92741"/>
                    <a:pt x="68936" y="92741"/>
                    <a:pt x="68936" y="92741"/>
                  </a:cubicBezTo>
                  <a:cubicBezTo>
                    <a:pt x="69361" y="92428"/>
                    <a:pt x="69361" y="92428"/>
                    <a:pt x="69361" y="92428"/>
                  </a:cubicBezTo>
                  <a:cubicBezTo>
                    <a:pt x="70212" y="92114"/>
                    <a:pt x="70212" y="92114"/>
                    <a:pt x="70212" y="92114"/>
                  </a:cubicBezTo>
                  <a:cubicBezTo>
                    <a:pt x="69787" y="91174"/>
                    <a:pt x="69787" y="91174"/>
                    <a:pt x="69787" y="91174"/>
                  </a:cubicBezTo>
                  <a:cubicBezTo>
                    <a:pt x="68085" y="91018"/>
                    <a:pt x="68085" y="91018"/>
                    <a:pt x="68085" y="91018"/>
                  </a:cubicBezTo>
                  <a:cubicBezTo>
                    <a:pt x="68085" y="91018"/>
                    <a:pt x="68085" y="90704"/>
                    <a:pt x="68510" y="90704"/>
                  </a:cubicBezTo>
                  <a:cubicBezTo>
                    <a:pt x="69361" y="90548"/>
                    <a:pt x="72340" y="90078"/>
                    <a:pt x="72340" y="90078"/>
                  </a:cubicBezTo>
                  <a:cubicBezTo>
                    <a:pt x="72340" y="90078"/>
                    <a:pt x="73191" y="89608"/>
                    <a:pt x="73617" y="89608"/>
                  </a:cubicBezTo>
                  <a:cubicBezTo>
                    <a:pt x="73617" y="89451"/>
                    <a:pt x="77021" y="88668"/>
                    <a:pt x="77021" y="88668"/>
                  </a:cubicBezTo>
                  <a:cubicBezTo>
                    <a:pt x="77021" y="88668"/>
                    <a:pt x="77021" y="88198"/>
                    <a:pt x="77021" y="88041"/>
                  </a:cubicBezTo>
                  <a:cubicBezTo>
                    <a:pt x="77446" y="88041"/>
                    <a:pt x="77446" y="87885"/>
                    <a:pt x="77446" y="87571"/>
                  </a:cubicBezTo>
                  <a:cubicBezTo>
                    <a:pt x="77872" y="87571"/>
                    <a:pt x="77021" y="86161"/>
                    <a:pt x="77021" y="85691"/>
                  </a:cubicBezTo>
                  <a:cubicBezTo>
                    <a:pt x="77446" y="85378"/>
                    <a:pt x="78297" y="86005"/>
                    <a:pt x="78297" y="86005"/>
                  </a:cubicBezTo>
                  <a:cubicBezTo>
                    <a:pt x="78723" y="86475"/>
                    <a:pt x="78723" y="86475"/>
                    <a:pt x="78723" y="86475"/>
                  </a:cubicBezTo>
                  <a:cubicBezTo>
                    <a:pt x="78723" y="87415"/>
                    <a:pt x="78723" y="87415"/>
                    <a:pt x="78723" y="87415"/>
                  </a:cubicBezTo>
                  <a:cubicBezTo>
                    <a:pt x="80000" y="87571"/>
                    <a:pt x="80000" y="87571"/>
                    <a:pt x="80000" y="87571"/>
                  </a:cubicBezTo>
                  <a:cubicBezTo>
                    <a:pt x="80425" y="88041"/>
                    <a:pt x="80425" y="88041"/>
                    <a:pt x="80425" y="88041"/>
                  </a:cubicBezTo>
                  <a:cubicBezTo>
                    <a:pt x="80425" y="88041"/>
                    <a:pt x="80000" y="88511"/>
                    <a:pt x="80425" y="88511"/>
                  </a:cubicBezTo>
                  <a:cubicBezTo>
                    <a:pt x="80851" y="88355"/>
                    <a:pt x="80851" y="88355"/>
                    <a:pt x="80851" y="88355"/>
                  </a:cubicBezTo>
                  <a:cubicBezTo>
                    <a:pt x="81276" y="87415"/>
                    <a:pt x="81276" y="87415"/>
                    <a:pt x="81276" y="87415"/>
                  </a:cubicBezTo>
                  <a:cubicBezTo>
                    <a:pt x="81276" y="87415"/>
                    <a:pt x="82978" y="87415"/>
                    <a:pt x="82553" y="87101"/>
                  </a:cubicBezTo>
                  <a:cubicBezTo>
                    <a:pt x="82553" y="86945"/>
                    <a:pt x="82127" y="86631"/>
                    <a:pt x="82553" y="86631"/>
                  </a:cubicBezTo>
                  <a:cubicBezTo>
                    <a:pt x="85106" y="86475"/>
                    <a:pt x="84255" y="86475"/>
                    <a:pt x="85531" y="86161"/>
                  </a:cubicBezTo>
                  <a:cubicBezTo>
                    <a:pt x="85531" y="86161"/>
                    <a:pt x="86382" y="85535"/>
                    <a:pt x="86382" y="85535"/>
                  </a:cubicBezTo>
                  <a:cubicBezTo>
                    <a:pt x="86382" y="85378"/>
                    <a:pt x="86808" y="85065"/>
                    <a:pt x="86808" y="85065"/>
                  </a:cubicBezTo>
                  <a:cubicBezTo>
                    <a:pt x="85957" y="84908"/>
                    <a:pt x="85957" y="84908"/>
                    <a:pt x="85957" y="84908"/>
                  </a:cubicBezTo>
                  <a:cubicBezTo>
                    <a:pt x="85531" y="84438"/>
                    <a:pt x="85531" y="84438"/>
                    <a:pt x="85531" y="84438"/>
                  </a:cubicBezTo>
                  <a:cubicBezTo>
                    <a:pt x="85531" y="84438"/>
                    <a:pt x="85957" y="84125"/>
                    <a:pt x="86382" y="84281"/>
                  </a:cubicBezTo>
                  <a:cubicBezTo>
                    <a:pt x="86382" y="84438"/>
                    <a:pt x="86808" y="84751"/>
                    <a:pt x="87234" y="84751"/>
                  </a:cubicBezTo>
                  <a:cubicBezTo>
                    <a:pt x="87659" y="84751"/>
                    <a:pt x="88936" y="84281"/>
                    <a:pt x="88936" y="84281"/>
                  </a:cubicBezTo>
                  <a:cubicBezTo>
                    <a:pt x="88936" y="83812"/>
                    <a:pt x="85957" y="83185"/>
                    <a:pt x="85106" y="83028"/>
                  </a:cubicBezTo>
                  <a:cubicBezTo>
                    <a:pt x="85106" y="82402"/>
                    <a:pt x="89361" y="81618"/>
                    <a:pt x="89361" y="81462"/>
                  </a:cubicBezTo>
                  <a:cubicBezTo>
                    <a:pt x="89787" y="81305"/>
                    <a:pt x="89787" y="81305"/>
                    <a:pt x="89787" y="81148"/>
                  </a:cubicBezTo>
                  <a:cubicBezTo>
                    <a:pt x="89787" y="80992"/>
                    <a:pt x="89361" y="80835"/>
                    <a:pt x="88936" y="80992"/>
                  </a:cubicBezTo>
                  <a:cubicBezTo>
                    <a:pt x="88936" y="80992"/>
                    <a:pt x="88510" y="81305"/>
                    <a:pt x="88085" y="81305"/>
                  </a:cubicBezTo>
                  <a:cubicBezTo>
                    <a:pt x="88085" y="81305"/>
                    <a:pt x="87234" y="81305"/>
                    <a:pt x="87234" y="81305"/>
                  </a:cubicBezTo>
                  <a:cubicBezTo>
                    <a:pt x="87234" y="81305"/>
                    <a:pt x="86808" y="80992"/>
                    <a:pt x="87234" y="80835"/>
                  </a:cubicBezTo>
                  <a:cubicBezTo>
                    <a:pt x="87659" y="80678"/>
                    <a:pt x="87234" y="80678"/>
                    <a:pt x="88085" y="80522"/>
                  </a:cubicBezTo>
                  <a:cubicBezTo>
                    <a:pt x="88510" y="80365"/>
                    <a:pt x="88936" y="80365"/>
                    <a:pt x="89361" y="80365"/>
                  </a:cubicBezTo>
                  <a:cubicBezTo>
                    <a:pt x="89361" y="80208"/>
                    <a:pt x="89787" y="80052"/>
                    <a:pt x="90212" y="80052"/>
                  </a:cubicBezTo>
                  <a:cubicBezTo>
                    <a:pt x="90638" y="80052"/>
                    <a:pt x="92765" y="79582"/>
                    <a:pt x="92765" y="79582"/>
                  </a:cubicBezTo>
                  <a:cubicBezTo>
                    <a:pt x="93191" y="79268"/>
                    <a:pt x="93191" y="79268"/>
                    <a:pt x="93191" y="79268"/>
                  </a:cubicBezTo>
                  <a:cubicBezTo>
                    <a:pt x="93191" y="79268"/>
                    <a:pt x="91914" y="78798"/>
                    <a:pt x="91914" y="78798"/>
                  </a:cubicBezTo>
                  <a:cubicBezTo>
                    <a:pt x="91914" y="78798"/>
                    <a:pt x="89787" y="78172"/>
                    <a:pt x="89787" y="78172"/>
                  </a:cubicBezTo>
                  <a:cubicBezTo>
                    <a:pt x="89787" y="78172"/>
                    <a:pt x="88936" y="78172"/>
                    <a:pt x="88936" y="78015"/>
                  </a:cubicBezTo>
                  <a:cubicBezTo>
                    <a:pt x="88936" y="78015"/>
                    <a:pt x="88085" y="77702"/>
                    <a:pt x="88085" y="77702"/>
                  </a:cubicBezTo>
                  <a:cubicBezTo>
                    <a:pt x="87234" y="76919"/>
                    <a:pt x="86382" y="77545"/>
                    <a:pt x="84680" y="77232"/>
                  </a:cubicBezTo>
                  <a:cubicBezTo>
                    <a:pt x="84680" y="77232"/>
                    <a:pt x="83829" y="76605"/>
                    <a:pt x="83829" y="76605"/>
                  </a:cubicBezTo>
                  <a:cubicBezTo>
                    <a:pt x="83829" y="76605"/>
                    <a:pt x="84680" y="76605"/>
                    <a:pt x="84680" y="76449"/>
                  </a:cubicBezTo>
                  <a:cubicBezTo>
                    <a:pt x="84680" y="76135"/>
                    <a:pt x="83829" y="75822"/>
                    <a:pt x="83829" y="75822"/>
                  </a:cubicBezTo>
                  <a:cubicBezTo>
                    <a:pt x="82978" y="75509"/>
                    <a:pt x="82978" y="75509"/>
                    <a:pt x="82978" y="75509"/>
                  </a:cubicBezTo>
                  <a:cubicBezTo>
                    <a:pt x="81276" y="74882"/>
                    <a:pt x="81702" y="76292"/>
                    <a:pt x="80425" y="75039"/>
                  </a:cubicBezTo>
                  <a:cubicBezTo>
                    <a:pt x="80425" y="75039"/>
                    <a:pt x="80000" y="75039"/>
                    <a:pt x="79574" y="74725"/>
                  </a:cubicBezTo>
                  <a:cubicBezTo>
                    <a:pt x="79148" y="74569"/>
                    <a:pt x="77872" y="74099"/>
                    <a:pt x="77872" y="74099"/>
                  </a:cubicBezTo>
                  <a:cubicBezTo>
                    <a:pt x="77872" y="74099"/>
                    <a:pt x="77446" y="73629"/>
                    <a:pt x="77446" y="73629"/>
                  </a:cubicBezTo>
                  <a:cubicBezTo>
                    <a:pt x="77021" y="73629"/>
                    <a:pt x="76595" y="73159"/>
                    <a:pt x="76595" y="73159"/>
                  </a:cubicBezTo>
                  <a:cubicBezTo>
                    <a:pt x="74468" y="73629"/>
                    <a:pt x="74468" y="73629"/>
                    <a:pt x="74468" y="73629"/>
                  </a:cubicBezTo>
                  <a:cubicBezTo>
                    <a:pt x="73191" y="74099"/>
                    <a:pt x="73191" y="74099"/>
                    <a:pt x="73191" y="74099"/>
                  </a:cubicBezTo>
                  <a:cubicBezTo>
                    <a:pt x="73191" y="74099"/>
                    <a:pt x="72765" y="73785"/>
                    <a:pt x="72765" y="73785"/>
                  </a:cubicBezTo>
                  <a:cubicBezTo>
                    <a:pt x="72765" y="73785"/>
                    <a:pt x="72765" y="73159"/>
                    <a:pt x="72765" y="73159"/>
                  </a:cubicBezTo>
                  <a:cubicBezTo>
                    <a:pt x="72765" y="73159"/>
                    <a:pt x="71489" y="73002"/>
                    <a:pt x="71063" y="73002"/>
                  </a:cubicBezTo>
                  <a:cubicBezTo>
                    <a:pt x="71063" y="73002"/>
                    <a:pt x="69787" y="73002"/>
                    <a:pt x="69787" y="73002"/>
                  </a:cubicBezTo>
                  <a:cubicBezTo>
                    <a:pt x="68085" y="72845"/>
                    <a:pt x="68085" y="72845"/>
                    <a:pt x="68085" y="72845"/>
                  </a:cubicBezTo>
                  <a:cubicBezTo>
                    <a:pt x="68085" y="72375"/>
                    <a:pt x="68085" y="72375"/>
                    <a:pt x="68085" y="72375"/>
                  </a:cubicBezTo>
                  <a:cubicBezTo>
                    <a:pt x="68085" y="72375"/>
                    <a:pt x="68936" y="72062"/>
                    <a:pt x="68510" y="71906"/>
                  </a:cubicBezTo>
                  <a:cubicBezTo>
                    <a:pt x="68510" y="71749"/>
                    <a:pt x="67234" y="71436"/>
                    <a:pt x="67234" y="71436"/>
                  </a:cubicBezTo>
                  <a:cubicBezTo>
                    <a:pt x="67234" y="71122"/>
                    <a:pt x="67234" y="71122"/>
                    <a:pt x="67234" y="71122"/>
                  </a:cubicBezTo>
                  <a:cubicBezTo>
                    <a:pt x="65957" y="70496"/>
                    <a:pt x="65957" y="70496"/>
                    <a:pt x="65957" y="70496"/>
                  </a:cubicBezTo>
                  <a:cubicBezTo>
                    <a:pt x="65957" y="70496"/>
                    <a:pt x="66808" y="70026"/>
                    <a:pt x="66808" y="70026"/>
                  </a:cubicBezTo>
                  <a:cubicBezTo>
                    <a:pt x="66808" y="69869"/>
                    <a:pt x="65106" y="68459"/>
                    <a:pt x="65106" y="68459"/>
                  </a:cubicBezTo>
                  <a:cubicBezTo>
                    <a:pt x="65106" y="68459"/>
                    <a:pt x="65957" y="67832"/>
                    <a:pt x="65957" y="67676"/>
                  </a:cubicBezTo>
                  <a:cubicBezTo>
                    <a:pt x="65957" y="67676"/>
                    <a:pt x="65106" y="67049"/>
                    <a:pt x="65106" y="67049"/>
                  </a:cubicBezTo>
                  <a:cubicBezTo>
                    <a:pt x="64255" y="67049"/>
                    <a:pt x="64255" y="67049"/>
                    <a:pt x="64255" y="67049"/>
                  </a:cubicBezTo>
                  <a:cubicBezTo>
                    <a:pt x="64255" y="66422"/>
                    <a:pt x="64255" y="66422"/>
                    <a:pt x="64255" y="66422"/>
                  </a:cubicBezTo>
                  <a:cubicBezTo>
                    <a:pt x="64680" y="65953"/>
                    <a:pt x="64680" y="65953"/>
                    <a:pt x="64680" y="65953"/>
                  </a:cubicBezTo>
                  <a:cubicBezTo>
                    <a:pt x="63829" y="65639"/>
                    <a:pt x="63829" y="65639"/>
                    <a:pt x="63829" y="65639"/>
                  </a:cubicBezTo>
                  <a:cubicBezTo>
                    <a:pt x="63829" y="65639"/>
                    <a:pt x="64255" y="65326"/>
                    <a:pt x="64680" y="65326"/>
                  </a:cubicBezTo>
                  <a:cubicBezTo>
                    <a:pt x="64680" y="65326"/>
                    <a:pt x="64680" y="64699"/>
                    <a:pt x="64680" y="64699"/>
                  </a:cubicBezTo>
                  <a:cubicBezTo>
                    <a:pt x="64680" y="64699"/>
                    <a:pt x="65106" y="64386"/>
                    <a:pt x="65531" y="64386"/>
                  </a:cubicBezTo>
                  <a:cubicBezTo>
                    <a:pt x="65531" y="64386"/>
                    <a:pt x="66808" y="64699"/>
                    <a:pt x="66808" y="64699"/>
                  </a:cubicBezTo>
                  <a:cubicBezTo>
                    <a:pt x="66808" y="64699"/>
                    <a:pt x="68085" y="64856"/>
                    <a:pt x="68085" y="64699"/>
                  </a:cubicBezTo>
                  <a:cubicBezTo>
                    <a:pt x="68085" y="64699"/>
                    <a:pt x="67659" y="64229"/>
                    <a:pt x="67659" y="64229"/>
                  </a:cubicBezTo>
                  <a:cubicBezTo>
                    <a:pt x="67659" y="64073"/>
                    <a:pt x="66808" y="63759"/>
                    <a:pt x="66808" y="63759"/>
                  </a:cubicBezTo>
                  <a:cubicBezTo>
                    <a:pt x="66382" y="63603"/>
                    <a:pt x="66382" y="62819"/>
                    <a:pt x="66382" y="62819"/>
                  </a:cubicBezTo>
                  <a:cubicBezTo>
                    <a:pt x="66382" y="62819"/>
                    <a:pt x="65531" y="62193"/>
                    <a:pt x="65957" y="62193"/>
                  </a:cubicBezTo>
                  <a:cubicBezTo>
                    <a:pt x="65957" y="62193"/>
                    <a:pt x="66382" y="61879"/>
                    <a:pt x="66382" y="61879"/>
                  </a:cubicBezTo>
                  <a:cubicBezTo>
                    <a:pt x="66808" y="60783"/>
                    <a:pt x="66808" y="60783"/>
                    <a:pt x="66808" y="60783"/>
                  </a:cubicBezTo>
                  <a:cubicBezTo>
                    <a:pt x="67234" y="59843"/>
                    <a:pt x="67234" y="59843"/>
                    <a:pt x="67234" y="59843"/>
                  </a:cubicBezTo>
                  <a:cubicBezTo>
                    <a:pt x="65957" y="59373"/>
                    <a:pt x="65957" y="59373"/>
                    <a:pt x="65957" y="59373"/>
                  </a:cubicBezTo>
                  <a:cubicBezTo>
                    <a:pt x="65531" y="59060"/>
                    <a:pt x="65531" y="59060"/>
                    <a:pt x="65531" y="59060"/>
                  </a:cubicBezTo>
                  <a:cubicBezTo>
                    <a:pt x="64680" y="58746"/>
                    <a:pt x="64680" y="58746"/>
                    <a:pt x="64680" y="58746"/>
                  </a:cubicBezTo>
                  <a:cubicBezTo>
                    <a:pt x="65531" y="57806"/>
                    <a:pt x="65531" y="57806"/>
                    <a:pt x="65531" y="57806"/>
                  </a:cubicBezTo>
                  <a:cubicBezTo>
                    <a:pt x="67234" y="57806"/>
                    <a:pt x="67234" y="57806"/>
                    <a:pt x="67234" y="57806"/>
                  </a:cubicBezTo>
                  <a:cubicBezTo>
                    <a:pt x="68085" y="57336"/>
                    <a:pt x="68085" y="57336"/>
                    <a:pt x="68085" y="57336"/>
                  </a:cubicBezTo>
                  <a:cubicBezTo>
                    <a:pt x="68085" y="57336"/>
                    <a:pt x="69361" y="57023"/>
                    <a:pt x="69361" y="56866"/>
                  </a:cubicBezTo>
                  <a:cubicBezTo>
                    <a:pt x="69361" y="56866"/>
                    <a:pt x="69787" y="56240"/>
                    <a:pt x="69787" y="56240"/>
                  </a:cubicBezTo>
                  <a:cubicBezTo>
                    <a:pt x="69361" y="55770"/>
                    <a:pt x="69361" y="55770"/>
                    <a:pt x="69361" y="55770"/>
                  </a:cubicBezTo>
                  <a:cubicBezTo>
                    <a:pt x="70212" y="55926"/>
                    <a:pt x="70212" y="55926"/>
                    <a:pt x="70212" y="55926"/>
                  </a:cubicBezTo>
                  <a:cubicBezTo>
                    <a:pt x="70212" y="55456"/>
                    <a:pt x="70212" y="55456"/>
                    <a:pt x="70212" y="55456"/>
                  </a:cubicBezTo>
                  <a:cubicBezTo>
                    <a:pt x="70212" y="55456"/>
                    <a:pt x="70638" y="54986"/>
                    <a:pt x="70638" y="54986"/>
                  </a:cubicBezTo>
                  <a:cubicBezTo>
                    <a:pt x="71063" y="54986"/>
                    <a:pt x="71489" y="54830"/>
                    <a:pt x="71489" y="54830"/>
                  </a:cubicBezTo>
                  <a:cubicBezTo>
                    <a:pt x="71489" y="54830"/>
                    <a:pt x="72340" y="54203"/>
                    <a:pt x="72340" y="54203"/>
                  </a:cubicBezTo>
                  <a:cubicBezTo>
                    <a:pt x="72340" y="54203"/>
                    <a:pt x="72765" y="54360"/>
                    <a:pt x="73191" y="54203"/>
                  </a:cubicBezTo>
                  <a:cubicBezTo>
                    <a:pt x="73617" y="54046"/>
                    <a:pt x="73617" y="54046"/>
                    <a:pt x="73617" y="53890"/>
                  </a:cubicBezTo>
                  <a:cubicBezTo>
                    <a:pt x="74042" y="53577"/>
                    <a:pt x="74893" y="52950"/>
                    <a:pt x="74893" y="52950"/>
                  </a:cubicBezTo>
                  <a:cubicBezTo>
                    <a:pt x="74893" y="52950"/>
                    <a:pt x="74893" y="52793"/>
                    <a:pt x="74893" y="52637"/>
                  </a:cubicBezTo>
                  <a:cubicBezTo>
                    <a:pt x="75319" y="52637"/>
                    <a:pt x="76170" y="52637"/>
                    <a:pt x="76170" y="52480"/>
                  </a:cubicBezTo>
                  <a:cubicBezTo>
                    <a:pt x="75744" y="52323"/>
                    <a:pt x="74893" y="51853"/>
                    <a:pt x="74893" y="51853"/>
                  </a:cubicBezTo>
                  <a:cubicBezTo>
                    <a:pt x="76170" y="51383"/>
                    <a:pt x="76170" y="51383"/>
                    <a:pt x="76170" y="51383"/>
                  </a:cubicBezTo>
                  <a:cubicBezTo>
                    <a:pt x="76170" y="51383"/>
                    <a:pt x="77446" y="50913"/>
                    <a:pt x="77446" y="50913"/>
                  </a:cubicBezTo>
                  <a:cubicBezTo>
                    <a:pt x="77446" y="51070"/>
                    <a:pt x="77872" y="51070"/>
                    <a:pt x="78297" y="50913"/>
                  </a:cubicBezTo>
                  <a:cubicBezTo>
                    <a:pt x="78297" y="50913"/>
                    <a:pt x="78723" y="50757"/>
                    <a:pt x="79148" y="50600"/>
                  </a:cubicBezTo>
                  <a:cubicBezTo>
                    <a:pt x="79148" y="50600"/>
                    <a:pt x="79574" y="50443"/>
                    <a:pt x="80000" y="50443"/>
                  </a:cubicBezTo>
                  <a:cubicBezTo>
                    <a:pt x="80000" y="50287"/>
                    <a:pt x="80425" y="49973"/>
                    <a:pt x="80425" y="49817"/>
                  </a:cubicBezTo>
                  <a:cubicBezTo>
                    <a:pt x="80425" y="49817"/>
                    <a:pt x="81276" y="49033"/>
                    <a:pt x="81276" y="49033"/>
                  </a:cubicBezTo>
                  <a:cubicBezTo>
                    <a:pt x="81276" y="48563"/>
                    <a:pt x="81276" y="48563"/>
                    <a:pt x="81276" y="48563"/>
                  </a:cubicBezTo>
                  <a:cubicBezTo>
                    <a:pt x="81702" y="48407"/>
                    <a:pt x="81702" y="48407"/>
                    <a:pt x="81702" y="48407"/>
                  </a:cubicBezTo>
                  <a:cubicBezTo>
                    <a:pt x="82553" y="48093"/>
                    <a:pt x="82553" y="48093"/>
                    <a:pt x="82553" y="48093"/>
                  </a:cubicBezTo>
                  <a:cubicBezTo>
                    <a:pt x="82553" y="48093"/>
                    <a:pt x="83404" y="47937"/>
                    <a:pt x="83404" y="48093"/>
                  </a:cubicBezTo>
                  <a:cubicBezTo>
                    <a:pt x="83404" y="48093"/>
                    <a:pt x="82978" y="48407"/>
                    <a:pt x="82978" y="48407"/>
                  </a:cubicBezTo>
                  <a:cubicBezTo>
                    <a:pt x="84255" y="48407"/>
                    <a:pt x="84255" y="48407"/>
                    <a:pt x="84255" y="48407"/>
                  </a:cubicBezTo>
                  <a:cubicBezTo>
                    <a:pt x="84255" y="48407"/>
                    <a:pt x="84255" y="48093"/>
                    <a:pt x="84255" y="48250"/>
                  </a:cubicBezTo>
                  <a:cubicBezTo>
                    <a:pt x="84680" y="48250"/>
                    <a:pt x="85106" y="48407"/>
                    <a:pt x="85106" y="48407"/>
                  </a:cubicBezTo>
                  <a:cubicBezTo>
                    <a:pt x="85106" y="48250"/>
                    <a:pt x="85531" y="47937"/>
                    <a:pt x="85531" y="47937"/>
                  </a:cubicBezTo>
                  <a:cubicBezTo>
                    <a:pt x="85531" y="47467"/>
                    <a:pt x="85531" y="47467"/>
                    <a:pt x="85531" y="47467"/>
                  </a:cubicBezTo>
                  <a:cubicBezTo>
                    <a:pt x="85531" y="47467"/>
                    <a:pt x="86382" y="47154"/>
                    <a:pt x="86808" y="46997"/>
                  </a:cubicBezTo>
                  <a:cubicBezTo>
                    <a:pt x="86808" y="46840"/>
                    <a:pt x="88085" y="46370"/>
                    <a:pt x="88085" y="46370"/>
                  </a:cubicBezTo>
                  <a:cubicBezTo>
                    <a:pt x="89361" y="46214"/>
                    <a:pt x="89361" y="46214"/>
                    <a:pt x="89361" y="46214"/>
                  </a:cubicBezTo>
                  <a:cubicBezTo>
                    <a:pt x="89361" y="46214"/>
                    <a:pt x="89787" y="46057"/>
                    <a:pt x="90212" y="46057"/>
                  </a:cubicBezTo>
                  <a:cubicBezTo>
                    <a:pt x="90212" y="46057"/>
                    <a:pt x="91489" y="45430"/>
                    <a:pt x="91489" y="45430"/>
                  </a:cubicBezTo>
                  <a:cubicBezTo>
                    <a:pt x="91489" y="45430"/>
                    <a:pt x="91489" y="45274"/>
                    <a:pt x="91914" y="45117"/>
                  </a:cubicBezTo>
                  <a:cubicBezTo>
                    <a:pt x="91914" y="44960"/>
                    <a:pt x="92765" y="44960"/>
                    <a:pt x="92765" y="44804"/>
                  </a:cubicBezTo>
                  <a:cubicBezTo>
                    <a:pt x="93191" y="44804"/>
                    <a:pt x="94042" y="44020"/>
                    <a:pt x="94042" y="44020"/>
                  </a:cubicBezTo>
                  <a:cubicBezTo>
                    <a:pt x="94042" y="44020"/>
                    <a:pt x="94468" y="44020"/>
                    <a:pt x="94468" y="43864"/>
                  </a:cubicBezTo>
                  <a:cubicBezTo>
                    <a:pt x="94468" y="43550"/>
                    <a:pt x="94893" y="43237"/>
                    <a:pt x="94893" y="43237"/>
                  </a:cubicBezTo>
                  <a:cubicBezTo>
                    <a:pt x="95744" y="42610"/>
                    <a:pt x="95744" y="42610"/>
                    <a:pt x="95744" y="42610"/>
                  </a:cubicBezTo>
                  <a:cubicBezTo>
                    <a:pt x="95744" y="41671"/>
                    <a:pt x="95744" y="41671"/>
                    <a:pt x="95744" y="41671"/>
                  </a:cubicBezTo>
                  <a:cubicBezTo>
                    <a:pt x="96595" y="40887"/>
                    <a:pt x="96595" y="40887"/>
                    <a:pt x="96595" y="40887"/>
                  </a:cubicBezTo>
                  <a:cubicBezTo>
                    <a:pt x="96595" y="40887"/>
                    <a:pt x="97021" y="40731"/>
                    <a:pt x="97021" y="40574"/>
                  </a:cubicBezTo>
                  <a:cubicBezTo>
                    <a:pt x="97446" y="40574"/>
                    <a:pt x="97872" y="40104"/>
                    <a:pt x="97872" y="40104"/>
                  </a:cubicBezTo>
                  <a:cubicBezTo>
                    <a:pt x="97872" y="40104"/>
                    <a:pt x="99148" y="39477"/>
                    <a:pt x="99148" y="39477"/>
                  </a:cubicBezTo>
                  <a:cubicBezTo>
                    <a:pt x="99148" y="39477"/>
                    <a:pt x="99574" y="39007"/>
                    <a:pt x="99574" y="38851"/>
                  </a:cubicBezTo>
                  <a:cubicBezTo>
                    <a:pt x="100000" y="38851"/>
                    <a:pt x="100000" y="38851"/>
                    <a:pt x="100000" y="38851"/>
                  </a:cubicBezTo>
                  <a:cubicBezTo>
                    <a:pt x="100000" y="38381"/>
                    <a:pt x="100000" y="38381"/>
                    <a:pt x="100000" y="38381"/>
                  </a:cubicBezTo>
                  <a:cubicBezTo>
                    <a:pt x="99148" y="37754"/>
                    <a:pt x="99148" y="37754"/>
                    <a:pt x="99148" y="37754"/>
                  </a:cubicBezTo>
                  <a:cubicBezTo>
                    <a:pt x="97446" y="37284"/>
                    <a:pt x="97446" y="37284"/>
                    <a:pt x="97446" y="37284"/>
                  </a:cubicBezTo>
                  <a:cubicBezTo>
                    <a:pt x="96170" y="37284"/>
                    <a:pt x="96170" y="37284"/>
                    <a:pt x="96170" y="37284"/>
                  </a:cubicBezTo>
                  <a:cubicBezTo>
                    <a:pt x="95319" y="36971"/>
                    <a:pt x="95319" y="36971"/>
                    <a:pt x="95319" y="36971"/>
                  </a:cubicBezTo>
                  <a:cubicBezTo>
                    <a:pt x="95744" y="36657"/>
                    <a:pt x="95744" y="36657"/>
                    <a:pt x="95744" y="36657"/>
                  </a:cubicBezTo>
                  <a:cubicBezTo>
                    <a:pt x="94893" y="36187"/>
                    <a:pt x="94893" y="36187"/>
                    <a:pt x="94893" y="36187"/>
                  </a:cubicBezTo>
                  <a:cubicBezTo>
                    <a:pt x="94468" y="35874"/>
                    <a:pt x="94468" y="35874"/>
                    <a:pt x="94468" y="35874"/>
                  </a:cubicBezTo>
                  <a:cubicBezTo>
                    <a:pt x="93617" y="35561"/>
                    <a:pt x="93617" y="35561"/>
                    <a:pt x="93617" y="35561"/>
                  </a:cubicBezTo>
                  <a:cubicBezTo>
                    <a:pt x="93617" y="35561"/>
                    <a:pt x="94468" y="35091"/>
                    <a:pt x="94468" y="35091"/>
                  </a:cubicBezTo>
                  <a:cubicBezTo>
                    <a:pt x="94468" y="35091"/>
                    <a:pt x="94893" y="34934"/>
                    <a:pt x="94893" y="34778"/>
                  </a:cubicBezTo>
                  <a:cubicBezTo>
                    <a:pt x="94893" y="34778"/>
                    <a:pt x="95744" y="34308"/>
                    <a:pt x="95744" y="34308"/>
                  </a:cubicBezTo>
                  <a:cubicBezTo>
                    <a:pt x="95744" y="34308"/>
                    <a:pt x="96595" y="33838"/>
                    <a:pt x="96595" y="33838"/>
                  </a:cubicBezTo>
                  <a:cubicBezTo>
                    <a:pt x="96595" y="33838"/>
                    <a:pt x="97021" y="33681"/>
                    <a:pt x="97021" y="33524"/>
                  </a:cubicBezTo>
                  <a:cubicBezTo>
                    <a:pt x="97021" y="33368"/>
                    <a:pt x="96595" y="32741"/>
                    <a:pt x="96595" y="32741"/>
                  </a:cubicBezTo>
                  <a:cubicBezTo>
                    <a:pt x="96595" y="32741"/>
                    <a:pt x="96595" y="32271"/>
                    <a:pt x="97021" y="32271"/>
                  </a:cubicBezTo>
                  <a:cubicBezTo>
                    <a:pt x="97021" y="32114"/>
                    <a:pt x="97446" y="31958"/>
                    <a:pt x="97446" y="31958"/>
                  </a:cubicBezTo>
                  <a:cubicBezTo>
                    <a:pt x="97446" y="31958"/>
                    <a:pt x="97872" y="31958"/>
                    <a:pt x="98297" y="32114"/>
                  </a:cubicBezTo>
                  <a:cubicBezTo>
                    <a:pt x="98723" y="32114"/>
                    <a:pt x="98723" y="31801"/>
                    <a:pt x="98723" y="31801"/>
                  </a:cubicBezTo>
                  <a:cubicBezTo>
                    <a:pt x="98723" y="31801"/>
                    <a:pt x="98723" y="31331"/>
                    <a:pt x="98297" y="31331"/>
                  </a:cubicBezTo>
                  <a:cubicBezTo>
                    <a:pt x="97872" y="31331"/>
                    <a:pt x="97446" y="31018"/>
                    <a:pt x="97446" y="31018"/>
                  </a:cubicBezTo>
                  <a:cubicBezTo>
                    <a:pt x="97446" y="31018"/>
                    <a:pt x="97872" y="30861"/>
                    <a:pt x="97872" y="30861"/>
                  </a:cubicBezTo>
                  <a:cubicBezTo>
                    <a:pt x="97872" y="30704"/>
                    <a:pt x="98723" y="30548"/>
                    <a:pt x="98723" y="30548"/>
                  </a:cubicBezTo>
                  <a:cubicBezTo>
                    <a:pt x="100000" y="30391"/>
                    <a:pt x="100000" y="30391"/>
                    <a:pt x="100000" y="30391"/>
                  </a:cubicBezTo>
                  <a:cubicBezTo>
                    <a:pt x="99574" y="29921"/>
                    <a:pt x="99574" y="29921"/>
                    <a:pt x="99574" y="29921"/>
                  </a:cubicBezTo>
                  <a:cubicBezTo>
                    <a:pt x="99574" y="29451"/>
                    <a:pt x="99574" y="29451"/>
                    <a:pt x="99574" y="29451"/>
                  </a:cubicBezTo>
                  <a:cubicBezTo>
                    <a:pt x="99574" y="29451"/>
                    <a:pt x="101276" y="29608"/>
                    <a:pt x="101276" y="29608"/>
                  </a:cubicBezTo>
                  <a:cubicBezTo>
                    <a:pt x="101276" y="29765"/>
                    <a:pt x="101702" y="30078"/>
                    <a:pt x="102127" y="30078"/>
                  </a:cubicBezTo>
                  <a:cubicBezTo>
                    <a:pt x="102127" y="29921"/>
                    <a:pt x="102127" y="29608"/>
                    <a:pt x="102127" y="29608"/>
                  </a:cubicBezTo>
                  <a:cubicBezTo>
                    <a:pt x="102127" y="29608"/>
                    <a:pt x="102553" y="29138"/>
                    <a:pt x="102978" y="29295"/>
                  </a:cubicBezTo>
                  <a:cubicBezTo>
                    <a:pt x="103829" y="29451"/>
                    <a:pt x="104255" y="29138"/>
                    <a:pt x="104680" y="29138"/>
                  </a:cubicBezTo>
                  <a:cubicBezTo>
                    <a:pt x="104680" y="28981"/>
                    <a:pt x="105106" y="28668"/>
                    <a:pt x="105106" y="28668"/>
                  </a:cubicBezTo>
                  <a:cubicBezTo>
                    <a:pt x="105106" y="28668"/>
                    <a:pt x="105531" y="28198"/>
                    <a:pt x="105106" y="28041"/>
                  </a:cubicBezTo>
                  <a:cubicBezTo>
                    <a:pt x="104680" y="28041"/>
                    <a:pt x="104255" y="28041"/>
                    <a:pt x="104255" y="27885"/>
                  </a:cubicBezTo>
                  <a:cubicBezTo>
                    <a:pt x="104255" y="27885"/>
                    <a:pt x="104680" y="27571"/>
                    <a:pt x="105106" y="27571"/>
                  </a:cubicBezTo>
                  <a:cubicBezTo>
                    <a:pt x="105531" y="27571"/>
                    <a:pt x="105531" y="27571"/>
                    <a:pt x="106382" y="27415"/>
                  </a:cubicBezTo>
                  <a:cubicBezTo>
                    <a:pt x="106808" y="27258"/>
                    <a:pt x="106808" y="27101"/>
                    <a:pt x="106808" y="27101"/>
                  </a:cubicBezTo>
                  <a:cubicBezTo>
                    <a:pt x="106808" y="27101"/>
                    <a:pt x="108085" y="26945"/>
                    <a:pt x="108085" y="26945"/>
                  </a:cubicBezTo>
                  <a:cubicBezTo>
                    <a:pt x="109787" y="26631"/>
                    <a:pt x="109787" y="26631"/>
                    <a:pt x="109787" y="26631"/>
                  </a:cubicBezTo>
                  <a:cubicBezTo>
                    <a:pt x="109787" y="26318"/>
                    <a:pt x="109787" y="26318"/>
                    <a:pt x="109787" y="26318"/>
                  </a:cubicBezTo>
                  <a:cubicBezTo>
                    <a:pt x="109787" y="26318"/>
                    <a:pt x="110638" y="26318"/>
                    <a:pt x="110638" y="26318"/>
                  </a:cubicBezTo>
                  <a:cubicBezTo>
                    <a:pt x="111063" y="26318"/>
                    <a:pt x="111489" y="26475"/>
                    <a:pt x="111489" y="26475"/>
                  </a:cubicBezTo>
                  <a:cubicBezTo>
                    <a:pt x="111489" y="26475"/>
                    <a:pt x="112340" y="26475"/>
                    <a:pt x="112340" y="26475"/>
                  </a:cubicBezTo>
                  <a:cubicBezTo>
                    <a:pt x="112340" y="26318"/>
                    <a:pt x="111914" y="26161"/>
                    <a:pt x="112340" y="26161"/>
                  </a:cubicBezTo>
                  <a:cubicBezTo>
                    <a:pt x="112765" y="26318"/>
                    <a:pt x="112765" y="26318"/>
                    <a:pt x="112765" y="26475"/>
                  </a:cubicBezTo>
                  <a:cubicBezTo>
                    <a:pt x="113191" y="26475"/>
                    <a:pt x="113191" y="26475"/>
                    <a:pt x="113191" y="26475"/>
                  </a:cubicBezTo>
                  <a:cubicBezTo>
                    <a:pt x="113617" y="26475"/>
                    <a:pt x="114042" y="26631"/>
                    <a:pt x="114468" y="26788"/>
                  </a:cubicBezTo>
                  <a:cubicBezTo>
                    <a:pt x="114468" y="26788"/>
                    <a:pt x="114468" y="26945"/>
                    <a:pt x="114468" y="27101"/>
                  </a:cubicBezTo>
                  <a:cubicBezTo>
                    <a:pt x="114468" y="27258"/>
                    <a:pt x="114468" y="27258"/>
                    <a:pt x="114468" y="27415"/>
                  </a:cubicBezTo>
                  <a:cubicBezTo>
                    <a:pt x="114468" y="27571"/>
                    <a:pt x="114468" y="27571"/>
                    <a:pt x="114468" y="27571"/>
                  </a:cubicBezTo>
                  <a:cubicBezTo>
                    <a:pt x="114468" y="27571"/>
                    <a:pt x="115744" y="27885"/>
                    <a:pt x="115744" y="27728"/>
                  </a:cubicBezTo>
                  <a:cubicBezTo>
                    <a:pt x="115744" y="27571"/>
                    <a:pt x="115744" y="27728"/>
                    <a:pt x="115744" y="27415"/>
                  </a:cubicBezTo>
                  <a:cubicBezTo>
                    <a:pt x="115319" y="27258"/>
                    <a:pt x="115744" y="27101"/>
                    <a:pt x="115744" y="26945"/>
                  </a:cubicBezTo>
                  <a:cubicBezTo>
                    <a:pt x="115319" y="26788"/>
                    <a:pt x="114893" y="26475"/>
                    <a:pt x="114893" y="26318"/>
                  </a:cubicBezTo>
                  <a:cubicBezTo>
                    <a:pt x="114893" y="26318"/>
                    <a:pt x="115319" y="26161"/>
                    <a:pt x="115744" y="26161"/>
                  </a:cubicBezTo>
                  <a:cubicBezTo>
                    <a:pt x="116170" y="26161"/>
                    <a:pt x="115744" y="26005"/>
                    <a:pt x="116170" y="26161"/>
                  </a:cubicBezTo>
                  <a:cubicBezTo>
                    <a:pt x="116595" y="26318"/>
                    <a:pt x="116595" y="26475"/>
                    <a:pt x="117021" y="26475"/>
                  </a:cubicBezTo>
                  <a:cubicBezTo>
                    <a:pt x="117446" y="26475"/>
                    <a:pt x="117446" y="26475"/>
                    <a:pt x="117446" y="26475"/>
                  </a:cubicBezTo>
                  <a:cubicBezTo>
                    <a:pt x="117446" y="26631"/>
                    <a:pt x="117872" y="26788"/>
                    <a:pt x="117872" y="26945"/>
                  </a:cubicBezTo>
                  <a:cubicBezTo>
                    <a:pt x="117872" y="27101"/>
                    <a:pt x="117872" y="27101"/>
                    <a:pt x="117872" y="27258"/>
                  </a:cubicBezTo>
                  <a:cubicBezTo>
                    <a:pt x="117872" y="27258"/>
                    <a:pt x="118723" y="27728"/>
                    <a:pt x="118723" y="27728"/>
                  </a:cubicBezTo>
                  <a:cubicBezTo>
                    <a:pt x="118723" y="27728"/>
                    <a:pt x="119574" y="27415"/>
                    <a:pt x="119574" y="27415"/>
                  </a:cubicBezTo>
                  <a:cubicBezTo>
                    <a:pt x="119574" y="27258"/>
                    <a:pt x="119574" y="27101"/>
                    <a:pt x="119574" y="27101"/>
                  </a:cubicBezTo>
                  <a:cubicBezTo>
                    <a:pt x="119574" y="26945"/>
                    <a:pt x="119574" y="26788"/>
                    <a:pt x="119574" y="26788"/>
                  </a:cubicBezTo>
                  <a:cubicBezTo>
                    <a:pt x="119574" y="26631"/>
                    <a:pt x="118297" y="26161"/>
                    <a:pt x="118297" y="26161"/>
                  </a:cubicBezTo>
                  <a:cubicBezTo>
                    <a:pt x="118297" y="26161"/>
                    <a:pt x="118297" y="26005"/>
                    <a:pt x="118723" y="25848"/>
                  </a:cubicBezTo>
                  <a:cubicBezTo>
                    <a:pt x="118723" y="25848"/>
                    <a:pt x="119148" y="25691"/>
                    <a:pt x="120000" y="25535"/>
                  </a:cubicBezTo>
                  <a:cubicBezTo>
                    <a:pt x="117446" y="23498"/>
                    <a:pt x="117446" y="23498"/>
                    <a:pt x="117446" y="23498"/>
                  </a:cubicBezTo>
                  <a:cubicBezTo>
                    <a:pt x="114893" y="23028"/>
                    <a:pt x="114893" y="23028"/>
                    <a:pt x="114893" y="23028"/>
                  </a:cubicBezTo>
                  <a:cubicBezTo>
                    <a:pt x="113191" y="22402"/>
                    <a:pt x="113191" y="22402"/>
                    <a:pt x="113191" y="22402"/>
                  </a:cubicBezTo>
                  <a:cubicBezTo>
                    <a:pt x="113191" y="21618"/>
                    <a:pt x="113191" y="21618"/>
                    <a:pt x="113191" y="21618"/>
                  </a:cubicBezTo>
                  <a:cubicBezTo>
                    <a:pt x="111914" y="20992"/>
                    <a:pt x="111914" y="20992"/>
                    <a:pt x="111914" y="20992"/>
                  </a:cubicBezTo>
                  <a:cubicBezTo>
                    <a:pt x="111914" y="20992"/>
                    <a:pt x="112340" y="20522"/>
                    <a:pt x="112340" y="20365"/>
                  </a:cubicBezTo>
                  <a:cubicBezTo>
                    <a:pt x="112765" y="20208"/>
                    <a:pt x="113617" y="19425"/>
                    <a:pt x="113617" y="19425"/>
                  </a:cubicBezTo>
                  <a:cubicBezTo>
                    <a:pt x="113617" y="19425"/>
                    <a:pt x="113191" y="18798"/>
                    <a:pt x="113191" y="18642"/>
                  </a:cubicBezTo>
                  <a:cubicBezTo>
                    <a:pt x="113191" y="18485"/>
                    <a:pt x="113617" y="17702"/>
                    <a:pt x="113617" y="17702"/>
                  </a:cubicBezTo>
                  <a:cubicBezTo>
                    <a:pt x="113191" y="16919"/>
                    <a:pt x="113191" y="16919"/>
                    <a:pt x="113191" y="16919"/>
                  </a:cubicBezTo>
                  <a:cubicBezTo>
                    <a:pt x="108085" y="14725"/>
                    <a:pt x="108085" y="14725"/>
                    <a:pt x="108085" y="14725"/>
                  </a:cubicBezTo>
                  <a:cubicBezTo>
                    <a:pt x="108510" y="13785"/>
                    <a:pt x="108510" y="13785"/>
                    <a:pt x="108510" y="13785"/>
                  </a:cubicBezTo>
                  <a:cubicBezTo>
                    <a:pt x="108510" y="13785"/>
                    <a:pt x="108510" y="13785"/>
                    <a:pt x="108510" y="13785"/>
                  </a:cubicBezTo>
                  <a:close/>
                  <a:moveTo>
                    <a:pt x="70212" y="111227"/>
                  </a:moveTo>
                  <a:cubicBezTo>
                    <a:pt x="70212" y="111227"/>
                    <a:pt x="70212" y="111227"/>
                    <a:pt x="70212" y="111227"/>
                  </a:cubicBezTo>
                  <a:cubicBezTo>
                    <a:pt x="70638" y="109973"/>
                    <a:pt x="70638" y="109973"/>
                    <a:pt x="70638" y="109973"/>
                  </a:cubicBezTo>
                  <a:cubicBezTo>
                    <a:pt x="70638" y="109973"/>
                    <a:pt x="69787" y="109503"/>
                    <a:pt x="69787" y="109503"/>
                  </a:cubicBezTo>
                  <a:cubicBezTo>
                    <a:pt x="69787" y="109347"/>
                    <a:pt x="69361" y="109033"/>
                    <a:pt x="69361" y="108563"/>
                  </a:cubicBezTo>
                  <a:cubicBezTo>
                    <a:pt x="69787" y="108093"/>
                    <a:pt x="69787" y="107937"/>
                    <a:pt x="70212" y="107624"/>
                  </a:cubicBezTo>
                  <a:cubicBezTo>
                    <a:pt x="70212" y="107310"/>
                    <a:pt x="71063" y="107154"/>
                    <a:pt x="71063" y="106840"/>
                  </a:cubicBezTo>
                  <a:cubicBezTo>
                    <a:pt x="71063" y="106370"/>
                    <a:pt x="71063" y="106214"/>
                    <a:pt x="71489" y="105900"/>
                  </a:cubicBezTo>
                  <a:cubicBezTo>
                    <a:pt x="71489" y="105587"/>
                    <a:pt x="71914" y="105274"/>
                    <a:pt x="72340" y="105274"/>
                  </a:cubicBezTo>
                  <a:cubicBezTo>
                    <a:pt x="72340" y="105117"/>
                    <a:pt x="73191" y="104490"/>
                    <a:pt x="73191" y="104490"/>
                  </a:cubicBezTo>
                  <a:cubicBezTo>
                    <a:pt x="73617" y="103707"/>
                    <a:pt x="73617" y="103707"/>
                    <a:pt x="73617" y="103707"/>
                  </a:cubicBezTo>
                  <a:cubicBezTo>
                    <a:pt x="73617" y="103707"/>
                    <a:pt x="74468" y="102924"/>
                    <a:pt x="74468" y="102767"/>
                  </a:cubicBezTo>
                  <a:cubicBezTo>
                    <a:pt x="74468" y="102610"/>
                    <a:pt x="74042" y="101984"/>
                    <a:pt x="74042" y="101827"/>
                  </a:cubicBezTo>
                  <a:cubicBezTo>
                    <a:pt x="74468" y="101671"/>
                    <a:pt x="75319" y="101357"/>
                    <a:pt x="75319" y="101357"/>
                  </a:cubicBezTo>
                  <a:cubicBezTo>
                    <a:pt x="76595" y="101357"/>
                    <a:pt x="76595" y="101357"/>
                    <a:pt x="76595" y="101357"/>
                  </a:cubicBezTo>
                  <a:cubicBezTo>
                    <a:pt x="76595" y="101357"/>
                    <a:pt x="76595" y="101827"/>
                    <a:pt x="76170" y="101984"/>
                  </a:cubicBezTo>
                  <a:cubicBezTo>
                    <a:pt x="75744" y="101984"/>
                    <a:pt x="75319" y="102140"/>
                    <a:pt x="75319" y="102140"/>
                  </a:cubicBezTo>
                  <a:cubicBezTo>
                    <a:pt x="75319" y="102297"/>
                    <a:pt x="76170" y="102610"/>
                    <a:pt x="76170" y="102610"/>
                  </a:cubicBezTo>
                  <a:cubicBezTo>
                    <a:pt x="76170" y="103237"/>
                    <a:pt x="76170" y="103237"/>
                    <a:pt x="76170" y="103237"/>
                  </a:cubicBezTo>
                  <a:cubicBezTo>
                    <a:pt x="75319" y="103864"/>
                    <a:pt x="75319" y="103864"/>
                    <a:pt x="75319" y="103864"/>
                  </a:cubicBezTo>
                  <a:cubicBezTo>
                    <a:pt x="74468" y="104647"/>
                    <a:pt x="74468" y="104647"/>
                    <a:pt x="74468" y="104647"/>
                  </a:cubicBezTo>
                  <a:cubicBezTo>
                    <a:pt x="74468" y="105430"/>
                    <a:pt x="74468" y="105430"/>
                    <a:pt x="74468" y="105430"/>
                  </a:cubicBezTo>
                  <a:cubicBezTo>
                    <a:pt x="74042" y="105900"/>
                    <a:pt x="74042" y="105900"/>
                    <a:pt x="74042" y="105900"/>
                  </a:cubicBezTo>
                  <a:cubicBezTo>
                    <a:pt x="73617" y="106370"/>
                    <a:pt x="73617" y="106370"/>
                    <a:pt x="73617" y="106370"/>
                  </a:cubicBezTo>
                  <a:cubicBezTo>
                    <a:pt x="72765" y="107310"/>
                    <a:pt x="72765" y="107310"/>
                    <a:pt x="72765" y="107310"/>
                  </a:cubicBezTo>
                  <a:cubicBezTo>
                    <a:pt x="73191" y="108093"/>
                    <a:pt x="73191" y="108093"/>
                    <a:pt x="73191" y="108093"/>
                  </a:cubicBezTo>
                  <a:cubicBezTo>
                    <a:pt x="71914" y="109033"/>
                    <a:pt x="71914" y="109033"/>
                    <a:pt x="71914" y="109033"/>
                  </a:cubicBezTo>
                  <a:cubicBezTo>
                    <a:pt x="71914" y="109033"/>
                    <a:pt x="71914" y="109503"/>
                    <a:pt x="71914" y="109660"/>
                  </a:cubicBezTo>
                  <a:cubicBezTo>
                    <a:pt x="71914" y="109817"/>
                    <a:pt x="71914" y="110757"/>
                    <a:pt x="71914" y="110757"/>
                  </a:cubicBezTo>
                  <a:cubicBezTo>
                    <a:pt x="71914" y="110757"/>
                    <a:pt x="71914" y="111227"/>
                    <a:pt x="71489" y="111227"/>
                  </a:cubicBezTo>
                  <a:cubicBezTo>
                    <a:pt x="71063" y="111227"/>
                    <a:pt x="70212" y="111227"/>
                    <a:pt x="70212" y="111227"/>
                  </a:cubicBezTo>
                  <a:close/>
                  <a:moveTo>
                    <a:pt x="87659" y="101671"/>
                  </a:moveTo>
                  <a:cubicBezTo>
                    <a:pt x="87659" y="101671"/>
                    <a:pt x="87659" y="101671"/>
                    <a:pt x="87659" y="101671"/>
                  </a:cubicBezTo>
                  <a:cubicBezTo>
                    <a:pt x="87234" y="101357"/>
                    <a:pt x="87234" y="101357"/>
                    <a:pt x="87234" y="101357"/>
                  </a:cubicBezTo>
                  <a:cubicBezTo>
                    <a:pt x="88510" y="101201"/>
                    <a:pt x="88510" y="101201"/>
                    <a:pt x="88510" y="101201"/>
                  </a:cubicBezTo>
                  <a:cubicBezTo>
                    <a:pt x="88510" y="101201"/>
                    <a:pt x="88085" y="100574"/>
                    <a:pt x="88085" y="100417"/>
                  </a:cubicBezTo>
                  <a:cubicBezTo>
                    <a:pt x="88085" y="100261"/>
                    <a:pt x="87659" y="100417"/>
                    <a:pt x="87234" y="100104"/>
                  </a:cubicBezTo>
                  <a:cubicBezTo>
                    <a:pt x="86808" y="99947"/>
                    <a:pt x="86808" y="99477"/>
                    <a:pt x="86808" y="99477"/>
                  </a:cubicBezTo>
                  <a:cubicBezTo>
                    <a:pt x="86808" y="99321"/>
                    <a:pt x="87234" y="98851"/>
                    <a:pt x="87234" y="98851"/>
                  </a:cubicBezTo>
                  <a:cubicBezTo>
                    <a:pt x="87234" y="98851"/>
                    <a:pt x="88510" y="98224"/>
                    <a:pt x="89361" y="97911"/>
                  </a:cubicBezTo>
                  <a:cubicBezTo>
                    <a:pt x="90638" y="97441"/>
                    <a:pt x="90212" y="97441"/>
                    <a:pt x="90212" y="97127"/>
                  </a:cubicBezTo>
                  <a:cubicBezTo>
                    <a:pt x="89787" y="96971"/>
                    <a:pt x="90638" y="96814"/>
                    <a:pt x="90638" y="96814"/>
                  </a:cubicBezTo>
                  <a:cubicBezTo>
                    <a:pt x="91914" y="96344"/>
                    <a:pt x="91914" y="96344"/>
                    <a:pt x="91914" y="96344"/>
                  </a:cubicBezTo>
                  <a:cubicBezTo>
                    <a:pt x="92765" y="95561"/>
                    <a:pt x="92765" y="95561"/>
                    <a:pt x="92765" y="95561"/>
                  </a:cubicBezTo>
                  <a:cubicBezTo>
                    <a:pt x="92765" y="95561"/>
                    <a:pt x="94042" y="96031"/>
                    <a:pt x="94042" y="96031"/>
                  </a:cubicBezTo>
                  <a:cubicBezTo>
                    <a:pt x="94468" y="96031"/>
                    <a:pt x="94468" y="95874"/>
                    <a:pt x="94468" y="95718"/>
                  </a:cubicBezTo>
                  <a:cubicBezTo>
                    <a:pt x="94468" y="95561"/>
                    <a:pt x="95319" y="95561"/>
                    <a:pt x="95319" y="95561"/>
                  </a:cubicBezTo>
                  <a:cubicBezTo>
                    <a:pt x="95744" y="95561"/>
                    <a:pt x="97021" y="95404"/>
                    <a:pt x="97021" y="95404"/>
                  </a:cubicBezTo>
                  <a:cubicBezTo>
                    <a:pt x="97446" y="95091"/>
                    <a:pt x="97446" y="95091"/>
                    <a:pt x="97446" y="95091"/>
                  </a:cubicBezTo>
                  <a:cubicBezTo>
                    <a:pt x="97446" y="95091"/>
                    <a:pt x="99148" y="94934"/>
                    <a:pt x="100000" y="95091"/>
                  </a:cubicBezTo>
                  <a:cubicBezTo>
                    <a:pt x="100425" y="95248"/>
                    <a:pt x="99574" y="95248"/>
                    <a:pt x="99574" y="95404"/>
                  </a:cubicBezTo>
                  <a:cubicBezTo>
                    <a:pt x="99574" y="95561"/>
                    <a:pt x="99574" y="95561"/>
                    <a:pt x="99574" y="95718"/>
                  </a:cubicBezTo>
                  <a:cubicBezTo>
                    <a:pt x="99574" y="95874"/>
                    <a:pt x="99148" y="96031"/>
                    <a:pt x="97872" y="96031"/>
                  </a:cubicBezTo>
                  <a:cubicBezTo>
                    <a:pt x="96595" y="96187"/>
                    <a:pt x="97446" y="96501"/>
                    <a:pt x="97446" y="96501"/>
                  </a:cubicBezTo>
                  <a:cubicBezTo>
                    <a:pt x="97446" y="96501"/>
                    <a:pt x="97446" y="97127"/>
                    <a:pt x="97446" y="97127"/>
                  </a:cubicBezTo>
                  <a:cubicBezTo>
                    <a:pt x="97021" y="97284"/>
                    <a:pt x="96170" y="97597"/>
                    <a:pt x="95319" y="97597"/>
                  </a:cubicBezTo>
                  <a:cubicBezTo>
                    <a:pt x="94893" y="97754"/>
                    <a:pt x="94893" y="98067"/>
                    <a:pt x="94893" y="98067"/>
                  </a:cubicBezTo>
                  <a:cubicBezTo>
                    <a:pt x="94893" y="98224"/>
                    <a:pt x="95319" y="98537"/>
                    <a:pt x="95319" y="98851"/>
                  </a:cubicBezTo>
                  <a:cubicBezTo>
                    <a:pt x="95319" y="99007"/>
                    <a:pt x="95319" y="99007"/>
                    <a:pt x="95744" y="99321"/>
                  </a:cubicBezTo>
                  <a:cubicBezTo>
                    <a:pt x="95744" y="99477"/>
                    <a:pt x="96595" y="99477"/>
                    <a:pt x="97021" y="99477"/>
                  </a:cubicBezTo>
                  <a:cubicBezTo>
                    <a:pt x="97021" y="99634"/>
                    <a:pt x="97872" y="99947"/>
                    <a:pt x="97446" y="100104"/>
                  </a:cubicBezTo>
                  <a:cubicBezTo>
                    <a:pt x="97021" y="100261"/>
                    <a:pt x="96595" y="100417"/>
                    <a:pt x="96170" y="100417"/>
                  </a:cubicBezTo>
                  <a:cubicBezTo>
                    <a:pt x="96170" y="100574"/>
                    <a:pt x="95319" y="101044"/>
                    <a:pt x="95319" y="101044"/>
                  </a:cubicBezTo>
                  <a:cubicBezTo>
                    <a:pt x="95319" y="101044"/>
                    <a:pt x="95744" y="101357"/>
                    <a:pt x="95319" y="101671"/>
                  </a:cubicBezTo>
                  <a:cubicBezTo>
                    <a:pt x="95319" y="101984"/>
                    <a:pt x="94468" y="101827"/>
                    <a:pt x="94042" y="101984"/>
                  </a:cubicBezTo>
                  <a:cubicBezTo>
                    <a:pt x="94042" y="101984"/>
                    <a:pt x="92765" y="102454"/>
                    <a:pt x="92765" y="102454"/>
                  </a:cubicBezTo>
                  <a:cubicBezTo>
                    <a:pt x="92340" y="102454"/>
                    <a:pt x="91914" y="103080"/>
                    <a:pt x="91914" y="103394"/>
                  </a:cubicBezTo>
                  <a:cubicBezTo>
                    <a:pt x="91914" y="103550"/>
                    <a:pt x="91914" y="103864"/>
                    <a:pt x="91914" y="104020"/>
                  </a:cubicBezTo>
                  <a:cubicBezTo>
                    <a:pt x="91914" y="104177"/>
                    <a:pt x="91914" y="104020"/>
                    <a:pt x="91063" y="104490"/>
                  </a:cubicBezTo>
                  <a:cubicBezTo>
                    <a:pt x="89787" y="104960"/>
                    <a:pt x="90212" y="104647"/>
                    <a:pt x="88936" y="104490"/>
                  </a:cubicBezTo>
                  <a:cubicBezTo>
                    <a:pt x="87234" y="104490"/>
                    <a:pt x="88936" y="104334"/>
                    <a:pt x="89361" y="104020"/>
                  </a:cubicBezTo>
                  <a:cubicBezTo>
                    <a:pt x="89787" y="103707"/>
                    <a:pt x="90212" y="103394"/>
                    <a:pt x="90212" y="103394"/>
                  </a:cubicBezTo>
                  <a:cubicBezTo>
                    <a:pt x="89787" y="102767"/>
                    <a:pt x="89787" y="102767"/>
                    <a:pt x="89787" y="102767"/>
                  </a:cubicBezTo>
                  <a:cubicBezTo>
                    <a:pt x="88936" y="102297"/>
                    <a:pt x="88936" y="102297"/>
                    <a:pt x="88936" y="102297"/>
                  </a:cubicBezTo>
                  <a:lnTo>
                    <a:pt x="87659" y="101671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 cmpd="sng">
              <a:solidFill>
                <a:schemeClr val="tx1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defTabSz="457178"/>
              <a:endParaRPr kern="0">
                <a:solidFill>
                  <a:srgbClr val="7F7F7F"/>
                </a:solidFill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44" name="Shape 2051">
              <a:extLst>
                <a:ext uri="{FF2B5EF4-FFF2-40B4-BE49-F238E27FC236}">
                  <a16:creationId xmlns:a16="http://schemas.microsoft.com/office/drawing/2014/main" id="{BAB61DC9-1083-4D6C-AC5F-449E57CF7E5A}"/>
                </a:ext>
              </a:extLst>
            </p:cNvPr>
            <p:cNvSpPr/>
            <p:nvPr/>
          </p:nvSpPr>
          <p:spPr>
            <a:xfrm>
              <a:off x="4686242" y="235947"/>
              <a:ext cx="1226963" cy="1680165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82527" y="9000"/>
                  </a:moveTo>
                  <a:cubicBezTo>
                    <a:pt x="82081" y="9000"/>
                    <a:pt x="81412" y="9157"/>
                    <a:pt x="81412" y="8842"/>
                  </a:cubicBezTo>
                  <a:cubicBezTo>
                    <a:pt x="81412" y="8684"/>
                    <a:pt x="80743" y="8210"/>
                    <a:pt x="80743" y="8210"/>
                  </a:cubicBezTo>
                  <a:cubicBezTo>
                    <a:pt x="80743" y="8052"/>
                    <a:pt x="80297" y="7736"/>
                    <a:pt x="80966" y="7578"/>
                  </a:cubicBezTo>
                  <a:cubicBezTo>
                    <a:pt x="81412" y="7263"/>
                    <a:pt x="82973" y="6789"/>
                    <a:pt x="83197" y="6789"/>
                  </a:cubicBezTo>
                  <a:cubicBezTo>
                    <a:pt x="83197" y="6789"/>
                    <a:pt x="83866" y="6000"/>
                    <a:pt x="84089" y="5842"/>
                  </a:cubicBezTo>
                  <a:cubicBezTo>
                    <a:pt x="84312" y="5842"/>
                    <a:pt x="85650" y="5842"/>
                    <a:pt x="85650" y="5842"/>
                  </a:cubicBezTo>
                  <a:cubicBezTo>
                    <a:pt x="85650" y="5842"/>
                    <a:pt x="85873" y="6000"/>
                    <a:pt x="86319" y="6000"/>
                  </a:cubicBezTo>
                  <a:cubicBezTo>
                    <a:pt x="86765" y="6157"/>
                    <a:pt x="87657" y="5684"/>
                    <a:pt x="87211" y="6157"/>
                  </a:cubicBezTo>
                  <a:cubicBezTo>
                    <a:pt x="86542" y="6473"/>
                    <a:pt x="86319" y="6631"/>
                    <a:pt x="86096" y="6631"/>
                  </a:cubicBezTo>
                  <a:cubicBezTo>
                    <a:pt x="85873" y="6789"/>
                    <a:pt x="84758" y="7421"/>
                    <a:pt x="84758" y="7736"/>
                  </a:cubicBezTo>
                  <a:cubicBezTo>
                    <a:pt x="84535" y="8052"/>
                    <a:pt x="84758" y="8052"/>
                    <a:pt x="84535" y="8210"/>
                  </a:cubicBezTo>
                  <a:cubicBezTo>
                    <a:pt x="84089" y="8368"/>
                    <a:pt x="82750" y="8842"/>
                    <a:pt x="82527" y="9000"/>
                  </a:cubicBezTo>
                  <a:close/>
                  <a:moveTo>
                    <a:pt x="85427" y="9631"/>
                  </a:moveTo>
                  <a:cubicBezTo>
                    <a:pt x="85427" y="9631"/>
                    <a:pt x="85427" y="9631"/>
                    <a:pt x="85427" y="9631"/>
                  </a:cubicBezTo>
                  <a:cubicBezTo>
                    <a:pt x="85427" y="9631"/>
                    <a:pt x="86096" y="9789"/>
                    <a:pt x="86096" y="9631"/>
                  </a:cubicBezTo>
                  <a:cubicBezTo>
                    <a:pt x="86096" y="9631"/>
                    <a:pt x="86319" y="9315"/>
                    <a:pt x="86319" y="8842"/>
                  </a:cubicBezTo>
                  <a:cubicBezTo>
                    <a:pt x="86542" y="8368"/>
                    <a:pt x="86988" y="8368"/>
                    <a:pt x="87211" y="8210"/>
                  </a:cubicBezTo>
                  <a:cubicBezTo>
                    <a:pt x="87434" y="8052"/>
                    <a:pt x="87211" y="8052"/>
                    <a:pt x="87434" y="7736"/>
                  </a:cubicBezTo>
                  <a:cubicBezTo>
                    <a:pt x="87434" y="7421"/>
                    <a:pt x="87211" y="7421"/>
                    <a:pt x="86765" y="7263"/>
                  </a:cubicBezTo>
                  <a:cubicBezTo>
                    <a:pt x="86096" y="7263"/>
                    <a:pt x="86096" y="7578"/>
                    <a:pt x="85650" y="7578"/>
                  </a:cubicBezTo>
                  <a:cubicBezTo>
                    <a:pt x="85427" y="7736"/>
                    <a:pt x="85427" y="8052"/>
                    <a:pt x="85650" y="8210"/>
                  </a:cubicBezTo>
                  <a:cubicBezTo>
                    <a:pt x="85650" y="8368"/>
                    <a:pt x="85204" y="8526"/>
                    <a:pt x="84758" y="8684"/>
                  </a:cubicBezTo>
                  <a:cubicBezTo>
                    <a:pt x="84312" y="9000"/>
                    <a:pt x="84312" y="9315"/>
                    <a:pt x="84312" y="9315"/>
                  </a:cubicBezTo>
                  <a:cubicBezTo>
                    <a:pt x="85427" y="9631"/>
                    <a:pt x="85427" y="9631"/>
                    <a:pt x="85427" y="9631"/>
                  </a:cubicBezTo>
                  <a:close/>
                  <a:moveTo>
                    <a:pt x="80966" y="19894"/>
                  </a:moveTo>
                  <a:cubicBezTo>
                    <a:pt x="80966" y="19894"/>
                    <a:pt x="80966" y="19894"/>
                    <a:pt x="80966" y="19894"/>
                  </a:cubicBezTo>
                  <a:cubicBezTo>
                    <a:pt x="81858" y="20052"/>
                    <a:pt x="81858" y="20052"/>
                    <a:pt x="81858" y="20052"/>
                  </a:cubicBezTo>
                  <a:cubicBezTo>
                    <a:pt x="83420" y="21315"/>
                    <a:pt x="83420" y="21315"/>
                    <a:pt x="83420" y="21315"/>
                  </a:cubicBezTo>
                  <a:cubicBezTo>
                    <a:pt x="84758" y="22421"/>
                    <a:pt x="84758" y="22421"/>
                    <a:pt x="84758" y="22421"/>
                  </a:cubicBezTo>
                  <a:cubicBezTo>
                    <a:pt x="84758" y="22421"/>
                    <a:pt x="86765" y="23526"/>
                    <a:pt x="87211" y="23684"/>
                  </a:cubicBezTo>
                  <a:cubicBezTo>
                    <a:pt x="87657" y="23842"/>
                    <a:pt x="90111" y="24157"/>
                    <a:pt x="90334" y="24315"/>
                  </a:cubicBezTo>
                  <a:cubicBezTo>
                    <a:pt x="91003" y="23684"/>
                    <a:pt x="91003" y="23684"/>
                    <a:pt x="91003" y="23684"/>
                  </a:cubicBezTo>
                  <a:cubicBezTo>
                    <a:pt x="91895" y="23210"/>
                    <a:pt x="91895" y="23210"/>
                    <a:pt x="91895" y="23210"/>
                  </a:cubicBezTo>
                  <a:cubicBezTo>
                    <a:pt x="91672" y="22894"/>
                    <a:pt x="91672" y="22894"/>
                    <a:pt x="91672" y="22894"/>
                  </a:cubicBezTo>
                  <a:cubicBezTo>
                    <a:pt x="92788" y="22421"/>
                    <a:pt x="92788" y="22421"/>
                    <a:pt x="92788" y="22421"/>
                  </a:cubicBezTo>
                  <a:cubicBezTo>
                    <a:pt x="93680" y="22894"/>
                    <a:pt x="93680" y="22894"/>
                    <a:pt x="93680" y="22894"/>
                  </a:cubicBezTo>
                  <a:cubicBezTo>
                    <a:pt x="95910" y="23210"/>
                    <a:pt x="95910" y="23210"/>
                    <a:pt x="95910" y="23210"/>
                  </a:cubicBezTo>
                  <a:cubicBezTo>
                    <a:pt x="96802" y="23684"/>
                    <a:pt x="96802" y="23684"/>
                    <a:pt x="96802" y="23684"/>
                  </a:cubicBezTo>
                  <a:cubicBezTo>
                    <a:pt x="96802" y="23684"/>
                    <a:pt x="96802" y="23684"/>
                    <a:pt x="97026" y="23684"/>
                  </a:cubicBezTo>
                  <a:cubicBezTo>
                    <a:pt x="97026" y="23684"/>
                    <a:pt x="97026" y="23684"/>
                    <a:pt x="97026" y="23684"/>
                  </a:cubicBezTo>
                  <a:cubicBezTo>
                    <a:pt x="97026" y="23684"/>
                    <a:pt x="97026" y="23684"/>
                    <a:pt x="97026" y="23684"/>
                  </a:cubicBezTo>
                  <a:cubicBezTo>
                    <a:pt x="97249" y="23526"/>
                    <a:pt x="97249" y="23526"/>
                    <a:pt x="97249" y="23526"/>
                  </a:cubicBezTo>
                  <a:cubicBezTo>
                    <a:pt x="97249" y="23526"/>
                    <a:pt x="97249" y="23526"/>
                    <a:pt x="97249" y="23526"/>
                  </a:cubicBezTo>
                  <a:cubicBezTo>
                    <a:pt x="97249" y="23526"/>
                    <a:pt x="97249" y="23526"/>
                    <a:pt x="97249" y="23526"/>
                  </a:cubicBezTo>
                  <a:cubicBezTo>
                    <a:pt x="97249" y="23526"/>
                    <a:pt x="97249" y="23526"/>
                    <a:pt x="97249" y="23526"/>
                  </a:cubicBezTo>
                  <a:cubicBezTo>
                    <a:pt x="97249" y="23526"/>
                    <a:pt x="97472" y="23526"/>
                    <a:pt x="97472" y="23526"/>
                  </a:cubicBezTo>
                  <a:cubicBezTo>
                    <a:pt x="97472" y="23526"/>
                    <a:pt x="97472" y="23526"/>
                    <a:pt x="97472" y="23526"/>
                  </a:cubicBezTo>
                  <a:cubicBezTo>
                    <a:pt x="97472" y="23526"/>
                    <a:pt x="97472" y="23526"/>
                    <a:pt x="97472" y="23526"/>
                  </a:cubicBezTo>
                  <a:cubicBezTo>
                    <a:pt x="97472" y="23526"/>
                    <a:pt x="97472" y="23526"/>
                    <a:pt x="97472" y="23526"/>
                  </a:cubicBezTo>
                  <a:cubicBezTo>
                    <a:pt x="97472" y="23526"/>
                    <a:pt x="97472" y="23526"/>
                    <a:pt x="97472" y="23526"/>
                  </a:cubicBezTo>
                  <a:cubicBezTo>
                    <a:pt x="97695" y="23526"/>
                    <a:pt x="97695" y="23526"/>
                    <a:pt x="97695" y="23526"/>
                  </a:cubicBezTo>
                  <a:cubicBezTo>
                    <a:pt x="97695" y="23526"/>
                    <a:pt x="97695" y="23526"/>
                    <a:pt x="97695" y="23526"/>
                  </a:cubicBezTo>
                  <a:cubicBezTo>
                    <a:pt x="97695" y="23526"/>
                    <a:pt x="97695" y="23526"/>
                    <a:pt x="97695" y="23526"/>
                  </a:cubicBezTo>
                  <a:cubicBezTo>
                    <a:pt x="97695" y="23526"/>
                    <a:pt x="97695" y="23526"/>
                    <a:pt x="97695" y="23526"/>
                  </a:cubicBezTo>
                  <a:cubicBezTo>
                    <a:pt x="97695" y="23526"/>
                    <a:pt x="97695" y="23526"/>
                    <a:pt x="97695" y="23526"/>
                  </a:cubicBezTo>
                  <a:cubicBezTo>
                    <a:pt x="97695" y="23526"/>
                    <a:pt x="97695" y="23526"/>
                    <a:pt x="97695" y="23526"/>
                  </a:cubicBezTo>
                  <a:cubicBezTo>
                    <a:pt x="97695" y="23526"/>
                    <a:pt x="97695" y="23526"/>
                    <a:pt x="97695" y="23526"/>
                  </a:cubicBezTo>
                  <a:cubicBezTo>
                    <a:pt x="97695" y="23526"/>
                    <a:pt x="97695" y="23526"/>
                    <a:pt x="97695" y="23526"/>
                  </a:cubicBezTo>
                  <a:cubicBezTo>
                    <a:pt x="97695" y="23526"/>
                    <a:pt x="97695" y="23526"/>
                    <a:pt x="97695" y="23526"/>
                  </a:cubicBezTo>
                  <a:cubicBezTo>
                    <a:pt x="97695" y="23368"/>
                    <a:pt x="97695" y="23368"/>
                    <a:pt x="97695" y="23368"/>
                  </a:cubicBezTo>
                  <a:cubicBezTo>
                    <a:pt x="97695" y="23368"/>
                    <a:pt x="97695" y="23368"/>
                    <a:pt x="97695" y="23368"/>
                  </a:cubicBezTo>
                  <a:cubicBezTo>
                    <a:pt x="97695" y="23368"/>
                    <a:pt x="97695" y="23368"/>
                    <a:pt x="97695" y="23368"/>
                  </a:cubicBezTo>
                  <a:cubicBezTo>
                    <a:pt x="97695" y="23368"/>
                    <a:pt x="97695" y="23368"/>
                    <a:pt x="97695" y="23368"/>
                  </a:cubicBezTo>
                  <a:cubicBezTo>
                    <a:pt x="97695" y="23368"/>
                    <a:pt x="97695" y="23368"/>
                    <a:pt x="97695" y="23368"/>
                  </a:cubicBezTo>
                  <a:cubicBezTo>
                    <a:pt x="97695" y="23368"/>
                    <a:pt x="97695" y="23368"/>
                    <a:pt x="97695" y="23368"/>
                  </a:cubicBezTo>
                  <a:cubicBezTo>
                    <a:pt x="97695" y="23368"/>
                    <a:pt x="97695" y="23368"/>
                    <a:pt x="97695" y="23368"/>
                  </a:cubicBezTo>
                  <a:cubicBezTo>
                    <a:pt x="97695" y="23368"/>
                    <a:pt x="97695" y="23368"/>
                    <a:pt x="97695" y="23368"/>
                  </a:cubicBezTo>
                  <a:cubicBezTo>
                    <a:pt x="97695" y="23368"/>
                    <a:pt x="97695" y="23368"/>
                    <a:pt x="97695" y="23368"/>
                  </a:cubicBezTo>
                  <a:cubicBezTo>
                    <a:pt x="97695" y="23368"/>
                    <a:pt x="97695" y="23368"/>
                    <a:pt x="97695" y="23368"/>
                  </a:cubicBezTo>
                  <a:cubicBezTo>
                    <a:pt x="97695" y="23368"/>
                    <a:pt x="97695" y="23368"/>
                    <a:pt x="97695" y="23368"/>
                  </a:cubicBezTo>
                  <a:cubicBezTo>
                    <a:pt x="97695" y="23368"/>
                    <a:pt x="97695" y="23368"/>
                    <a:pt x="97695" y="23368"/>
                  </a:cubicBezTo>
                  <a:cubicBezTo>
                    <a:pt x="97695" y="23368"/>
                    <a:pt x="97695" y="23368"/>
                    <a:pt x="97695" y="23368"/>
                  </a:cubicBezTo>
                  <a:cubicBezTo>
                    <a:pt x="97695" y="23368"/>
                    <a:pt x="97695" y="23368"/>
                    <a:pt x="97695" y="23368"/>
                  </a:cubicBezTo>
                  <a:cubicBezTo>
                    <a:pt x="97695" y="23368"/>
                    <a:pt x="97695" y="23368"/>
                    <a:pt x="97695" y="23368"/>
                  </a:cubicBezTo>
                  <a:cubicBezTo>
                    <a:pt x="97695" y="23210"/>
                    <a:pt x="97695" y="23210"/>
                    <a:pt x="97695" y="23210"/>
                  </a:cubicBezTo>
                  <a:cubicBezTo>
                    <a:pt x="97695" y="23052"/>
                    <a:pt x="97695" y="22105"/>
                    <a:pt x="97695" y="22105"/>
                  </a:cubicBezTo>
                  <a:cubicBezTo>
                    <a:pt x="97695" y="22105"/>
                    <a:pt x="97026" y="21789"/>
                    <a:pt x="97695" y="21473"/>
                  </a:cubicBezTo>
                  <a:cubicBezTo>
                    <a:pt x="98364" y="21000"/>
                    <a:pt x="99256" y="20526"/>
                    <a:pt x="99256" y="20526"/>
                  </a:cubicBezTo>
                  <a:cubicBezTo>
                    <a:pt x="99256" y="20526"/>
                    <a:pt x="99702" y="20368"/>
                    <a:pt x="99702" y="19894"/>
                  </a:cubicBezTo>
                  <a:cubicBezTo>
                    <a:pt x="99702" y="19421"/>
                    <a:pt x="99256" y="18157"/>
                    <a:pt x="99256" y="18157"/>
                  </a:cubicBezTo>
                  <a:cubicBezTo>
                    <a:pt x="99256" y="18157"/>
                    <a:pt x="98810" y="17368"/>
                    <a:pt x="98810" y="17052"/>
                  </a:cubicBezTo>
                  <a:cubicBezTo>
                    <a:pt x="99256" y="15157"/>
                    <a:pt x="98141" y="13894"/>
                    <a:pt x="98810" y="13578"/>
                  </a:cubicBezTo>
                  <a:cubicBezTo>
                    <a:pt x="98810" y="13578"/>
                    <a:pt x="98810" y="13578"/>
                    <a:pt x="98810" y="13578"/>
                  </a:cubicBezTo>
                  <a:cubicBezTo>
                    <a:pt x="98810" y="13578"/>
                    <a:pt x="98810" y="13578"/>
                    <a:pt x="98810" y="13578"/>
                  </a:cubicBezTo>
                  <a:cubicBezTo>
                    <a:pt x="99256" y="13421"/>
                    <a:pt x="99256" y="13421"/>
                    <a:pt x="99256" y="13421"/>
                  </a:cubicBezTo>
                  <a:cubicBezTo>
                    <a:pt x="99925" y="13105"/>
                    <a:pt x="99925" y="13105"/>
                    <a:pt x="99925" y="13105"/>
                  </a:cubicBezTo>
                  <a:cubicBezTo>
                    <a:pt x="99925" y="13105"/>
                    <a:pt x="99925" y="12947"/>
                    <a:pt x="99925" y="12947"/>
                  </a:cubicBezTo>
                  <a:cubicBezTo>
                    <a:pt x="99925" y="12157"/>
                    <a:pt x="98587" y="11368"/>
                    <a:pt x="100148" y="11210"/>
                  </a:cubicBezTo>
                  <a:cubicBezTo>
                    <a:pt x="100817" y="10894"/>
                    <a:pt x="100817" y="10894"/>
                    <a:pt x="100817" y="10894"/>
                  </a:cubicBezTo>
                  <a:cubicBezTo>
                    <a:pt x="102825" y="10894"/>
                    <a:pt x="102825" y="10894"/>
                    <a:pt x="102825" y="10894"/>
                  </a:cubicBezTo>
                  <a:cubicBezTo>
                    <a:pt x="103271" y="9947"/>
                    <a:pt x="103271" y="9947"/>
                    <a:pt x="103271" y="9947"/>
                  </a:cubicBezTo>
                  <a:cubicBezTo>
                    <a:pt x="104163" y="9315"/>
                    <a:pt x="104163" y="9315"/>
                    <a:pt x="104163" y="9315"/>
                  </a:cubicBezTo>
                  <a:cubicBezTo>
                    <a:pt x="104832" y="9315"/>
                    <a:pt x="105724" y="9157"/>
                    <a:pt x="106171" y="9315"/>
                  </a:cubicBezTo>
                  <a:cubicBezTo>
                    <a:pt x="106617" y="9789"/>
                    <a:pt x="106617" y="10105"/>
                    <a:pt x="107509" y="10263"/>
                  </a:cubicBezTo>
                  <a:cubicBezTo>
                    <a:pt x="110185" y="10894"/>
                    <a:pt x="110185" y="10894"/>
                    <a:pt x="110185" y="10894"/>
                  </a:cubicBezTo>
                  <a:cubicBezTo>
                    <a:pt x="111524" y="11052"/>
                    <a:pt x="111524" y="11052"/>
                    <a:pt x="111524" y="11052"/>
                  </a:cubicBezTo>
                  <a:cubicBezTo>
                    <a:pt x="111524" y="11052"/>
                    <a:pt x="111524" y="11052"/>
                    <a:pt x="111524" y="11052"/>
                  </a:cubicBezTo>
                  <a:cubicBezTo>
                    <a:pt x="111747" y="11052"/>
                    <a:pt x="111747" y="11052"/>
                    <a:pt x="111747" y="11052"/>
                  </a:cubicBezTo>
                  <a:cubicBezTo>
                    <a:pt x="111747" y="11052"/>
                    <a:pt x="111747" y="11052"/>
                    <a:pt x="111747" y="11052"/>
                  </a:cubicBezTo>
                  <a:cubicBezTo>
                    <a:pt x="112193" y="11368"/>
                    <a:pt x="112193" y="11368"/>
                    <a:pt x="112193" y="11368"/>
                  </a:cubicBezTo>
                  <a:cubicBezTo>
                    <a:pt x="112193" y="11368"/>
                    <a:pt x="112193" y="11368"/>
                    <a:pt x="112193" y="11368"/>
                  </a:cubicBezTo>
                  <a:cubicBezTo>
                    <a:pt x="112193" y="11368"/>
                    <a:pt x="112193" y="11368"/>
                    <a:pt x="112193" y="11368"/>
                  </a:cubicBezTo>
                  <a:cubicBezTo>
                    <a:pt x="112193" y="11368"/>
                    <a:pt x="112193" y="11368"/>
                    <a:pt x="112193" y="11368"/>
                  </a:cubicBezTo>
                  <a:cubicBezTo>
                    <a:pt x="112193" y="11684"/>
                    <a:pt x="112193" y="12000"/>
                    <a:pt x="112416" y="12157"/>
                  </a:cubicBezTo>
                  <a:cubicBezTo>
                    <a:pt x="112416" y="12473"/>
                    <a:pt x="112639" y="12947"/>
                    <a:pt x="112639" y="12947"/>
                  </a:cubicBezTo>
                  <a:cubicBezTo>
                    <a:pt x="112639" y="12947"/>
                    <a:pt x="112416" y="13421"/>
                    <a:pt x="112416" y="13736"/>
                  </a:cubicBezTo>
                  <a:cubicBezTo>
                    <a:pt x="112193" y="13894"/>
                    <a:pt x="112193" y="14368"/>
                    <a:pt x="112193" y="14526"/>
                  </a:cubicBezTo>
                  <a:cubicBezTo>
                    <a:pt x="112193" y="14684"/>
                    <a:pt x="112193" y="14842"/>
                    <a:pt x="112193" y="15000"/>
                  </a:cubicBezTo>
                  <a:cubicBezTo>
                    <a:pt x="112193" y="15315"/>
                    <a:pt x="112416" y="15789"/>
                    <a:pt x="112639" y="15947"/>
                  </a:cubicBezTo>
                  <a:cubicBezTo>
                    <a:pt x="112639" y="16105"/>
                    <a:pt x="113754" y="16578"/>
                    <a:pt x="113754" y="16578"/>
                  </a:cubicBezTo>
                  <a:cubicBezTo>
                    <a:pt x="113754" y="16578"/>
                    <a:pt x="113754" y="16578"/>
                    <a:pt x="113531" y="16736"/>
                  </a:cubicBezTo>
                  <a:cubicBezTo>
                    <a:pt x="113531" y="16736"/>
                    <a:pt x="113531" y="16894"/>
                    <a:pt x="113754" y="16894"/>
                  </a:cubicBezTo>
                  <a:cubicBezTo>
                    <a:pt x="114200" y="16894"/>
                    <a:pt x="114869" y="16736"/>
                    <a:pt x="114869" y="16736"/>
                  </a:cubicBezTo>
                  <a:cubicBezTo>
                    <a:pt x="114869" y="16736"/>
                    <a:pt x="114869" y="15315"/>
                    <a:pt x="114646" y="14842"/>
                  </a:cubicBezTo>
                  <a:cubicBezTo>
                    <a:pt x="114423" y="14210"/>
                    <a:pt x="115539" y="13578"/>
                    <a:pt x="115539" y="13578"/>
                  </a:cubicBezTo>
                  <a:cubicBezTo>
                    <a:pt x="117100" y="12473"/>
                    <a:pt x="117100" y="12473"/>
                    <a:pt x="117100" y="12473"/>
                  </a:cubicBezTo>
                  <a:cubicBezTo>
                    <a:pt x="116877" y="11210"/>
                    <a:pt x="116877" y="11210"/>
                    <a:pt x="116877" y="11210"/>
                  </a:cubicBezTo>
                  <a:cubicBezTo>
                    <a:pt x="118661" y="11368"/>
                    <a:pt x="118661" y="11368"/>
                    <a:pt x="118661" y="11368"/>
                  </a:cubicBezTo>
                  <a:cubicBezTo>
                    <a:pt x="118661" y="11368"/>
                    <a:pt x="120000" y="10894"/>
                    <a:pt x="119553" y="10263"/>
                  </a:cubicBezTo>
                  <a:cubicBezTo>
                    <a:pt x="119107" y="9473"/>
                    <a:pt x="118661" y="8210"/>
                    <a:pt x="118215" y="8526"/>
                  </a:cubicBezTo>
                  <a:cubicBezTo>
                    <a:pt x="117546" y="8842"/>
                    <a:pt x="116431" y="9789"/>
                    <a:pt x="116431" y="9789"/>
                  </a:cubicBezTo>
                  <a:cubicBezTo>
                    <a:pt x="116208" y="8210"/>
                    <a:pt x="116208" y="8210"/>
                    <a:pt x="116208" y="8210"/>
                  </a:cubicBezTo>
                  <a:cubicBezTo>
                    <a:pt x="114423" y="8684"/>
                    <a:pt x="114423" y="8684"/>
                    <a:pt x="114423" y="8684"/>
                  </a:cubicBezTo>
                  <a:cubicBezTo>
                    <a:pt x="112639" y="8368"/>
                    <a:pt x="112639" y="8368"/>
                    <a:pt x="112639" y="8368"/>
                  </a:cubicBezTo>
                  <a:cubicBezTo>
                    <a:pt x="112639" y="8368"/>
                    <a:pt x="111970" y="7736"/>
                    <a:pt x="111301" y="7894"/>
                  </a:cubicBezTo>
                  <a:cubicBezTo>
                    <a:pt x="110631" y="7894"/>
                    <a:pt x="109516" y="7894"/>
                    <a:pt x="109516" y="7894"/>
                  </a:cubicBezTo>
                  <a:cubicBezTo>
                    <a:pt x="109516" y="7894"/>
                    <a:pt x="108624" y="7421"/>
                    <a:pt x="109070" y="7263"/>
                  </a:cubicBezTo>
                  <a:cubicBezTo>
                    <a:pt x="109739" y="7263"/>
                    <a:pt x="111078" y="7421"/>
                    <a:pt x="111747" y="7263"/>
                  </a:cubicBezTo>
                  <a:cubicBezTo>
                    <a:pt x="112193" y="7263"/>
                    <a:pt x="115762" y="6631"/>
                    <a:pt x="115762" y="6631"/>
                  </a:cubicBezTo>
                  <a:cubicBezTo>
                    <a:pt x="115985" y="5526"/>
                    <a:pt x="115985" y="5526"/>
                    <a:pt x="115985" y="5526"/>
                  </a:cubicBezTo>
                  <a:cubicBezTo>
                    <a:pt x="117546" y="4578"/>
                    <a:pt x="117546" y="4578"/>
                    <a:pt x="117546" y="4578"/>
                  </a:cubicBezTo>
                  <a:cubicBezTo>
                    <a:pt x="114869" y="3157"/>
                    <a:pt x="114869" y="3157"/>
                    <a:pt x="114869" y="3157"/>
                  </a:cubicBezTo>
                  <a:cubicBezTo>
                    <a:pt x="113754" y="1894"/>
                    <a:pt x="113754" y="1894"/>
                    <a:pt x="113754" y="1894"/>
                  </a:cubicBezTo>
                  <a:cubicBezTo>
                    <a:pt x="113754" y="1894"/>
                    <a:pt x="113531" y="1421"/>
                    <a:pt x="113085" y="1421"/>
                  </a:cubicBezTo>
                  <a:cubicBezTo>
                    <a:pt x="112416" y="1421"/>
                    <a:pt x="110631" y="2052"/>
                    <a:pt x="110631" y="2052"/>
                  </a:cubicBezTo>
                  <a:cubicBezTo>
                    <a:pt x="109293" y="1421"/>
                    <a:pt x="109293" y="1421"/>
                    <a:pt x="109293" y="1421"/>
                  </a:cubicBezTo>
                  <a:cubicBezTo>
                    <a:pt x="107286" y="1578"/>
                    <a:pt x="107286" y="1578"/>
                    <a:pt x="107286" y="1578"/>
                  </a:cubicBezTo>
                  <a:cubicBezTo>
                    <a:pt x="104386" y="947"/>
                    <a:pt x="104386" y="947"/>
                    <a:pt x="104386" y="947"/>
                  </a:cubicBezTo>
                  <a:cubicBezTo>
                    <a:pt x="104386" y="1421"/>
                    <a:pt x="104386" y="1421"/>
                    <a:pt x="104386" y="1421"/>
                  </a:cubicBezTo>
                  <a:cubicBezTo>
                    <a:pt x="104386" y="1421"/>
                    <a:pt x="103494" y="1263"/>
                    <a:pt x="103271" y="947"/>
                  </a:cubicBezTo>
                  <a:cubicBezTo>
                    <a:pt x="103271" y="631"/>
                    <a:pt x="103271" y="315"/>
                    <a:pt x="103271" y="315"/>
                  </a:cubicBezTo>
                  <a:cubicBezTo>
                    <a:pt x="102156" y="473"/>
                    <a:pt x="102156" y="473"/>
                    <a:pt x="102156" y="473"/>
                  </a:cubicBezTo>
                  <a:cubicBezTo>
                    <a:pt x="101710" y="473"/>
                    <a:pt x="101710" y="473"/>
                    <a:pt x="101710" y="473"/>
                  </a:cubicBezTo>
                  <a:cubicBezTo>
                    <a:pt x="100371" y="0"/>
                    <a:pt x="100371" y="0"/>
                    <a:pt x="100371" y="0"/>
                  </a:cubicBezTo>
                  <a:cubicBezTo>
                    <a:pt x="99702" y="947"/>
                    <a:pt x="99702" y="947"/>
                    <a:pt x="99702" y="947"/>
                  </a:cubicBezTo>
                  <a:cubicBezTo>
                    <a:pt x="100594" y="2052"/>
                    <a:pt x="100594" y="2052"/>
                    <a:pt x="100594" y="2052"/>
                  </a:cubicBezTo>
                  <a:cubicBezTo>
                    <a:pt x="99702" y="3315"/>
                    <a:pt x="99702" y="3315"/>
                    <a:pt x="99702" y="3315"/>
                  </a:cubicBezTo>
                  <a:cubicBezTo>
                    <a:pt x="100371" y="4105"/>
                    <a:pt x="100371" y="4105"/>
                    <a:pt x="100371" y="4105"/>
                  </a:cubicBezTo>
                  <a:cubicBezTo>
                    <a:pt x="100371" y="5210"/>
                    <a:pt x="100371" y="5210"/>
                    <a:pt x="100371" y="5210"/>
                  </a:cubicBezTo>
                  <a:cubicBezTo>
                    <a:pt x="99479" y="6473"/>
                    <a:pt x="99479" y="6473"/>
                    <a:pt x="99479" y="6473"/>
                  </a:cubicBezTo>
                  <a:cubicBezTo>
                    <a:pt x="98141" y="5684"/>
                    <a:pt x="98141" y="5684"/>
                    <a:pt x="98141" y="5684"/>
                  </a:cubicBezTo>
                  <a:cubicBezTo>
                    <a:pt x="98364" y="4578"/>
                    <a:pt x="98364" y="4578"/>
                    <a:pt x="98364" y="4578"/>
                  </a:cubicBezTo>
                  <a:cubicBezTo>
                    <a:pt x="99033" y="3315"/>
                    <a:pt x="99033" y="3315"/>
                    <a:pt x="99033" y="3315"/>
                  </a:cubicBezTo>
                  <a:cubicBezTo>
                    <a:pt x="98141" y="2052"/>
                    <a:pt x="98141" y="2052"/>
                    <a:pt x="98141" y="2052"/>
                  </a:cubicBezTo>
                  <a:cubicBezTo>
                    <a:pt x="96356" y="3157"/>
                    <a:pt x="96356" y="3157"/>
                    <a:pt x="96356" y="3157"/>
                  </a:cubicBezTo>
                  <a:cubicBezTo>
                    <a:pt x="96356" y="4736"/>
                    <a:pt x="96356" y="4736"/>
                    <a:pt x="96356" y="4736"/>
                  </a:cubicBezTo>
                  <a:cubicBezTo>
                    <a:pt x="95464" y="5842"/>
                    <a:pt x="95464" y="5842"/>
                    <a:pt x="95464" y="5842"/>
                  </a:cubicBezTo>
                  <a:cubicBezTo>
                    <a:pt x="95464" y="7263"/>
                    <a:pt x="95464" y="7263"/>
                    <a:pt x="95464" y="7263"/>
                  </a:cubicBezTo>
                  <a:cubicBezTo>
                    <a:pt x="95018" y="8368"/>
                    <a:pt x="95018" y="8368"/>
                    <a:pt x="95018" y="8368"/>
                  </a:cubicBezTo>
                  <a:cubicBezTo>
                    <a:pt x="94795" y="9789"/>
                    <a:pt x="94795" y="9789"/>
                    <a:pt x="94795" y="9789"/>
                  </a:cubicBezTo>
                  <a:cubicBezTo>
                    <a:pt x="94795" y="9789"/>
                    <a:pt x="94795" y="10105"/>
                    <a:pt x="94349" y="10105"/>
                  </a:cubicBezTo>
                  <a:cubicBezTo>
                    <a:pt x="93903" y="10263"/>
                    <a:pt x="93011" y="9947"/>
                    <a:pt x="93011" y="9947"/>
                  </a:cubicBezTo>
                  <a:cubicBezTo>
                    <a:pt x="93011" y="7894"/>
                    <a:pt x="93011" y="7894"/>
                    <a:pt x="93011" y="7894"/>
                  </a:cubicBezTo>
                  <a:cubicBezTo>
                    <a:pt x="93457" y="6789"/>
                    <a:pt x="93457" y="6789"/>
                    <a:pt x="93457" y="6789"/>
                  </a:cubicBezTo>
                  <a:cubicBezTo>
                    <a:pt x="94126" y="5842"/>
                    <a:pt x="94126" y="5842"/>
                    <a:pt x="94126" y="5842"/>
                  </a:cubicBezTo>
                  <a:cubicBezTo>
                    <a:pt x="95018" y="4578"/>
                    <a:pt x="95018" y="4578"/>
                    <a:pt x="95018" y="4578"/>
                  </a:cubicBezTo>
                  <a:cubicBezTo>
                    <a:pt x="95018" y="4578"/>
                    <a:pt x="95018" y="3789"/>
                    <a:pt x="94795" y="3631"/>
                  </a:cubicBezTo>
                  <a:cubicBezTo>
                    <a:pt x="94795" y="3631"/>
                    <a:pt x="94349" y="3473"/>
                    <a:pt x="94572" y="3473"/>
                  </a:cubicBezTo>
                  <a:cubicBezTo>
                    <a:pt x="94572" y="3315"/>
                    <a:pt x="95464" y="2684"/>
                    <a:pt x="95464" y="2684"/>
                  </a:cubicBezTo>
                  <a:cubicBezTo>
                    <a:pt x="95464" y="2684"/>
                    <a:pt x="95464" y="2210"/>
                    <a:pt x="94795" y="1894"/>
                  </a:cubicBezTo>
                  <a:cubicBezTo>
                    <a:pt x="94349" y="1736"/>
                    <a:pt x="93903" y="1421"/>
                    <a:pt x="93457" y="1578"/>
                  </a:cubicBezTo>
                  <a:cubicBezTo>
                    <a:pt x="93234" y="1736"/>
                    <a:pt x="92118" y="2052"/>
                    <a:pt x="92118" y="2210"/>
                  </a:cubicBezTo>
                  <a:cubicBezTo>
                    <a:pt x="91895" y="2368"/>
                    <a:pt x="92118" y="2684"/>
                    <a:pt x="92342" y="2842"/>
                  </a:cubicBezTo>
                  <a:cubicBezTo>
                    <a:pt x="92565" y="2842"/>
                    <a:pt x="92788" y="3000"/>
                    <a:pt x="93011" y="3000"/>
                  </a:cubicBezTo>
                  <a:cubicBezTo>
                    <a:pt x="93011" y="3157"/>
                    <a:pt x="93234" y="3631"/>
                    <a:pt x="93011" y="3789"/>
                  </a:cubicBezTo>
                  <a:cubicBezTo>
                    <a:pt x="92788" y="3947"/>
                    <a:pt x="93011" y="4421"/>
                    <a:pt x="92342" y="4263"/>
                  </a:cubicBezTo>
                  <a:cubicBezTo>
                    <a:pt x="91895" y="4105"/>
                    <a:pt x="90557" y="3473"/>
                    <a:pt x="90557" y="3473"/>
                  </a:cubicBezTo>
                  <a:cubicBezTo>
                    <a:pt x="90334" y="3473"/>
                    <a:pt x="90557" y="2842"/>
                    <a:pt x="90111" y="3473"/>
                  </a:cubicBezTo>
                  <a:cubicBezTo>
                    <a:pt x="89665" y="3947"/>
                    <a:pt x="89442" y="4105"/>
                    <a:pt x="89665" y="4421"/>
                  </a:cubicBezTo>
                  <a:cubicBezTo>
                    <a:pt x="89888" y="4736"/>
                    <a:pt x="90111" y="4736"/>
                    <a:pt x="90111" y="4894"/>
                  </a:cubicBezTo>
                  <a:cubicBezTo>
                    <a:pt x="90111" y="5052"/>
                    <a:pt x="89219" y="5052"/>
                    <a:pt x="89219" y="5210"/>
                  </a:cubicBezTo>
                  <a:cubicBezTo>
                    <a:pt x="89219" y="5368"/>
                    <a:pt x="88996" y="5526"/>
                    <a:pt x="89442" y="5842"/>
                  </a:cubicBezTo>
                  <a:cubicBezTo>
                    <a:pt x="89888" y="6000"/>
                    <a:pt x="90334" y="6157"/>
                    <a:pt x="90334" y="6157"/>
                  </a:cubicBezTo>
                  <a:cubicBezTo>
                    <a:pt x="90334" y="6157"/>
                    <a:pt x="90780" y="6631"/>
                    <a:pt x="90557" y="6631"/>
                  </a:cubicBezTo>
                  <a:cubicBezTo>
                    <a:pt x="90557" y="6789"/>
                    <a:pt x="89219" y="6631"/>
                    <a:pt x="89219" y="6789"/>
                  </a:cubicBezTo>
                  <a:cubicBezTo>
                    <a:pt x="89219" y="6947"/>
                    <a:pt x="89219" y="7263"/>
                    <a:pt x="89219" y="7421"/>
                  </a:cubicBezTo>
                  <a:cubicBezTo>
                    <a:pt x="89219" y="7578"/>
                    <a:pt x="89219" y="7894"/>
                    <a:pt x="89219" y="7894"/>
                  </a:cubicBezTo>
                  <a:cubicBezTo>
                    <a:pt x="89219" y="8052"/>
                    <a:pt x="88327" y="8052"/>
                    <a:pt x="88104" y="8210"/>
                  </a:cubicBezTo>
                  <a:cubicBezTo>
                    <a:pt x="87657" y="8368"/>
                    <a:pt x="87434" y="8842"/>
                    <a:pt x="87434" y="9157"/>
                  </a:cubicBezTo>
                  <a:cubicBezTo>
                    <a:pt x="87211" y="9473"/>
                    <a:pt x="87211" y="9789"/>
                    <a:pt x="87211" y="9947"/>
                  </a:cubicBezTo>
                  <a:cubicBezTo>
                    <a:pt x="87211" y="10105"/>
                    <a:pt x="86765" y="10421"/>
                    <a:pt x="86765" y="10421"/>
                  </a:cubicBezTo>
                  <a:cubicBezTo>
                    <a:pt x="86765" y="10421"/>
                    <a:pt x="86765" y="10578"/>
                    <a:pt x="86319" y="10421"/>
                  </a:cubicBezTo>
                  <a:cubicBezTo>
                    <a:pt x="85873" y="10421"/>
                    <a:pt x="84312" y="9789"/>
                    <a:pt x="84089" y="9789"/>
                  </a:cubicBezTo>
                  <a:cubicBezTo>
                    <a:pt x="83643" y="9789"/>
                    <a:pt x="83197" y="9947"/>
                    <a:pt x="83197" y="10263"/>
                  </a:cubicBezTo>
                  <a:cubicBezTo>
                    <a:pt x="83197" y="10421"/>
                    <a:pt x="83866" y="10894"/>
                    <a:pt x="84089" y="10894"/>
                  </a:cubicBezTo>
                  <a:cubicBezTo>
                    <a:pt x="84089" y="10894"/>
                    <a:pt x="85204" y="11052"/>
                    <a:pt x="85427" y="11210"/>
                  </a:cubicBezTo>
                  <a:cubicBezTo>
                    <a:pt x="85427" y="11368"/>
                    <a:pt x="85427" y="12473"/>
                    <a:pt x="85427" y="12473"/>
                  </a:cubicBezTo>
                  <a:cubicBezTo>
                    <a:pt x="85427" y="12473"/>
                    <a:pt x="86319" y="13736"/>
                    <a:pt x="84758" y="12631"/>
                  </a:cubicBezTo>
                  <a:cubicBezTo>
                    <a:pt x="82973" y="11526"/>
                    <a:pt x="82973" y="11368"/>
                    <a:pt x="82750" y="11210"/>
                  </a:cubicBezTo>
                  <a:cubicBezTo>
                    <a:pt x="82527" y="11210"/>
                    <a:pt x="80966" y="10894"/>
                    <a:pt x="80966" y="10894"/>
                  </a:cubicBezTo>
                  <a:cubicBezTo>
                    <a:pt x="80966" y="10894"/>
                    <a:pt x="80743" y="10421"/>
                    <a:pt x="80520" y="10894"/>
                  </a:cubicBezTo>
                  <a:cubicBezTo>
                    <a:pt x="80297" y="11210"/>
                    <a:pt x="80966" y="12000"/>
                    <a:pt x="80966" y="12000"/>
                  </a:cubicBezTo>
                  <a:cubicBezTo>
                    <a:pt x="80743" y="11842"/>
                    <a:pt x="80743" y="11842"/>
                    <a:pt x="80743" y="11842"/>
                  </a:cubicBezTo>
                  <a:cubicBezTo>
                    <a:pt x="80743" y="11842"/>
                    <a:pt x="80074" y="11526"/>
                    <a:pt x="79628" y="11368"/>
                  </a:cubicBezTo>
                  <a:cubicBezTo>
                    <a:pt x="79405" y="11052"/>
                    <a:pt x="78736" y="11368"/>
                    <a:pt x="78736" y="11368"/>
                  </a:cubicBezTo>
                  <a:cubicBezTo>
                    <a:pt x="78736" y="11368"/>
                    <a:pt x="78513" y="11526"/>
                    <a:pt x="78066" y="11842"/>
                  </a:cubicBezTo>
                  <a:cubicBezTo>
                    <a:pt x="77843" y="12000"/>
                    <a:pt x="76951" y="11368"/>
                    <a:pt x="77843" y="12157"/>
                  </a:cubicBezTo>
                  <a:cubicBezTo>
                    <a:pt x="78513" y="12789"/>
                    <a:pt x="79182" y="12947"/>
                    <a:pt x="79405" y="13105"/>
                  </a:cubicBezTo>
                  <a:cubicBezTo>
                    <a:pt x="79405" y="13105"/>
                    <a:pt x="80297" y="13263"/>
                    <a:pt x="80520" y="13421"/>
                  </a:cubicBezTo>
                  <a:cubicBezTo>
                    <a:pt x="80743" y="13578"/>
                    <a:pt x="80743" y="14052"/>
                    <a:pt x="80743" y="14210"/>
                  </a:cubicBezTo>
                  <a:cubicBezTo>
                    <a:pt x="80743" y="14210"/>
                    <a:pt x="81412" y="14842"/>
                    <a:pt x="80297" y="14368"/>
                  </a:cubicBezTo>
                  <a:cubicBezTo>
                    <a:pt x="79182" y="13736"/>
                    <a:pt x="79182" y="13578"/>
                    <a:pt x="78736" y="13578"/>
                  </a:cubicBezTo>
                  <a:cubicBezTo>
                    <a:pt x="78513" y="13578"/>
                    <a:pt x="78066" y="13894"/>
                    <a:pt x="78066" y="13894"/>
                  </a:cubicBezTo>
                  <a:cubicBezTo>
                    <a:pt x="78066" y="13894"/>
                    <a:pt x="76728" y="13736"/>
                    <a:pt x="76728" y="13263"/>
                  </a:cubicBezTo>
                  <a:cubicBezTo>
                    <a:pt x="76505" y="12789"/>
                    <a:pt x="76951" y="12000"/>
                    <a:pt x="76059" y="12157"/>
                  </a:cubicBezTo>
                  <a:cubicBezTo>
                    <a:pt x="74944" y="12157"/>
                    <a:pt x="74721" y="12473"/>
                    <a:pt x="74721" y="12631"/>
                  </a:cubicBezTo>
                  <a:cubicBezTo>
                    <a:pt x="74721" y="12789"/>
                    <a:pt x="74052" y="12947"/>
                    <a:pt x="74721" y="13421"/>
                  </a:cubicBezTo>
                  <a:cubicBezTo>
                    <a:pt x="75390" y="13894"/>
                    <a:pt x="75836" y="14210"/>
                    <a:pt x="76059" y="14210"/>
                  </a:cubicBezTo>
                  <a:cubicBezTo>
                    <a:pt x="76059" y="14210"/>
                    <a:pt x="77397" y="14210"/>
                    <a:pt x="76728" y="14368"/>
                  </a:cubicBezTo>
                  <a:cubicBezTo>
                    <a:pt x="76282" y="14684"/>
                    <a:pt x="75390" y="14684"/>
                    <a:pt x="75167" y="14684"/>
                  </a:cubicBezTo>
                  <a:cubicBezTo>
                    <a:pt x="74944" y="14684"/>
                    <a:pt x="75167" y="14526"/>
                    <a:pt x="74944" y="14684"/>
                  </a:cubicBezTo>
                  <a:cubicBezTo>
                    <a:pt x="74498" y="14842"/>
                    <a:pt x="73382" y="15631"/>
                    <a:pt x="73382" y="15631"/>
                  </a:cubicBezTo>
                  <a:cubicBezTo>
                    <a:pt x="73382" y="15631"/>
                    <a:pt x="73159" y="15315"/>
                    <a:pt x="73159" y="15157"/>
                  </a:cubicBezTo>
                  <a:cubicBezTo>
                    <a:pt x="73159" y="15000"/>
                    <a:pt x="74052" y="14684"/>
                    <a:pt x="74052" y="14368"/>
                  </a:cubicBezTo>
                  <a:cubicBezTo>
                    <a:pt x="74052" y="14052"/>
                    <a:pt x="73605" y="12947"/>
                    <a:pt x="73605" y="12947"/>
                  </a:cubicBezTo>
                  <a:cubicBezTo>
                    <a:pt x="73605" y="12947"/>
                    <a:pt x="72713" y="12631"/>
                    <a:pt x="72713" y="12631"/>
                  </a:cubicBezTo>
                  <a:cubicBezTo>
                    <a:pt x="72490" y="12473"/>
                    <a:pt x="71821" y="12157"/>
                    <a:pt x="71598" y="12315"/>
                  </a:cubicBezTo>
                  <a:cubicBezTo>
                    <a:pt x="71375" y="12473"/>
                    <a:pt x="70929" y="12947"/>
                    <a:pt x="71375" y="13263"/>
                  </a:cubicBezTo>
                  <a:cubicBezTo>
                    <a:pt x="71821" y="13736"/>
                    <a:pt x="72267" y="14052"/>
                    <a:pt x="72044" y="14052"/>
                  </a:cubicBezTo>
                  <a:cubicBezTo>
                    <a:pt x="71598" y="14210"/>
                    <a:pt x="71375" y="14368"/>
                    <a:pt x="71152" y="14210"/>
                  </a:cubicBezTo>
                  <a:cubicBezTo>
                    <a:pt x="70929" y="14210"/>
                    <a:pt x="70483" y="13894"/>
                    <a:pt x="69814" y="14052"/>
                  </a:cubicBezTo>
                  <a:cubicBezTo>
                    <a:pt x="69144" y="14210"/>
                    <a:pt x="68475" y="15157"/>
                    <a:pt x="68475" y="15157"/>
                  </a:cubicBezTo>
                  <a:cubicBezTo>
                    <a:pt x="68475" y="15157"/>
                    <a:pt x="69144" y="16105"/>
                    <a:pt x="69368" y="16263"/>
                  </a:cubicBezTo>
                  <a:cubicBezTo>
                    <a:pt x="69591" y="16263"/>
                    <a:pt x="69814" y="16578"/>
                    <a:pt x="69814" y="16894"/>
                  </a:cubicBezTo>
                  <a:cubicBezTo>
                    <a:pt x="69591" y="17210"/>
                    <a:pt x="69814" y="16736"/>
                    <a:pt x="69368" y="16894"/>
                  </a:cubicBezTo>
                  <a:cubicBezTo>
                    <a:pt x="68698" y="17052"/>
                    <a:pt x="68475" y="17210"/>
                    <a:pt x="68029" y="17210"/>
                  </a:cubicBezTo>
                  <a:cubicBezTo>
                    <a:pt x="67583" y="17210"/>
                    <a:pt x="66468" y="18157"/>
                    <a:pt x="66468" y="18157"/>
                  </a:cubicBezTo>
                  <a:cubicBezTo>
                    <a:pt x="67137" y="18789"/>
                    <a:pt x="67137" y="18789"/>
                    <a:pt x="67137" y="18789"/>
                  </a:cubicBezTo>
                  <a:cubicBezTo>
                    <a:pt x="67137" y="18789"/>
                    <a:pt x="65353" y="19263"/>
                    <a:pt x="64907" y="19421"/>
                  </a:cubicBezTo>
                  <a:cubicBezTo>
                    <a:pt x="64684" y="19421"/>
                    <a:pt x="65576" y="19263"/>
                    <a:pt x="64460" y="19421"/>
                  </a:cubicBezTo>
                  <a:cubicBezTo>
                    <a:pt x="63568" y="19736"/>
                    <a:pt x="62899" y="20368"/>
                    <a:pt x="62676" y="20684"/>
                  </a:cubicBezTo>
                  <a:cubicBezTo>
                    <a:pt x="62676" y="20842"/>
                    <a:pt x="61784" y="20842"/>
                    <a:pt x="61784" y="21315"/>
                  </a:cubicBezTo>
                  <a:cubicBezTo>
                    <a:pt x="61784" y="21631"/>
                    <a:pt x="62007" y="22263"/>
                    <a:pt x="61784" y="22421"/>
                  </a:cubicBezTo>
                  <a:cubicBezTo>
                    <a:pt x="61784" y="22578"/>
                    <a:pt x="61784" y="22578"/>
                    <a:pt x="61784" y="22894"/>
                  </a:cubicBezTo>
                  <a:cubicBezTo>
                    <a:pt x="61784" y="23210"/>
                    <a:pt x="61561" y="23526"/>
                    <a:pt x="62230" y="23526"/>
                  </a:cubicBezTo>
                  <a:cubicBezTo>
                    <a:pt x="62899" y="23526"/>
                    <a:pt x="63791" y="23210"/>
                    <a:pt x="64014" y="23052"/>
                  </a:cubicBezTo>
                  <a:cubicBezTo>
                    <a:pt x="64014" y="22894"/>
                    <a:pt x="64237" y="22263"/>
                    <a:pt x="64460" y="22578"/>
                  </a:cubicBezTo>
                  <a:cubicBezTo>
                    <a:pt x="64907" y="22736"/>
                    <a:pt x="64907" y="23368"/>
                    <a:pt x="64907" y="23368"/>
                  </a:cubicBezTo>
                  <a:cubicBezTo>
                    <a:pt x="64907" y="23368"/>
                    <a:pt x="64907" y="24000"/>
                    <a:pt x="64907" y="24157"/>
                  </a:cubicBezTo>
                  <a:cubicBezTo>
                    <a:pt x="64684" y="24473"/>
                    <a:pt x="66245" y="24157"/>
                    <a:pt x="64684" y="24631"/>
                  </a:cubicBezTo>
                  <a:cubicBezTo>
                    <a:pt x="63122" y="25263"/>
                    <a:pt x="62676" y="25263"/>
                    <a:pt x="62676" y="25421"/>
                  </a:cubicBezTo>
                  <a:cubicBezTo>
                    <a:pt x="62676" y="25736"/>
                    <a:pt x="63568" y="26526"/>
                    <a:pt x="62453" y="26210"/>
                  </a:cubicBezTo>
                  <a:cubicBezTo>
                    <a:pt x="61338" y="26052"/>
                    <a:pt x="61338" y="26210"/>
                    <a:pt x="61338" y="26052"/>
                  </a:cubicBezTo>
                  <a:cubicBezTo>
                    <a:pt x="61115" y="25894"/>
                    <a:pt x="61561" y="26842"/>
                    <a:pt x="60223" y="25421"/>
                  </a:cubicBezTo>
                  <a:cubicBezTo>
                    <a:pt x="58884" y="24000"/>
                    <a:pt x="58884" y="24157"/>
                    <a:pt x="58884" y="23842"/>
                  </a:cubicBezTo>
                  <a:cubicBezTo>
                    <a:pt x="58884" y="23526"/>
                    <a:pt x="58661" y="22421"/>
                    <a:pt x="58661" y="22421"/>
                  </a:cubicBezTo>
                  <a:cubicBezTo>
                    <a:pt x="58661" y="22421"/>
                    <a:pt x="58438" y="21315"/>
                    <a:pt x="57769" y="21789"/>
                  </a:cubicBezTo>
                  <a:cubicBezTo>
                    <a:pt x="56877" y="22263"/>
                    <a:pt x="56877" y="23052"/>
                    <a:pt x="56877" y="23052"/>
                  </a:cubicBezTo>
                  <a:cubicBezTo>
                    <a:pt x="56877" y="23052"/>
                    <a:pt x="55762" y="23842"/>
                    <a:pt x="55539" y="24000"/>
                  </a:cubicBezTo>
                  <a:cubicBezTo>
                    <a:pt x="55315" y="24000"/>
                    <a:pt x="54869" y="24000"/>
                    <a:pt x="54200" y="24315"/>
                  </a:cubicBezTo>
                  <a:cubicBezTo>
                    <a:pt x="53754" y="24789"/>
                    <a:pt x="52193" y="26368"/>
                    <a:pt x="52193" y="26368"/>
                  </a:cubicBezTo>
                  <a:cubicBezTo>
                    <a:pt x="52193" y="26368"/>
                    <a:pt x="51301" y="27473"/>
                    <a:pt x="51524" y="27789"/>
                  </a:cubicBezTo>
                  <a:cubicBezTo>
                    <a:pt x="51747" y="28105"/>
                    <a:pt x="52416" y="28578"/>
                    <a:pt x="52416" y="28578"/>
                  </a:cubicBezTo>
                  <a:cubicBezTo>
                    <a:pt x="52416" y="28578"/>
                    <a:pt x="52639" y="28421"/>
                    <a:pt x="52639" y="28894"/>
                  </a:cubicBezTo>
                  <a:cubicBezTo>
                    <a:pt x="52639" y="29368"/>
                    <a:pt x="53754" y="29526"/>
                    <a:pt x="53754" y="29526"/>
                  </a:cubicBezTo>
                  <a:cubicBezTo>
                    <a:pt x="53754" y="29526"/>
                    <a:pt x="54200" y="29684"/>
                    <a:pt x="53754" y="30000"/>
                  </a:cubicBezTo>
                  <a:cubicBezTo>
                    <a:pt x="53085" y="30315"/>
                    <a:pt x="51301" y="30473"/>
                    <a:pt x="51301" y="30473"/>
                  </a:cubicBezTo>
                  <a:cubicBezTo>
                    <a:pt x="49516" y="30473"/>
                    <a:pt x="49516" y="30473"/>
                    <a:pt x="49516" y="30473"/>
                  </a:cubicBezTo>
                  <a:cubicBezTo>
                    <a:pt x="49516" y="30473"/>
                    <a:pt x="48624" y="31263"/>
                    <a:pt x="48401" y="31263"/>
                  </a:cubicBezTo>
                  <a:cubicBezTo>
                    <a:pt x="47955" y="31421"/>
                    <a:pt x="47286" y="31736"/>
                    <a:pt x="47063" y="32210"/>
                  </a:cubicBezTo>
                  <a:cubicBezTo>
                    <a:pt x="47063" y="32526"/>
                    <a:pt x="45055" y="33789"/>
                    <a:pt x="45055" y="33789"/>
                  </a:cubicBezTo>
                  <a:cubicBezTo>
                    <a:pt x="45055" y="33789"/>
                    <a:pt x="45055" y="34263"/>
                    <a:pt x="45055" y="34421"/>
                  </a:cubicBezTo>
                  <a:cubicBezTo>
                    <a:pt x="45055" y="34578"/>
                    <a:pt x="44163" y="34894"/>
                    <a:pt x="44609" y="35052"/>
                  </a:cubicBezTo>
                  <a:cubicBezTo>
                    <a:pt x="45055" y="35210"/>
                    <a:pt x="45724" y="35368"/>
                    <a:pt x="46171" y="34736"/>
                  </a:cubicBezTo>
                  <a:cubicBezTo>
                    <a:pt x="46617" y="34263"/>
                    <a:pt x="46617" y="33473"/>
                    <a:pt x="46617" y="33473"/>
                  </a:cubicBezTo>
                  <a:cubicBezTo>
                    <a:pt x="46617" y="33473"/>
                    <a:pt x="47063" y="33157"/>
                    <a:pt x="47509" y="33157"/>
                  </a:cubicBezTo>
                  <a:cubicBezTo>
                    <a:pt x="48178" y="33157"/>
                    <a:pt x="48847" y="32684"/>
                    <a:pt x="49516" y="32526"/>
                  </a:cubicBezTo>
                  <a:cubicBezTo>
                    <a:pt x="50185" y="32526"/>
                    <a:pt x="51078" y="31736"/>
                    <a:pt x="51301" y="31736"/>
                  </a:cubicBezTo>
                  <a:cubicBezTo>
                    <a:pt x="51747" y="31736"/>
                    <a:pt x="51524" y="31894"/>
                    <a:pt x="52416" y="31736"/>
                  </a:cubicBezTo>
                  <a:cubicBezTo>
                    <a:pt x="53308" y="31736"/>
                    <a:pt x="54200" y="31736"/>
                    <a:pt x="54423" y="31578"/>
                  </a:cubicBezTo>
                  <a:cubicBezTo>
                    <a:pt x="54869" y="31421"/>
                    <a:pt x="56654" y="32210"/>
                    <a:pt x="56877" y="32368"/>
                  </a:cubicBezTo>
                  <a:cubicBezTo>
                    <a:pt x="56877" y="32526"/>
                    <a:pt x="55315" y="32684"/>
                    <a:pt x="55985" y="33000"/>
                  </a:cubicBezTo>
                  <a:cubicBezTo>
                    <a:pt x="56877" y="33315"/>
                    <a:pt x="56877" y="33473"/>
                    <a:pt x="57100" y="33473"/>
                  </a:cubicBezTo>
                  <a:cubicBezTo>
                    <a:pt x="57323" y="33473"/>
                    <a:pt x="57769" y="33315"/>
                    <a:pt x="58438" y="33157"/>
                  </a:cubicBezTo>
                  <a:cubicBezTo>
                    <a:pt x="58884" y="32842"/>
                    <a:pt x="57992" y="32368"/>
                    <a:pt x="59330" y="32684"/>
                  </a:cubicBezTo>
                  <a:cubicBezTo>
                    <a:pt x="60446" y="33000"/>
                    <a:pt x="60446" y="33315"/>
                    <a:pt x="60446" y="33315"/>
                  </a:cubicBezTo>
                  <a:cubicBezTo>
                    <a:pt x="60223" y="33631"/>
                    <a:pt x="60223" y="33631"/>
                    <a:pt x="60223" y="33631"/>
                  </a:cubicBezTo>
                  <a:cubicBezTo>
                    <a:pt x="59330" y="33789"/>
                    <a:pt x="59330" y="33789"/>
                    <a:pt x="59330" y="33789"/>
                  </a:cubicBezTo>
                  <a:cubicBezTo>
                    <a:pt x="57992" y="33631"/>
                    <a:pt x="57992" y="33631"/>
                    <a:pt x="57992" y="33631"/>
                  </a:cubicBezTo>
                  <a:cubicBezTo>
                    <a:pt x="57100" y="33947"/>
                    <a:pt x="57100" y="33947"/>
                    <a:pt x="57100" y="33947"/>
                  </a:cubicBezTo>
                  <a:cubicBezTo>
                    <a:pt x="57100" y="33947"/>
                    <a:pt x="56877" y="34105"/>
                    <a:pt x="56654" y="34105"/>
                  </a:cubicBezTo>
                  <a:cubicBezTo>
                    <a:pt x="56654" y="34105"/>
                    <a:pt x="54646" y="34263"/>
                    <a:pt x="54646" y="34263"/>
                  </a:cubicBezTo>
                  <a:cubicBezTo>
                    <a:pt x="53754" y="35210"/>
                    <a:pt x="53754" y="35210"/>
                    <a:pt x="53754" y="35210"/>
                  </a:cubicBezTo>
                  <a:cubicBezTo>
                    <a:pt x="53754" y="35210"/>
                    <a:pt x="54423" y="35842"/>
                    <a:pt x="54423" y="35842"/>
                  </a:cubicBezTo>
                  <a:cubicBezTo>
                    <a:pt x="54646" y="35842"/>
                    <a:pt x="55985" y="35526"/>
                    <a:pt x="55985" y="35684"/>
                  </a:cubicBezTo>
                  <a:cubicBezTo>
                    <a:pt x="56208" y="35684"/>
                    <a:pt x="56431" y="36000"/>
                    <a:pt x="56208" y="36157"/>
                  </a:cubicBezTo>
                  <a:cubicBezTo>
                    <a:pt x="56208" y="36315"/>
                    <a:pt x="55315" y="36789"/>
                    <a:pt x="55315" y="36789"/>
                  </a:cubicBezTo>
                  <a:cubicBezTo>
                    <a:pt x="54869" y="37421"/>
                    <a:pt x="54869" y="37421"/>
                    <a:pt x="54869" y="37421"/>
                  </a:cubicBezTo>
                  <a:cubicBezTo>
                    <a:pt x="54869" y="37421"/>
                    <a:pt x="55762" y="37578"/>
                    <a:pt x="55985" y="37578"/>
                  </a:cubicBezTo>
                  <a:cubicBezTo>
                    <a:pt x="55985" y="37578"/>
                    <a:pt x="57323" y="37578"/>
                    <a:pt x="57100" y="37736"/>
                  </a:cubicBezTo>
                  <a:cubicBezTo>
                    <a:pt x="57100" y="37736"/>
                    <a:pt x="55092" y="37894"/>
                    <a:pt x="55092" y="37894"/>
                  </a:cubicBezTo>
                  <a:cubicBezTo>
                    <a:pt x="55092" y="37894"/>
                    <a:pt x="53308" y="37736"/>
                    <a:pt x="53531" y="37736"/>
                  </a:cubicBezTo>
                  <a:cubicBezTo>
                    <a:pt x="53531" y="37894"/>
                    <a:pt x="53308" y="38210"/>
                    <a:pt x="53308" y="38368"/>
                  </a:cubicBezTo>
                  <a:cubicBezTo>
                    <a:pt x="53308" y="38368"/>
                    <a:pt x="52862" y="38842"/>
                    <a:pt x="52862" y="38842"/>
                  </a:cubicBezTo>
                  <a:cubicBezTo>
                    <a:pt x="52639" y="38842"/>
                    <a:pt x="52193" y="38842"/>
                    <a:pt x="51970" y="39000"/>
                  </a:cubicBezTo>
                  <a:cubicBezTo>
                    <a:pt x="51970" y="39157"/>
                    <a:pt x="51747" y="39473"/>
                    <a:pt x="51747" y="39789"/>
                  </a:cubicBezTo>
                  <a:cubicBezTo>
                    <a:pt x="51747" y="39947"/>
                    <a:pt x="52416" y="40421"/>
                    <a:pt x="52416" y="40421"/>
                  </a:cubicBezTo>
                  <a:cubicBezTo>
                    <a:pt x="52193" y="40736"/>
                    <a:pt x="52193" y="40736"/>
                    <a:pt x="52193" y="40736"/>
                  </a:cubicBezTo>
                  <a:cubicBezTo>
                    <a:pt x="51301" y="41368"/>
                    <a:pt x="51301" y="41368"/>
                    <a:pt x="51301" y="41368"/>
                  </a:cubicBezTo>
                  <a:cubicBezTo>
                    <a:pt x="51301" y="41368"/>
                    <a:pt x="50855" y="41526"/>
                    <a:pt x="50855" y="41684"/>
                  </a:cubicBezTo>
                  <a:cubicBezTo>
                    <a:pt x="51078" y="41684"/>
                    <a:pt x="50185" y="42000"/>
                    <a:pt x="50185" y="42000"/>
                  </a:cubicBezTo>
                  <a:cubicBezTo>
                    <a:pt x="48624" y="42631"/>
                    <a:pt x="48624" y="42631"/>
                    <a:pt x="48624" y="42631"/>
                  </a:cubicBezTo>
                  <a:cubicBezTo>
                    <a:pt x="48624" y="42631"/>
                    <a:pt x="48847" y="43105"/>
                    <a:pt x="48847" y="43263"/>
                  </a:cubicBezTo>
                  <a:cubicBezTo>
                    <a:pt x="48847" y="43263"/>
                    <a:pt x="49516" y="43578"/>
                    <a:pt x="49070" y="43894"/>
                  </a:cubicBezTo>
                  <a:cubicBezTo>
                    <a:pt x="48624" y="44052"/>
                    <a:pt x="48178" y="44210"/>
                    <a:pt x="47955" y="44368"/>
                  </a:cubicBezTo>
                  <a:cubicBezTo>
                    <a:pt x="47955" y="44368"/>
                    <a:pt x="47509" y="44526"/>
                    <a:pt x="47509" y="45000"/>
                  </a:cubicBezTo>
                  <a:cubicBezTo>
                    <a:pt x="47732" y="45315"/>
                    <a:pt x="47286" y="45789"/>
                    <a:pt x="47063" y="45789"/>
                  </a:cubicBezTo>
                  <a:cubicBezTo>
                    <a:pt x="47063" y="45789"/>
                    <a:pt x="46617" y="45947"/>
                    <a:pt x="46617" y="46421"/>
                  </a:cubicBezTo>
                  <a:cubicBezTo>
                    <a:pt x="46840" y="46736"/>
                    <a:pt x="46617" y="47842"/>
                    <a:pt x="46617" y="47842"/>
                  </a:cubicBezTo>
                  <a:cubicBezTo>
                    <a:pt x="46617" y="47842"/>
                    <a:pt x="47286" y="48473"/>
                    <a:pt x="47509" y="48473"/>
                  </a:cubicBezTo>
                  <a:cubicBezTo>
                    <a:pt x="47509" y="48473"/>
                    <a:pt x="48624" y="48157"/>
                    <a:pt x="48847" y="48315"/>
                  </a:cubicBezTo>
                  <a:cubicBezTo>
                    <a:pt x="49293" y="48315"/>
                    <a:pt x="49962" y="48631"/>
                    <a:pt x="49962" y="48631"/>
                  </a:cubicBezTo>
                  <a:cubicBezTo>
                    <a:pt x="49962" y="48631"/>
                    <a:pt x="49739" y="49421"/>
                    <a:pt x="49516" y="49578"/>
                  </a:cubicBezTo>
                  <a:cubicBezTo>
                    <a:pt x="49293" y="49578"/>
                    <a:pt x="47955" y="49736"/>
                    <a:pt x="47955" y="49736"/>
                  </a:cubicBezTo>
                  <a:cubicBezTo>
                    <a:pt x="47955" y="49736"/>
                    <a:pt x="47286" y="49421"/>
                    <a:pt x="47063" y="49421"/>
                  </a:cubicBezTo>
                  <a:cubicBezTo>
                    <a:pt x="46840" y="49578"/>
                    <a:pt x="45724" y="50368"/>
                    <a:pt x="45724" y="50368"/>
                  </a:cubicBezTo>
                  <a:cubicBezTo>
                    <a:pt x="45724" y="50368"/>
                    <a:pt x="45724" y="50842"/>
                    <a:pt x="45501" y="50842"/>
                  </a:cubicBezTo>
                  <a:cubicBezTo>
                    <a:pt x="45055" y="51000"/>
                    <a:pt x="44832" y="50684"/>
                    <a:pt x="44832" y="51000"/>
                  </a:cubicBezTo>
                  <a:cubicBezTo>
                    <a:pt x="44832" y="51157"/>
                    <a:pt x="44832" y="51631"/>
                    <a:pt x="44832" y="51789"/>
                  </a:cubicBezTo>
                  <a:cubicBezTo>
                    <a:pt x="44832" y="52105"/>
                    <a:pt x="44832" y="52578"/>
                    <a:pt x="44832" y="52578"/>
                  </a:cubicBezTo>
                  <a:cubicBezTo>
                    <a:pt x="44832" y="52578"/>
                    <a:pt x="44386" y="53210"/>
                    <a:pt x="44163" y="53526"/>
                  </a:cubicBezTo>
                  <a:cubicBezTo>
                    <a:pt x="43940" y="53842"/>
                    <a:pt x="43494" y="54631"/>
                    <a:pt x="43494" y="54789"/>
                  </a:cubicBezTo>
                  <a:cubicBezTo>
                    <a:pt x="43717" y="54947"/>
                    <a:pt x="44163" y="55736"/>
                    <a:pt x="44163" y="55736"/>
                  </a:cubicBezTo>
                  <a:cubicBezTo>
                    <a:pt x="42602" y="56368"/>
                    <a:pt x="42602" y="56368"/>
                    <a:pt x="42602" y="56368"/>
                  </a:cubicBezTo>
                  <a:cubicBezTo>
                    <a:pt x="43048" y="57157"/>
                    <a:pt x="43048" y="57157"/>
                    <a:pt x="43048" y="57157"/>
                  </a:cubicBezTo>
                  <a:cubicBezTo>
                    <a:pt x="43048" y="57157"/>
                    <a:pt x="43271" y="57157"/>
                    <a:pt x="43271" y="57315"/>
                  </a:cubicBezTo>
                  <a:cubicBezTo>
                    <a:pt x="43271" y="57631"/>
                    <a:pt x="42156" y="58105"/>
                    <a:pt x="42156" y="58105"/>
                  </a:cubicBezTo>
                  <a:cubicBezTo>
                    <a:pt x="42156" y="58105"/>
                    <a:pt x="42156" y="58894"/>
                    <a:pt x="42156" y="59052"/>
                  </a:cubicBezTo>
                  <a:cubicBezTo>
                    <a:pt x="42156" y="59210"/>
                    <a:pt x="41040" y="58578"/>
                    <a:pt x="41040" y="58578"/>
                  </a:cubicBezTo>
                  <a:cubicBezTo>
                    <a:pt x="40148" y="58736"/>
                    <a:pt x="40148" y="58736"/>
                    <a:pt x="40148" y="58736"/>
                  </a:cubicBezTo>
                  <a:cubicBezTo>
                    <a:pt x="40148" y="59368"/>
                    <a:pt x="40148" y="59368"/>
                    <a:pt x="40148" y="59368"/>
                  </a:cubicBezTo>
                  <a:cubicBezTo>
                    <a:pt x="39702" y="60000"/>
                    <a:pt x="39702" y="60000"/>
                    <a:pt x="39702" y="60000"/>
                  </a:cubicBezTo>
                  <a:cubicBezTo>
                    <a:pt x="38141" y="60000"/>
                    <a:pt x="38141" y="60000"/>
                    <a:pt x="38141" y="60000"/>
                  </a:cubicBezTo>
                  <a:cubicBezTo>
                    <a:pt x="38141" y="60000"/>
                    <a:pt x="36802" y="60631"/>
                    <a:pt x="36802" y="60631"/>
                  </a:cubicBezTo>
                  <a:cubicBezTo>
                    <a:pt x="37026" y="60789"/>
                    <a:pt x="36356" y="61263"/>
                    <a:pt x="37026" y="61263"/>
                  </a:cubicBezTo>
                  <a:cubicBezTo>
                    <a:pt x="37472" y="61263"/>
                    <a:pt x="37695" y="61263"/>
                    <a:pt x="37918" y="61263"/>
                  </a:cubicBezTo>
                  <a:cubicBezTo>
                    <a:pt x="38364" y="61105"/>
                    <a:pt x="39256" y="60789"/>
                    <a:pt x="39479" y="60789"/>
                  </a:cubicBezTo>
                  <a:cubicBezTo>
                    <a:pt x="39702" y="60789"/>
                    <a:pt x="40371" y="60789"/>
                    <a:pt x="39925" y="61105"/>
                  </a:cubicBezTo>
                  <a:cubicBezTo>
                    <a:pt x="39479" y="61421"/>
                    <a:pt x="39033" y="61421"/>
                    <a:pt x="38810" y="61578"/>
                  </a:cubicBezTo>
                  <a:cubicBezTo>
                    <a:pt x="38364" y="61736"/>
                    <a:pt x="37695" y="61736"/>
                    <a:pt x="37695" y="62210"/>
                  </a:cubicBezTo>
                  <a:cubicBezTo>
                    <a:pt x="37695" y="62684"/>
                    <a:pt x="37472" y="63157"/>
                    <a:pt x="37472" y="63157"/>
                  </a:cubicBezTo>
                  <a:cubicBezTo>
                    <a:pt x="39033" y="62842"/>
                    <a:pt x="39033" y="62842"/>
                    <a:pt x="39033" y="62842"/>
                  </a:cubicBezTo>
                  <a:cubicBezTo>
                    <a:pt x="39033" y="62842"/>
                    <a:pt x="39479" y="62684"/>
                    <a:pt x="39479" y="63157"/>
                  </a:cubicBezTo>
                  <a:cubicBezTo>
                    <a:pt x="39702" y="63789"/>
                    <a:pt x="39033" y="63947"/>
                    <a:pt x="38587" y="63947"/>
                  </a:cubicBezTo>
                  <a:cubicBezTo>
                    <a:pt x="38364" y="63947"/>
                    <a:pt x="37249" y="63315"/>
                    <a:pt x="37249" y="63315"/>
                  </a:cubicBezTo>
                  <a:cubicBezTo>
                    <a:pt x="36356" y="63789"/>
                    <a:pt x="36356" y="63789"/>
                    <a:pt x="36356" y="63789"/>
                  </a:cubicBezTo>
                  <a:cubicBezTo>
                    <a:pt x="36356" y="63789"/>
                    <a:pt x="36133" y="63631"/>
                    <a:pt x="35241" y="64105"/>
                  </a:cubicBezTo>
                  <a:cubicBezTo>
                    <a:pt x="34349" y="64736"/>
                    <a:pt x="33903" y="65526"/>
                    <a:pt x="33903" y="65684"/>
                  </a:cubicBezTo>
                  <a:cubicBezTo>
                    <a:pt x="33903" y="65842"/>
                    <a:pt x="33903" y="66157"/>
                    <a:pt x="33234" y="66473"/>
                  </a:cubicBezTo>
                  <a:cubicBezTo>
                    <a:pt x="32788" y="66631"/>
                    <a:pt x="32118" y="67105"/>
                    <a:pt x="32118" y="67105"/>
                  </a:cubicBezTo>
                  <a:cubicBezTo>
                    <a:pt x="32118" y="67105"/>
                    <a:pt x="31895" y="67578"/>
                    <a:pt x="31672" y="67894"/>
                  </a:cubicBezTo>
                  <a:cubicBezTo>
                    <a:pt x="31449" y="68210"/>
                    <a:pt x="31449" y="68210"/>
                    <a:pt x="31449" y="68210"/>
                  </a:cubicBezTo>
                  <a:cubicBezTo>
                    <a:pt x="32342" y="68842"/>
                    <a:pt x="32342" y="68842"/>
                    <a:pt x="32342" y="68842"/>
                  </a:cubicBezTo>
                  <a:cubicBezTo>
                    <a:pt x="30780" y="69473"/>
                    <a:pt x="30780" y="69473"/>
                    <a:pt x="30780" y="69473"/>
                  </a:cubicBezTo>
                  <a:cubicBezTo>
                    <a:pt x="30111" y="69789"/>
                    <a:pt x="30111" y="69789"/>
                    <a:pt x="30111" y="69789"/>
                  </a:cubicBezTo>
                  <a:cubicBezTo>
                    <a:pt x="30111" y="69789"/>
                    <a:pt x="28773" y="70736"/>
                    <a:pt x="29665" y="70894"/>
                  </a:cubicBezTo>
                  <a:cubicBezTo>
                    <a:pt x="30780" y="71052"/>
                    <a:pt x="31449" y="71052"/>
                    <a:pt x="31449" y="71052"/>
                  </a:cubicBezTo>
                  <a:cubicBezTo>
                    <a:pt x="31449" y="71052"/>
                    <a:pt x="31226" y="72000"/>
                    <a:pt x="31449" y="72000"/>
                  </a:cubicBezTo>
                  <a:cubicBezTo>
                    <a:pt x="31672" y="72000"/>
                    <a:pt x="33680" y="72000"/>
                    <a:pt x="33680" y="72000"/>
                  </a:cubicBezTo>
                  <a:cubicBezTo>
                    <a:pt x="34795" y="71368"/>
                    <a:pt x="34795" y="71368"/>
                    <a:pt x="34795" y="71368"/>
                  </a:cubicBezTo>
                  <a:cubicBezTo>
                    <a:pt x="35464" y="71052"/>
                    <a:pt x="35464" y="71052"/>
                    <a:pt x="35464" y="71052"/>
                  </a:cubicBezTo>
                  <a:cubicBezTo>
                    <a:pt x="35910" y="71684"/>
                    <a:pt x="35910" y="71684"/>
                    <a:pt x="35910" y="71684"/>
                  </a:cubicBezTo>
                  <a:cubicBezTo>
                    <a:pt x="35910" y="71684"/>
                    <a:pt x="35464" y="72157"/>
                    <a:pt x="35018" y="72157"/>
                  </a:cubicBezTo>
                  <a:cubicBezTo>
                    <a:pt x="34349" y="72157"/>
                    <a:pt x="34572" y="72157"/>
                    <a:pt x="34126" y="72473"/>
                  </a:cubicBezTo>
                  <a:cubicBezTo>
                    <a:pt x="33457" y="72947"/>
                    <a:pt x="33234" y="73105"/>
                    <a:pt x="32788" y="73105"/>
                  </a:cubicBezTo>
                  <a:cubicBezTo>
                    <a:pt x="32565" y="73105"/>
                    <a:pt x="32118" y="73578"/>
                    <a:pt x="31672" y="72947"/>
                  </a:cubicBezTo>
                  <a:cubicBezTo>
                    <a:pt x="31449" y="72473"/>
                    <a:pt x="31003" y="72000"/>
                    <a:pt x="31003" y="72000"/>
                  </a:cubicBezTo>
                  <a:cubicBezTo>
                    <a:pt x="28996" y="71368"/>
                    <a:pt x="28996" y="71368"/>
                    <a:pt x="28996" y="71368"/>
                  </a:cubicBezTo>
                  <a:cubicBezTo>
                    <a:pt x="28550" y="71526"/>
                    <a:pt x="28550" y="71526"/>
                    <a:pt x="28550" y="71526"/>
                  </a:cubicBezTo>
                  <a:cubicBezTo>
                    <a:pt x="28550" y="71526"/>
                    <a:pt x="28327" y="72157"/>
                    <a:pt x="28104" y="72157"/>
                  </a:cubicBezTo>
                  <a:cubicBezTo>
                    <a:pt x="27881" y="72157"/>
                    <a:pt x="26542" y="72157"/>
                    <a:pt x="26096" y="72157"/>
                  </a:cubicBezTo>
                  <a:cubicBezTo>
                    <a:pt x="25873" y="72157"/>
                    <a:pt x="25427" y="72157"/>
                    <a:pt x="25427" y="72000"/>
                  </a:cubicBezTo>
                  <a:cubicBezTo>
                    <a:pt x="25204" y="71684"/>
                    <a:pt x="25427" y="71684"/>
                    <a:pt x="25204" y="71526"/>
                  </a:cubicBezTo>
                  <a:cubicBezTo>
                    <a:pt x="24981" y="71368"/>
                    <a:pt x="24535" y="70736"/>
                    <a:pt x="24089" y="70894"/>
                  </a:cubicBezTo>
                  <a:cubicBezTo>
                    <a:pt x="23866" y="70894"/>
                    <a:pt x="22750" y="71210"/>
                    <a:pt x="22750" y="71210"/>
                  </a:cubicBezTo>
                  <a:cubicBezTo>
                    <a:pt x="22527" y="72473"/>
                    <a:pt x="22527" y="72473"/>
                    <a:pt x="22527" y="72473"/>
                  </a:cubicBezTo>
                  <a:cubicBezTo>
                    <a:pt x="22527" y="72473"/>
                    <a:pt x="21858" y="72473"/>
                    <a:pt x="22081" y="72789"/>
                  </a:cubicBezTo>
                  <a:cubicBezTo>
                    <a:pt x="22081" y="73105"/>
                    <a:pt x="22973" y="73421"/>
                    <a:pt x="22973" y="73421"/>
                  </a:cubicBezTo>
                  <a:cubicBezTo>
                    <a:pt x="22973" y="73421"/>
                    <a:pt x="23420" y="73736"/>
                    <a:pt x="23420" y="73894"/>
                  </a:cubicBezTo>
                  <a:cubicBezTo>
                    <a:pt x="23643" y="74210"/>
                    <a:pt x="22973" y="74526"/>
                    <a:pt x="22973" y="74526"/>
                  </a:cubicBezTo>
                  <a:cubicBezTo>
                    <a:pt x="22973" y="74526"/>
                    <a:pt x="21858" y="74526"/>
                    <a:pt x="21635" y="74842"/>
                  </a:cubicBezTo>
                  <a:cubicBezTo>
                    <a:pt x="21635" y="75000"/>
                    <a:pt x="21858" y="75473"/>
                    <a:pt x="21635" y="75473"/>
                  </a:cubicBezTo>
                  <a:cubicBezTo>
                    <a:pt x="21412" y="75631"/>
                    <a:pt x="21189" y="75947"/>
                    <a:pt x="21189" y="76105"/>
                  </a:cubicBezTo>
                  <a:cubicBezTo>
                    <a:pt x="21189" y="76105"/>
                    <a:pt x="21635" y="76894"/>
                    <a:pt x="21635" y="76894"/>
                  </a:cubicBezTo>
                  <a:cubicBezTo>
                    <a:pt x="21635" y="76894"/>
                    <a:pt x="21635" y="77526"/>
                    <a:pt x="21189" y="77210"/>
                  </a:cubicBezTo>
                  <a:cubicBezTo>
                    <a:pt x="20743" y="76894"/>
                    <a:pt x="19405" y="76421"/>
                    <a:pt x="19405" y="76421"/>
                  </a:cubicBezTo>
                  <a:cubicBezTo>
                    <a:pt x="18513" y="75947"/>
                    <a:pt x="18513" y="75947"/>
                    <a:pt x="18513" y="75947"/>
                  </a:cubicBezTo>
                  <a:cubicBezTo>
                    <a:pt x="18513" y="75947"/>
                    <a:pt x="17620" y="76421"/>
                    <a:pt x="17397" y="76421"/>
                  </a:cubicBezTo>
                  <a:cubicBezTo>
                    <a:pt x="17397" y="76578"/>
                    <a:pt x="15836" y="76421"/>
                    <a:pt x="15390" y="76578"/>
                  </a:cubicBezTo>
                  <a:cubicBezTo>
                    <a:pt x="15167" y="76736"/>
                    <a:pt x="15167" y="76894"/>
                    <a:pt x="14944" y="77210"/>
                  </a:cubicBezTo>
                  <a:cubicBezTo>
                    <a:pt x="14498" y="77526"/>
                    <a:pt x="13828" y="77526"/>
                    <a:pt x="14498" y="78000"/>
                  </a:cubicBezTo>
                  <a:cubicBezTo>
                    <a:pt x="14944" y="78473"/>
                    <a:pt x="16059" y="78631"/>
                    <a:pt x="16059" y="78631"/>
                  </a:cubicBezTo>
                  <a:cubicBezTo>
                    <a:pt x="16059" y="78631"/>
                    <a:pt x="16505" y="78789"/>
                    <a:pt x="16059" y="79263"/>
                  </a:cubicBezTo>
                  <a:cubicBezTo>
                    <a:pt x="15613" y="79894"/>
                    <a:pt x="14721" y="79421"/>
                    <a:pt x="14498" y="79421"/>
                  </a:cubicBezTo>
                  <a:cubicBezTo>
                    <a:pt x="14275" y="79263"/>
                    <a:pt x="13382" y="78789"/>
                    <a:pt x="13159" y="78947"/>
                  </a:cubicBezTo>
                  <a:cubicBezTo>
                    <a:pt x="12936" y="79105"/>
                    <a:pt x="12267" y="79894"/>
                    <a:pt x="12267" y="79894"/>
                  </a:cubicBezTo>
                  <a:cubicBezTo>
                    <a:pt x="12267" y="79894"/>
                    <a:pt x="11598" y="80052"/>
                    <a:pt x="11375" y="79894"/>
                  </a:cubicBezTo>
                  <a:cubicBezTo>
                    <a:pt x="11152" y="79894"/>
                    <a:pt x="10483" y="79105"/>
                    <a:pt x="10260" y="79263"/>
                  </a:cubicBezTo>
                  <a:cubicBezTo>
                    <a:pt x="10037" y="79421"/>
                    <a:pt x="9814" y="79736"/>
                    <a:pt x="9814" y="79894"/>
                  </a:cubicBezTo>
                  <a:cubicBezTo>
                    <a:pt x="9814" y="80052"/>
                    <a:pt x="10260" y="80368"/>
                    <a:pt x="10037" y="80526"/>
                  </a:cubicBezTo>
                  <a:cubicBezTo>
                    <a:pt x="10037" y="80684"/>
                    <a:pt x="8921" y="80842"/>
                    <a:pt x="8698" y="81000"/>
                  </a:cubicBezTo>
                  <a:cubicBezTo>
                    <a:pt x="8698" y="81157"/>
                    <a:pt x="8698" y="80842"/>
                    <a:pt x="8252" y="81473"/>
                  </a:cubicBezTo>
                  <a:cubicBezTo>
                    <a:pt x="8029" y="82105"/>
                    <a:pt x="8252" y="82105"/>
                    <a:pt x="8029" y="82105"/>
                  </a:cubicBezTo>
                  <a:cubicBezTo>
                    <a:pt x="7583" y="82263"/>
                    <a:pt x="6691" y="81789"/>
                    <a:pt x="6691" y="81789"/>
                  </a:cubicBezTo>
                  <a:cubicBezTo>
                    <a:pt x="6691" y="81789"/>
                    <a:pt x="6022" y="81315"/>
                    <a:pt x="6022" y="81789"/>
                  </a:cubicBezTo>
                  <a:cubicBezTo>
                    <a:pt x="6022" y="82421"/>
                    <a:pt x="5799" y="83052"/>
                    <a:pt x="5799" y="83052"/>
                  </a:cubicBezTo>
                  <a:cubicBezTo>
                    <a:pt x="6468" y="83368"/>
                    <a:pt x="6468" y="83368"/>
                    <a:pt x="6468" y="83368"/>
                  </a:cubicBezTo>
                  <a:cubicBezTo>
                    <a:pt x="6468" y="83368"/>
                    <a:pt x="6245" y="83684"/>
                    <a:pt x="6022" y="83684"/>
                  </a:cubicBezTo>
                  <a:cubicBezTo>
                    <a:pt x="6022" y="83684"/>
                    <a:pt x="5576" y="83526"/>
                    <a:pt x="5353" y="83210"/>
                  </a:cubicBezTo>
                  <a:cubicBezTo>
                    <a:pt x="5130" y="83052"/>
                    <a:pt x="5353" y="83052"/>
                    <a:pt x="4684" y="82894"/>
                  </a:cubicBezTo>
                  <a:cubicBezTo>
                    <a:pt x="4014" y="82736"/>
                    <a:pt x="3568" y="82421"/>
                    <a:pt x="3568" y="82736"/>
                  </a:cubicBezTo>
                  <a:cubicBezTo>
                    <a:pt x="3568" y="82894"/>
                    <a:pt x="3345" y="83210"/>
                    <a:pt x="3568" y="83368"/>
                  </a:cubicBezTo>
                  <a:cubicBezTo>
                    <a:pt x="3791" y="83684"/>
                    <a:pt x="4237" y="84000"/>
                    <a:pt x="4237" y="84000"/>
                  </a:cubicBezTo>
                  <a:cubicBezTo>
                    <a:pt x="4460" y="84000"/>
                    <a:pt x="4460" y="84000"/>
                    <a:pt x="4460" y="84000"/>
                  </a:cubicBezTo>
                  <a:cubicBezTo>
                    <a:pt x="4460" y="84000"/>
                    <a:pt x="4237" y="84473"/>
                    <a:pt x="4014" y="84473"/>
                  </a:cubicBezTo>
                  <a:cubicBezTo>
                    <a:pt x="3791" y="84631"/>
                    <a:pt x="3568" y="84315"/>
                    <a:pt x="3345" y="84315"/>
                  </a:cubicBezTo>
                  <a:cubicBezTo>
                    <a:pt x="3345" y="84315"/>
                    <a:pt x="2676" y="84631"/>
                    <a:pt x="2676" y="84631"/>
                  </a:cubicBezTo>
                  <a:cubicBezTo>
                    <a:pt x="2676" y="84631"/>
                    <a:pt x="2899" y="84947"/>
                    <a:pt x="2899" y="85105"/>
                  </a:cubicBezTo>
                  <a:cubicBezTo>
                    <a:pt x="2899" y="85263"/>
                    <a:pt x="2230" y="85421"/>
                    <a:pt x="2230" y="85578"/>
                  </a:cubicBezTo>
                  <a:cubicBezTo>
                    <a:pt x="2007" y="85578"/>
                    <a:pt x="1784" y="85736"/>
                    <a:pt x="1784" y="85894"/>
                  </a:cubicBezTo>
                  <a:cubicBezTo>
                    <a:pt x="1784" y="86052"/>
                    <a:pt x="2007" y="86526"/>
                    <a:pt x="2230" y="86368"/>
                  </a:cubicBezTo>
                  <a:cubicBezTo>
                    <a:pt x="2453" y="86368"/>
                    <a:pt x="3568" y="86526"/>
                    <a:pt x="3568" y="86526"/>
                  </a:cubicBezTo>
                  <a:cubicBezTo>
                    <a:pt x="3568" y="86526"/>
                    <a:pt x="3345" y="86842"/>
                    <a:pt x="3122" y="87000"/>
                  </a:cubicBezTo>
                  <a:cubicBezTo>
                    <a:pt x="2899" y="87000"/>
                    <a:pt x="2676" y="87315"/>
                    <a:pt x="2453" y="87473"/>
                  </a:cubicBezTo>
                  <a:cubicBezTo>
                    <a:pt x="2230" y="87789"/>
                    <a:pt x="2676" y="88421"/>
                    <a:pt x="3122" y="88578"/>
                  </a:cubicBezTo>
                  <a:cubicBezTo>
                    <a:pt x="3791" y="88736"/>
                    <a:pt x="4460" y="88736"/>
                    <a:pt x="4460" y="89052"/>
                  </a:cubicBezTo>
                  <a:cubicBezTo>
                    <a:pt x="4237" y="89210"/>
                    <a:pt x="3122" y="89842"/>
                    <a:pt x="2899" y="90000"/>
                  </a:cubicBezTo>
                  <a:cubicBezTo>
                    <a:pt x="2676" y="90000"/>
                    <a:pt x="2230" y="90157"/>
                    <a:pt x="2230" y="90473"/>
                  </a:cubicBezTo>
                  <a:cubicBezTo>
                    <a:pt x="2230" y="90789"/>
                    <a:pt x="2230" y="90947"/>
                    <a:pt x="1784" y="91105"/>
                  </a:cubicBezTo>
                  <a:cubicBezTo>
                    <a:pt x="1338" y="91263"/>
                    <a:pt x="1115" y="91105"/>
                    <a:pt x="1115" y="91578"/>
                  </a:cubicBezTo>
                  <a:cubicBezTo>
                    <a:pt x="1115" y="91894"/>
                    <a:pt x="1338" y="92052"/>
                    <a:pt x="1561" y="92052"/>
                  </a:cubicBezTo>
                  <a:cubicBezTo>
                    <a:pt x="1784" y="92052"/>
                    <a:pt x="1784" y="92052"/>
                    <a:pt x="1784" y="92052"/>
                  </a:cubicBezTo>
                  <a:cubicBezTo>
                    <a:pt x="3568" y="91894"/>
                    <a:pt x="3568" y="91894"/>
                    <a:pt x="3568" y="91894"/>
                  </a:cubicBezTo>
                  <a:cubicBezTo>
                    <a:pt x="3568" y="91894"/>
                    <a:pt x="3345" y="92368"/>
                    <a:pt x="3345" y="92526"/>
                  </a:cubicBezTo>
                  <a:cubicBezTo>
                    <a:pt x="3345" y="92684"/>
                    <a:pt x="2007" y="93631"/>
                    <a:pt x="2007" y="93631"/>
                  </a:cubicBezTo>
                  <a:cubicBezTo>
                    <a:pt x="2007" y="93631"/>
                    <a:pt x="2230" y="94105"/>
                    <a:pt x="2007" y="94105"/>
                  </a:cubicBezTo>
                  <a:cubicBezTo>
                    <a:pt x="1561" y="94263"/>
                    <a:pt x="1115" y="94421"/>
                    <a:pt x="892" y="94578"/>
                  </a:cubicBezTo>
                  <a:cubicBezTo>
                    <a:pt x="892" y="94736"/>
                    <a:pt x="892" y="95052"/>
                    <a:pt x="892" y="95210"/>
                  </a:cubicBezTo>
                  <a:cubicBezTo>
                    <a:pt x="1115" y="95526"/>
                    <a:pt x="1561" y="96000"/>
                    <a:pt x="1561" y="96157"/>
                  </a:cubicBezTo>
                  <a:cubicBezTo>
                    <a:pt x="1784" y="96315"/>
                    <a:pt x="1338" y="96631"/>
                    <a:pt x="1338" y="96631"/>
                  </a:cubicBezTo>
                  <a:cubicBezTo>
                    <a:pt x="892" y="97894"/>
                    <a:pt x="892" y="97894"/>
                    <a:pt x="892" y="97894"/>
                  </a:cubicBezTo>
                  <a:cubicBezTo>
                    <a:pt x="892" y="97894"/>
                    <a:pt x="892" y="98526"/>
                    <a:pt x="892" y="98684"/>
                  </a:cubicBezTo>
                  <a:cubicBezTo>
                    <a:pt x="892" y="98842"/>
                    <a:pt x="0" y="99000"/>
                    <a:pt x="446" y="99473"/>
                  </a:cubicBezTo>
                  <a:cubicBezTo>
                    <a:pt x="892" y="99789"/>
                    <a:pt x="1115" y="99947"/>
                    <a:pt x="1338" y="100105"/>
                  </a:cubicBezTo>
                  <a:cubicBezTo>
                    <a:pt x="1784" y="100105"/>
                    <a:pt x="2899" y="100105"/>
                    <a:pt x="2899" y="100263"/>
                  </a:cubicBezTo>
                  <a:cubicBezTo>
                    <a:pt x="2899" y="100263"/>
                    <a:pt x="2899" y="100421"/>
                    <a:pt x="2230" y="100578"/>
                  </a:cubicBezTo>
                  <a:cubicBezTo>
                    <a:pt x="1784" y="100578"/>
                    <a:pt x="1338" y="100421"/>
                    <a:pt x="1338" y="100736"/>
                  </a:cubicBezTo>
                  <a:cubicBezTo>
                    <a:pt x="1115" y="100894"/>
                    <a:pt x="223" y="101842"/>
                    <a:pt x="223" y="101842"/>
                  </a:cubicBezTo>
                  <a:cubicBezTo>
                    <a:pt x="1338" y="102789"/>
                    <a:pt x="1338" y="102789"/>
                    <a:pt x="1338" y="102789"/>
                  </a:cubicBezTo>
                  <a:cubicBezTo>
                    <a:pt x="1338" y="102789"/>
                    <a:pt x="1784" y="102473"/>
                    <a:pt x="2007" y="102473"/>
                  </a:cubicBezTo>
                  <a:cubicBezTo>
                    <a:pt x="2230" y="102315"/>
                    <a:pt x="2899" y="102473"/>
                    <a:pt x="2899" y="102631"/>
                  </a:cubicBezTo>
                  <a:cubicBezTo>
                    <a:pt x="2899" y="102631"/>
                    <a:pt x="2453" y="103105"/>
                    <a:pt x="2230" y="103105"/>
                  </a:cubicBezTo>
                  <a:cubicBezTo>
                    <a:pt x="2230" y="103263"/>
                    <a:pt x="1561" y="103421"/>
                    <a:pt x="1561" y="103578"/>
                  </a:cubicBezTo>
                  <a:cubicBezTo>
                    <a:pt x="1561" y="103578"/>
                    <a:pt x="2230" y="104210"/>
                    <a:pt x="2230" y="104210"/>
                  </a:cubicBezTo>
                  <a:cubicBezTo>
                    <a:pt x="2230" y="104210"/>
                    <a:pt x="2676" y="104210"/>
                    <a:pt x="2676" y="104526"/>
                  </a:cubicBezTo>
                  <a:cubicBezTo>
                    <a:pt x="2676" y="104684"/>
                    <a:pt x="1784" y="105000"/>
                    <a:pt x="1784" y="105000"/>
                  </a:cubicBezTo>
                  <a:cubicBezTo>
                    <a:pt x="2007" y="105473"/>
                    <a:pt x="2007" y="105473"/>
                    <a:pt x="2007" y="105473"/>
                  </a:cubicBezTo>
                  <a:cubicBezTo>
                    <a:pt x="1338" y="106421"/>
                    <a:pt x="1338" y="106421"/>
                    <a:pt x="1338" y="106421"/>
                  </a:cubicBezTo>
                  <a:cubicBezTo>
                    <a:pt x="2453" y="106894"/>
                    <a:pt x="2453" y="106894"/>
                    <a:pt x="2453" y="106894"/>
                  </a:cubicBezTo>
                  <a:cubicBezTo>
                    <a:pt x="2453" y="106894"/>
                    <a:pt x="3345" y="106894"/>
                    <a:pt x="3122" y="107368"/>
                  </a:cubicBezTo>
                  <a:cubicBezTo>
                    <a:pt x="2676" y="107684"/>
                    <a:pt x="2007" y="108000"/>
                    <a:pt x="2007" y="108157"/>
                  </a:cubicBezTo>
                  <a:cubicBezTo>
                    <a:pt x="2007" y="108473"/>
                    <a:pt x="1784" y="108789"/>
                    <a:pt x="2230" y="108947"/>
                  </a:cubicBezTo>
                  <a:cubicBezTo>
                    <a:pt x="2676" y="108947"/>
                    <a:pt x="2676" y="109105"/>
                    <a:pt x="2899" y="108947"/>
                  </a:cubicBezTo>
                  <a:cubicBezTo>
                    <a:pt x="3345" y="108789"/>
                    <a:pt x="3791" y="108631"/>
                    <a:pt x="3791" y="108631"/>
                  </a:cubicBezTo>
                  <a:cubicBezTo>
                    <a:pt x="3791" y="108631"/>
                    <a:pt x="4460" y="108315"/>
                    <a:pt x="4907" y="108315"/>
                  </a:cubicBezTo>
                  <a:cubicBezTo>
                    <a:pt x="5130" y="108315"/>
                    <a:pt x="5576" y="108473"/>
                    <a:pt x="5799" y="108631"/>
                  </a:cubicBezTo>
                  <a:cubicBezTo>
                    <a:pt x="5799" y="108789"/>
                    <a:pt x="5799" y="108947"/>
                    <a:pt x="6022" y="109105"/>
                  </a:cubicBezTo>
                  <a:cubicBezTo>
                    <a:pt x="6245" y="109105"/>
                    <a:pt x="5799" y="109894"/>
                    <a:pt x="5799" y="109894"/>
                  </a:cubicBezTo>
                  <a:cubicBezTo>
                    <a:pt x="5130" y="110526"/>
                    <a:pt x="5130" y="110526"/>
                    <a:pt x="5130" y="110526"/>
                  </a:cubicBezTo>
                  <a:cubicBezTo>
                    <a:pt x="5130" y="110526"/>
                    <a:pt x="5799" y="111157"/>
                    <a:pt x="5576" y="111157"/>
                  </a:cubicBezTo>
                  <a:cubicBezTo>
                    <a:pt x="5576" y="111157"/>
                    <a:pt x="4460" y="111315"/>
                    <a:pt x="4237" y="111315"/>
                  </a:cubicBezTo>
                  <a:cubicBezTo>
                    <a:pt x="4014" y="111315"/>
                    <a:pt x="3791" y="111157"/>
                    <a:pt x="3791" y="111473"/>
                  </a:cubicBezTo>
                  <a:cubicBezTo>
                    <a:pt x="3568" y="111789"/>
                    <a:pt x="2899" y="112578"/>
                    <a:pt x="2899" y="112578"/>
                  </a:cubicBezTo>
                  <a:cubicBezTo>
                    <a:pt x="2899" y="112578"/>
                    <a:pt x="2676" y="112894"/>
                    <a:pt x="2899" y="113210"/>
                  </a:cubicBezTo>
                  <a:cubicBezTo>
                    <a:pt x="3122" y="113526"/>
                    <a:pt x="4014" y="114631"/>
                    <a:pt x="4014" y="114631"/>
                  </a:cubicBezTo>
                  <a:cubicBezTo>
                    <a:pt x="4014" y="114789"/>
                    <a:pt x="4460" y="115263"/>
                    <a:pt x="5130" y="115578"/>
                  </a:cubicBezTo>
                  <a:cubicBezTo>
                    <a:pt x="5799" y="115894"/>
                    <a:pt x="6245" y="115894"/>
                    <a:pt x="6245" y="116210"/>
                  </a:cubicBezTo>
                  <a:cubicBezTo>
                    <a:pt x="6468" y="116526"/>
                    <a:pt x="6468" y="116526"/>
                    <a:pt x="6468" y="116526"/>
                  </a:cubicBezTo>
                  <a:cubicBezTo>
                    <a:pt x="7360" y="117157"/>
                    <a:pt x="7360" y="117157"/>
                    <a:pt x="7360" y="117157"/>
                  </a:cubicBezTo>
                  <a:cubicBezTo>
                    <a:pt x="7360" y="117157"/>
                    <a:pt x="7806" y="117315"/>
                    <a:pt x="8475" y="117315"/>
                  </a:cubicBezTo>
                  <a:cubicBezTo>
                    <a:pt x="9144" y="117473"/>
                    <a:pt x="10037" y="117473"/>
                    <a:pt x="10037" y="117631"/>
                  </a:cubicBezTo>
                  <a:cubicBezTo>
                    <a:pt x="10260" y="117631"/>
                    <a:pt x="9368" y="118105"/>
                    <a:pt x="9368" y="118105"/>
                  </a:cubicBezTo>
                  <a:cubicBezTo>
                    <a:pt x="9368" y="118105"/>
                    <a:pt x="8252" y="118736"/>
                    <a:pt x="8698" y="118894"/>
                  </a:cubicBezTo>
                  <a:cubicBezTo>
                    <a:pt x="9144" y="119052"/>
                    <a:pt x="12267" y="119526"/>
                    <a:pt x="12267" y="119526"/>
                  </a:cubicBezTo>
                  <a:cubicBezTo>
                    <a:pt x="12267" y="119526"/>
                    <a:pt x="12713" y="119684"/>
                    <a:pt x="12713" y="119842"/>
                  </a:cubicBezTo>
                  <a:cubicBezTo>
                    <a:pt x="12713" y="120000"/>
                    <a:pt x="13382" y="119684"/>
                    <a:pt x="13382" y="119684"/>
                  </a:cubicBezTo>
                  <a:cubicBezTo>
                    <a:pt x="13605" y="119526"/>
                    <a:pt x="14498" y="119842"/>
                    <a:pt x="14721" y="119842"/>
                  </a:cubicBezTo>
                  <a:cubicBezTo>
                    <a:pt x="14721" y="119842"/>
                    <a:pt x="16059" y="119684"/>
                    <a:pt x="16059" y="119684"/>
                  </a:cubicBezTo>
                  <a:cubicBezTo>
                    <a:pt x="17174" y="119368"/>
                    <a:pt x="17174" y="119368"/>
                    <a:pt x="17174" y="119368"/>
                  </a:cubicBezTo>
                  <a:cubicBezTo>
                    <a:pt x="17174" y="119368"/>
                    <a:pt x="17843" y="118578"/>
                    <a:pt x="18289" y="118736"/>
                  </a:cubicBezTo>
                  <a:cubicBezTo>
                    <a:pt x="18959" y="118894"/>
                    <a:pt x="18736" y="119210"/>
                    <a:pt x="19182" y="119210"/>
                  </a:cubicBezTo>
                  <a:cubicBezTo>
                    <a:pt x="19405" y="119210"/>
                    <a:pt x="19851" y="119210"/>
                    <a:pt x="20297" y="118736"/>
                  </a:cubicBezTo>
                  <a:cubicBezTo>
                    <a:pt x="20743" y="118421"/>
                    <a:pt x="21189" y="118105"/>
                    <a:pt x="21412" y="117947"/>
                  </a:cubicBezTo>
                  <a:cubicBezTo>
                    <a:pt x="21635" y="117947"/>
                    <a:pt x="24312" y="116842"/>
                    <a:pt x="24312" y="116842"/>
                  </a:cubicBezTo>
                  <a:cubicBezTo>
                    <a:pt x="26096" y="114631"/>
                    <a:pt x="26096" y="114631"/>
                    <a:pt x="26096" y="114631"/>
                  </a:cubicBezTo>
                  <a:cubicBezTo>
                    <a:pt x="26765" y="113052"/>
                    <a:pt x="26765" y="113052"/>
                    <a:pt x="26765" y="113052"/>
                  </a:cubicBezTo>
                  <a:cubicBezTo>
                    <a:pt x="26765" y="113052"/>
                    <a:pt x="27657" y="112263"/>
                    <a:pt x="28327" y="112263"/>
                  </a:cubicBezTo>
                  <a:cubicBezTo>
                    <a:pt x="28773" y="112263"/>
                    <a:pt x="30334" y="111789"/>
                    <a:pt x="30111" y="111473"/>
                  </a:cubicBezTo>
                  <a:cubicBezTo>
                    <a:pt x="30111" y="111000"/>
                    <a:pt x="30780" y="110842"/>
                    <a:pt x="30780" y="111473"/>
                  </a:cubicBezTo>
                  <a:cubicBezTo>
                    <a:pt x="31003" y="112105"/>
                    <a:pt x="30780" y="112736"/>
                    <a:pt x="31226" y="112421"/>
                  </a:cubicBezTo>
                  <a:cubicBezTo>
                    <a:pt x="31895" y="112105"/>
                    <a:pt x="33011" y="111157"/>
                    <a:pt x="33011" y="111157"/>
                  </a:cubicBezTo>
                  <a:cubicBezTo>
                    <a:pt x="33011" y="111157"/>
                    <a:pt x="33680" y="110684"/>
                    <a:pt x="34126" y="110526"/>
                  </a:cubicBezTo>
                  <a:cubicBezTo>
                    <a:pt x="34572" y="110526"/>
                    <a:pt x="35241" y="109421"/>
                    <a:pt x="35241" y="109421"/>
                  </a:cubicBezTo>
                  <a:cubicBezTo>
                    <a:pt x="35241" y="109421"/>
                    <a:pt x="36133" y="108947"/>
                    <a:pt x="36579" y="109421"/>
                  </a:cubicBezTo>
                  <a:cubicBezTo>
                    <a:pt x="36802" y="110052"/>
                    <a:pt x="37695" y="110842"/>
                    <a:pt x="37695" y="111157"/>
                  </a:cubicBezTo>
                  <a:cubicBezTo>
                    <a:pt x="37695" y="111157"/>
                    <a:pt x="38141" y="111315"/>
                    <a:pt x="38587" y="111473"/>
                  </a:cubicBezTo>
                  <a:cubicBezTo>
                    <a:pt x="38587" y="111157"/>
                    <a:pt x="38587" y="111157"/>
                    <a:pt x="38587" y="111157"/>
                  </a:cubicBezTo>
                  <a:cubicBezTo>
                    <a:pt x="38587" y="110210"/>
                    <a:pt x="38587" y="110210"/>
                    <a:pt x="38587" y="110210"/>
                  </a:cubicBezTo>
                  <a:cubicBezTo>
                    <a:pt x="38587" y="110210"/>
                    <a:pt x="40148" y="111157"/>
                    <a:pt x="40148" y="111157"/>
                  </a:cubicBezTo>
                  <a:cubicBezTo>
                    <a:pt x="40371" y="111315"/>
                    <a:pt x="40371" y="112263"/>
                    <a:pt x="40371" y="112263"/>
                  </a:cubicBezTo>
                  <a:cubicBezTo>
                    <a:pt x="40817" y="112263"/>
                    <a:pt x="40817" y="112263"/>
                    <a:pt x="40817" y="112263"/>
                  </a:cubicBezTo>
                  <a:cubicBezTo>
                    <a:pt x="40817" y="112105"/>
                    <a:pt x="40817" y="112105"/>
                    <a:pt x="40817" y="112105"/>
                  </a:cubicBezTo>
                  <a:cubicBezTo>
                    <a:pt x="41263" y="112263"/>
                    <a:pt x="41263" y="112263"/>
                    <a:pt x="41263" y="112263"/>
                  </a:cubicBezTo>
                  <a:cubicBezTo>
                    <a:pt x="41486" y="112105"/>
                    <a:pt x="41486" y="112105"/>
                    <a:pt x="41486" y="112105"/>
                  </a:cubicBezTo>
                  <a:cubicBezTo>
                    <a:pt x="41710" y="111157"/>
                    <a:pt x="41710" y="111157"/>
                    <a:pt x="41710" y="111157"/>
                  </a:cubicBezTo>
                  <a:cubicBezTo>
                    <a:pt x="41933" y="110052"/>
                    <a:pt x="41933" y="110052"/>
                    <a:pt x="41933" y="110052"/>
                  </a:cubicBezTo>
                  <a:cubicBezTo>
                    <a:pt x="42602" y="109105"/>
                    <a:pt x="42602" y="109105"/>
                    <a:pt x="42602" y="109105"/>
                  </a:cubicBezTo>
                  <a:cubicBezTo>
                    <a:pt x="42602" y="108157"/>
                    <a:pt x="42602" y="108157"/>
                    <a:pt x="42602" y="108157"/>
                  </a:cubicBezTo>
                  <a:cubicBezTo>
                    <a:pt x="41710" y="107052"/>
                    <a:pt x="41710" y="107052"/>
                    <a:pt x="41710" y="107052"/>
                  </a:cubicBezTo>
                  <a:cubicBezTo>
                    <a:pt x="41263" y="106105"/>
                    <a:pt x="41263" y="106105"/>
                    <a:pt x="41263" y="106105"/>
                  </a:cubicBezTo>
                  <a:cubicBezTo>
                    <a:pt x="41933" y="105947"/>
                    <a:pt x="41933" y="105947"/>
                    <a:pt x="41933" y="105947"/>
                  </a:cubicBezTo>
                  <a:cubicBezTo>
                    <a:pt x="41933" y="105789"/>
                    <a:pt x="41933" y="105789"/>
                    <a:pt x="41933" y="105789"/>
                  </a:cubicBezTo>
                  <a:cubicBezTo>
                    <a:pt x="42156" y="105789"/>
                    <a:pt x="42156" y="105789"/>
                    <a:pt x="42156" y="105789"/>
                  </a:cubicBezTo>
                  <a:cubicBezTo>
                    <a:pt x="42602" y="105473"/>
                    <a:pt x="42602" y="105473"/>
                    <a:pt x="42602" y="105473"/>
                  </a:cubicBezTo>
                  <a:cubicBezTo>
                    <a:pt x="42825" y="104684"/>
                    <a:pt x="42825" y="104684"/>
                    <a:pt x="42825" y="104684"/>
                  </a:cubicBezTo>
                  <a:cubicBezTo>
                    <a:pt x="42379" y="104368"/>
                    <a:pt x="42379" y="104368"/>
                    <a:pt x="42379" y="104368"/>
                  </a:cubicBezTo>
                  <a:cubicBezTo>
                    <a:pt x="42379" y="103894"/>
                    <a:pt x="42379" y="103894"/>
                    <a:pt x="42379" y="103894"/>
                  </a:cubicBezTo>
                  <a:cubicBezTo>
                    <a:pt x="42379" y="103894"/>
                    <a:pt x="42825" y="103578"/>
                    <a:pt x="42825" y="103578"/>
                  </a:cubicBezTo>
                  <a:cubicBezTo>
                    <a:pt x="42825" y="103578"/>
                    <a:pt x="42825" y="103578"/>
                    <a:pt x="42825" y="103578"/>
                  </a:cubicBezTo>
                  <a:cubicBezTo>
                    <a:pt x="43048" y="103421"/>
                    <a:pt x="43048" y="103421"/>
                    <a:pt x="43048" y="103421"/>
                  </a:cubicBezTo>
                  <a:cubicBezTo>
                    <a:pt x="43048" y="103421"/>
                    <a:pt x="43048" y="103421"/>
                    <a:pt x="43048" y="103421"/>
                  </a:cubicBezTo>
                  <a:cubicBezTo>
                    <a:pt x="43048" y="103421"/>
                    <a:pt x="43048" y="103421"/>
                    <a:pt x="43048" y="103421"/>
                  </a:cubicBezTo>
                  <a:cubicBezTo>
                    <a:pt x="43048" y="103421"/>
                    <a:pt x="43048" y="103421"/>
                    <a:pt x="43048" y="103421"/>
                  </a:cubicBezTo>
                  <a:cubicBezTo>
                    <a:pt x="43048" y="103421"/>
                    <a:pt x="43048" y="103421"/>
                    <a:pt x="43048" y="103421"/>
                  </a:cubicBezTo>
                  <a:cubicBezTo>
                    <a:pt x="43048" y="103421"/>
                    <a:pt x="43048" y="103421"/>
                    <a:pt x="43048" y="103421"/>
                  </a:cubicBezTo>
                  <a:cubicBezTo>
                    <a:pt x="43048" y="103421"/>
                    <a:pt x="43048" y="103421"/>
                    <a:pt x="43048" y="103421"/>
                  </a:cubicBezTo>
                  <a:cubicBezTo>
                    <a:pt x="43048" y="103421"/>
                    <a:pt x="43048" y="103421"/>
                    <a:pt x="43048" y="103421"/>
                  </a:cubicBezTo>
                  <a:cubicBezTo>
                    <a:pt x="43048" y="103421"/>
                    <a:pt x="43048" y="103421"/>
                    <a:pt x="43048" y="103421"/>
                  </a:cubicBezTo>
                  <a:cubicBezTo>
                    <a:pt x="43048" y="103421"/>
                    <a:pt x="43048" y="103421"/>
                    <a:pt x="43048" y="103421"/>
                  </a:cubicBezTo>
                  <a:cubicBezTo>
                    <a:pt x="43048" y="103421"/>
                    <a:pt x="43048" y="103421"/>
                    <a:pt x="43048" y="103421"/>
                  </a:cubicBezTo>
                  <a:cubicBezTo>
                    <a:pt x="43048" y="103421"/>
                    <a:pt x="43048" y="103421"/>
                    <a:pt x="43048" y="103421"/>
                  </a:cubicBezTo>
                  <a:cubicBezTo>
                    <a:pt x="43048" y="103421"/>
                    <a:pt x="43048" y="103421"/>
                    <a:pt x="43048" y="103421"/>
                  </a:cubicBezTo>
                  <a:cubicBezTo>
                    <a:pt x="43048" y="103421"/>
                    <a:pt x="43048" y="103421"/>
                    <a:pt x="43048" y="103421"/>
                  </a:cubicBezTo>
                  <a:cubicBezTo>
                    <a:pt x="43048" y="103421"/>
                    <a:pt x="43048" y="103421"/>
                    <a:pt x="43048" y="103421"/>
                  </a:cubicBezTo>
                  <a:cubicBezTo>
                    <a:pt x="43048" y="103421"/>
                    <a:pt x="43048" y="103421"/>
                    <a:pt x="43048" y="103421"/>
                  </a:cubicBezTo>
                  <a:cubicBezTo>
                    <a:pt x="43048" y="103421"/>
                    <a:pt x="43048" y="103421"/>
                    <a:pt x="43048" y="103421"/>
                  </a:cubicBezTo>
                  <a:cubicBezTo>
                    <a:pt x="43048" y="103421"/>
                    <a:pt x="43048" y="103421"/>
                    <a:pt x="43048" y="103421"/>
                  </a:cubicBezTo>
                  <a:cubicBezTo>
                    <a:pt x="43048" y="103421"/>
                    <a:pt x="43048" y="103421"/>
                    <a:pt x="43048" y="103421"/>
                  </a:cubicBezTo>
                  <a:cubicBezTo>
                    <a:pt x="43048" y="103421"/>
                    <a:pt x="43048" y="103421"/>
                    <a:pt x="43048" y="103421"/>
                  </a:cubicBezTo>
                  <a:cubicBezTo>
                    <a:pt x="43048" y="103421"/>
                    <a:pt x="43048" y="103421"/>
                    <a:pt x="43048" y="103421"/>
                  </a:cubicBezTo>
                  <a:cubicBezTo>
                    <a:pt x="43048" y="103421"/>
                    <a:pt x="43048" y="103421"/>
                    <a:pt x="43048" y="103421"/>
                  </a:cubicBezTo>
                  <a:cubicBezTo>
                    <a:pt x="43048" y="103421"/>
                    <a:pt x="43048" y="103421"/>
                    <a:pt x="43048" y="103421"/>
                  </a:cubicBezTo>
                  <a:cubicBezTo>
                    <a:pt x="43048" y="103421"/>
                    <a:pt x="43048" y="103421"/>
                    <a:pt x="43048" y="103421"/>
                  </a:cubicBezTo>
                  <a:cubicBezTo>
                    <a:pt x="43271" y="103421"/>
                    <a:pt x="43271" y="103421"/>
                    <a:pt x="43271" y="103421"/>
                  </a:cubicBezTo>
                  <a:cubicBezTo>
                    <a:pt x="43271" y="103421"/>
                    <a:pt x="43271" y="103421"/>
                    <a:pt x="43271" y="103421"/>
                  </a:cubicBezTo>
                  <a:cubicBezTo>
                    <a:pt x="43271" y="103421"/>
                    <a:pt x="43271" y="103421"/>
                    <a:pt x="43271" y="103421"/>
                  </a:cubicBezTo>
                  <a:cubicBezTo>
                    <a:pt x="43271" y="103421"/>
                    <a:pt x="43271" y="103421"/>
                    <a:pt x="43271" y="103421"/>
                  </a:cubicBezTo>
                  <a:cubicBezTo>
                    <a:pt x="43271" y="103421"/>
                    <a:pt x="43494" y="103263"/>
                    <a:pt x="43494" y="103263"/>
                  </a:cubicBezTo>
                  <a:cubicBezTo>
                    <a:pt x="43717" y="103263"/>
                    <a:pt x="44163" y="103263"/>
                    <a:pt x="44163" y="103263"/>
                  </a:cubicBezTo>
                  <a:cubicBezTo>
                    <a:pt x="44386" y="103263"/>
                    <a:pt x="44386" y="103263"/>
                    <a:pt x="44386" y="103263"/>
                  </a:cubicBezTo>
                  <a:cubicBezTo>
                    <a:pt x="44832" y="102947"/>
                    <a:pt x="44832" y="102947"/>
                    <a:pt x="44832" y="102947"/>
                  </a:cubicBezTo>
                  <a:cubicBezTo>
                    <a:pt x="44832" y="102947"/>
                    <a:pt x="45724" y="102473"/>
                    <a:pt x="45724" y="102315"/>
                  </a:cubicBezTo>
                  <a:cubicBezTo>
                    <a:pt x="45724" y="102157"/>
                    <a:pt x="46171" y="101684"/>
                    <a:pt x="46171" y="101684"/>
                  </a:cubicBezTo>
                  <a:cubicBezTo>
                    <a:pt x="46171" y="100894"/>
                    <a:pt x="46171" y="100894"/>
                    <a:pt x="46171" y="100894"/>
                  </a:cubicBezTo>
                  <a:cubicBezTo>
                    <a:pt x="45724" y="100105"/>
                    <a:pt x="45724" y="100105"/>
                    <a:pt x="45724" y="100105"/>
                  </a:cubicBezTo>
                  <a:cubicBezTo>
                    <a:pt x="46171" y="99631"/>
                    <a:pt x="46171" y="99631"/>
                    <a:pt x="46171" y="99631"/>
                  </a:cubicBezTo>
                  <a:cubicBezTo>
                    <a:pt x="46840" y="98684"/>
                    <a:pt x="46840" y="98684"/>
                    <a:pt x="46840" y="98684"/>
                  </a:cubicBezTo>
                  <a:cubicBezTo>
                    <a:pt x="46394" y="97736"/>
                    <a:pt x="46394" y="97736"/>
                    <a:pt x="46394" y="97736"/>
                  </a:cubicBezTo>
                  <a:cubicBezTo>
                    <a:pt x="45055" y="96631"/>
                    <a:pt x="45055" y="96631"/>
                    <a:pt x="45055" y="96631"/>
                  </a:cubicBezTo>
                  <a:cubicBezTo>
                    <a:pt x="44386" y="95210"/>
                    <a:pt x="44386" y="95210"/>
                    <a:pt x="44386" y="95210"/>
                  </a:cubicBezTo>
                  <a:cubicBezTo>
                    <a:pt x="43940" y="94263"/>
                    <a:pt x="43940" y="94263"/>
                    <a:pt x="43940" y="94263"/>
                  </a:cubicBezTo>
                  <a:cubicBezTo>
                    <a:pt x="45055" y="93473"/>
                    <a:pt x="45055" y="93473"/>
                    <a:pt x="45055" y="93473"/>
                  </a:cubicBezTo>
                  <a:cubicBezTo>
                    <a:pt x="45278" y="93315"/>
                    <a:pt x="45278" y="93315"/>
                    <a:pt x="45278" y="93315"/>
                  </a:cubicBezTo>
                  <a:cubicBezTo>
                    <a:pt x="45278" y="93315"/>
                    <a:pt x="45278" y="93315"/>
                    <a:pt x="45278" y="93315"/>
                  </a:cubicBezTo>
                  <a:cubicBezTo>
                    <a:pt x="45501" y="93315"/>
                    <a:pt x="45501" y="93315"/>
                    <a:pt x="45501" y="93315"/>
                  </a:cubicBezTo>
                  <a:cubicBezTo>
                    <a:pt x="46171" y="93315"/>
                    <a:pt x="46171" y="93315"/>
                    <a:pt x="46171" y="93315"/>
                  </a:cubicBezTo>
                  <a:cubicBezTo>
                    <a:pt x="46171" y="93315"/>
                    <a:pt x="47286" y="93315"/>
                    <a:pt x="47286" y="93157"/>
                  </a:cubicBezTo>
                  <a:cubicBezTo>
                    <a:pt x="47286" y="93157"/>
                    <a:pt x="47286" y="93157"/>
                    <a:pt x="47286" y="93157"/>
                  </a:cubicBezTo>
                  <a:cubicBezTo>
                    <a:pt x="47286" y="93157"/>
                    <a:pt x="47286" y="93157"/>
                    <a:pt x="47286" y="93157"/>
                  </a:cubicBezTo>
                  <a:cubicBezTo>
                    <a:pt x="47286" y="93157"/>
                    <a:pt x="47286" y="93157"/>
                    <a:pt x="47286" y="93157"/>
                  </a:cubicBezTo>
                  <a:cubicBezTo>
                    <a:pt x="47286" y="93157"/>
                    <a:pt x="47286" y="93157"/>
                    <a:pt x="47286" y="93157"/>
                  </a:cubicBezTo>
                  <a:cubicBezTo>
                    <a:pt x="47286" y="93157"/>
                    <a:pt x="47286" y="93157"/>
                    <a:pt x="47286" y="93157"/>
                  </a:cubicBezTo>
                  <a:cubicBezTo>
                    <a:pt x="47286" y="93000"/>
                    <a:pt x="47286" y="93000"/>
                    <a:pt x="47286" y="93000"/>
                  </a:cubicBezTo>
                  <a:cubicBezTo>
                    <a:pt x="47286" y="93000"/>
                    <a:pt x="47286" y="93000"/>
                    <a:pt x="47286" y="93000"/>
                  </a:cubicBezTo>
                  <a:cubicBezTo>
                    <a:pt x="47286" y="93000"/>
                    <a:pt x="47286" y="93000"/>
                    <a:pt x="47286" y="93000"/>
                  </a:cubicBezTo>
                  <a:cubicBezTo>
                    <a:pt x="47286" y="93000"/>
                    <a:pt x="47286" y="93000"/>
                    <a:pt x="47286" y="93000"/>
                  </a:cubicBezTo>
                  <a:cubicBezTo>
                    <a:pt x="47509" y="93000"/>
                    <a:pt x="47509" y="93000"/>
                    <a:pt x="47509" y="93000"/>
                  </a:cubicBezTo>
                  <a:cubicBezTo>
                    <a:pt x="47509" y="93000"/>
                    <a:pt x="47509" y="93000"/>
                    <a:pt x="47509" y="93000"/>
                  </a:cubicBezTo>
                  <a:cubicBezTo>
                    <a:pt x="47509" y="93000"/>
                    <a:pt x="47509" y="93000"/>
                    <a:pt x="47509" y="93000"/>
                  </a:cubicBezTo>
                  <a:cubicBezTo>
                    <a:pt x="47509" y="93000"/>
                    <a:pt x="47509" y="93000"/>
                    <a:pt x="47509" y="93000"/>
                  </a:cubicBezTo>
                  <a:cubicBezTo>
                    <a:pt x="47509" y="93000"/>
                    <a:pt x="47509" y="93000"/>
                    <a:pt x="47509" y="93000"/>
                  </a:cubicBezTo>
                  <a:cubicBezTo>
                    <a:pt x="47509" y="92842"/>
                    <a:pt x="47509" y="92842"/>
                    <a:pt x="47509" y="92842"/>
                  </a:cubicBezTo>
                  <a:cubicBezTo>
                    <a:pt x="47509" y="92842"/>
                    <a:pt x="47509" y="92842"/>
                    <a:pt x="47509" y="92842"/>
                  </a:cubicBezTo>
                  <a:cubicBezTo>
                    <a:pt x="47509" y="92842"/>
                    <a:pt x="47509" y="92842"/>
                    <a:pt x="47509" y="92842"/>
                  </a:cubicBezTo>
                  <a:cubicBezTo>
                    <a:pt x="47509" y="92842"/>
                    <a:pt x="47509" y="92842"/>
                    <a:pt x="47509" y="92842"/>
                  </a:cubicBezTo>
                  <a:cubicBezTo>
                    <a:pt x="47509" y="92842"/>
                    <a:pt x="47509" y="92842"/>
                    <a:pt x="47509" y="92842"/>
                  </a:cubicBezTo>
                  <a:cubicBezTo>
                    <a:pt x="47509" y="92842"/>
                    <a:pt x="47509" y="92842"/>
                    <a:pt x="47509" y="92842"/>
                  </a:cubicBezTo>
                  <a:cubicBezTo>
                    <a:pt x="47509" y="92842"/>
                    <a:pt x="47509" y="92842"/>
                    <a:pt x="47509" y="92842"/>
                  </a:cubicBezTo>
                  <a:cubicBezTo>
                    <a:pt x="47509" y="92684"/>
                    <a:pt x="47509" y="92684"/>
                    <a:pt x="47509" y="92684"/>
                  </a:cubicBezTo>
                  <a:cubicBezTo>
                    <a:pt x="47509" y="92684"/>
                    <a:pt x="47509" y="92684"/>
                    <a:pt x="47509" y="92684"/>
                  </a:cubicBezTo>
                  <a:cubicBezTo>
                    <a:pt x="47509" y="92684"/>
                    <a:pt x="47509" y="92684"/>
                    <a:pt x="47509" y="92684"/>
                  </a:cubicBezTo>
                  <a:cubicBezTo>
                    <a:pt x="47509" y="92684"/>
                    <a:pt x="47509" y="92684"/>
                    <a:pt x="47509" y="92684"/>
                  </a:cubicBezTo>
                  <a:cubicBezTo>
                    <a:pt x="47509" y="92684"/>
                    <a:pt x="47509" y="92684"/>
                    <a:pt x="47509" y="92684"/>
                  </a:cubicBezTo>
                  <a:cubicBezTo>
                    <a:pt x="47509" y="92684"/>
                    <a:pt x="47509" y="92684"/>
                    <a:pt x="47509" y="92684"/>
                  </a:cubicBezTo>
                  <a:cubicBezTo>
                    <a:pt x="47509" y="92526"/>
                    <a:pt x="47509" y="92526"/>
                    <a:pt x="47509" y="92526"/>
                  </a:cubicBezTo>
                  <a:cubicBezTo>
                    <a:pt x="47509" y="92526"/>
                    <a:pt x="47509" y="92526"/>
                    <a:pt x="47509" y="92526"/>
                  </a:cubicBezTo>
                  <a:cubicBezTo>
                    <a:pt x="47509" y="92526"/>
                    <a:pt x="47509" y="92526"/>
                    <a:pt x="47509" y="92526"/>
                  </a:cubicBezTo>
                  <a:cubicBezTo>
                    <a:pt x="47509" y="92526"/>
                    <a:pt x="47509" y="92526"/>
                    <a:pt x="47509" y="92526"/>
                  </a:cubicBezTo>
                  <a:cubicBezTo>
                    <a:pt x="47509" y="92526"/>
                    <a:pt x="47509" y="92526"/>
                    <a:pt x="47509" y="92526"/>
                  </a:cubicBezTo>
                  <a:cubicBezTo>
                    <a:pt x="47509" y="92368"/>
                    <a:pt x="47509" y="92368"/>
                    <a:pt x="47509" y="92368"/>
                  </a:cubicBezTo>
                  <a:cubicBezTo>
                    <a:pt x="47509" y="92368"/>
                    <a:pt x="47509" y="92368"/>
                    <a:pt x="47509" y="92368"/>
                  </a:cubicBezTo>
                  <a:cubicBezTo>
                    <a:pt x="47509" y="92368"/>
                    <a:pt x="47509" y="92368"/>
                    <a:pt x="47509" y="92368"/>
                  </a:cubicBezTo>
                  <a:cubicBezTo>
                    <a:pt x="47509" y="92368"/>
                    <a:pt x="47509" y="92368"/>
                    <a:pt x="47509" y="92368"/>
                  </a:cubicBezTo>
                  <a:cubicBezTo>
                    <a:pt x="47509" y="92368"/>
                    <a:pt x="47509" y="92368"/>
                    <a:pt x="47509" y="92368"/>
                  </a:cubicBezTo>
                  <a:cubicBezTo>
                    <a:pt x="47509" y="92368"/>
                    <a:pt x="47509" y="92368"/>
                    <a:pt x="47509" y="92368"/>
                  </a:cubicBezTo>
                  <a:cubicBezTo>
                    <a:pt x="47509" y="92210"/>
                    <a:pt x="47509" y="92210"/>
                    <a:pt x="47509" y="92210"/>
                  </a:cubicBezTo>
                  <a:cubicBezTo>
                    <a:pt x="47509" y="92210"/>
                    <a:pt x="47509" y="92210"/>
                    <a:pt x="47509" y="92210"/>
                  </a:cubicBezTo>
                  <a:cubicBezTo>
                    <a:pt x="47509" y="92210"/>
                    <a:pt x="47509" y="92210"/>
                    <a:pt x="47509" y="92210"/>
                  </a:cubicBezTo>
                  <a:cubicBezTo>
                    <a:pt x="47509" y="92210"/>
                    <a:pt x="47509" y="92210"/>
                    <a:pt x="47509" y="92210"/>
                  </a:cubicBezTo>
                  <a:cubicBezTo>
                    <a:pt x="47509" y="92210"/>
                    <a:pt x="47509" y="92210"/>
                    <a:pt x="47509" y="92210"/>
                  </a:cubicBezTo>
                  <a:cubicBezTo>
                    <a:pt x="47509" y="92210"/>
                    <a:pt x="47509" y="92210"/>
                    <a:pt x="47509" y="92210"/>
                  </a:cubicBezTo>
                  <a:cubicBezTo>
                    <a:pt x="47509" y="92210"/>
                    <a:pt x="47509" y="92210"/>
                    <a:pt x="47509" y="92210"/>
                  </a:cubicBezTo>
                  <a:cubicBezTo>
                    <a:pt x="47509" y="92052"/>
                    <a:pt x="47509" y="92052"/>
                    <a:pt x="47509" y="92052"/>
                  </a:cubicBezTo>
                  <a:cubicBezTo>
                    <a:pt x="47509" y="92052"/>
                    <a:pt x="47509" y="92052"/>
                    <a:pt x="47509" y="92052"/>
                  </a:cubicBezTo>
                  <a:cubicBezTo>
                    <a:pt x="47509" y="92052"/>
                    <a:pt x="47509" y="92052"/>
                    <a:pt x="47509" y="92052"/>
                  </a:cubicBezTo>
                  <a:cubicBezTo>
                    <a:pt x="47509" y="92052"/>
                    <a:pt x="47509" y="92052"/>
                    <a:pt x="47509" y="92052"/>
                  </a:cubicBezTo>
                  <a:cubicBezTo>
                    <a:pt x="47509" y="92052"/>
                    <a:pt x="47509" y="92052"/>
                    <a:pt x="47509" y="92052"/>
                  </a:cubicBezTo>
                  <a:cubicBezTo>
                    <a:pt x="47509" y="92052"/>
                    <a:pt x="47509" y="92052"/>
                    <a:pt x="47509" y="92052"/>
                  </a:cubicBezTo>
                  <a:cubicBezTo>
                    <a:pt x="47509" y="92052"/>
                    <a:pt x="47509" y="92052"/>
                    <a:pt x="47509" y="92052"/>
                  </a:cubicBezTo>
                  <a:cubicBezTo>
                    <a:pt x="47732" y="92052"/>
                    <a:pt x="47732" y="92052"/>
                    <a:pt x="47732" y="92052"/>
                  </a:cubicBezTo>
                  <a:cubicBezTo>
                    <a:pt x="47732" y="92052"/>
                    <a:pt x="47732" y="92052"/>
                    <a:pt x="47732" y="92052"/>
                  </a:cubicBezTo>
                  <a:cubicBezTo>
                    <a:pt x="47732" y="91894"/>
                    <a:pt x="47732" y="91894"/>
                    <a:pt x="47732" y="91894"/>
                  </a:cubicBezTo>
                  <a:cubicBezTo>
                    <a:pt x="47732" y="91894"/>
                    <a:pt x="47732" y="91894"/>
                    <a:pt x="47732" y="91894"/>
                  </a:cubicBezTo>
                  <a:cubicBezTo>
                    <a:pt x="47732" y="91894"/>
                    <a:pt x="47732" y="91894"/>
                    <a:pt x="47732" y="91894"/>
                  </a:cubicBezTo>
                  <a:cubicBezTo>
                    <a:pt x="47732" y="91894"/>
                    <a:pt x="47732" y="91894"/>
                    <a:pt x="47732" y="91894"/>
                  </a:cubicBezTo>
                  <a:cubicBezTo>
                    <a:pt x="47732" y="91894"/>
                    <a:pt x="47732" y="91894"/>
                    <a:pt x="47732" y="91894"/>
                  </a:cubicBezTo>
                  <a:cubicBezTo>
                    <a:pt x="47732" y="91894"/>
                    <a:pt x="47732" y="91894"/>
                    <a:pt x="47732" y="91894"/>
                  </a:cubicBezTo>
                  <a:cubicBezTo>
                    <a:pt x="47732" y="91894"/>
                    <a:pt x="47732" y="91894"/>
                    <a:pt x="47732" y="91894"/>
                  </a:cubicBezTo>
                  <a:cubicBezTo>
                    <a:pt x="47732" y="91894"/>
                    <a:pt x="47732" y="91894"/>
                    <a:pt x="47732" y="91894"/>
                  </a:cubicBezTo>
                  <a:cubicBezTo>
                    <a:pt x="47732" y="91894"/>
                    <a:pt x="47732" y="91894"/>
                    <a:pt x="47732" y="91894"/>
                  </a:cubicBezTo>
                  <a:cubicBezTo>
                    <a:pt x="47732" y="91894"/>
                    <a:pt x="47732" y="91894"/>
                    <a:pt x="47732" y="91894"/>
                  </a:cubicBezTo>
                  <a:cubicBezTo>
                    <a:pt x="47509" y="90473"/>
                    <a:pt x="47509" y="90473"/>
                    <a:pt x="47509" y="90473"/>
                  </a:cubicBezTo>
                  <a:cubicBezTo>
                    <a:pt x="46171" y="89684"/>
                    <a:pt x="46171" y="89684"/>
                    <a:pt x="46171" y="89684"/>
                  </a:cubicBezTo>
                  <a:cubicBezTo>
                    <a:pt x="44609" y="88894"/>
                    <a:pt x="44609" y="88894"/>
                    <a:pt x="44609" y="88894"/>
                  </a:cubicBezTo>
                  <a:cubicBezTo>
                    <a:pt x="43940" y="87631"/>
                    <a:pt x="43940" y="87631"/>
                    <a:pt x="43940" y="87631"/>
                  </a:cubicBezTo>
                  <a:cubicBezTo>
                    <a:pt x="43717" y="82736"/>
                    <a:pt x="43717" y="82736"/>
                    <a:pt x="43717" y="82736"/>
                  </a:cubicBezTo>
                  <a:cubicBezTo>
                    <a:pt x="43717" y="82736"/>
                    <a:pt x="42156" y="80684"/>
                    <a:pt x="42156" y="80526"/>
                  </a:cubicBezTo>
                  <a:cubicBezTo>
                    <a:pt x="41933" y="80210"/>
                    <a:pt x="41933" y="79894"/>
                    <a:pt x="42379" y="79578"/>
                  </a:cubicBezTo>
                  <a:cubicBezTo>
                    <a:pt x="42602" y="79421"/>
                    <a:pt x="42379" y="79105"/>
                    <a:pt x="42379" y="79105"/>
                  </a:cubicBezTo>
                  <a:cubicBezTo>
                    <a:pt x="42156" y="78000"/>
                    <a:pt x="42156" y="78000"/>
                    <a:pt x="42156" y="78000"/>
                  </a:cubicBezTo>
                  <a:cubicBezTo>
                    <a:pt x="42602" y="77526"/>
                    <a:pt x="42602" y="77526"/>
                    <a:pt x="42602" y="77526"/>
                  </a:cubicBezTo>
                  <a:cubicBezTo>
                    <a:pt x="42602" y="76578"/>
                    <a:pt x="42602" y="76578"/>
                    <a:pt x="42602" y="76578"/>
                  </a:cubicBezTo>
                  <a:cubicBezTo>
                    <a:pt x="41710" y="75315"/>
                    <a:pt x="41710" y="75315"/>
                    <a:pt x="41710" y="75315"/>
                  </a:cubicBezTo>
                  <a:cubicBezTo>
                    <a:pt x="41710" y="75315"/>
                    <a:pt x="41710" y="74368"/>
                    <a:pt x="41710" y="74210"/>
                  </a:cubicBezTo>
                  <a:cubicBezTo>
                    <a:pt x="41710" y="73894"/>
                    <a:pt x="42379" y="73263"/>
                    <a:pt x="42379" y="73263"/>
                  </a:cubicBezTo>
                  <a:cubicBezTo>
                    <a:pt x="42602" y="72157"/>
                    <a:pt x="42602" y="72157"/>
                    <a:pt x="42602" y="72157"/>
                  </a:cubicBezTo>
                  <a:cubicBezTo>
                    <a:pt x="43048" y="70578"/>
                    <a:pt x="43048" y="70578"/>
                    <a:pt x="43048" y="70578"/>
                  </a:cubicBezTo>
                  <a:cubicBezTo>
                    <a:pt x="45947" y="67894"/>
                    <a:pt x="45947" y="67894"/>
                    <a:pt x="45947" y="67894"/>
                  </a:cubicBezTo>
                  <a:cubicBezTo>
                    <a:pt x="46617" y="67894"/>
                    <a:pt x="46617" y="67894"/>
                    <a:pt x="46617" y="67894"/>
                  </a:cubicBezTo>
                  <a:cubicBezTo>
                    <a:pt x="51301" y="67736"/>
                    <a:pt x="51301" y="67736"/>
                    <a:pt x="51301" y="67736"/>
                  </a:cubicBezTo>
                  <a:cubicBezTo>
                    <a:pt x="51524" y="67421"/>
                    <a:pt x="51524" y="67421"/>
                    <a:pt x="51524" y="67421"/>
                  </a:cubicBezTo>
                  <a:cubicBezTo>
                    <a:pt x="51747" y="67263"/>
                    <a:pt x="51747" y="67263"/>
                    <a:pt x="51747" y="67263"/>
                  </a:cubicBezTo>
                  <a:cubicBezTo>
                    <a:pt x="52193" y="66315"/>
                    <a:pt x="52193" y="66315"/>
                    <a:pt x="52193" y="66315"/>
                  </a:cubicBezTo>
                  <a:cubicBezTo>
                    <a:pt x="51970" y="63789"/>
                    <a:pt x="51970" y="63789"/>
                    <a:pt x="51970" y="63789"/>
                  </a:cubicBezTo>
                  <a:cubicBezTo>
                    <a:pt x="49962" y="63473"/>
                    <a:pt x="49962" y="63473"/>
                    <a:pt x="49962" y="63473"/>
                  </a:cubicBezTo>
                  <a:cubicBezTo>
                    <a:pt x="49516" y="62684"/>
                    <a:pt x="49516" y="62684"/>
                    <a:pt x="49516" y="62684"/>
                  </a:cubicBezTo>
                  <a:cubicBezTo>
                    <a:pt x="52862" y="58578"/>
                    <a:pt x="52862" y="58578"/>
                    <a:pt x="52862" y="58578"/>
                  </a:cubicBezTo>
                  <a:cubicBezTo>
                    <a:pt x="52639" y="57631"/>
                    <a:pt x="52639" y="57631"/>
                    <a:pt x="52639" y="57631"/>
                  </a:cubicBezTo>
                  <a:cubicBezTo>
                    <a:pt x="53531" y="57157"/>
                    <a:pt x="53531" y="57157"/>
                    <a:pt x="53531" y="57157"/>
                  </a:cubicBezTo>
                  <a:cubicBezTo>
                    <a:pt x="53531" y="57157"/>
                    <a:pt x="53308" y="56526"/>
                    <a:pt x="53085" y="56210"/>
                  </a:cubicBezTo>
                  <a:cubicBezTo>
                    <a:pt x="52862" y="56052"/>
                    <a:pt x="53308" y="55105"/>
                    <a:pt x="53308" y="55105"/>
                  </a:cubicBezTo>
                  <a:cubicBezTo>
                    <a:pt x="53531" y="54000"/>
                    <a:pt x="53531" y="54000"/>
                    <a:pt x="53531" y="54000"/>
                  </a:cubicBezTo>
                  <a:cubicBezTo>
                    <a:pt x="53977" y="52736"/>
                    <a:pt x="53977" y="52736"/>
                    <a:pt x="53977" y="52736"/>
                  </a:cubicBezTo>
                  <a:cubicBezTo>
                    <a:pt x="52862" y="50052"/>
                    <a:pt x="52862" y="50052"/>
                    <a:pt x="52862" y="50052"/>
                  </a:cubicBezTo>
                  <a:cubicBezTo>
                    <a:pt x="53531" y="49578"/>
                    <a:pt x="53531" y="49578"/>
                    <a:pt x="53531" y="49578"/>
                  </a:cubicBezTo>
                  <a:cubicBezTo>
                    <a:pt x="54423" y="49578"/>
                    <a:pt x="54423" y="49578"/>
                    <a:pt x="54423" y="49578"/>
                  </a:cubicBezTo>
                  <a:cubicBezTo>
                    <a:pt x="54646" y="49578"/>
                    <a:pt x="55092" y="49421"/>
                    <a:pt x="55539" y="49421"/>
                  </a:cubicBezTo>
                  <a:cubicBezTo>
                    <a:pt x="55985" y="49263"/>
                    <a:pt x="56208" y="49105"/>
                    <a:pt x="56877" y="48631"/>
                  </a:cubicBezTo>
                  <a:cubicBezTo>
                    <a:pt x="57100" y="48315"/>
                    <a:pt x="57100" y="48315"/>
                    <a:pt x="57100" y="48315"/>
                  </a:cubicBezTo>
                  <a:cubicBezTo>
                    <a:pt x="57323" y="47526"/>
                    <a:pt x="57323" y="47526"/>
                    <a:pt x="57323" y="47526"/>
                  </a:cubicBezTo>
                  <a:cubicBezTo>
                    <a:pt x="57323" y="46105"/>
                    <a:pt x="57323" y="46105"/>
                    <a:pt x="57323" y="46105"/>
                  </a:cubicBezTo>
                  <a:cubicBezTo>
                    <a:pt x="58438" y="44052"/>
                    <a:pt x="58438" y="44052"/>
                    <a:pt x="58438" y="44052"/>
                  </a:cubicBezTo>
                  <a:cubicBezTo>
                    <a:pt x="58438" y="44052"/>
                    <a:pt x="60223" y="42473"/>
                    <a:pt x="60446" y="42157"/>
                  </a:cubicBezTo>
                  <a:cubicBezTo>
                    <a:pt x="60669" y="41842"/>
                    <a:pt x="61338" y="40736"/>
                    <a:pt x="61338" y="40736"/>
                  </a:cubicBezTo>
                  <a:cubicBezTo>
                    <a:pt x="61338" y="40736"/>
                    <a:pt x="60892" y="39473"/>
                    <a:pt x="60669" y="39157"/>
                  </a:cubicBezTo>
                  <a:cubicBezTo>
                    <a:pt x="60223" y="39000"/>
                    <a:pt x="59553" y="38052"/>
                    <a:pt x="59553" y="38052"/>
                  </a:cubicBezTo>
                  <a:cubicBezTo>
                    <a:pt x="59553" y="37263"/>
                    <a:pt x="59553" y="37263"/>
                    <a:pt x="59553" y="37263"/>
                  </a:cubicBezTo>
                  <a:cubicBezTo>
                    <a:pt x="60892" y="36631"/>
                    <a:pt x="60892" y="36631"/>
                    <a:pt x="60892" y="36631"/>
                  </a:cubicBezTo>
                  <a:cubicBezTo>
                    <a:pt x="61338" y="36000"/>
                    <a:pt x="61338" y="36000"/>
                    <a:pt x="61338" y="36000"/>
                  </a:cubicBezTo>
                  <a:cubicBezTo>
                    <a:pt x="61338" y="36000"/>
                    <a:pt x="61338" y="34894"/>
                    <a:pt x="61338" y="34736"/>
                  </a:cubicBezTo>
                  <a:cubicBezTo>
                    <a:pt x="61338" y="34736"/>
                    <a:pt x="61338" y="34736"/>
                    <a:pt x="61338" y="34736"/>
                  </a:cubicBezTo>
                  <a:cubicBezTo>
                    <a:pt x="61338" y="34736"/>
                    <a:pt x="61338" y="34736"/>
                    <a:pt x="61338" y="34736"/>
                  </a:cubicBezTo>
                  <a:cubicBezTo>
                    <a:pt x="61338" y="34736"/>
                    <a:pt x="61338" y="34736"/>
                    <a:pt x="61338" y="34736"/>
                  </a:cubicBezTo>
                  <a:cubicBezTo>
                    <a:pt x="61338" y="34736"/>
                    <a:pt x="61338" y="34736"/>
                    <a:pt x="61338" y="34736"/>
                  </a:cubicBezTo>
                  <a:cubicBezTo>
                    <a:pt x="61338" y="34736"/>
                    <a:pt x="61338" y="34736"/>
                    <a:pt x="61338" y="34736"/>
                  </a:cubicBezTo>
                  <a:cubicBezTo>
                    <a:pt x="61338" y="34736"/>
                    <a:pt x="61338" y="34736"/>
                    <a:pt x="61338" y="34736"/>
                  </a:cubicBezTo>
                  <a:cubicBezTo>
                    <a:pt x="61338" y="34736"/>
                    <a:pt x="61338" y="34736"/>
                    <a:pt x="61338" y="34736"/>
                  </a:cubicBezTo>
                  <a:cubicBezTo>
                    <a:pt x="61338" y="34736"/>
                    <a:pt x="61338" y="34736"/>
                    <a:pt x="61338" y="34736"/>
                  </a:cubicBezTo>
                  <a:cubicBezTo>
                    <a:pt x="61338" y="34736"/>
                    <a:pt x="61338" y="34736"/>
                    <a:pt x="61338" y="34736"/>
                  </a:cubicBezTo>
                  <a:cubicBezTo>
                    <a:pt x="61338" y="34736"/>
                    <a:pt x="61338" y="34736"/>
                    <a:pt x="61338" y="34736"/>
                  </a:cubicBezTo>
                  <a:cubicBezTo>
                    <a:pt x="61338" y="34736"/>
                    <a:pt x="61338" y="34736"/>
                    <a:pt x="61338" y="34736"/>
                  </a:cubicBezTo>
                  <a:cubicBezTo>
                    <a:pt x="61338" y="34736"/>
                    <a:pt x="61338" y="34736"/>
                    <a:pt x="61338" y="34736"/>
                  </a:cubicBezTo>
                  <a:cubicBezTo>
                    <a:pt x="61338" y="34736"/>
                    <a:pt x="61338" y="34736"/>
                    <a:pt x="61338" y="34736"/>
                  </a:cubicBezTo>
                  <a:cubicBezTo>
                    <a:pt x="61338" y="34736"/>
                    <a:pt x="61338" y="34736"/>
                    <a:pt x="61338" y="34736"/>
                  </a:cubicBezTo>
                  <a:cubicBezTo>
                    <a:pt x="61338" y="34736"/>
                    <a:pt x="61338" y="34736"/>
                    <a:pt x="61338" y="34736"/>
                  </a:cubicBezTo>
                  <a:cubicBezTo>
                    <a:pt x="61338" y="34578"/>
                    <a:pt x="61338" y="34578"/>
                    <a:pt x="61338" y="34578"/>
                  </a:cubicBezTo>
                  <a:cubicBezTo>
                    <a:pt x="61338" y="34578"/>
                    <a:pt x="61338" y="34578"/>
                    <a:pt x="61338" y="34578"/>
                  </a:cubicBezTo>
                  <a:cubicBezTo>
                    <a:pt x="61338" y="34578"/>
                    <a:pt x="61338" y="34578"/>
                    <a:pt x="61338" y="34578"/>
                  </a:cubicBezTo>
                  <a:cubicBezTo>
                    <a:pt x="61338" y="34578"/>
                    <a:pt x="61338" y="34578"/>
                    <a:pt x="61338" y="34578"/>
                  </a:cubicBezTo>
                  <a:cubicBezTo>
                    <a:pt x="61338" y="34578"/>
                    <a:pt x="61338" y="34578"/>
                    <a:pt x="61338" y="34578"/>
                  </a:cubicBezTo>
                  <a:cubicBezTo>
                    <a:pt x="61338" y="34578"/>
                    <a:pt x="61338" y="34578"/>
                    <a:pt x="61338" y="34578"/>
                  </a:cubicBezTo>
                  <a:cubicBezTo>
                    <a:pt x="61338" y="34578"/>
                    <a:pt x="61338" y="34578"/>
                    <a:pt x="61338" y="34578"/>
                  </a:cubicBezTo>
                  <a:cubicBezTo>
                    <a:pt x="61338" y="34578"/>
                    <a:pt x="61338" y="34578"/>
                    <a:pt x="61338" y="34578"/>
                  </a:cubicBezTo>
                  <a:cubicBezTo>
                    <a:pt x="61338" y="34578"/>
                    <a:pt x="61338" y="34578"/>
                    <a:pt x="61338" y="34578"/>
                  </a:cubicBezTo>
                  <a:cubicBezTo>
                    <a:pt x="61338" y="34421"/>
                    <a:pt x="61338" y="34421"/>
                    <a:pt x="61338" y="34421"/>
                  </a:cubicBezTo>
                  <a:cubicBezTo>
                    <a:pt x="61338" y="34421"/>
                    <a:pt x="61338" y="34421"/>
                    <a:pt x="61338" y="34421"/>
                  </a:cubicBezTo>
                  <a:cubicBezTo>
                    <a:pt x="61338" y="34421"/>
                    <a:pt x="61338" y="34421"/>
                    <a:pt x="61338" y="34421"/>
                  </a:cubicBezTo>
                  <a:cubicBezTo>
                    <a:pt x="61338" y="34421"/>
                    <a:pt x="61338" y="34421"/>
                    <a:pt x="61338" y="34421"/>
                  </a:cubicBezTo>
                  <a:cubicBezTo>
                    <a:pt x="61561" y="34421"/>
                    <a:pt x="61561" y="34421"/>
                    <a:pt x="61561" y="34421"/>
                  </a:cubicBezTo>
                  <a:cubicBezTo>
                    <a:pt x="61561" y="34421"/>
                    <a:pt x="61561" y="34421"/>
                    <a:pt x="61561" y="34421"/>
                  </a:cubicBezTo>
                  <a:cubicBezTo>
                    <a:pt x="61561" y="34421"/>
                    <a:pt x="61561" y="34421"/>
                    <a:pt x="61561" y="34421"/>
                  </a:cubicBezTo>
                  <a:cubicBezTo>
                    <a:pt x="61561" y="34421"/>
                    <a:pt x="61561" y="34421"/>
                    <a:pt x="61561" y="34421"/>
                  </a:cubicBezTo>
                  <a:cubicBezTo>
                    <a:pt x="61561" y="34421"/>
                    <a:pt x="61561" y="34421"/>
                    <a:pt x="61561" y="34421"/>
                  </a:cubicBezTo>
                  <a:cubicBezTo>
                    <a:pt x="61561" y="34263"/>
                    <a:pt x="61561" y="34263"/>
                    <a:pt x="61561" y="34263"/>
                  </a:cubicBezTo>
                  <a:cubicBezTo>
                    <a:pt x="61561" y="34263"/>
                    <a:pt x="61561" y="34263"/>
                    <a:pt x="61561" y="34263"/>
                  </a:cubicBezTo>
                  <a:cubicBezTo>
                    <a:pt x="61561" y="34263"/>
                    <a:pt x="61561" y="34263"/>
                    <a:pt x="61561" y="34263"/>
                  </a:cubicBezTo>
                  <a:cubicBezTo>
                    <a:pt x="61561" y="34263"/>
                    <a:pt x="61561" y="34263"/>
                    <a:pt x="61561" y="34263"/>
                  </a:cubicBezTo>
                  <a:cubicBezTo>
                    <a:pt x="61561" y="34263"/>
                    <a:pt x="61561" y="34263"/>
                    <a:pt x="61561" y="34263"/>
                  </a:cubicBezTo>
                  <a:cubicBezTo>
                    <a:pt x="61561" y="34263"/>
                    <a:pt x="61561" y="34263"/>
                    <a:pt x="61561" y="34263"/>
                  </a:cubicBezTo>
                  <a:cubicBezTo>
                    <a:pt x="61561" y="34263"/>
                    <a:pt x="61561" y="34263"/>
                    <a:pt x="61561" y="34263"/>
                  </a:cubicBezTo>
                  <a:cubicBezTo>
                    <a:pt x="61561" y="34263"/>
                    <a:pt x="61561" y="34263"/>
                    <a:pt x="61561" y="34263"/>
                  </a:cubicBezTo>
                  <a:cubicBezTo>
                    <a:pt x="61561" y="34105"/>
                    <a:pt x="61561" y="34105"/>
                    <a:pt x="61561" y="34105"/>
                  </a:cubicBezTo>
                  <a:cubicBezTo>
                    <a:pt x="61561" y="34105"/>
                    <a:pt x="61561" y="34105"/>
                    <a:pt x="61561" y="34105"/>
                  </a:cubicBezTo>
                  <a:cubicBezTo>
                    <a:pt x="61561" y="34105"/>
                    <a:pt x="61561" y="34105"/>
                    <a:pt x="61561" y="34105"/>
                  </a:cubicBezTo>
                  <a:cubicBezTo>
                    <a:pt x="61561" y="34105"/>
                    <a:pt x="61561" y="34105"/>
                    <a:pt x="61561" y="34105"/>
                  </a:cubicBezTo>
                  <a:cubicBezTo>
                    <a:pt x="61561" y="34105"/>
                    <a:pt x="61561" y="34105"/>
                    <a:pt x="61561" y="34105"/>
                  </a:cubicBezTo>
                  <a:cubicBezTo>
                    <a:pt x="61561" y="34105"/>
                    <a:pt x="61561" y="34105"/>
                    <a:pt x="61561" y="34105"/>
                  </a:cubicBezTo>
                  <a:cubicBezTo>
                    <a:pt x="61561" y="34105"/>
                    <a:pt x="61561" y="34105"/>
                    <a:pt x="61561" y="34105"/>
                  </a:cubicBezTo>
                  <a:cubicBezTo>
                    <a:pt x="61784" y="34105"/>
                    <a:pt x="61784" y="34105"/>
                    <a:pt x="61784" y="34105"/>
                  </a:cubicBezTo>
                  <a:cubicBezTo>
                    <a:pt x="61784" y="34105"/>
                    <a:pt x="61784" y="34105"/>
                    <a:pt x="61784" y="34105"/>
                  </a:cubicBezTo>
                  <a:cubicBezTo>
                    <a:pt x="61784" y="33947"/>
                    <a:pt x="61784" y="33947"/>
                    <a:pt x="61784" y="33947"/>
                  </a:cubicBezTo>
                  <a:cubicBezTo>
                    <a:pt x="61784" y="33947"/>
                    <a:pt x="61784" y="33947"/>
                    <a:pt x="61784" y="33947"/>
                  </a:cubicBezTo>
                  <a:cubicBezTo>
                    <a:pt x="61784" y="33947"/>
                    <a:pt x="61784" y="33947"/>
                    <a:pt x="61784" y="33947"/>
                  </a:cubicBezTo>
                  <a:cubicBezTo>
                    <a:pt x="61784" y="33947"/>
                    <a:pt x="61784" y="33947"/>
                    <a:pt x="61784" y="33947"/>
                  </a:cubicBezTo>
                  <a:cubicBezTo>
                    <a:pt x="61784" y="33947"/>
                    <a:pt x="61784" y="33947"/>
                    <a:pt x="61784" y="33947"/>
                  </a:cubicBezTo>
                  <a:cubicBezTo>
                    <a:pt x="61784" y="33947"/>
                    <a:pt x="61784" y="33947"/>
                    <a:pt x="61784" y="33947"/>
                  </a:cubicBezTo>
                  <a:cubicBezTo>
                    <a:pt x="61784" y="33947"/>
                    <a:pt x="61784" y="33947"/>
                    <a:pt x="61784" y="33947"/>
                  </a:cubicBezTo>
                  <a:cubicBezTo>
                    <a:pt x="61784" y="33947"/>
                    <a:pt x="61784" y="33947"/>
                    <a:pt x="61784" y="33947"/>
                  </a:cubicBezTo>
                  <a:cubicBezTo>
                    <a:pt x="61784" y="33947"/>
                    <a:pt x="61784" y="33947"/>
                    <a:pt x="61784" y="33947"/>
                  </a:cubicBezTo>
                  <a:cubicBezTo>
                    <a:pt x="61784" y="33947"/>
                    <a:pt x="61784" y="33947"/>
                    <a:pt x="61784" y="33947"/>
                  </a:cubicBezTo>
                  <a:cubicBezTo>
                    <a:pt x="61784" y="33947"/>
                    <a:pt x="61784" y="33947"/>
                    <a:pt x="61784" y="33947"/>
                  </a:cubicBezTo>
                  <a:cubicBezTo>
                    <a:pt x="61784" y="33947"/>
                    <a:pt x="61784" y="33947"/>
                    <a:pt x="61784" y="33947"/>
                  </a:cubicBezTo>
                  <a:cubicBezTo>
                    <a:pt x="61784" y="33947"/>
                    <a:pt x="61784" y="33947"/>
                    <a:pt x="61784" y="33947"/>
                  </a:cubicBezTo>
                  <a:cubicBezTo>
                    <a:pt x="61784" y="33947"/>
                    <a:pt x="61784" y="33947"/>
                    <a:pt x="61784" y="33947"/>
                  </a:cubicBezTo>
                  <a:cubicBezTo>
                    <a:pt x="61784" y="33631"/>
                    <a:pt x="62676" y="33000"/>
                    <a:pt x="62676" y="33000"/>
                  </a:cubicBezTo>
                  <a:cubicBezTo>
                    <a:pt x="63568" y="31736"/>
                    <a:pt x="63568" y="31736"/>
                    <a:pt x="63568" y="31736"/>
                  </a:cubicBezTo>
                  <a:cubicBezTo>
                    <a:pt x="65799" y="32526"/>
                    <a:pt x="65799" y="32526"/>
                    <a:pt x="65799" y="32526"/>
                  </a:cubicBezTo>
                  <a:cubicBezTo>
                    <a:pt x="66914" y="32526"/>
                    <a:pt x="66914" y="32526"/>
                    <a:pt x="66914" y="32526"/>
                  </a:cubicBezTo>
                  <a:cubicBezTo>
                    <a:pt x="67360" y="31894"/>
                    <a:pt x="67360" y="31894"/>
                    <a:pt x="67360" y="31894"/>
                  </a:cubicBezTo>
                  <a:cubicBezTo>
                    <a:pt x="67137" y="31421"/>
                    <a:pt x="66914" y="28105"/>
                    <a:pt x="67583" y="27473"/>
                  </a:cubicBezTo>
                  <a:cubicBezTo>
                    <a:pt x="67583" y="27473"/>
                    <a:pt x="70706" y="27631"/>
                    <a:pt x="71152" y="27473"/>
                  </a:cubicBezTo>
                  <a:cubicBezTo>
                    <a:pt x="71375" y="27473"/>
                    <a:pt x="72490" y="27789"/>
                    <a:pt x="72713" y="27947"/>
                  </a:cubicBezTo>
                  <a:cubicBezTo>
                    <a:pt x="72713" y="27947"/>
                    <a:pt x="72713" y="27947"/>
                    <a:pt x="72713" y="27947"/>
                  </a:cubicBezTo>
                  <a:cubicBezTo>
                    <a:pt x="72713" y="27947"/>
                    <a:pt x="72713" y="27947"/>
                    <a:pt x="72713" y="27947"/>
                  </a:cubicBezTo>
                  <a:cubicBezTo>
                    <a:pt x="72936" y="28105"/>
                    <a:pt x="73159" y="28105"/>
                    <a:pt x="73382" y="28105"/>
                  </a:cubicBezTo>
                  <a:cubicBezTo>
                    <a:pt x="73828" y="28263"/>
                    <a:pt x="74275" y="28263"/>
                    <a:pt x="74275" y="28263"/>
                  </a:cubicBezTo>
                  <a:cubicBezTo>
                    <a:pt x="75613" y="28105"/>
                    <a:pt x="75613" y="28105"/>
                    <a:pt x="75613" y="28105"/>
                  </a:cubicBezTo>
                  <a:cubicBezTo>
                    <a:pt x="76505" y="27315"/>
                    <a:pt x="76505" y="27315"/>
                    <a:pt x="76505" y="27315"/>
                  </a:cubicBezTo>
                  <a:cubicBezTo>
                    <a:pt x="75613" y="26684"/>
                    <a:pt x="75613" y="26684"/>
                    <a:pt x="75613" y="26684"/>
                  </a:cubicBezTo>
                  <a:cubicBezTo>
                    <a:pt x="76505" y="25894"/>
                    <a:pt x="76505" y="24789"/>
                    <a:pt x="76282" y="24631"/>
                  </a:cubicBezTo>
                  <a:cubicBezTo>
                    <a:pt x="76059" y="24315"/>
                    <a:pt x="75613" y="22894"/>
                    <a:pt x="75390" y="22736"/>
                  </a:cubicBezTo>
                  <a:cubicBezTo>
                    <a:pt x="75390" y="22578"/>
                    <a:pt x="75836" y="22421"/>
                    <a:pt x="75836" y="22421"/>
                  </a:cubicBezTo>
                  <a:cubicBezTo>
                    <a:pt x="76282" y="22421"/>
                    <a:pt x="76282" y="22421"/>
                    <a:pt x="76282" y="22421"/>
                  </a:cubicBezTo>
                  <a:cubicBezTo>
                    <a:pt x="76282" y="22421"/>
                    <a:pt x="76505" y="22263"/>
                    <a:pt x="76728" y="22263"/>
                  </a:cubicBezTo>
                  <a:cubicBezTo>
                    <a:pt x="77843" y="21631"/>
                    <a:pt x="77843" y="21631"/>
                    <a:pt x="77843" y="21631"/>
                  </a:cubicBezTo>
                  <a:cubicBezTo>
                    <a:pt x="78959" y="21789"/>
                    <a:pt x="78959" y="21789"/>
                    <a:pt x="78959" y="21789"/>
                  </a:cubicBezTo>
                  <a:cubicBezTo>
                    <a:pt x="78959" y="21789"/>
                    <a:pt x="78959" y="21631"/>
                    <a:pt x="79182" y="21631"/>
                  </a:cubicBezTo>
                  <a:cubicBezTo>
                    <a:pt x="79405" y="21631"/>
                    <a:pt x="79405" y="21473"/>
                    <a:pt x="79405" y="21473"/>
                  </a:cubicBezTo>
                  <a:cubicBezTo>
                    <a:pt x="79405" y="21473"/>
                    <a:pt x="78736" y="20526"/>
                    <a:pt x="79182" y="20052"/>
                  </a:cubicBezTo>
                  <a:cubicBezTo>
                    <a:pt x="79405" y="19736"/>
                    <a:pt x="79628" y="19736"/>
                    <a:pt x="80074" y="19736"/>
                  </a:cubicBezTo>
                  <a:cubicBezTo>
                    <a:pt x="80074" y="19736"/>
                    <a:pt x="80074" y="19736"/>
                    <a:pt x="80074" y="19736"/>
                  </a:cubicBezTo>
                  <a:cubicBezTo>
                    <a:pt x="80074" y="19736"/>
                    <a:pt x="80074" y="19736"/>
                    <a:pt x="80074" y="19736"/>
                  </a:cubicBezTo>
                  <a:cubicBezTo>
                    <a:pt x="80074" y="19736"/>
                    <a:pt x="80074" y="19736"/>
                    <a:pt x="80074" y="19736"/>
                  </a:cubicBezTo>
                  <a:cubicBezTo>
                    <a:pt x="80074" y="19736"/>
                    <a:pt x="80074" y="19736"/>
                    <a:pt x="80074" y="19736"/>
                  </a:cubicBezTo>
                  <a:cubicBezTo>
                    <a:pt x="80074" y="19736"/>
                    <a:pt x="80074" y="19736"/>
                    <a:pt x="80074" y="19736"/>
                  </a:cubicBezTo>
                  <a:cubicBezTo>
                    <a:pt x="80074" y="19736"/>
                    <a:pt x="80074" y="19736"/>
                    <a:pt x="80074" y="19736"/>
                  </a:cubicBezTo>
                  <a:cubicBezTo>
                    <a:pt x="80297" y="19736"/>
                    <a:pt x="80297" y="19736"/>
                    <a:pt x="80297" y="19736"/>
                  </a:cubicBezTo>
                  <a:cubicBezTo>
                    <a:pt x="80297" y="19736"/>
                    <a:pt x="80297" y="19736"/>
                    <a:pt x="80297" y="19736"/>
                  </a:cubicBezTo>
                  <a:cubicBezTo>
                    <a:pt x="80297" y="19736"/>
                    <a:pt x="80297" y="19736"/>
                    <a:pt x="80297" y="19736"/>
                  </a:cubicBezTo>
                  <a:cubicBezTo>
                    <a:pt x="80297" y="19736"/>
                    <a:pt x="80297" y="19736"/>
                    <a:pt x="80297" y="19736"/>
                  </a:cubicBezTo>
                  <a:cubicBezTo>
                    <a:pt x="80297" y="19736"/>
                    <a:pt x="80297" y="19736"/>
                    <a:pt x="80297" y="19736"/>
                  </a:cubicBezTo>
                  <a:cubicBezTo>
                    <a:pt x="80297" y="19736"/>
                    <a:pt x="80297" y="19736"/>
                    <a:pt x="80297" y="19736"/>
                  </a:cubicBezTo>
                  <a:cubicBezTo>
                    <a:pt x="80297" y="19736"/>
                    <a:pt x="80297" y="19736"/>
                    <a:pt x="80297" y="19736"/>
                  </a:cubicBezTo>
                  <a:cubicBezTo>
                    <a:pt x="80297" y="19736"/>
                    <a:pt x="80297" y="19736"/>
                    <a:pt x="80297" y="19736"/>
                  </a:cubicBezTo>
                  <a:cubicBezTo>
                    <a:pt x="80520" y="19736"/>
                    <a:pt x="80520" y="19736"/>
                    <a:pt x="80520" y="19736"/>
                  </a:cubicBezTo>
                  <a:cubicBezTo>
                    <a:pt x="80520" y="19736"/>
                    <a:pt x="80520" y="19736"/>
                    <a:pt x="80520" y="19736"/>
                  </a:cubicBezTo>
                  <a:cubicBezTo>
                    <a:pt x="80520" y="19736"/>
                    <a:pt x="80520" y="19736"/>
                    <a:pt x="80520" y="19736"/>
                  </a:cubicBezTo>
                  <a:cubicBezTo>
                    <a:pt x="80520" y="19736"/>
                    <a:pt x="80520" y="19736"/>
                    <a:pt x="80520" y="19736"/>
                  </a:cubicBezTo>
                  <a:cubicBezTo>
                    <a:pt x="80520" y="19736"/>
                    <a:pt x="80520" y="19736"/>
                    <a:pt x="80520" y="19736"/>
                  </a:cubicBezTo>
                  <a:cubicBezTo>
                    <a:pt x="80520" y="19736"/>
                    <a:pt x="80520" y="19736"/>
                    <a:pt x="80520" y="19736"/>
                  </a:cubicBezTo>
                  <a:cubicBezTo>
                    <a:pt x="80520" y="19736"/>
                    <a:pt x="80520" y="19736"/>
                    <a:pt x="80520" y="19736"/>
                  </a:cubicBezTo>
                  <a:cubicBezTo>
                    <a:pt x="80520" y="19736"/>
                    <a:pt x="80520" y="19736"/>
                    <a:pt x="80520" y="19736"/>
                  </a:cubicBezTo>
                  <a:cubicBezTo>
                    <a:pt x="80520" y="19736"/>
                    <a:pt x="80520" y="19736"/>
                    <a:pt x="80520" y="19736"/>
                  </a:cubicBezTo>
                  <a:cubicBezTo>
                    <a:pt x="80520" y="19736"/>
                    <a:pt x="80520" y="19736"/>
                    <a:pt x="80520" y="19736"/>
                  </a:cubicBezTo>
                  <a:cubicBezTo>
                    <a:pt x="80520" y="19736"/>
                    <a:pt x="80520" y="19736"/>
                    <a:pt x="80520" y="19736"/>
                  </a:cubicBezTo>
                  <a:cubicBezTo>
                    <a:pt x="80520" y="19736"/>
                    <a:pt x="80520" y="19736"/>
                    <a:pt x="80520" y="19736"/>
                  </a:cubicBezTo>
                  <a:cubicBezTo>
                    <a:pt x="80520" y="19736"/>
                    <a:pt x="80520" y="19736"/>
                    <a:pt x="80520" y="19736"/>
                  </a:cubicBezTo>
                  <a:cubicBezTo>
                    <a:pt x="80520" y="19736"/>
                    <a:pt x="80520" y="19736"/>
                    <a:pt x="80520" y="19736"/>
                  </a:cubicBezTo>
                  <a:cubicBezTo>
                    <a:pt x="80743" y="19736"/>
                    <a:pt x="80743" y="19736"/>
                    <a:pt x="80743" y="19736"/>
                  </a:cubicBezTo>
                  <a:cubicBezTo>
                    <a:pt x="80743" y="19736"/>
                    <a:pt x="80743" y="19736"/>
                    <a:pt x="80743" y="19736"/>
                  </a:cubicBezTo>
                  <a:cubicBezTo>
                    <a:pt x="80743" y="19736"/>
                    <a:pt x="80743" y="19736"/>
                    <a:pt x="80743" y="19736"/>
                  </a:cubicBezTo>
                  <a:cubicBezTo>
                    <a:pt x="80743" y="19736"/>
                    <a:pt x="80743" y="19736"/>
                    <a:pt x="80743" y="19736"/>
                  </a:cubicBezTo>
                  <a:cubicBezTo>
                    <a:pt x="80966" y="19736"/>
                    <a:pt x="80966" y="19736"/>
                    <a:pt x="80966" y="19736"/>
                  </a:cubicBezTo>
                  <a:cubicBezTo>
                    <a:pt x="80966" y="19736"/>
                    <a:pt x="80966" y="19736"/>
                    <a:pt x="80966" y="19736"/>
                  </a:cubicBezTo>
                  <a:cubicBezTo>
                    <a:pt x="80966" y="19736"/>
                    <a:pt x="80966" y="19736"/>
                    <a:pt x="80966" y="19736"/>
                  </a:cubicBezTo>
                  <a:cubicBezTo>
                    <a:pt x="80966" y="19736"/>
                    <a:pt x="80966" y="19736"/>
                    <a:pt x="80966" y="19736"/>
                  </a:cubicBezTo>
                  <a:cubicBezTo>
                    <a:pt x="80966" y="19894"/>
                    <a:pt x="80966" y="19894"/>
                    <a:pt x="80966" y="19894"/>
                  </a:cubicBezTo>
                  <a:cubicBezTo>
                    <a:pt x="80966" y="19894"/>
                    <a:pt x="80966" y="19894"/>
                    <a:pt x="80966" y="19894"/>
                  </a:cubicBezTo>
                  <a:cubicBezTo>
                    <a:pt x="80966" y="19894"/>
                    <a:pt x="80966" y="19894"/>
                    <a:pt x="80966" y="19894"/>
                  </a:cubicBezTo>
                  <a:cubicBezTo>
                    <a:pt x="80966" y="19894"/>
                    <a:pt x="80966" y="19894"/>
                    <a:pt x="80966" y="19894"/>
                  </a:cubicBezTo>
                  <a:cubicBezTo>
                    <a:pt x="80966" y="19894"/>
                    <a:pt x="80966" y="19894"/>
                    <a:pt x="80966" y="19894"/>
                  </a:cubicBezTo>
                  <a:cubicBezTo>
                    <a:pt x="80966" y="19894"/>
                    <a:pt x="80966" y="19894"/>
                    <a:pt x="80966" y="19894"/>
                  </a:cubicBezTo>
                  <a:cubicBezTo>
                    <a:pt x="80966" y="19894"/>
                    <a:pt x="80966" y="19894"/>
                    <a:pt x="80966" y="19894"/>
                  </a:cubicBezTo>
                  <a:cubicBezTo>
                    <a:pt x="80966" y="19894"/>
                    <a:pt x="80966" y="19894"/>
                    <a:pt x="80966" y="19894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tx1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defTabSz="457178"/>
              <a:endParaRPr kern="0">
                <a:solidFill>
                  <a:srgbClr val="7F7F7F"/>
                </a:solidFill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45" name="Shape 2052">
              <a:extLst>
                <a:ext uri="{FF2B5EF4-FFF2-40B4-BE49-F238E27FC236}">
                  <a16:creationId xmlns:a16="http://schemas.microsoft.com/office/drawing/2014/main" id="{182D56A3-DCC2-4182-9300-AFA2CD7D56C8}"/>
                </a:ext>
              </a:extLst>
            </p:cNvPr>
            <p:cNvSpPr/>
            <p:nvPr/>
          </p:nvSpPr>
          <p:spPr>
            <a:xfrm>
              <a:off x="5828550" y="-33602"/>
              <a:ext cx="3373052" cy="3300665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37322" y="88091"/>
                  </a:moveTo>
                  <a:cubicBezTo>
                    <a:pt x="36673" y="88251"/>
                    <a:pt x="36673" y="88251"/>
                    <a:pt x="36673" y="88251"/>
                  </a:cubicBezTo>
                  <a:cubicBezTo>
                    <a:pt x="36673" y="88251"/>
                    <a:pt x="36267" y="88653"/>
                    <a:pt x="36267" y="88492"/>
                  </a:cubicBezTo>
                  <a:cubicBezTo>
                    <a:pt x="36186" y="88332"/>
                    <a:pt x="36348" y="88010"/>
                    <a:pt x="36348" y="87849"/>
                  </a:cubicBezTo>
                  <a:cubicBezTo>
                    <a:pt x="36267" y="87769"/>
                    <a:pt x="35862" y="88010"/>
                    <a:pt x="35943" y="87689"/>
                  </a:cubicBezTo>
                  <a:cubicBezTo>
                    <a:pt x="36024" y="87528"/>
                    <a:pt x="35943" y="87287"/>
                    <a:pt x="35862" y="87206"/>
                  </a:cubicBezTo>
                  <a:cubicBezTo>
                    <a:pt x="35699" y="87046"/>
                    <a:pt x="35212" y="87046"/>
                    <a:pt x="35375" y="86724"/>
                  </a:cubicBezTo>
                  <a:cubicBezTo>
                    <a:pt x="35537" y="86483"/>
                    <a:pt x="35943" y="86322"/>
                    <a:pt x="35943" y="86322"/>
                  </a:cubicBezTo>
                  <a:cubicBezTo>
                    <a:pt x="35943" y="86162"/>
                    <a:pt x="35943" y="86162"/>
                    <a:pt x="35943" y="86162"/>
                  </a:cubicBezTo>
                  <a:cubicBezTo>
                    <a:pt x="35618" y="85840"/>
                    <a:pt x="35618" y="85840"/>
                    <a:pt x="35618" y="85840"/>
                  </a:cubicBezTo>
                  <a:cubicBezTo>
                    <a:pt x="34726" y="85438"/>
                    <a:pt x="34726" y="85438"/>
                    <a:pt x="34726" y="85438"/>
                  </a:cubicBezTo>
                  <a:cubicBezTo>
                    <a:pt x="34726" y="85438"/>
                    <a:pt x="34645" y="84956"/>
                    <a:pt x="34482" y="84956"/>
                  </a:cubicBezTo>
                  <a:cubicBezTo>
                    <a:pt x="34401" y="84876"/>
                    <a:pt x="34158" y="84634"/>
                    <a:pt x="34158" y="84634"/>
                  </a:cubicBezTo>
                  <a:cubicBezTo>
                    <a:pt x="34158" y="84634"/>
                    <a:pt x="33914" y="84313"/>
                    <a:pt x="33590" y="84233"/>
                  </a:cubicBezTo>
                  <a:cubicBezTo>
                    <a:pt x="33265" y="84072"/>
                    <a:pt x="33022" y="84795"/>
                    <a:pt x="33022" y="84795"/>
                  </a:cubicBezTo>
                  <a:cubicBezTo>
                    <a:pt x="32697" y="84474"/>
                    <a:pt x="32697" y="84474"/>
                    <a:pt x="32697" y="84474"/>
                  </a:cubicBezTo>
                  <a:cubicBezTo>
                    <a:pt x="32048" y="84715"/>
                    <a:pt x="32048" y="84715"/>
                    <a:pt x="32048" y="84715"/>
                  </a:cubicBezTo>
                  <a:cubicBezTo>
                    <a:pt x="31561" y="85438"/>
                    <a:pt x="31561" y="85438"/>
                    <a:pt x="31561" y="85438"/>
                  </a:cubicBezTo>
                  <a:cubicBezTo>
                    <a:pt x="31237" y="85519"/>
                    <a:pt x="31237" y="85519"/>
                    <a:pt x="31237" y="85519"/>
                  </a:cubicBezTo>
                  <a:cubicBezTo>
                    <a:pt x="30750" y="85599"/>
                    <a:pt x="30750" y="85599"/>
                    <a:pt x="30750" y="85599"/>
                  </a:cubicBezTo>
                  <a:cubicBezTo>
                    <a:pt x="30020" y="85760"/>
                    <a:pt x="30020" y="85760"/>
                    <a:pt x="30020" y="85760"/>
                  </a:cubicBezTo>
                  <a:cubicBezTo>
                    <a:pt x="29858" y="86242"/>
                    <a:pt x="29858" y="86242"/>
                    <a:pt x="29858" y="86242"/>
                  </a:cubicBezTo>
                  <a:cubicBezTo>
                    <a:pt x="29939" y="86724"/>
                    <a:pt x="29939" y="86724"/>
                    <a:pt x="29939" y="86724"/>
                  </a:cubicBezTo>
                  <a:cubicBezTo>
                    <a:pt x="29533" y="87046"/>
                    <a:pt x="29533" y="87046"/>
                    <a:pt x="29533" y="87046"/>
                  </a:cubicBezTo>
                  <a:cubicBezTo>
                    <a:pt x="28559" y="86965"/>
                    <a:pt x="28559" y="86965"/>
                    <a:pt x="28559" y="86965"/>
                  </a:cubicBezTo>
                  <a:cubicBezTo>
                    <a:pt x="28722" y="86965"/>
                    <a:pt x="28722" y="86965"/>
                    <a:pt x="28722" y="86965"/>
                  </a:cubicBezTo>
                  <a:cubicBezTo>
                    <a:pt x="28154" y="86644"/>
                    <a:pt x="28154" y="86644"/>
                    <a:pt x="28154" y="86644"/>
                  </a:cubicBezTo>
                  <a:cubicBezTo>
                    <a:pt x="28154" y="86403"/>
                    <a:pt x="28154" y="86403"/>
                    <a:pt x="28154" y="86403"/>
                  </a:cubicBezTo>
                  <a:cubicBezTo>
                    <a:pt x="27829" y="86403"/>
                    <a:pt x="27829" y="86403"/>
                    <a:pt x="27829" y="86403"/>
                  </a:cubicBezTo>
                  <a:cubicBezTo>
                    <a:pt x="27586" y="86322"/>
                    <a:pt x="27586" y="86322"/>
                    <a:pt x="27586" y="86322"/>
                  </a:cubicBezTo>
                  <a:cubicBezTo>
                    <a:pt x="27748" y="86162"/>
                    <a:pt x="27748" y="86162"/>
                    <a:pt x="27748" y="86162"/>
                  </a:cubicBezTo>
                  <a:cubicBezTo>
                    <a:pt x="27586" y="85920"/>
                    <a:pt x="27586" y="85920"/>
                    <a:pt x="27586" y="85920"/>
                  </a:cubicBezTo>
                  <a:cubicBezTo>
                    <a:pt x="27342" y="85438"/>
                    <a:pt x="27342" y="85438"/>
                    <a:pt x="27342" y="85438"/>
                  </a:cubicBezTo>
                  <a:cubicBezTo>
                    <a:pt x="27505" y="85277"/>
                    <a:pt x="27505" y="85277"/>
                    <a:pt x="27505" y="85277"/>
                  </a:cubicBezTo>
                  <a:cubicBezTo>
                    <a:pt x="27180" y="85117"/>
                    <a:pt x="27180" y="85117"/>
                    <a:pt x="27180" y="85117"/>
                  </a:cubicBezTo>
                  <a:cubicBezTo>
                    <a:pt x="27018" y="84956"/>
                    <a:pt x="27018" y="84956"/>
                    <a:pt x="27018" y="84956"/>
                  </a:cubicBezTo>
                  <a:cubicBezTo>
                    <a:pt x="27180" y="84634"/>
                    <a:pt x="27180" y="84634"/>
                    <a:pt x="27180" y="84634"/>
                  </a:cubicBezTo>
                  <a:cubicBezTo>
                    <a:pt x="27018" y="84393"/>
                    <a:pt x="27018" y="84393"/>
                    <a:pt x="27018" y="84393"/>
                  </a:cubicBezTo>
                  <a:cubicBezTo>
                    <a:pt x="26774" y="84072"/>
                    <a:pt x="26774" y="84072"/>
                    <a:pt x="26774" y="84072"/>
                  </a:cubicBezTo>
                  <a:cubicBezTo>
                    <a:pt x="26369" y="83991"/>
                    <a:pt x="26369" y="83991"/>
                    <a:pt x="26369" y="83991"/>
                  </a:cubicBezTo>
                  <a:cubicBezTo>
                    <a:pt x="26044" y="83750"/>
                    <a:pt x="26044" y="83750"/>
                    <a:pt x="26044" y="83750"/>
                  </a:cubicBezTo>
                  <a:cubicBezTo>
                    <a:pt x="26044" y="83509"/>
                    <a:pt x="26044" y="83509"/>
                    <a:pt x="26044" y="83509"/>
                  </a:cubicBezTo>
                  <a:cubicBezTo>
                    <a:pt x="26206" y="82947"/>
                    <a:pt x="26206" y="82947"/>
                    <a:pt x="26206" y="82947"/>
                  </a:cubicBezTo>
                  <a:cubicBezTo>
                    <a:pt x="26206" y="82947"/>
                    <a:pt x="26206" y="82866"/>
                    <a:pt x="26531" y="82705"/>
                  </a:cubicBezTo>
                  <a:cubicBezTo>
                    <a:pt x="26855" y="82625"/>
                    <a:pt x="26937" y="82705"/>
                    <a:pt x="26937" y="82705"/>
                  </a:cubicBezTo>
                  <a:cubicBezTo>
                    <a:pt x="27423" y="82866"/>
                    <a:pt x="27423" y="82866"/>
                    <a:pt x="27423" y="82866"/>
                  </a:cubicBezTo>
                  <a:cubicBezTo>
                    <a:pt x="27991" y="82705"/>
                    <a:pt x="27991" y="82705"/>
                    <a:pt x="27991" y="82705"/>
                  </a:cubicBezTo>
                  <a:cubicBezTo>
                    <a:pt x="27991" y="82705"/>
                    <a:pt x="28559" y="82223"/>
                    <a:pt x="28640" y="82143"/>
                  </a:cubicBezTo>
                  <a:cubicBezTo>
                    <a:pt x="28803" y="82062"/>
                    <a:pt x="28640" y="81661"/>
                    <a:pt x="28640" y="81661"/>
                  </a:cubicBezTo>
                  <a:cubicBezTo>
                    <a:pt x="28965" y="81580"/>
                    <a:pt x="28965" y="81580"/>
                    <a:pt x="28965" y="81580"/>
                  </a:cubicBezTo>
                  <a:cubicBezTo>
                    <a:pt x="29127" y="81339"/>
                    <a:pt x="29127" y="81339"/>
                    <a:pt x="29127" y="81339"/>
                  </a:cubicBezTo>
                  <a:cubicBezTo>
                    <a:pt x="29127" y="80857"/>
                    <a:pt x="29127" y="80857"/>
                    <a:pt x="29127" y="80857"/>
                  </a:cubicBezTo>
                  <a:cubicBezTo>
                    <a:pt x="28722" y="80696"/>
                    <a:pt x="28722" y="80696"/>
                    <a:pt x="28722" y="80696"/>
                  </a:cubicBezTo>
                  <a:cubicBezTo>
                    <a:pt x="28397" y="80616"/>
                    <a:pt x="28397" y="80616"/>
                    <a:pt x="28397" y="80616"/>
                  </a:cubicBezTo>
                  <a:cubicBezTo>
                    <a:pt x="28073" y="80375"/>
                    <a:pt x="28073" y="80375"/>
                    <a:pt x="28073" y="80375"/>
                  </a:cubicBezTo>
                  <a:cubicBezTo>
                    <a:pt x="28235" y="79973"/>
                    <a:pt x="28235" y="79973"/>
                    <a:pt x="28235" y="79973"/>
                  </a:cubicBezTo>
                  <a:cubicBezTo>
                    <a:pt x="27829" y="79973"/>
                    <a:pt x="27829" y="79973"/>
                    <a:pt x="27829" y="79973"/>
                  </a:cubicBezTo>
                  <a:cubicBezTo>
                    <a:pt x="27423" y="79892"/>
                    <a:pt x="27423" y="79892"/>
                    <a:pt x="27423" y="79892"/>
                  </a:cubicBezTo>
                  <a:cubicBezTo>
                    <a:pt x="27099" y="79812"/>
                    <a:pt x="27099" y="79812"/>
                    <a:pt x="27099" y="79812"/>
                  </a:cubicBezTo>
                  <a:cubicBezTo>
                    <a:pt x="26855" y="79892"/>
                    <a:pt x="26855" y="79892"/>
                    <a:pt x="26855" y="79892"/>
                  </a:cubicBezTo>
                  <a:cubicBezTo>
                    <a:pt x="26612" y="80133"/>
                    <a:pt x="26612" y="80133"/>
                    <a:pt x="26612" y="80133"/>
                  </a:cubicBezTo>
                  <a:cubicBezTo>
                    <a:pt x="26206" y="80133"/>
                    <a:pt x="26206" y="80133"/>
                    <a:pt x="26206" y="80133"/>
                  </a:cubicBezTo>
                  <a:cubicBezTo>
                    <a:pt x="26125" y="79410"/>
                    <a:pt x="26125" y="79410"/>
                    <a:pt x="26125" y="79410"/>
                  </a:cubicBezTo>
                  <a:cubicBezTo>
                    <a:pt x="25963" y="79089"/>
                    <a:pt x="25963" y="79089"/>
                    <a:pt x="25963" y="79089"/>
                  </a:cubicBezTo>
                  <a:cubicBezTo>
                    <a:pt x="25557" y="78928"/>
                    <a:pt x="25557" y="78928"/>
                    <a:pt x="25557" y="78928"/>
                  </a:cubicBezTo>
                  <a:cubicBezTo>
                    <a:pt x="24665" y="78767"/>
                    <a:pt x="24665" y="78767"/>
                    <a:pt x="24665" y="78767"/>
                  </a:cubicBezTo>
                  <a:cubicBezTo>
                    <a:pt x="24259" y="78204"/>
                    <a:pt x="24259" y="78204"/>
                    <a:pt x="24259" y="78204"/>
                  </a:cubicBezTo>
                  <a:cubicBezTo>
                    <a:pt x="24178" y="77963"/>
                    <a:pt x="24178" y="77963"/>
                    <a:pt x="24178" y="77963"/>
                  </a:cubicBezTo>
                  <a:cubicBezTo>
                    <a:pt x="24178" y="77963"/>
                    <a:pt x="24097" y="77963"/>
                    <a:pt x="23853" y="77883"/>
                  </a:cubicBezTo>
                  <a:cubicBezTo>
                    <a:pt x="23610" y="77883"/>
                    <a:pt x="23772" y="77642"/>
                    <a:pt x="23772" y="77642"/>
                  </a:cubicBezTo>
                  <a:cubicBezTo>
                    <a:pt x="23772" y="77240"/>
                    <a:pt x="23772" y="77240"/>
                    <a:pt x="23772" y="77240"/>
                  </a:cubicBezTo>
                  <a:cubicBezTo>
                    <a:pt x="23448" y="77240"/>
                    <a:pt x="23448" y="77240"/>
                    <a:pt x="23448" y="77240"/>
                  </a:cubicBezTo>
                  <a:cubicBezTo>
                    <a:pt x="23123" y="76918"/>
                    <a:pt x="23123" y="76918"/>
                    <a:pt x="23123" y="76918"/>
                  </a:cubicBezTo>
                  <a:cubicBezTo>
                    <a:pt x="22555" y="76758"/>
                    <a:pt x="22555" y="76758"/>
                    <a:pt x="22555" y="76758"/>
                  </a:cubicBezTo>
                  <a:cubicBezTo>
                    <a:pt x="22799" y="76115"/>
                    <a:pt x="22799" y="76115"/>
                    <a:pt x="22799" y="76115"/>
                  </a:cubicBezTo>
                  <a:cubicBezTo>
                    <a:pt x="22799" y="75874"/>
                    <a:pt x="22799" y="75874"/>
                    <a:pt x="22799" y="75874"/>
                  </a:cubicBezTo>
                  <a:cubicBezTo>
                    <a:pt x="22880" y="75472"/>
                    <a:pt x="22880" y="75472"/>
                    <a:pt x="22880" y="75472"/>
                  </a:cubicBezTo>
                  <a:cubicBezTo>
                    <a:pt x="22636" y="75231"/>
                    <a:pt x="22636" y="75231"/>
                    <a:pt x="22636" y="75231"/>
                  </a:cubicBezTo>
                  <a:cubicBezTo>
                    <a:pt x="22150" y="74909"/>
                    <a:pt x="22150" y="74909"/>
                    <a:pt x="22150" y="74909"/>
                  </a:cubicBezTo>
                  <a:cubicBezTo>
                    <a:pt x="22150" y="74668"/>
                    <a:pt x="22150" y="74668"/>
                    <a:pt x="22150" y="74668"/>
                  </a:cubicBezTo>
                  <a:cubicBezTo>
                    <a:pt x="22150" y="74427"/>
                    <a:pt x="22150" y="74427"/>
                    <a:pt x="22150" y="74427"/>
                  </a:cubicBezTo>
                  <a:cubicBezTo>
                    <a:pt x="22150" y="73784"/>
                    <a:pt x="22150" y="73784"/>
                    <a:pt x="22150" y="73784"/>
                  </a:cubicBezTo>
                  <a:cubicBezTo>
                    <a:pt x="21987" y="73462"/>
                    <a:pt x="21987" y="73462"/>
                    <a:pt x="21987" y="73462"/>
                  </a:cubicBezTo>
                  <a:cubicBezTo>
                    <a:pt x="21663" y="73623"/>
                    <a:pt x="21663" y="73623"/>
                    <a:pt x="21663" y="73623"/>
                  </a:cubicBezTo>
                  <a:cubicBezTo>
                    <a:pt x="21582" y="73462"/>
                    <a:pt x="21582" y="73462"/>
                    <a:pt x="21582" y="73462"/>
                  </a:cubicBezTo>
                  <a:cubicBezTo>
                    <a:pt x="21338" y="73543"/>
                    <a:pt x="21338" y="73543"/>
                    <a:pt x="21338" y="73543"/>
                  </a:cubicBezTo>
                  <a:cubicBezTo>
                    <a:pt x="21095" y="73382"/>
                    <a:pt x="21095" y="73382"/>
                    <a:pt x="21095" y="73382"/>
                  </a:cubicBezTo>
                  <a:cubicBezTo>
                    <a:pt x="20851" y="73141"/>
                    <a:pt x="20851" y="73141"/>
                    <a:pt x="20851" y="73141"/>
                  </a:cubicBezTo>
                  <a:cubicBezTo>
                    <a:pt x="20121" y="72980"/>
                    <a:pt x="20121" y="72980"/>
                    <a:pt x="20121" y="72980"/>
                  </a:cubicBezTo>
                  <a:cubicBezTo>
                    <a:pt x="20121" y="72980"/>
                    <a:pt x="19878" y="73060"/>
                    <a:pt x="19553" y="73141"/>
                  </a:cubicBezTo>
                  <a:cubicBezTo>
                    <a:pt x="19310" y="73221"/>
                    <a:pt x="19391" y="73302"/>
                    <a:pt x="19229" y="73302"/>
                  </a:cubicBezTo>
                  <a:cubicBezTo>
                    <a:pt x="19066" y="73382"/>
                    <a:pt x="18985" y="73543"/>
                    <a:pt x="18985" y="73703"/>
                  </a:cubicBezTo>
                  <a:cubicBezTo>
                    <a:pt x="18904" y="73864"/>
                    <a:pt x="18580" y="73945"/>
                    <a:pt x="18498" y="73945"/>
                  </a:cubicBezTo>
                  <a:cubicBezTo>
                    <a:pt x="18336" y="74025"/>
                    <a:pt x="18174" y="73784"/>
                    <a:pt x="18174" y="73784"/>
                  </a:cubicBezTo>
                  <a:cubicBezTo>
                    <a:pt x="18174" y="73543"/>
                    <a:pt x="18174" y="73543"/>
                    <a:pt x="18174" y="73543"/>
                  </a:cubicBezTo>
                  <a:cubicBezTo>
                    <a:pt x="18093" y="73060"/>
                    <a:pt x="18093" y="73060"/>
                    <a:pt x="18093" y="73060"/>
                  </a:cubicBezTo>
                  <a:cubicBezTo>
                    <a:pt x="17444" y="73060"/>
                    <a:pt x="17444" y="73060"/>
                    <a:pt x="17444" y="73060"/>
                  </a:cubicBezTo>
                  <a:cubicBezTo>
                    <a:pt x="16876" y="73221"/>
                    <a:pt x="16876" y="73221"/>
                    <a:pt x="16876" y="73221"/>
                  </a:cubicBezTo>
                  <a:cubicBezTo>
                    <a:pt x="16795" y="73382"/>
                    <a:pt x="16795" y="73382"/>
                    <a:pt x="16795" y="73382"/>
                  </a:cubicBezTo>
                  <a:cubicBezTo>
                    <a:pt x="16389" y="73382"/>
                    <a:pt x="16389" y="73382"/>
                    <a:pt x="16389" y="73382"/>
                  </a:cubicBezTo>
                  <a:cubicBezTo>
                    <a:pt x="16227" y="73060"/>
                    <a:pt x="16227" y="73060"/>
                    <a:pt x="16227" y="73060"/>
                  </a:cubicBezTo>
                  <a:cubicBezTo>
                    <a:pt x="15983" y="72980"/>
                    <a:pt x="15983" y="72980"/>
                    <a:pt x="15983" y="72980"/>
                  </a:cubicBezTo>
                  <a:cubicBezTo>
                    <a:pt x="15578" y="73141"/>
                    <a:pt x="15578" y="73141"/>
                    <a:pt x="15578" y="73141"/>
                  </a:cubicBezTo>
                  <a:cubicBezTo>
                    <a:pt x="15578" y="73141"/>
                    <a:pt x="15496" y="73302"/>
                    <a:pt x="15415" y="73302"/>
                  </a:cubicBezTo>
                  <a:cubicBezTo>
                    <a:pt x="15334" y="73382"/>
                    <a:pt x="15253" y="73302"/>
                    <a:pt x="15172" y="73302"/>
                  </a:cubicBezTo>
                  <a:cubicBezTo>
                    <a:pt x="15091" y="73302"/>
                    <a:pt x="14929" y="73221"/>
                    <a:pt x="14847" y="73141"/>
                  </a:cubicBezTo>
                  <a:cubicBezTo>
                    <a:pt x="14847" y="73060"/>
                    <a:pt x="14847" y="72980"/>
                    <a:pt x="14847" y="72900"/>
                  </a:cubicBezTo>
                  <a:cubicBezTo>
                    <a:pt x="14847" y="72819"/>
                    <a:pt x="14847" y="72659"/>
                    <a:pt x="14847" y="72659"/>
                  </a:cubicBezTo>
                  <a:cubicBezTo>
                    <a:pt x="14929" y="72257"/>
                    <a:pt x="14929" y="72257"/>
                    <a:pt x="14929" y="72257"/>
                  </a:cubicBezTo>
                  <a:cubicBezTo>
                    <a:pt x="14929" y="72257"/>
                    <a:pt x="14604" y="72016"/>
                    <a:pt x="14523" y="71935"/>
                  </a:cubicBezTo>
                  <a:cubicBezTo>
                    <a:pt x="14523" y="71774"/>
                    <a:pt x="14442" y="71533"/>
                    <a:pt x="14442" y="71533"/>
                  </a:cubicBezTo>
                  <a:cubicBezTo>
                    <a:pt x="14442" y="71533"/>
                    <a:pt x="14279" y="71453"/>
                    <a:pt x="14198" y="71373"/>
                  </a:cubicBezTo>
                  <a:cubicBezTo>
                    <a:pt x="14117" y="71373"/>
                    <a:pt x="14036" y="71292"/>
                    <a:pt x="14036" y="71292"/>
                  </a:cubicBezTo>
                  <a:cubicBezTo>
                    <a:pt x="14117" y="71051"/>
                    <a:pt x="14117" y="71051"/>
                    <a:pt x="14117" y="71051"/>
                  </a:cubicBezTo>
                  <a:cubicBezTo>
                    <a:pt x="13793" y="70890"/>
                    <a:pt x="13793" y="70890"/>
                    <a:pt x="13793" y="70890"/>
                  </a:cubicBezTo>
                  <a:cubicBezTo>
                    <a:pt x="13387" y="70569"/>
                    <a:pt x="13387" y="70569"/>
                    <a:pt x="13387" y="70569"/>
                  </a:cubicBezTo>
                  <a:cubicBezTo>
                    <a:pt x="13549" y="70328"/>
                    <a:pt x="13549" y="70328"/>
                    <a:pt x="13549" y="70328"/>
                  </a:cubicBezTo>
                  <a:cubicBezTo>
                    <a:pt x="13225" y="70087"/>
                    <a:pt x="13225" y="70087"/>
                    <a:pt x="13225" y="70087"/>
                  </a:cubicBezTo>
                  <a:cubicBezTo>
                    <a:pt x="12900" y="70328"/>
                    <a:pt x="12900" y="70328"/>
                    <a:pt x="12900" y="70328"/>
                  </a:cubicBezTo>
                  <a:cubicBezTo>
                    <a:pt x="12900" y="70006"/>
                    <a:pt x="12900" y="70006"/>
                    <a:pt x="12900" y="70006"/>
                  </a:cubicBezTo>
                  <a:cubicBezTo>
                    <a:pt x="12738" y="69363"/>
                    <a:pt x="12738" y="69363"/>
                    <a:pt x="12738" y="69363"/>
                  </a:cubicBezTo>
                  <a:cubicBezTo>
                    <a:pt x="12900" y="69122"/>
                    <a:pt x="12900" y="69122"/>
                    <a:pt x="12900" y="69122"/>
                  </a:cubicBezTo>
                  <a:cubicBezTo>
                    <a:pt x="12819" y="68318"/>
                    <a:pt x="12819" y="68318"/>
                    <a:pt x="12819" y="68318"/>
                  </a:cubicBezTo>
                  <a:cubicBezTo>
                    <a:pt x="12819" y="68318"/>
                    <a:pt x="12657" y="68238"/>
                    <a:pt x="12576" y="68238"/>
                  </a:cubicBezTo>
                  <a:cubicBezTo>
                    <a:pt x="12494" y="68238"/>
                    <a:pt x="12251" y="68077"/>
                    <a:pt x="12251" y="68077"/>
                  </a:cubicBezTo>
                  <a:cubicBezTo>
                    <a:pt x="11926" y="67997"/>
                    <a:pt x="11926" y="67997"/>
                    <a:pt x="11926" y="67997"/>
                  </a:cubicBezTo>
                  <a:cubicBezTo>
                    <a:pt x="11926" y="67756"/>
                    <a:pt x="11926" y="67756"/>
                    <a:pt x="11926" y="67756"/>
                  </a:cubicBezTo>
                  <a:cubicBezTo>
                    <a:pt x="11683" y="67515"/>
                    <a:pt x="11683" y="67515"/>
                    <a:pt x="11683" y="67515"/>
                  </a:cubicBezTo>
                  <a:cubicBezTo>
                    <a:pt x="11440" y="67595"/>
                    <a:pt x="11440" y="67595"/>
                    <a:pt x="11440" y="67595"/>
                  </a:cubicBezTo>
                  <a:cubicBezTo>
                    <a:pt x="11440" y="67595"/>
                    <a:pt x="11359" y="67595"/>
                    <a:pt x="11359" y="67515"/>
                  </a:cubicBezTo>
                  <a:cubicBezTo>
                    <a:pt x="11359" y="67434"/>
                    <a:pt x="11196" y="67113"/>
                    <a:pt x="11196" y="67113"/>
                  </a:cubicBezTo>
                  <a:cubicBezTo>
                    <a:pt x="11440" y="66872"/>
                    <a:pt x="11440" y="66872"/>
                    <a:pt x="11440" y="66872"/>
                  </a:cubicBezTo>
                  <a:cubicBezTo>
                    <a:pt x="11440" y="66872"/>
                    <a:pt x="11440" y="66550"/>
                    <a:pt x="11440" y="66470"/>
                  </a:cubicBezTo>
                  <a:cubicBezTo>
                    <a:pt x="11440" y="66309"/>
                    <a:pt x="11845" y="66309"/>
                    <a:pt x="11845" y="66309"/>
                  </a:cubicBezTo>
                  <a:cubicBezTo>
                    <a:pt x="12008" y="66229"/>
                    <a:pt x="12008" y="66229"/>
                    <a:pt x="12008" y="66229"/>
                  </a:cubicBezTo>
                  <a:cubicBezTo>
                    <a:pt x="12089" y="65907"/>
                    <a:pt x="12089" y="65907"/>
                    <a:pt x="12089" y="65907"/>
                  </a:cubicBezTo>
                  <a:cubicBezTo>
                    <a:pt x="12089" y="65907"/>
                    <a:pt x="11845" y="65907"/>
                    <a:pt x="11683" y="65746"/>
                  </a:cubicBezTo>
                  <a:cubicBezTo>
                    <a:pt x="11602" y="65586"/>
                    <a:pt x="11683" y="65746"/>
                    <a:pt x="11683" y="65666"/>
                  </a:cubicBezTo>
                  <a:cubicBezTo>
                    <a:pt x="11683" y="65586"/>
                    <a:pt x="11602" y="65666"/>
                    <a:pt x="11602" y="65666"/>
                  </a:cubicBezTo>
                  <a:cubicBezTo>
                    <a:pt x="11602" y="65666"/>
                    <a:pt x="11521" y="65586"/>
                    <a:pt x="11521" y="65505"/>
                  </a:cubicBezTo>
                  <a:cubicBezTo>
                    <a:pt x="11521" y="65425"/>
                    <a:pt x="11521" y="65264"/>
                    <a:pt x="11440" y="65184"/>
                  </a:cubicBezTo>
                  <a:cubicBezTo>
                    <a:pt x="11359" y="65103"/>
                    <a:pt x="11196" y="65023"/>
                    <a:pt x="11196" y="65023"/>
                  </a:cubicBezTo>
                  <a:cubicBezTo>
                    <a:pt x="11115" y="64943"/>
                    <a:pt x="11115" y="65023"/>
                    <a:pt x="10953" y="64862"/>
                  </a:cubicBezTo>
                  <a:cubicBezTo>
                    <a:pt x="10872" y="64701"/>
                    <a:pt x="10872" y="64621"/>
                    <a:pt x="10872" y="64621"/>
                  </a:cubicBezTo>
                  <a:cubicBezTo>
                    <a:pt x="10628" y="64460"/>
                    <a:pt x="10791" y="64058"/>
                    <a:pt x="10628" y="63898"/>
                  </a:cubicBezTo>
                  <a:cubicBezTo>
                    <a:pt x="10304" y="63576"/>
                    <a:pt x="10304" y="63014"/>
                    <a:pt x="10141" y="62853"/>
                  </a:cubicBezTo>
                  <a:cubicBezTo>
                    <a:pt x="9898" y="62451"/>
                    <a:pt x="10060" y="62371"/>
                    <a:pt x="10141" y="62129"/>
                  </a:cubicBezTo>
                  <a:cubicBezTo>
                    <a:pt x="10223" y="61647"/>
                    <a:pt x="10466" y="61245"/>
                    <a:pt x="10547" y="60442"/>
                  </a:cubicBezTo>
                  <a:cubicBezTo>
                    <a:pt x="10547" y="59879"/>
                    <a:pt x="10547" y="59879"/>
                    <a:pt x="10547" y="59879"/>
                  </a:cubicBezTo>
                  <a:cubicBezTo>
                    <a:pt x="10953" y="59557"/>
                    <a:pt x="10953" y="59557"/>
                    <a:pt x="10953" y="59557"/>
                  </a:cubicBezTo>
                  <a:cubicBezTo>
                    <a:pt x="10953" y="59397"/>
                    <a:pt x="10953" y="59397"/>
                    <a:pt x="10953" y="59397"/>
                  </a:cubicBezTo>
                  <a:cubicBezTo>
                    <a:pt x="10547" y="59236"/>
                    <a:pt x="10547" y="59236"/>
                    <a:pt x="10547" y="59236"/>
                  </a:cubicBezTo>
                  <a:cubicBezTo>
                    <a:pt x="10547" y="59236"/>
                    <a:pt x="10547" y="59236"/>
                    <a:pt x="10547" y="59236"/>
                  </a:cubicBezTo>
                  <a:cubicBezTo>
                    <a:pt x="10547" y="59075"/>
                    <a:pt x="10547" y="59075"/>
                    <a:pt x="10547" y="59075"/>
                  </a:cubicBezTo>
                  <a:cubicBezTo>
                    <a:pt x="10304" y="58191"/>
                    <a:pt x="10304" y="58191"/>
                    <a:pt x="10304" y="58191"/>
                  </a:cubicBezTo>
                  <a:cubicBezTo>
                    <a:pt x="10385" y="57789"/>
                    <a:pt x="10385" y="57789"/>
                    <a:pt x="10385" y="57789"/>
                  </a:cubicBezTo>
                  <a:cubicBezTo>
                    <a:pt x="10628" y="58030"/>
                    <a:pt x="10628" y="58030"/>
                    <a:pt x="10628" y="58030"/>
                  </a:cubicBezTo>
                  <a:cubicBezTo>
                    <a:pt x="10872" y="58111"/>
                    <a:pt x="10872" y="58111"/>
                    <a:pt x="10872" y="58111"/>
                  </a:cubicBezTo>
                  <a:cubicBezTo>
                    <a:pt x="11115" y="57870"/>
                    <a:pt x="11115" y="57870"/>
                    <a:pt x="11115" y="57870"/>
                  </a:cubicBezTo>
                  <a:cubicBezTo>
                    <a:pt x="11034" y="57468"/>
                    <a:pt x="11034" y="57468"/>
                    <a:pt x="11034" y="57468"/>
                  </a:cubicBezTo>
                  <a:cubicBezTo>
                    <a:pt x="11034" y="57468"/>
                    <a:pt x="11115" y="57227"/>
                    <a:pt x="11196" y="57227"/>
                  </a:cubicBezTo>
                  <a:cubicBezTo>
                    <a:pt x="11277" y="57307"/>
                    <a:pt x="11764" y="57307"/>
                    <a:pt x="11764" y="57307"/>
                  </a:cubicBezTo>
                  <a:cubicBezTo>
                    <a:pt x="12008" y="57066"/>
                    <a:pt x="12008" y="57066"/>
                    <a:pt x="12008" y="57066"/>
                  </a:cubicBezTo>
                  <a:cubicBezTo>
                    <a:pt x="12008" y="56584"/>
                    <a:pt x="12008" y="56584"/>
                    <a:pt x="12008" y="56584"/>
                  </a:cubicBezTo>
                  <a:cubicBezTo>
                    <a:pt x="12251" y="56262"/>
                    <a:pt x="12251" y="56262"/>
                    <a:pt x="12251" y="56262"/>
                  </a:cubicBezTo>
                  <a:cubicBezTo>
                    <a:pt x="12738" y="56182"/>
                    <a:pt x="12738" y="56182"/>
                    <a:pt x="12738" y="56182"/>
                  </a:cubicBezTo>
                  <a:cubicBezTo>
                    <a:pt x="12738" y="56182"/>
                    <a:pt x="13630" y="56182"/>
                    <a:pt x="13711" y="56262"/>
                  </a:cubicBezTo>
                  <a:cubicBezTo>
                    <a:pt x="13793" y="56262"/>
                    <a:pt x="14198" y="56262"/>
                    <a:pt x="14279" y="56262"/>
                  </a:cubicBezTo>
                  <a:cubicBezTo>
                    <a:pt x="14361" y="56262"/>
                    <a:pt x="14847" y="56262"/>
                    <a:pt x="14847" y="56262"/>
                  </a:cubicBezTo>
                  <a:cubicBezTo>
                    <a:pt x="15010" y="55941"/>
                    <a:pt x="15010" y="55941"/>
                    <a:pt x="15010" y="55941"/>
                  </a:cubicBezTo>
                  <a:cubicBezTo>
                    <a:pt x="14361" y="55780"/>
                    <a:pt x="14361" y="55780"/>
                    <a:pt x="14361" y="55780"/>
                  </a:cubicBezTo>
                  <a:cubicBezTo>
                    <a:pt x="13874" y="55699"/>
                    <a:pt x="13874" y="55699"/>
                    <a:pt x="13874" y="55699"/>
                  </a:cubicBezTo>
                  <a:cubicBezTo>
                    <a:pt x="13630" y="55298"/>
                    <a:pt x="13630" y="55298"/>
                    <a:pt x="13630" y="55298"/>
                  </a:cubicBezTo>
                  <a:cubicBezTo>
                    <a:pt x="13144" y="55298"/>
                    <a:pt x="13144" y="55298"/>
                    <a:pt x="13144" y="55298"/>
                  </a:cubicBezTo>
                  <a:cubicBezTo>
                    <a:pt x="12494" y="55458"/>
                    <a:pt x="12494" y="55458"/>
                    <a:pt x="12494" y="55458"/>
                  </a:cubicBezTo>
                  <a:cubicBezTo>
                    <a:pt x="12089" y="55539"/>
                    <a:pt x="12089" y="55539"/>
                    <a:pt x="12089" y="55539"/>
                  </a:cubicBezTo>
                  <a:cubicBezTo>
                    <a:pt x="11521" y="55458"/>
                    <a:pt x="11521" y="55458"/>
                    <a:pt x="11521" y="55458"/>
                  </a:cubicBezTo>
                  <a:cubicBezTo>
                    <a:pt x="11359" y="55217"/>
                    <a:pt x="11359" y="55217"/>
                    <a:pt x="11359" y="55217"/>
                  </a:cubicBezTo>
                  <a:cubicBezTo>
                    <a:pt x="11359" y="55217"/>
                    <a:pt x="10953" y="55137"/>
                    <a:pt x="10872" y="55137"/>
                  </a:cubicBezTo>
                  <a:cubicBezTo>
                    <a:pt x="10791" y="55137"/>
                    <a:pt x="10709" y="55137"/>
                    <a:pt x="10628" y="55056"/>
                  </a:cubicBezTo>
                  <a:cubicBezTo>
                    <a:pt x="10466" y="55056"/>
                    <a:pt x="10223" y="54494"/>
                    <a:pt x="10223" y="54494"/>
                  </a:cubicBezTo>
                  <a:cubicBezTo>
                    <a:pt x="10223" y="54172"/>
                    <a:pt x="10223" y="54172"/>
                    <a:pt x="10223" y="54172"/>
                  </a:cubicBezTo>
                  <a:cubicBezTo>
                    <a:pt x="10466" y="54494"/>
                    <a:pt x="10466" y="54494"/>
                    <a:pt x="10466" y="54494"/>
                  </a:cubicBezTo>
                  <a:cubicBezTo>
                    <a:pt x="10466" y="54494"/>
                    <a:pt x="10628" y="54574"/>
                    <a:pt x="10628" y="54494"/>
                  </a:cubicBezTo>
                  <a:cubicBezTo>
                    <a:pt x="10628" y="54413"/>
                    <a:pt x="10547" y="53931"/>
                    <a:pt x="10547" y="53931"/>
                  </a:cubicBezTo>
                  <a:cubicBezTo>
                    <a:pt x="10547" y="53931"/>
                    <a:pt x="10628" y="53449"/>
                    <a:pt x="10385" y="53529"/>
                  </a:cubicBezTo>
                  <a:cubicBezTo>
                    <a:pt x="10141" y="53610"/>
                    <a:pt x="9898" y="53770"/>
                    <a:pt x="9898" y="53931"/>
                  </a:cubicBezTo>
                  <a:cubicBezTo>
                    <a:pt x="9898" y="54012"/>
                    <a:pt x="9736" y="54253"/>
                    <a:pt x="9736" y="54413"/>
                  </a:cubicBezTo>
                  <a:cubicBezTo>
                    <a:pt x="9655" y="54494"/>
                    <a:pt x="9574" y="54574"/>
                    <a:pt x="9492" y="54655"/>
                  </a:cubicBezTo>
                  <a:cubicBezTo>
                    <a:pt x="9411" y="54735"/>
                    <a:pt x="9006" y="54815"/>
                    <a:pt x="9006" y="54815"/>
                  </a:cubicBezTo>
                  <a:cubicBezTo>
                    <a:pt x="8681" y="54815"/>
                    <a:pt x="8681" y="54815"/>
                    <a:pt x="8681" y="54815"/>
                  </a:cubicBezTo>
                  <a:cubicBezTo>
                    <a:pt x="8924" y="54494"/>
                    <a:pt x="8924" y="54494"/>
                    <a:pt x="8924" y="54494"/>
                  </a:cubicBezTo>
                  <a:cubicBezTo>
                    <a:pt x="9087" y="54092"/>
                    <a:pt x="9087" y="54092"/>
                    <a:pt x="9087" y="54092"/>
                  </a:cubicBezTo>
                  <a:cubicBezTo>
                    <a:pt x="9087" y="54092"/>
                    <a:pt x="9492" y="53369"/>
                    <a:pt x="9492" y="53208"/>
                  </a:cubicBezTo>
                  <a:cubicBezTo>
                    <a:pt x="9574" y="52967"/>
                    <a:pt x="9655" y="52806"/>
                    <a:pt x="9736" y="52565"/>
                  </a:cubicBezTo>
                  <a:cubicBezTo>
                    <a:pt x="9817" y="52404"/>
                    <a:pt x="10060" y="52324"/>
                    <a:pt x="10060" y="52324"/>
                  </a:cubicBezTo>
                  <a:cubicBezTo>
                    <a:pt x="10304" y="51520"/>
                    <a:pt x="10304" y="51520"/>
                    <a:pt x="10304" y="51520"/>
                  </a:cubicBezTo>
                  <a:cubicBezTo>
                    <a:pt x="11359" y="49430"/>
                    <a:pt x="11359" y="49430"/>
                    <a:pt x="11359" y="49430"/>
                  </a:cubicBezTo>
                  <a:cubicBezTo>
                    <a:pt x="11359" y="49430"/>
                    <a:pt x="11521" y="48787"/>
                    <a:pt x="11602" y="48707"/>
                  </a:cubicBezTo>
                  <a:cubicBezTo>
                    <a:pt x="11602" y="48546"/>
                    <a:pt x="11845" y="48064"/>
                    <a:pt x="11845" y="47903"/>
                  </a:cubicBezTo>
                  <a:cubicBezTo>
                    <a:pt x="11845" y="47742"/>
                    <a:pt x="12089" y="47180"/>
                    <a:pt x="12089" y="47180"/>
                  </a:cubicBezTo>
                  <a:cubicBezTo>
                    <a:pt x="12089" y="47180"/>
                    <a:pt x="12332" y="46296"/>
                    <a:pt x="12332" y="46135"/>
                  </a:cubicBezTo>
                  <a:cubicBezTo>
                    <a:pt x="12332" y="45974"/>
                    <a:pt x="12494" y="45894"/>
                    <a:pt x="12657" y="45813"/>
                  </a:cubicBezTo>
                  <a:cubicBezTo>
                    <a:pt x="12738" y="45733"/>
                    <a:pt x="12981" y="45010"/>
                    <a:pt x="12981" y="44849"/>
                  </a:cubicBezTo>
                  <a:cubicBezTo>
                    <a:pt x="13062" y="44688"/>
                    <a:pt x="13225" y="43241"/>
                    <a:pt x="13225" y="43241"/>
                  </a:cubicBezTo>
                  <a:cubicBezTo>
                    <a:pt x="13062" y="42277"/>
                    <a:pt x="13062" y="42277"/>
                    <a:pt x="13062" y="42277"/>
                  </a:cubicBezTo>
                  <a:cubicBezTo>
                    <a:pt x="12576" y="41875"/>
                    <a:pt x="12576" y="41875"/>
                    <a:pt x="12576" y="41875"/>
                  </a:cubicBezTo>
                  <a:cubicBezTo>
                    <a:pt x="12089" y="41634"/>
                    <a:pt x="12089" y="41634"/>
                    <a:pt x="12089" y="41634"/>
                  </a:cubicBezTo>
                  <a:cubicBezTo>
                    <a:pt x="12089" y="41634"/>
                    <a:pt x="11521" y="41312"/>
                    <a:pt x="11440" y="41232"/>
                  </a:cubicBezTo>
                  <a:cubicBezTo>
                    <a:pt x="11359" y="41152"/>
                    <a:pt x="11034" y="40991"/>
                    <a:pt x="10953" y="40991"/>
                  </a:cubicBezTo>
                  <a:cubicBezTo>
                    <a:pt x="10791" y="40910"/>
                    <a:pt x="10385" y="40830"/>
                    <a:pt x="10304" y="40830"/>
                  </a:cubicBezTo>
                  <a:cubicBezTo>
                    <a:pt x="10223" y="40830"/>
                    <a:pt x="9898" y="40589"/>
                    <a:pt x="9655" y="40428"/>
                  </a:cubicBezTo>
                  <a:cubicBezTo>
                    <a:pt x="9411" y="40267"/>
                    <a:pt x="9087" y="39866"/>
                    <a:pt x="9087" y="39866"/>
                  </a:cubicBezTo>
                  <a:cubicBezTo>
                    <a:pt x="9492" y="39223"/>
                    <a:pt x="9492" y="39223"/>
                    <a:pt x="9492" y="39223"/>
                  </a:cubicBezTo>
                  <a:cubicBezTo>
                    <a:pt x="9492" y="39223"/>
                    <a:pt x="9574" y="38740"/>
                    <a:pt x="9574" y="38580"/>
                  </a:cubicBezTo>
                  <a:cubicBezTo>
                    <a:pt x="9574" y="38499"/>
                    <a:pt x="9574" y="38258"/>
                    <a:pt x="9574" y="38258"/>
                  </a:cubicBezTo>
                  <a:cubicBezTo>
                    <a:pt x="9411" y="37937"/>
                    <a:pt x="9411" y="37937"/>
                    <a:pt x="9411" y="37937"/>
                  </a:cubicBezTo>
                  <a:cubicBezTo>
                    <a:pt x="9168" y="37535"/>
                    <a:pt x="9168" y="37535"/>
                    <a:pt x="9168" y="37535"/>
                  </a:cubicBezTo>
                  <a:cubicBezTo>
                    <a:pt x="9168" y="37535"/>
                    <a:pt x="8843" y="37454"/>
                    <a:pt x="8681" y="37454"/>
                  </a:cubicBezTo>
                  <a:cubicBezTo>
                    <a:pt x="8600" y="37535"/>
                    <a:pt x="8600" y="37294"/>
                    <a:pt x="8519" y="37133"/>
                  </a:cubicBezTo>
                  <a:cubicBezTo>
                    <a:pt x="8519" y="36972"/>
                    <a:pt x="8356" y="36972"/>
                    <a:pt x="8194" y="36892"/>
                  </a:cubicBezTo>
                  <a:cubicBezTo>
                    <a:pt x="7951" y="36731"/>
                    <a:pt x="7870" y="36490"/>
                    <a:pt x="7870" y="36490"/>
                  </a:cubicBezTo>
                  <a:cubicBezTo>
                    <a:pt x="8113" y="36008"/>
                    <a:pt x="8113" y="36008"/>
                    <a:pt x="8113" y="36008"/>
                  </a:cubicBezTo>
                  <a:cubicBezTo>
                    <a:pt x="8113" y="36008"/>
                    <a:pt x="8032" y="35766"/>
                    <a:pt x="7951" y="35686"/>
                  </a:cubicBezTo>
                  <a:cubicBezTo>
                    <a:pt x="7951" y="35606"/>
                    <a:pt x="7626" y="35606"/>
                    <a:pt x="7626" y="35606"/>
                  </a:cubicBezTo>
                  <a:cubicBezTo>
                    <a:pt x="7058" y="35525"/>
                    <a:pt x="7058" y="35525"/>
                    <a:pt x="7058" y="35525"/>
                  </a:cubicBezTo>
                  <a:cubicBezTo>
                    <a:pt x="6653" y="34882"/>
                    <a:pt x="6653" y="34882"/>
                    <a:pt x="6653" y="34882"/>
                  </a:cubicBezTo>
                  <a:cubicBezTo>
                    <a:pt x="6653" y="34882"/>
                    <a:pt x="6734" y="34320"/>
                    <a:pt x="6815" y="34239"/>
                  </a:cubicBezTo>
                  <a:cubicBezTo>
                    <a:pt x="6896" y="34079"/>
                    <a:pt x="6815" y="33998"/>
                    <a:pt x="6815" y="33998"/>
                  </a:cubicBezTo>
                  <a:cubicBezTo>
                    <a:pt x="6409" y="33837"/>
                    <a:pt x="6409" y="33837"/>
                    <a:pt x="6409" y="33837"/>
                  </a:cubicBezTo>
                  <a:cubicBezTo>
                    <a:pt x="6572" y="33516"/>
                    <a:pt x="6572" y="33516"/>
                    <a:pt x="6572" y="33516"/>
                  </a:cubicBezTo>
                  <a:cubicBezTo>
                    <a:pt x="6328" y="33034"/>
                    <a:pt x="6328" y="33034"/>
                    <a:pt x="6328" y="33034"/>
                  </a:cubicBezTo>
                  <a:cubicBezTo>
                    <a:pt x="6409" y="32712"/>
                    <a:pt x="6409" y="32712"/>
                    <a:pt x="6409" y="32712"/>
                  </a:cubicBezTo>
                  <a:cubicBezTo>
                    <a:pt x="6166" y="32391"/>
                    <a:pt x="6166" y="32391"/>
                    <a:pt x="6166" y="32391"/>
                  </a:cubicBezTo>
                  <a:cubicBezTo>
                    <a:pt x="6166" y="32150"/>
                    <a:pt x="6166" y="32150"/>
                    <a:pt x="6166" y="32150"/>
                  </a:cubicBezTo>
                  <a:cubicBezTo>
                    <a:pt x="6409" y="31748"/>
                    <a:pt x="6409" y="31748"/>
                    <a:pt x="6409" y="31748"/>
                  </a:cubicBezTo>
                  <a:cubicBezTo>
                    <a:pt x="6490" y="31346"/>
                    <a:pt x="6490" y="31346"/>
                    <a:pt x="6490" y="31346"/>
                  </a:cubicBezTo>
                  <a:cubicBezTo>
                    <a:pt x="6166" y="30783"/>
                    <a:pt x="6166" y="30783"/>
                    <a:pt x="6166" y="30783"/>
                  </a:cubicBezTo>
                  <a:cubicBezTo>
                    <a:pt x="6166" y="30783"/>
                    <a:pt x="5922" y="30381"/>
                    <a:pt x="5922" y="30301"/>
                  </a:cubicBezTo>
                  <a:cubicBezTo>
                    <a:pt x="5922" y="30221"/>
                    <a:pt x="5273" y="29819"/>
                    <a:pt x="5273" y="29819"/>
                  </a:cubicBezTo>
                  <a:cubicBezTo>
                    <a:pt x="5030" y="29256"/>
                    <a:pt x="5030" y="29256"/>
                    <a:pt x="5030" y="29256"/>
                  </a:cubicBezTo>
                  <a:cubicBezTo>
                    <a:pt x="4381" y="28533"/>
                    <a:pt x="4381" y="28533"/>
                    <a:pt x="4381" y="28533"/>
                  </a:cubicBezTo>
                  <a:cubicBezTo>
                    <a:pt x="3894" y="27970"/>
                    <a:pt x="3894" y="27970"/>
                    <a:pt x="3894" y="27970"/>
                  </a:cubicBezTo>
                  <a:cubicBezTo>
                    <a:pt x="3569" y="27649"/>
                    <a:pt x="3569" y="27649"/>
                    <a:pt x="3569" y="27649"/>
                  </a:cubicBezTo>
                  <a:cubicBezTo>
                    <a:pt x="3326" y="27086"/>
                    <a:pt x="3326" y="27086"/>
                    <a:pt x="3326" y="27086"/>
                  </a:cubicBezTo>
                  <a:cubicBezTo>
                    <a:pt x="3326" y="27086"/>
                    <a:pt x="3488" y="26443"/>
                    <a:pt x="3488" y="26363"/>
                  </a:cubicBezTo>
                  <a:cubicBezTo>
                    <a:pt x="3488" y="26202"/>
                    <a:pt x="3732" y="25639"/>
                    <a:pt x="3732" y="25237"/>
                  </a:cubicBezTo>
                  <a:cubicBezTo>
                    <a:pt x="3651" y="24916"/>
                    <a:pt x="3894" y="24514"/>
                    <a:pt x="3894" y="24514"/>
                  </a:cubicBezTo>
                  <a:cubicBezTo>
                    <a:pt x="3975" y="23791"/>
                    <a:pt x="3975" y="23791"/>
                    <a:pt x="3975" y="23791"/>
                  </a:cubicBezTo>
                  <a:cubicBezTo>
                    <a:pt x="3732" y="23549"/>
                    <a:pt x="3732" y="23549"/>
                    <a:pt x="3732" y="23549"/>
                  </a:cubicBezTo>
                  <a:cubicBezTo>
                    <a:pt x="3245" y="23228"/>
                    <a:pt x="3245" y="23228"/>
                    <a:pt x="3245" y="23228"/>
                  </a:cubicBezTo>
                  <a:cubicBezTo>
                    <a:pt x="2920" y="22826"/>
                    <a:pt x="2920" y="22826"/>
                    <a:pt x="2920" y="22826"/>
                  </a:cubicBezTo>
                  <a:cubicBezTo>
                    <a:pt x="2920" y="22826"/>
                    <a:pt x="2758" y="22344"/>
                    <a:pt x="2190" y="22183"/>
                  </a:cubicBezTo>
                  <a:cubicBezTo>
                    <a:pt x="1622" y="22103"/>
                    <a:pt x="1541" y="22183"/>
                    <a:pt x="1541" y="22183"/>
                  </a:cubicBezTo>
                  <a:cubicBezTo>
                    <a:pt x="973" y="21862"/>
                    <a:pt x="973" y="21862"/>
                    <a:pt x="973" y="21862"/>
                  </a:cubicBezTo>
                  <a:cubicBezTo>
                    <a:pt x="567" y="21219"/>
                    <a:pt x="567" y="21219"/>
                    <a:pt x="567" y="21219"/>
                  </a:cubicBezTo>
                  <a:cubicBezTo>
                    <a:pt x="243" y="20736"/>
                    <a:pt x="243" y="20736"/>
                    <a:pt x="243" y="20736"/>
                  </a:cubicBezTo>
                  <a:cubicBezTo>
                    <a:pt x="486" y="20415"/>
                    <a:pt x="486" y="20415"/>
                    <a:pt x="486" y="20415"/>
                  </a:cubicBezTo>
                  <a:cubicBezTo>
                    <a:pt x="567" y="19933"/>
                    <a:pt x="567" y="19933"/>
                    <a:pt x="567" y="19933"/>
                  </a:cubicBezTo>
                  <a:cubicBezTo>
                    <a:pt x="567" y="19611"/>
                    <a:pt x="567" y="19611"/>
                    <a:pt x="567" y="19611"/>
                  </a:cubicBezTo>
                  <a:cubicBezTo>
                    <a:pt x="567" y="19209"/>
                    <a:pt x="567" y="19209"/>
                    <a:pt x="567" y="19209"/>
                  </a:cubicBezTo>
                  <a:cubicBezTo>
                    <a:pt x="0" y="19048"/>
                    <a:pt x="0" y="19048"/>
                    <a:pt x="0" y="19048"/>
                  </a:cubicBezTo>
                  <a:cubicBezTo>
                    <a:pt x="0" y="19048"/>
                    <a:pt x="0" y="19048"/>
                    <a:pt x="0" y="19048"/>
                  </a:cubicBezTo>
                  <a:cubicBezTo>
                    <a:pt x="0" y="19048"/>
                    <a:pt x="0" y="19048"/>
                    <a:pt x="0" y="19048"/>
                  </a:cubicBezTo>
                  <a:cubicBezTo>
                    <a:pt x="0" y="19048"/>
                    <a:pt x="0" y="19048"/>
                    <a:pt x="0" y="19048"/>
                  </a:cubicBezTo>
                  <a:cubicBezTo>
                    <a:pt x="0" y="19048"/>
                    <a:pt x="0" y="19048"/>
                    <a:pt x="0" y="19048"/>
                  </a:cubicBezTo>
                  <a:cubicBezTo>
                    <a:pt x="0" y="19048"/>
                    <a:pt x="0" y="19048"/>
                    <a:pt x="0" y="19048"/>
                  </a:cubicBezTo>
                  <a:cubicBezTo>
                    <a:pt x="0" y="19048"/>
                    <a:pt x="0" y="19048"/>
                    <a:pt x="0" y="19048"/>
                  </a:cubicBezTo>
                  <a:cubicBezTo>
                    <a:pt x="0" y="19048"/>
                    <a:pt x="0" y="19048"/>
                    <a:pt x="0" y="19048"/>
                  </a:cubicBezTo>
                  <a:cubicBezTo>
                    <a:pt x="0" y="19048"/>
                    <a:pt x="0" y="19048"/>
                    <a:pt x="0" y="19048"/>
                  </a:cubicBezTo>
                  <a:cubicBezTo>
                    <a:pt x="0" y="19048"/>
                    <a:pt x="0" y="19048"/>
                    <a:pt x="0" y="19048"/>
                  </a:cubicBezTo>
                  <a:cubicBezTo>
                    <a:pt x="0" y="19048"/>
                    <a:pt x="0" y="19048"/>
                    <a:pt x="0" y="19048"/>
                  </a:cubicBezTo>
                  <a:cubicBezTo>
                    <a:pt x="0" y="19048"/>
                    <a:pt x="0" y="19048"/>
                    <a:pt x="0" y="19048"/>
                  </a:cubicBezTo>
                  <a:cubicBezTo>
                    <a:pt x="0" y="19048"/>
                    <a:pt x="0" y="19048"/>
                    <a:pt x="0" y="19048"/>
                  </a:cubicBezTo>
                  <a:cubicBezTo>
                    <a:pt x="0" y="19048"/>
                    <a:pt x="0" y="19048"/>
                    <a:pt x="0" y="19048"/>
                  </a:cubicBezTo>
                  <a:cubicBezTo>
                    <a:pt x="0" y="19048"/>
                    <a:pt x="0" y="19048"/>
                    <a:pt x="0" y="19048"/>
                  </a:cubicBezTo>
                  <a:cubicBezTo>
                    <a:pt x="0" y="19048"/>
                    <a:pt x="0" y="19048"/>
                    <a:pt x="0" y="19048"/>
                  </a:cubicBezTo>
                  <a:cubicBezTo>
                    <a:pt x="0" y="19048"/>
                    <a:pt x="0" y="19048"/>
                    <a:pt x="0" y="19048"/>
                  </a:cubicBezTo>
                  <a:cubicBezTo>
                    <a:pt x="0" y="19048"/>
                    <a:pt x="0" y="19048"/>
                    <a:pt x="0" y="19048"/>
                  </a:cubicBezTo>
                  <a:cubicBezTo>
                    <a:pt x="0" y="19048"/>
                    <a:pt x="0" y="19048"/>
                    <a:pt x="0" y="19048"/>
                  </a:cubicBezTo>
                  <a:cubicBezTo>
                    <a:pt x="0" y="19048"/>
                    <a:pt x="0" y="19048"/>
                    <a:pt x="0" y="19048"/>
                  </a:cubicBezTo>
                  <a:cubicBezTo>
                    <a:pt x="0" y="19048"/>
                    <a:pt x="0" y="19048"/>
                    <a:pt x="0" y="19048"/>
                  </a:cubicBezTo>
                  <a:cubicBezTo>
                    <a:pt x="0" y="19048"/>
                    <a:pt x="0" y="19048"/>
                    <a:pt x="0" y="19048"/>
                  </a:cubicBezTo>
                  <a:cubicBezTo>
                    <a:pt x="0" y="19048"/>
                    <a:pt x="0" y="19048"/>
                    <a:pt x="0" y="19048"/>
                  </a:cubicBezTo>
                  <a:cubicBezTo>
                    <a:pt x="0" y="19048"/>
                    <a:pt x="0" y="19048"/>
                    <a:pt x="0" y="19048"/>
                  </a:cubicBezTo>
                  <a:cubicBezTo>
                    <a:pt x="0" y="19048"/>
                    <a:pt x="0" y="19048"/>
                    <a:pt x="0" y="19048"/>
                  </a:cubicBezTo>
                  <a:cubicBezTo>
                    <a:pt x="0" y="19048"/>
                    <a:pt x="0" y="19048"/>
                    <a:pt x="0" y="19048"/>
                  </a:cubicBezTo>
                  <a:cubicBezTo>
                    <a:pt x="0" y="19048"/>
                    <a:pt x="0" y="19048"/>
                    <a:pt x="0" y="19048"/>
                  </a:cubicBezTo>
                  <a:cubicBezTo>
                    <a:pt x="0" y="19048"/>
                    <a:pt x="0" y="19048"/>
                    <a:pt x="0" y="19048"/>
                  </a:cubicBezTo>
                  <a:cubicBezTo>
                    <a:pt x="0" y="19048"/>
                    <a:pt x="0" y="19048"/>
                    <a:pt x="0" y="19048"/>
                  </a:cubicBezTo>
                  <a:cubicBezTo>
                    <a:pt x="0" y="19048"/>
                    <a:pt x="0" y="19048"/>
                    <a:pt x="0" y="19048"/>
                  </a:cubicBezTo>
                  <a:cubicBezTo>
                    <a:pt x="0" y="19048"/>
                    <a:pt x="0" y="19048"/>
                    <a:pt x="0" y="19048"/>
                  </a:cubicBezTo>
                  <a:cubicBezTo>
                    <a:pt x="0" y="19048"/>
                    <a:pt x="0" y="19048"/>
                    <a:pt x="0" y="19048"/>
                  </a:cubicBezTo>
                  <a:cubicBezTo>
                    <a:pt x="0" y="19048"/>
                    <a:pt x="0" y="19048"/>
                    <a:pt x="0" y="19048"/>
                  </a:cubicBezTo>
                  <a:cubicBezTo>
                    <a:pt x="0" y="19048"/>
                    <a:pt x="0" y="19048"/>
                    <a:pt x="0" y="19048"/>
                  </a:cubicBezTo>
                  <a:cubicBezTo>
                    <a:pt x="0" y="19048"/>
                    <a:pt x="0" y="19048"/>
                    <a:pt x="0" y="19048"/>
                  </a:cubicBezTo>
                  <a:cubicBezTo>
                    <a:pt x="0" y="19048"/>
                    <a:pt x="0" y="19048"/>
                    <a:pt x="0" y="19048"/>
                  </a:cubicBezTo>
                  <a:cubicBezTo>
                    <a:pt x="0" y="18968"/>
                    <a:pt x="0" y="18968"/>
                    <a:pt x="0" y="18968"/>
                  </a:cubicBezTo>
                  <a:cubicBezTo>
                    <a:pt x="0" y="18968"/>
                    <a:pt x="0" y="18968"/>
                    <a:pt x="0" y="18968"/>
                  </a:cubicBezTo>
                  <a:cubicBezTo>
                    <a:pt x="0" y="18968"/>
                    <a:pt x="0" y="18968"/>
                    <a:pt x="0" y="18968"/>
                  </a:cubicBezTo>
                  <a:cubicBezTo>
                    <a:pt x="0" y="18968"/>
                    <a:pt x="0" y="18968"/>
                    <a:pt x="0" y="18968"/>
                  </a:cubicBezTo>
                  <a:cubicBezTo>
                    <a:pt x="81" y="18968"/>
                    <a:pt x="81" y="18968"/>
                    <a:pt x="81" y="18968"/>
                  </a:cubicBezTo>
                  <a:cubicBezTo>
                    <a:pt x="81" y="18968"/>
                    <a:pt x="81" y="18968"/>
                    <a:pt x="81" y="18968"/>
                  </a:cubicBezTo>
                  <a:cubicBezTo>
                    <a:pt x="81" y="18968"/>
                    <a:pt x="81" y="18968"/>
                    <a:pt x="81" y="18968"/>
                  </a:cubicBezTo>
                  <a:cubicBezTo>
                    <a:pt x="81" y="18968"/>
                    <a:pt x="81" y="18968"/>
                    <a:pt x="81" y="18968"/>
                  </a:cubicBezTo>
                  <a:cubicBezTo>
                    <a:pt x="81" y="18968"/>
                    <a:pt x="81" y="18968"/>
                    <a:pt x="81" y="18968"/>
                  </a:cubicBezTo>
                  <a:cubicBezTo>
                    <a:pt x="81" y="18968"/>
                    <a:pt x="81" y="18968"/>
                    <a:pt x="81" y="18968"/>
                  </a:cubicBezTo>
                  <a:cubicBezTo>
                    <a:pt x="81" y="18968"/>
                    <a:pt x="81" y="18968"/>
                    <a:pt x="81" y="18968"/>
                  </a:cubicBezTo>
                  <a:cubicBezTo>
                    <a:pt x="81" y="18968"/>
                    <a:pt x="81" y="18968"/>
                    <a:pt x="81" y="18968"/>
                  </a:cubicBezTo>
                  <a:cubicBezTo>
                    <a:pt x="81" y="18968"/>
                    <a:pt x="81" y="18968"/>
                    <a:pt x="81" y="18968"/>
                  </a:cubicBezTo>
                  <a:cubicBezTo>
                    <a:pt x="81" y="18888"/>
                    <a:pt x="81" y="18888"/>
                    <a:pt x="81" y="18888"/>
                  </a:cubicBezTo>
                  <a:cubicBezTo>
                    <a:pt x="81" y="18888"/>
                    <a:pt x="81" y="18888"/>
                    <a:pt x="81" y="18888"/>
                  </a:cubicBezTo>
                  <a:cubicBezTo>
                    <a:pt x="81" y="18888"/>
                    <a:pt x="81" y="18888"/>
                    <a:pt x="81" y="18888"/>
                  </a:cubicBezTo>
                  <a:cubicBezTo>
                    <a:pt x="162" y="18888"/>
                    <a:pt x="162" y="18888"/>
                    <a:pt x="162" y="18888"/>
                  </a:cubicBezTo>
                  <a:cubicBezTo>
                    <a:pt x="162" y="18888"/>
                    <a:pt x="162" y="18888"/>
                    <a:pt x="162" y="18888"/>
                  </a:cubicBezTo>
                  <a:cubicBezTo>
                    <a:pt x="162" y="18888"/>
                    <a:pt x="162" y="18888"/>
                    <a:pt x="162" y="18888"/>
                  </a:cubicBezTo>
                  <a:cubicBezTo>
                    <a:pt x="162" y="18888"/>
                    <a:pt x="162" y="18888"/>
                    <a:pt x="162" y="18888"/>
                  </a:cubicBezTo>
                  <a:cubicBezTo>
                    <a:pt x="162" y="18888"/>
                    <a:pt x="162" y="18888"/>
                    <a:pt x="162" y="18888"/>
                  </a:cubicBezTo>
                  <a:cubicBezTo>
                    <a:pt x="162" y="18807"/>
                    <a:pt x="162" y="18807"/>
                    <a:pt x="162" y="18807"/>
                  </a:cubicBezTo>
                  <a:cubicBezTo>
                    <a:pt x="162" y="18807"/>
                    <a:pt x="162" y="18807"/>
                    <a:pt x="162" y="18807"/>
                  </a:cubicBezTo>
                  <a:cubicBezTo>
                    <a:pt x="162" y="18807"/>
                    <a:pt x="162" y="18807"/>
                    <a:pt x="162" y="18807"/>
                  </a:cubicBezTo>
                  <a:cubicBezTo>
                    <a:pt x="243" y="18807"/>
                    <a:pt x="243" y="18807"/>
                    <a:pt x="243" y="18807"/>
                  </a:cubicBezTo>
                  <a:cubicBezTo>
                    <a:pt x="243" y="18807"/>
                    <a:pt x="243" y="18807"/>
                    <a:pt x="243" y="18807"/>
                  </a:cubicBezTo>
                  <a:cubicBezTo>
                    <a:pt x="243" y="18807"/>
                    <a:pt x="243" y="18807"/>
                    <a:pt x="243" y="18807"/>
                  </a:cubicBezTo>
                  <a:cubicBezTo>
                    <a:pt x="243" y="18807"/>
                    <a:pt x="243" y="18807"/>
                    <a:pt x="243" y="18807"/>
                  </a:cubicBezTo>
                  <a:cubicBezTo>
                    <a:pt x="243" y="18727"/>
                    <a:pt x="243" y="18727"/>
                    <a:pt x="243" y="18727"/>
                  </a:cubicBezTo>
                  <a:cubicBezTo>
                    <a:pt x="324" y="18727"/>
                    <a:pt x="324" y="18727"/>
                    <a:pt x="324" y="18727"/>
                  </a:cubicBezTo>
                  <a:cubicBezTo>
                    <a:pt x="324" y="18727"/>
                    <a:pt x="324" y="18727"/>
                    <a:pt x="324" y="18727"/>
                  </a:cubicBezTo>
                  <a:cubicBezTo>
                    <a:pt x="324" y="18727"/>
                    <a:pt x="324" y="18727"/>
                    <a:pt x="324" y="18727"/>
                  </a:cubicBezTo>
                  <a:cubicBezTo>
                    <a:pt x="324" y="18727"/>
                    <a:pt x="324" y="18727"/>
                    <a:pt x="324" y="18727"/>
                  </a:cubicBezTo>
                  <a:cubicBezTo>
                    <a:pt x="324" y="18647"/>
                    <a:pt x="324" y="18647"/>
                    <a:pt x="324" y="18647"/>
                  </a:cubicBezTo>
                  <a:cubicBezTo>
                    <a:pt x="324" y="18647"/>
                    <a:pt x="324" y="18647"/>
                    <a:pt x="324" y="18647"/>
                  </a:cubicBezTo>
                  <a:cubicBezTo>
                    <a:pt x="405" y="18647"/>
                    <a:pt x="405" y="18647"/>
                    <a:pt x="405" y="18647"/>
                  </a:cubicBezTo>
                  <a:cubicBezTo>
                    <a:pt x="405" y="18647"/>
                    <a:pt x="405" y="18647"/>
                    <a:pt x="405" y="18647"/>
                  </a:cubicBezTo>
                  <a:cubicBezTo>
                    <a:pt x="405" y="18647"/>
                    <a:pt x="405" y="18647"/>
                    <a:pt x="405" y="18647"/>
                  </a:cubicBezTo>
                  <a:cubicBezTo>
                    <a:pt x="405" y="18647"/>
                    <a:pt x="405" y="18647"/>
                    <a:pt x="405" y="18647"/>
                  </a:cubicBezTo>
                  <a:cubicBezTo>
                    <a:pt x="405" y="18647"/>
                    <a:pt x="405" y="18647"/>
                    <a:pt x="405" y="18647"/>
                  </a:cubicBezTo>
                  <a:cubicBezTo>
                    <a:pt x="405" y="18647"/>
                    <a:pt x="405" y="18647"/>
                    <a:pt x="405" y="18647"/>
                  </a:cubicBezTo>
                  <a:cubicBezTo>
                    <a:pt x="405" y="18647"/>
                    <a:pt x="405" y="18647"/>
                    <a:pt x="405" y="18647"/>
                  </a:cubicBezTo>
                  <a:cubicBezTo>
                    <a:pt x="486" y="18486"/>
                    <a:pt x="567" y="18405"/>
                    <a:pt x="649" y="18405"/>
                  </a:cubicBezTo>
                  <a:cubicBezTo>
                    <a:pt x="649" y="18405"/>
                    <a:pt x="649" y="18325"/>
                    <a:pt x="649" y="18325"/>
                  </a:cubicBezTo>
                  <a:cubicBezTo>
                    <a:pt x="730" y="18325"/>
                    <a:pt x="811" y="18325"/>
                    <a:pt x="973" y="18325"/>
                  </a:cubicBezTo>
                  <a:cubicBezTo>
                    <a:pt x="973" y="18325"/>
                    <a:pt x="1135" y="17602"/>
                    <a:pt x="1054" y="17361"/>
                  </a:cubicBezTo>
                  <a:cubicBezTo>
                    <a:pt x="973" y="17039"/>
                    <a:pt x="1379" y="16718"/>
                    <a:pt x="1379" y="16718"/>
                  </a:cubicBezTo>
                  <a:cubicBezTo>
                    <a:pt x="1947" y="16155"/>
                    <a:pt x="1947" y="16155"/>
                    <a:pt x="1947" y="16155"/>
                  </a:cubicBezTo>
                  <a:cubicBezTo>
                    <a:pt x="1866" y="15512"/>
                    <a:pt x="1866" y="15512"/>
                    <a:pt x="1866" y="15512"/>
                  </a:cubicBezTo>
                  <a:cubicBezTo>
                    <a:pt x="2515" y="15592"/>
                    <a:pt x="2515" y="15592"/>
                    <a:pt x="2515" y="15592"/>
                  </a:cubicBezTo>
                  <a:cubicBezTo>
                    <a:pt x="2515" y="15592"/>
                    <a:pt x="3002" y="15351"/>
                    <a:pt x="2839" y="15030"/>
                  </a:cubicBezTo>
                  <a:cubicBezTo>
                    <a:pt x="2758" y="14869"/>
                    <a:pt x="2677" y="14628"/>
                    <a:pt x="2596" y="14467"/>
                  </a:cubicBezTo>
                  <a:cubicBezTo>
                    <a:pt x="2677" y="14387"/>
                    <a:pt x="2677" y="14387"/>
                    <a:pt x="2677" y="14306"/>
                  </a:cubicBezTo>
                  <a:cubicBezTo>
                    <a:pt x="2677" y="14306"/>
                    <a:pt x="2839" y="14065"/>
                    <a:pt x="2839" y="14065"/>
                  </a:cubicBezTo>
                  <a:cubicBezTo>
                    <a:pt x="3083" y="14065"/>
                    <a:pt x="3083" y="14065"/>
                    <a:pt x="3083" y="14065"/>
                  </a:cubicBezTo>
                  <a:cubicBezTo>
                    <a:pt x="3326" y="14146"/>
                    <a:pt x="3326" y="14146"/>
                    <a:pt x="3326" y="14146"/>
                  </a:cubicBezTo>
                  <a:cubicBezTo>
                    <a:pt x="3326" y="14146"/>
                    <a:pt x="3488" y="14226"/>
                    <a:pt x="3569" y="14226"/>
                  </a:cubicBezTo>
                  <a:cubicBezTo>
                    <a:pt x="3732" y="14226"/>
                    <a:pt x="3975" y="14065"/>
                    <a:pt x="3975" y="14065"/>
                  </a:cubicBezTo>
                  <a:cubicBezTo>
                    <a:pt x="3732" y="13744"/>
                    <a:pt x="3732" y="13744"/>
                    <a:pt x="3732" y="13744"/>
                  </a:cubicBezTo>
                  <a:cubicBezTo>
                    <a:pt x="3813" y="13422"/>
                    <a:pt x="3813" y="13422"/>
                    <a:pt x="3813" y="13422"/>
                  </a:cubicBezTo>
                  <a:cubicBezTo>
                    <a:pt x="4137" y="13422"/>
                    <a:pt x="4137" y="13422"/>
                    <a:pt x="4137" y="13422"/>
                  </a:cubicBezTo>
                  <a:cubicBezTo>
                    <a:pt x="4300" y="13422"/>
                    <a:pt x="4300" y="13422"/>
                    <a:pt x="4300" y="13422"/>
                  </a:cubicBezTo>
                  <a:cubicBezTo>
                    <a:pt x="3975" y="12940"/>
                    <a:pt x="3975" y="12940"/>
                    <a:pt x="3975" y="12940"/>
                  </a:cubicBezTo>
                  <a:cubicBezTo>
                    <a:pt x="3975" y="12940"/>
                    <a:pt x="4056" y="12699"/>
                    <a:pt x="4219" y="12779"/>
                  </a:cubicBezTo>
                  <a:cubicBezTo>
                    <a:pt x="4300" y="12779"/>
                    <a:pt x="4381" y="12940"/>
                    <a:pt x="4462" y="12940"/>
                  </a:cubicBezTo>
                  <a:cubicBezTo>
                    <a:pt x="4543" y="12940"/>
                    <a:pt x="4787" y="13020"/>
                    <a:pt x="4787" y="13020"/>
                  </a:cubicBezTo>
                  <a:cubicBezTo>
                    <a:pt x="5111" y="13101"/>
                    <a:pt x="5111" y="13101"/>
                    <a:pt x="5111" y="13101"/>
                  </a:cubicBezTo>
                  <a:cubicBezTo>
                    <a:pt x="5436" y="13101"/>
                    <a:pt x="5436" y="13101"/>
                    <a:pt x="5436" y="13101"/>
                  </a:cubicBezTo>
                  <a:cubicBezTo>
                    <a:pt x="5841" y="13101"/>
                    <a:pt x="5841" y="13101"/>
                    <a:pt x="5841" y="13101"/>
                  </a:cubicBezTo>
                  <a:cubicBezTo>
                    <a:pt x="6004" y="13342"/>
                    <a:pt x="6004" y="13342"/>
                    <a:pt x="6004" y="13342"/>
                  </a:cubicBezTo>
                  <a:cubicBezTo>
                    <a:pt x="6004" y="13342"/>
                    <a:pt x="6085" y="13503"/>
                    <a:pt x="6004" y="13583"/>
                  </a:cubicBezTo>
                  <a:cubicBezTo>
                    <a:pt x="6004" y="13663"/>
                    <a:pt x="5922" y="13904"/>
                    <a:pt x="5922" y="13904"/>
                  </a:cubicBezTo>
                  <a:cubicBezTo>
                    <a:pt x="5841" y="13904"/>
                    <a:pt x="5760" y="13904"/>
                    <a:pt x="5679" y="13985"/>
                  </a:cubicBezTo>
                  <a:cubicBezTo>
                    <a:pt x="5598" y="13985"/>
                    <a:pt x="5192" y="13985"/>
                    <a:pt x="5192" y="13985"/>
                  </a:cubicBezTo>
                  <a:cubicBezTo>
                    <a:pt x="4868" y="13985"/>
                    <a:pt x="4868" y="13985"/>
                    <a:pt x="4868" y="13985"/>
                  </a:cubicBezTo>
                  <a:cubicBezTo>
                    <a:pt x="4624" y="13985"/>
                    <a:pt x="4624" y="13985"/>
                    <a:pt x="4624" y="13985"/>
                  </a:cubicBezTo>
                  <a:cubicBezTo>
                    <a:pt x="4543" y="14146"/>
                    <a:pt x="4543" y="14146"/>
                    <a:pt x="4543" y="14146"/>
                  </a:cubicBezTo>
                  <a:cubicBezTo>
                    <a:pt x="4543" y="14146"/>
                    <a:pt x="4787" y="14226"/>
                    <a:pt x="4868" y="14306"/>
                  </a:cubicBezTo>
                  <a:cubicBezTo>
                    <a:pt x="5030" y="14306"/>
                    <a:pt x="5030" y="14306"/>
                    <a:pt x="5030" y="14306"/>
                  </a:cubicBezTo>
                  <a:cubicBezTo>
                    <a:pt x="5111" y="14387"/>
                    <a:pt x="5273" y="14547"/>
                    <a:pt x="5273" y="14547"/>
                  </a:cubicBezTo>
                  <a:cubicBezTo>
                    <a:pt x="5192" y="14789"/>
                    <a:pt x="5192" y="14789"/>
                    <a:pt x="5192" y="14789"/>
                  </a:cubicBezTo>
                  <a:cubicBezTo>
                    <a:pt x="5192" y="14789"/>
                    <a:pt x="5436" y="14467"/>
                    <a:pt x="5436" y="14467"/>
                  </a:cubicBezTo>
                  <a:cubicBezTo>
                    <a:pt x="5517" y="14467"/>
                    <a:pt x="5922" y="14467"/>
                    <a:pt x="5922" y="14467"/>
                  </a:cubicBezTo>
                  <a:cubicBezTo>
                    <a:pt x="5922" y="14467"/>
                    <a:pt x="6247" y="14306"/>
                    <a:pt x="6328" y="14306"/>
                  </a:cubicBezTo>
                  <a:cubicBezTo>
                    <a:pt x="6328" y="14306"/>
                    <a:pt x="6247" y="14547"/>
                    <a:pt x="6247" y="14547"/>
                  </a:cubicBezTo>
                  <a:cubicBezTo>
                    <a:pt x="6572" y="14387"/>
                    <a:pt x="6572" y="14387"/>
                    <a:pt x="6572" y="14387"/>
                  </a:cubicBezTo>
                  <a:cubicBezTo>
                    <a:pt x="6896" y="14226"/>
                    <a:pt x="6896" y="14226"/>
                    <a:pt x="6896" y="14226"/>
                  </a:cubicBezTo>
                  <a:cubicBezTo>
                    <a:pt x="7058" y="14226"/>
                    <a:pt x="7058" y="14226"/>
                    <a:pt x="7058" y="14226"/>
                  </a:cubicBezTo>
                  <a:cubicBezTo>
                    <a:pt x="7058" y="14226"/>
                    <a:pt x="7139" y="14467"/>
                    <a:pt x="7139" y="14547"/>
                  </a:cubicBezTo>
                  <a:cubicBezTo>
                    <a:pt x="7058" y="14628"/>
                    <a:pt x="7058" y="14628"/>
                    <a:pt x="7058" y="14789"/>
                  </a:cubicBezTo>
                  <a:cubicBezTo>
                    <a:pt x="7058" y="14869"/>
                    <a:pt x="6977" y="14949"/>
                    <a:pt x="7058" y="15030"/>
                  </a:cubicBezTo>
                  <a:cubicBezTo>
                    <a:pt x="7058" y="15030"/>
                    <a:pt x="7058" y="15110"/>
                    <a:pt x="7139" y="15110"/>
                  </a:cubicBezTo>
                  <a:cubicBezTo>
                    <a:pt x="7221" y="15190"/>
                    <a:pt x="7302" y="15110"/>
                    <a:pt x="7302" y="15110"/>
                  </a:cubicBezTo>
                  <a:cubicBezTo>
                    <a:pt x="7464" y="14708"/>
                    <a:pt x="7464" y="14708"/>
                    <a:pt x="7464" y="14708"/>
                  </a:cubicBezTo>
                  <a:cubicBezTo>
                    <a:pt x="7464" y="14708"/>
                    <a:pt x="7626" y="14547"/>
                    <a:pt x="7626" y="14547"/>
                  </a:cubicBezTo>
                  <a:cubicBezTo>
                    <a:pt x="7707" y="14547"/>
                    <a:pt x="7951" y="14387"/>
                    <a:pt x="7951" y="14387"/>
                  </a:cubicBezTo>
                  <a:cubicBezTo>
                    <a:pt x="8356" y="14387"/>
                    <a:pt x="8356" y="14387"/>
                    <a:pt x="8356" y="14387"/>
                  </a:cubicBezTo>
                  <a:cubicBezTo>
                    <a:pt x="8356" y="14387"/>
                    <a:pt x="8762" y="14306"/>
                    <a:pt x="8843" y="14306"/>
                  </a:cubicBezTo>
                  <a:cubicBezTo>
                    <a:pt x="8843" y="14387"/>
                    <a:pt x="9006" y="14387"/>
                    <a:pt x="9087" y="14387"/>
                  </a:cubicBezTo>
                  <a:cubicBezTo>
                    <a:pt x="9249" y="14387"/>
                    <a:pt x="9330" y="14387"/>
                    <a:pt x="9492" y="14387"/>
                  </a:cubicBezTo>
                  <a:cubicBezTo>
                    <a:pt x="9574" y="14387"/>
                    <a:pt x="9655" y="14387"/>
                    <a:pt x="9655" y="14387"/>
                  </a:cubicBezTo>
                  <a:cubicBezTo>
                    <a:pt x="9655" y="14387"/>
                    <a:pt x="9817" y="14226"/>
                    <a:pt x="9817" y="14226"/>
                  </a:cubicBezTo>
                  <a:cubicBezTo>
                    <a:pt x="9817" y="14146"/>
                    <a:pt x="9817" y="14065"/>
                    <a:pt x="9817" y="14065"/>
                  </a:cubicBezTo>
                  <a:cubicBezTo>
                    <a:pt x="9898" y="13985"/>
                    <a:pt x="9979" y="13824"/>
                    <a:pt x="10060" y="13824"/>
                  </a:cubicBezTo>
                  <a:cubicBezTo>
                    <a:pt x="10141" y="13824"/>
                    <a:pt x="11359" y="13985"/>
                    <a:pt x="11359" y="13985"/>
                  </a:cubicBezTo>
                  <a:cubicBezTo>
                    <a:pt x="12413" y="14306"/>
                    <a:pt x="12413" y="14306"/>
                    <a:pt x="12413" y="14306"/>
                  </a:cubicBezTo>
                  <a:cubicBezTo>
                    <a:pt x="13144" y="14467"/>
                    <a:pt x="13144" y="14467"/>
                    <a:pt x="13144" y="14467"/>
                  </a:cubicBezTo>
                  <a:cubicBezTo>
                    <a:pt x="13144" y="14467"/>
                    <a:pt x="13711" y="14789"/>
                    <a:pt x="13793" y="14789"/>
                  </a:cubicBezTo>
                  <a:cubicBezTo>
                    <a:pt x="13874" y="14869"/>
                    <a:pt x="14929" y="15030"/>
                    <a:pt x="14929" y="15030"/>
                  </a:cubicBezTo>
                  <a:cubicBezTo>
                    <a:pt x="15415" y="15351"/>
                    <a:pt x="15415" y="15351"/>
                    <a:pt x="15415" y="15351"/>
                  </a:cubicBezTo>
                  <a:cubicBezTo>
                    <a:pt x="15415" y="15351"/>
                    <a:pt x="15902" y="15512"/>
                    <a:pt x="15902" y="15592"/>
                  </a:cubicBezTo>
                  <a:cubicBezTo>
                    <a:pt x="15902" y="15673"/>
                    <a:pt x="16227" y="15833"/>
                    <a:pt x="16227" y="15833"/>
                  </a:cubicBezTo>
                  <a:cubicBezTo>
                    <a:pt x="16551" y="15673"/>
                    <a:pt x="16551" y="15673"/>
                    <a:pt x="16551" y="15673"/>
                  </a:cubicBezTo>
                  <a:cubicBezTo>
                    <a:pt x="16551" y="15673"/>
                    <a:pt x="16957" y="15753"/>
                    <a:pt x="16957" y="15753"/>
                  </a:cubicBezTo>
                  <a:cubicBezTo>
                    <a:pt x="17038" y="15833"/>
                    <a:pt x="17849" y="16075"/>
                    <a:pt x="17849" y="16075"/>
                  </a:cubicBezTo>
                  <a:cubicBezTo>
                    <a:pt x="17849" y="16075"/>
                    <a:pt x="18417" y="16235"/>
                    <a:pt x="18498" y="16235"/>
                  </a:cubicBezTo>
                  <a:cubicBezTo>
                    <a:pt x="18580" y="16235"/>
                    <a:pt x="18904" y="16155"/>
                    <a:pt x="18904" y="16155"/>
                  </a:cubicBezTo>
                  <a:cubicBezTo>
                    <a:pt x="18904" y="15914"/>
                    <a:pt x="18904" y="15914"/>
                    <a:pt x="18904" y="15914"/>
                  </a:cubicBezTo>
                  <a:cubicBezTo>
                    <a:pt x="18904" y="15914"/>
                    <a:pt x="18823" y="15753"/>
                    <a:pt x="18985" y="15833"/>
                  </a:cubicBezTo>
                  <a:cubicBezTo>
                    <a:pt x="19148" y="15833"/>
                    <a:pt x="19229" y="15833"/>
                    <a:pt x="19310" y="15914"/>
                  </a:cubicBezTo>
                  <a:cubicBezTo>
                    <a:pt x="19310" y="15994"/>
                    <a:pt x="19472" y="15994"/>
                    <a:pt x="19553" y="16075"/>
                  </a:cubicBezTo>
                  <a:cubicBezTo>
                    <a:pt x="19634" y="16235"/>
                    <a:pt x="19959" y="16316"/>
                    <a:pt x="19959" y="16316"/>
                  </a:cubicBezTo>
                  <a:cubicBezTo>
                    <a:pt x="20365" y="16476"/>
                    <a:pt x="20365" y="16476"/>
                    <a:pt x="20365" y="16476"/>
                  </a:cubicBezTo>
                  <a:cubicBezTo>
                    <a:pt x="20446" y="16718"/>
                    <a:pt x="20446" y="16718"/>
                    <a:pt x="20446" y="16718"/>
                  </a:cubicBezTo>
                  <a:cubicBezTo>
                    <a:pt x="20527" y="16798"/>
                    <a:pt x="20527" y="16798"/>
                    <a:pt x="20527" y="16798"/>
                  </a:cubicBezTo>
                  <a:cubicBezTo>
                    <a:pt x="20608" y="16637"/>
                    <a:pt x="20608" y="16637"/>
                    <a:pt x="20608" y="16637"/>
                  </a:cubicBezTo>
                  <a:cubicBezTo>
                    <a:pt x="20689" y="16557"/>
                    <a:pt x="20770" y="16557"/>
                    <a:pt x="20770" y="16557"/>
                  </a:cubicBezTo>
                  <a:cubicBezTo>
                    <a:pt x="20933" y="16637"/>
                    <a:pt x="20933" y="16637"/>
                    <a:pt x="20933" y="16637"/>
                  </a:cubicBezTo>
                  <a:cubicBezTo>
                    <a:pt x="20933" y="16637"/>
                    <a:pt x="21095" y="16637"/>
                    <a:pt x="21095" y="16637"/>
                  </a:cubicBezTo>
                  <a:cubicBezTo>
                    <a:pt x="21176" y="16637"/>
                    <a:pt x="21419" y="16557"/>
                    <a:pt x="21419" y="16557"/>
                  </a:cubicBezTo>
                  <a:cubicBezTo>
                    <a:pt x="21419" y="16637"/>
                    <a:pt x="21582" y="16798"/>
                    <a:pt x="21663" y="16798"/>
                  </a:cubicBezTo>
                  <a:cubicBezTo>
                    <a:pt x="21663" y="16878"/>
                    <a:pt x="21825" y="17119"/>
                    <a:pt x="21825" y="17119"/>
                  </a:cubicBezTo>
                  <a:cubicBezTo>
                    <a:pt x="21825" y="17119"/>
                    <a:pt x="21825" y="17200"/>
                    <a:pt x="21825" y="17361"/>
                  </a:cubicBezTo>
                  <a:cubicBezTo>
                    <a:pt x="21825" y="17441"/>
                    <a:pt x="21906" y="17521"/>
                    <a:pt x="21906" y="17521"/>
                  </a:cubicBezTo>
                  <a:cubicBezTo>
                    <a:pt x="22068" y="17682"/>
                    <a:pt x="22068" y="17682"/>
                    <a:pt x="22068" y="17682"/>
                  </a:cubicBezTo>
                  <a:cubicBezTo>
                    <a:pt x="22474" y="18325"/>
                    <a:pt x="22474" y="18325"/>
                    <a:pt x="22474" y="18325"/>
                  </a:cubicBezTo>
                  <a:cubicBezTo>
                    <a:pt x="22636" y="18486"/>
                    <a:pt x="22636" y="18486"/>
                    <a:pt x="22636" y="18486"/>
                  </a:cubicBezTo>
                  <a:cubicBezTo>
                    <a:pt x="22799" y="18325"/>
                    <a:pt x="22799" y="18325"/>
                    <a:pt x="22799" y="18325"/>
                  </a:cubicBezTo>
                  <a:cubicBezTo>
                    <a:pt x="23042" y="18325"/>
                    <a:pt x="23042" y="18325"/>
                    <a:pt x="23042" y="18325"/>
                  </a:cubicBezTo>
                  <a:cubicBezTo>
                    <a:pt x="23286" y="18888"/>
                    <a:pt x="23286" y="18888"/>
                    <a:pt x="23286" y="18888"/>
                  </a:cubicBezTo>
                  <a:cubicBezTo>
                    <a:pt x="23529" y="19611"/>
                    <a:pt x="23529" y="19611"/>
                    <a:pt x="23529" y="19611"/>
                  </a:cubicBezTo>
                  <a:cubicBezTo>
                    <a:pt x="23367" y="20576"/>
                    <a:pt x="23367" y="20576"/>
                    <a:pt x="23367" y="20576"/>
                  </a:cubicBezTo>
                  <a:cubicBezTo>
                    <a:pt x="23367" y="21219"/>
                    <a:pt x="23367" y="21219"/>
                    <a:pt x="23367" y="21219"/>
                  </a:cubicBezTo>
                  <a:cubicBezTo>
                    <a:pt x="23367" y="21219"/>
                    <a:pt x="23204" y="21701"/>
                    <a:pt x="23204" y="21781"/>
                  </a:cubicBezTo>
                  <a:cubicBezTo>
                    <a:pt x="23204" y="21942"/>
                    <a:pt x="22799" y="22505"/>
                    <a:pt x="22799" y="22505"/>
                  </a:cubicBezTo>
                  <a:cubicBezTo>
                    <a:pt x="22799" y="22505"/>
                    <a:pt x="22555" y="22987"/>
                    <a:pt x="22474" y="23067"/>
                  </a:cubicBezTo>
                  <a:cubicBezTo>
                    <a:pt x="22393" y="23228"/>
                    <a:pt x="22068" y="23871"/>
                    <a:pt x="22068" y="23871"/>
                  </a:cubicBezTo>
                  <a:cubicBezTo>
                    <a:pt x="21095" y="24835"/>
                    <a:pt x="21095" y="24835"/>
                    <a:pt x="21095" y="24835"/>
                  </a:cubicBezTo>
                  <a:cubicBezTo>
                    <a:pt x="21095" y="24835"/>
                    <a:pt x="20608" y="25077"/>
                    <a:pt x="20446" y="25157"/>
                  </a:cubicBezTo>
                  <a:cubicBezTo>
                    <a:pt x="20365" y="25318"/>
                    <a:pt x="19553" y="25398"/>
                    <a:pt x="19553" y="25398"/>
                  </a:cubicBezTo>
                  <a:cubicBezTo>
                    <a:pt x="18904" y="25398"/>
                    <a:pt x="18904" y="25398"/>
                    <a:pt x="18904" y="25398"/>
                  </a:cubicBezTo>
                  <a:cubicBezTo>
                    <a:pt x="17931" y="25157"/>
                    <a:pt x="17931" y="25157"/>
                    <a:pt x="17931" y="25157"/>
                  </a:cubicBezTo>
                  <a:cubicBezTo>
                    <a:pt x="17363" y="25318"/>
                    <a:pt x="17363" y="25318"/>
                    <a:pt x="17363" y="25318"/>
                  </a:cubicBezTo>
                  <a:cubicBezTo>
                    <a:pt x="16632" y="25559"/>
                    <a:pt x="16632" y="25559"/>
                    <a:pt x="16632" y="25559"/>
                  </a:cubicBezTo>
                  <a:cubicBezTo>
                    <a:pt x="15983" y="25559"/>
                    <a:pt x="15983" y="25559"/>
                    <a:pt x="15983" y="25559"/>
                  </a:cubicBezTo>
                  <a:cubicBezTo>
                    <a:pt x="15172" y="25720"/>
                    <a:pt x="15172" y="25720"/>
                    <a:pt x="15172" y="25720"/>
                  </a:cubicBezTo>
                  <a:cubicBezTo>
                    <a:pt x="15172" y="25720"/>
                    <a:pt x="15010" y="25720"/>
                    <a:pt x="14847" y="25720"/>
                  </a:cubicBezTo>
                  <a:cubicBezTo>
                    <a:pt x="14766" y="25720"/>
                    <a:pt x="14279" y="25559"/>
                    <a:pt x="14279" y="25559"/>
                  </a:cubicBezTo>
                  <a:cubicBezTo>
                    <a:pt x="13711" y="25398"/>
                    <a:pt x="13711" y="25398"/>
                    <a:pt x="13711" y="25398"/>
                  </a:cubicBezTo>
                  <a:cubicBezTo>
                    <a:pt x="13306" y="25398"/>
                    <a:pt x="13306" y="25398"/>
                    <a:pt x="13306" y="25398"/>
                  </a:cubicBezTo>
                  <a:cubicBezTo>
                    <a:pt x="13225" y="25720"/>
                    <a:pt x="13225" y="25720"/>
                    <a:pt x="13225" y="25720"/>
                  </a:cubicBezTo>
                  <a:cubicBezTo>
                    <a:pt x="13225" y="25720"/>
                    <a:pt x="13225" y="25720"/>
                    <a:pt x="13062" y="25720"/>
                  </a:cubicBezTo>
                  <a:cubicBezTo>
                    <a:pt x="12900" y="25720"/>
                    <a:pt x="12738" y="25720"/>
                    <a:pt x="12738" y="25720"/>
                  </a:cubicBezTo>
                  <a:cubicBezTo>
                    <a:pt x="12738" y="25398"/>
                    <a:pt x="12738" y="25398"/>
                    <a:pt x="12738" y="25398"/>
                  </a:cubicBezTo>
                  <a:cubicBezTo>
                    <a:pt x="12170" y="25398"/>
                    <a:pt x="12170" y="25398"/>
                    <a:pt x="12170" y="25398"/>
                  </a:cubicBezTo>
                  <a:cubicBezTo>
                    <a:pt x="12170" y="25398"/>
                    <a:pt x="11926" y="25478"/>
                    <a:pt x="11764" y="25478"/>
                  </a:cubicBezTo>
                  <a:cubicBezTo>
                    <a:pt x="11521" y="25478"/>
                    <a:pt x="11277" y="25237"/>
                    <a:pt x="11196" y="25237"/>
                  </a:cubicBezTo>
                  <a:cubicBezTo>
                    <a:pt x="11115" y="25237"/>
                    <a:pt x="11115" y="25318"/>
                    <a:pt x="11115" y="25318"/>
                  </a:cubicBezTo>
                  <a:cubicBezTo>
                    <a:pt x="11115" y="25559"/>
                    <a:pt x="11115" y="25559"/>
                    <a:pt x="11115" y="25559"/>
                  </a:cubicBezTo>
                  <a:cubicBezTo>
                    <a:pt x="10709" y="25559"/>
                    <a:pt x="10709" y="25559"/>
                    <a:pt x="10709" y="25559"/>
                  </a:cubicBezTo>
                  <a:cubicBezTo>
                    <a:pt x="10223" y="25398"/>
                    <a:pt x="10223" y="25398"/>
                    <a:pt x="10223" y="25398"/>
                  </a:cubicBezTo>
                  <a:cubicBezTo>
                    <a:pt x="9817" y="25077"/>
                    <a:pt x="9817" y="25077"/>
                    <a:pt x="9817" y="25077"/>
                  </a:cubicBezTo>
                  <a:cubicBezTo>
                    <a:pt x="9492" y="24755"/>
                    <a:pt x="9492" y="24755"/>
                    <a:pt x="9492" y="24755"/>
                  </a:cubicBezTo>
                  <a:cubicBezTo>
                    <a:pt x="9492" y="24594"/>
                    <a:pt x="9492" y="24594"/>
                    <a:pt x="9492" y="24594"/>
                  </a:cubicBezTo>
                  <a:cubicBezTo>
                    <a:pt x="9087" y="24594"/>
                    <a:pt x="9087" y="24594"/>
                    <a:pt x="9087" y="24594"/>
                  </a:cubicBezTo>
                  <a:cubicBezTo>
                    <a:pt x="8519" y="24594"/>
                    <a:pt x="8519" y="24594"/>
                    <a:pt x="8519" y="24594"/>
                  </a:cubicBezTo>
                  <a:cubicBezTo>
                    <a:pt x="8194" y="24755"/>
                    <a:pt x="8194" y="24755"/>
                    <a:pt x="8194" y="24755"/>
                  </a:cubicBezTo>
                  <a:cubicBezTo>
                    <a:pt x="8600" y="24835"/>
                    <a:pt x="8600" y="24835"/>
                    <a:pt x="8600" y="24835"/>
                  </a:cubicBezTo>
                  <a:cubicBezTo>
                    <a:pt x="8843" y="24916"/>
                    <a:pt x="8843" y="24916"/>
                    <a:pt x="8843" y="24916"/>
                  </a:cubicBezTo>
                  <a:cubicBezTo>
                    <a:pt x="8843" y="24916"/>
                    <a:pt x="9168" y="24835"/>
                    <a:pt x="9168" y="25077"/>
                  </a:cubicBezTo>
                  <a:cubicBezTo>
                    <a:pt x="9168" y="25237"/>
                    <a:pt x="9006" y="25237"/>
                    <a:pt x="9168" y="25398"/>
                  </a:cubicBezTo>
                  <a:cubicBezTo>
                    <a:pt x="9249" y="25559"/>
                    <a:pt x="9574" y="25720"/>
                    <a:pt x="9574" y="25720"/>
                  </a:cubicBezTo>
                  <a:cubicBezTo>
                    <a:pt x="9574" y="25720"/>
                    <a:pt x="9736" y="25720"/>
                    <a:pt x="9817" y="25720"/>
                  </a:cubicBezTo>
                  <a:cubicBezTo>
                    <a:pt x="9898" y="25720"/>
                    <a:pt x="9979" y="25720"/>
                    <a:pt x="9979" y="25720"/>
                  </a:cubicBezTo>
                  <a:cubicBezTo>
                    <a:pt x="10141" y="25961"/>
                    <a:pt x="10141" y="25961"/>
                    <a:pt x="10141" y="25961"/>
                  </a:cubicBezTo>
                  <a:cubicBezTo>
                    <a:pt x="10141" y="25961"/>
                    <a:pt x="10060" y="26041"/>
                    <a:pt x="10223" y="26041"/>
                  </a:cubicBezTo>
                  <a:cubicBezTo>
                    <a:pt x="10304" y="26041"/>
                    <a:pt x="10709" y="26041"/>
                    <a:pt x="10709" y="26041"/>
                  </a:cubicBezTo>
                  <a:cubicBezTo>
                    <a:pt x="11115" y="26202"/>
                    <a:pt x="11115" y="26202"/>
                    <a:pt x="11115" y="26202"/>
                  </a:cubicBezTo>
                  <a:cubicBezTo>
                    <a:pt x="11115" y="26443"/>
                    <a:pt x="11115" y="26443"/>
                    <a:pt x="11115" y="26443"/>
                  </a:cubicBezTo>
                  <a:cubicBezTo>
                    <a:pt x="11115" y="26443"/>
                    <a:pt x="11034" y="26604"/>
                    <a:pt x="11196" y="26604"/>
                  </a:cubicBezTo>
                  <a:cubicBezTo>
                    <a:pt x="11277" y="26684"/>
                    <a:pt x="11602" y="26604"/>
                    <a:pt x="11602" y="26604"/>
                  </a:cubicBezTo>
                  <a:cubicBezTo>
                    <a:pt x="11602" y="26604"/>
                    <a:pt x="11521" y="26523"/>
                    <a:pt x="11683" y="26604"/>
                  </a:cubicBezTo>
                  <a:cubicBezTo>
                    <a:pt x="11764" y="26684"/>
                    <a:pt x="11845" y="26764"/>
                    <a:pt x="11845" y="26764"/>
                  </a:cubicBezTo>
                  <a:cubicBezTo>
                    <a:pt x="11845" y="26764"/>
                    <a:pt x="11926" y="26925"/>
                    <a:pt x="11926" y="27006"/>
                  </a:cubicBezTo>
                  <a:cubicBezTo>
                    <a:pt x="11926" y="27086"/>
                    <a:pt x="12008" y="27247"/>
                    <a:pt x="12008" y="27247"/>
                  </a:cubicBezTo>
                  <a:cubicBezTo>
                    <a:pt x="12008" y="27247"/>
                    <a:pt x="11764" y="27327"/>
                    <a:pt x="12170" y="27327"/>
                  </a:cubicBezTo>
                  <a:cubicBezTo>
                    <a:pt x="12576" y="27327"/>
                    <a:pt x="12576" y="27327"/>
                    <a:pt x="12576" y="27327"/>
                  </a:cubicBezTo>
                  <a:cubicBezTo>
                    <a:pt x="12900" y="27327"/>
                    <a:pt x="12900" y="27327"/>
                    <a:pt x="12900" y="27327"/>
                  </a:cubicBezTo>
                  <a:cubicBezTo>
                    <a:pt x="13225" y="27407"/>
                    <a:pt x="13225" y="27407"/>
                    <a:pt x="13225" y="27407"/>
                  </a:cubicBezTo>
                  <a:cubicBezTo>
                    <a:pt x="13793" y="27649"/>
                    <a:pt x="13793" y="27649"/>
                    <a:pt x="13793" y="27649"/>
                  </a:cubicBezTo>
                  <a:cubicBezTo>
                    <a:pt x="14361" y="27970"/>
                    <a:pt x="14361" y="27970"/>
                    <a:pt x="14361" y="27970"/>
                  </a:cubicBezTo>
                  <a:cubicBezTo>
                    <a:pt x="14361" y="27970"/>
                    <a:pt x="14279" y="28211"/>
                    <a:pt x="14442" y="28211"/>
                  </a:cubicBezTo>
                  <a:cubicBezTo>
                    <a:pt x="14523" y="28211"/>
                    <a:pt x="14847" y="28211"/>
                    <a:pt x="14847" y="28211"/>
                  </a:cubicBezTo>
                  <a:cubicBezTo>
                    <a:pt x="15091" y="28854"/>
                    <a:pt x="15091" y="28854"/>
                    <a:pt x="15091" y="28854"/>
                  </a:cubicBezTo>
                  <a:cubicBezTo>
                    <a:pt x="14685" y="28854"/>
                    <a:pt x="14685" y="28854"/>
                    <a:pt x="14685" y="28854"/>
                  </a:cubicBezTo>
                  <a:cubicBezTo>
                    <a:pt x="14929" y="29497"/>
                    <a:pt x="14929" y="29497"/>
                    <a:pt x="14929" y="29497"/>
                  </a:cubicBezTo>
                  <a:cubicBezTo>
                    <a:pt x="15091" y="29819"/>
                    <a:pt x="15091" y="29819"/>
                    <a:pt x="15091" y="29819"/>
                  </a:cubicBezTo>
                  <a:cubicBezTo>
                    <a:pt x="15010" y="30221"/>
                    <a:pt x="15010" y="30221"/>
                    <a:pt x="15010" y="30221"/>
                  </a:cubicBezTo>
                  <a:cubicBezTo>
                    <a:pt x="14766" y="30462"/>
                    <a:pt x="14766" y="30462"/>
                    <a:pt x="14766" y="30462"/>
                  </a:cubicBezTo>
                  <a:cubicBezTo>
                    <a:pt x="14766" y="30462"/>
                    <a:pt x="14766" y="30622"/>
                    <a:pt x="14766" y="30622"/>
                  </a:cubicBezTo>
                  <a:cubicBezTo>
                    <a:pt x="14766" y="30703"/>
                    <a:pt x="14929" y="30703"/>
                    <a:pt x="14929" y="30703"/>
                  </a:cubicBezTo>
                  <a:cubicBezTo>
                    <a:pt x="14929" y="30703"/>
                    <a:pt x="15091" y="30864"/>
                    <a:pt x="15091" y="30944"/>
                  </a:cubicBezTo>
                  <a:cubicBezTo>
                    <a:pt x="15091" y="31024"/>
                    <a:pt x="15334" y="31105"/>
                    <a:pt x="15334" y="31185"/>
                  </a:cubicBezTo>
                  <a:cubicBezTo>
                    <a:pt x="15415" y="31265"/>
                    <a:pt x="15659" y="31507"/>
                    <a:pt x="15659" y="31507"/>
                  </a:cubicBezTo>
                  <a:cubicBezTo>
                    <a:pt x="15740" y="31667"/>
                    <a:pt x="15740" y="31667"/>
                    <a:pt x="15740" y="31667"/>
                  </a:cubicBezTo>
                  <a:cubicBezTo>
                    <a:pt x="16064" y="31828"/>
                    <a:pt x="16064" y="31828"/>
                    <a:pt x="16064" y="31828"/>
                  </a:cubicBezTo>
                  <a:cubicBezTo>
                    <a:pt x="16064" y="31828"/>
                    <a:pt x="16064" y="31828"/>
                    <a:pt x="16064" y="31908"/>
                  </a:cubicBezTo>
                  <a:cubicBezTo>
                    <a:pt x="16064" y="32069"/>
                    <a:pt x="16227" y="32230"/>
                    <a:pt x="16227" y="32230"/>
                  </a:cubicBezTo>
                  <a:cubicBezTo>
                    <a:pt x="16551" y="32471"/>
                    <a:pt x="16551" y="32471"/>
                    <a:pt x="16551" y="32471"/>
                  </a:cubicBezTo>
                  <a:cubicBezTo>
                    <a:pt x="16551" y="32471"/>
                    <a:pt x="16551" y="32391"/>
                    <a:pt x="16551" y="32551"/>
                  </a:cubicBezTo>
                  <a:cubicBezTo>
                    <a:pt x="16551" y="32712"/>
                    <a:pt x="16551" y="32953"/>
                    <a:pt x="16551" y="32953"/>
                  </a:cubicBezTo>
                  <a:cubicBezTo>
                    <a:pt x="16876" y="32953"/>
                    <a:pt x="16876" y="32953"/>
                    <a:pt x="16876" y="32953"/>
                  </a:cubicBezTo>
                  <a:cubicBezTo>
                    <a:pt x="16795" y="33275"/>
                    <a:pt x="16795" y="33275"/>
                    <a:pt x="16795" y="33275"/>
                  </a:cubicBezTo>
                  <a:cubicBezTo>
                    <a:pt x="16795" y="33275"/>
                    <a:pt x="16632" y="33275"/>
                    <a:pt x="16795" y="33516"/>
                  </a:cubicBezTo>
                  <a:cubicBezTo>
                    <a:pt x="16957" y="33677"/>
                    <a:pt x="16957" y="33837"/>
                    <a:pt x="16957" y="33837"/>
                  </a:cubicBezTo>
                  <a:cubicBezTo>
                    <a:pt x="17525" y="34239"/>
                    <a:pt x="17525" y="34239"/>
                    <a:pt x="17525" y="34239"/>
                  </a:cubicBezTo>
                  <a:cubicBezTo>
                    <a:pt x="17849" y="34239"/>
                    <a:pt x="17849" y="34239"/>
                    <a:pt x="17849" y="34239"/>
                  </a:cubicBezTo>
                  <a:cubicBezTo>
                    <a:pt x="18174" y="34159"/>
                    <a:pt x="18174" y="34159"/>
                    <a:pt x="18174" y="34159"/>
                  </a:cubicBezTo>
                  <a:cubicBezTo>
                    <a:pt x="18336" y="33837"/>
                    <a:pt x="18336" y="33837"/>
                    <a:pt x="18336" y="33837"/>
                  </a:cubicBezTo>
                  <a:cubicBezTo>
                    <a:pt x="18336" y="33837"/>
                    <a:pt x="18580" y="33837"/>
                    <a:pt x="18823" y="33918"/>
                  </a:cubicBezTo>
                  <a:cubicBezTo>
                    <a:pt x="18985" y="33998"/>
                    <a:pt x="19310" y="33918"/>
                    <a:pt x="19310" y="33918"/>
                  </a:cubicBezTo>
                  <a:cubicBezTo>
                    <a:pt x="19310" y="33918"/>
                    <a:pt x="19310" y="33918"/>
                    <a:pt x="19310" y="34079"/>
                  </a:cubicBezTo>
                  <a:cubicBezTo>
                    <a:pt x="19391" y="34239"/>
                    <a:pt x="19553" y="34159"/>
                    <a:pt x="19553" y="34159"/>
                  </a:cubicBezTo>
                  <a:cubicBezTo>
                    <a:pt x="19553" y="34159"/>
                    <a:pt x="19797" y="34159"/>
                    <a:pt x="19797" y="34239"/>
                  </a:cubicBezTo>
                  <a:cubicBezTo>
                    <a:pt x="19797" y="34320"/>
                    <a:pt x="19959" y="34400"/>
                    <a:pt x="20040" y="34561"/>
                  </a:cubicBezTo>
                  <a:cubicBezTo>
                    <a:pt x="20121" y="34722"/>
                    <a:pt x="20121" y="34641"/>
                    <a:pt x="20202" y="34722"/>
                  </a:cubicBezTo>
                  <a:cubicBezTo>
                    <a:pt x="20202" y="34802"/>
                    <a:pt x="19878" y="34882"/>
                    <a:pt x="20283" y="34882"/>
                  </a:cubicBezTo>
                  <a:cubicBezTo>
                    <a:pt x="20608" y="34963"/>
                    <a:pt x="21419" y="35043"/>
                    <a:pt x="21419" y="35043"/>
                  </a:cubicBezTo>
                  <a:cubicBezTo>
                    <a:pt x="21419" y="35043"/>
                    <a:pt x="21906" y="34882"/>
                    <a:pt x="22150" y="34882"/>
                  </a:cubicBezTo>
                  <a:cubicBezTo>
                    <a:pt x="22393" y="34882"/>
                    <a:pt x="22393" y="34963"/>
                    <a:pt x="22393" y="34963"/>
                  </a:cubicBezTo>
                  <a:cubicBezTo>
                    <a:pt x="22636" y="34963"/>
                    <a:pt x="22636" y="34963"/>
                    <a:pt x="22636" y="34963"/>
                  </a:cubicBezTo>
                  <a:cubicBezTo>
                    <a:pt x="22636" y="34963"/>
                    <a:pt x="22799" y="34882"/>
                    <a:pt x="22799" y="34802"/>
                  </a:cubicBezTo>
                  <a:cubicBezTo>
                    <a:pt x="22799" y="34722"/>
                    <a:pt x="22880" y="34480"/>
                    <a:pt x="22880" y="34480"/>
                  </a:cubicBezTo>
                  <a:cubicBezTo>
                    <a:pt x="22880" y="34480"/>
                    <a:pt x="22799" y="34320"/>
                    <a:pt x="22961" y="34320"/>
                  </a:cubicBezTo>
                  <a:cubicBezTo>
                    <a:pt x="23123" y="34320"/>
                    <a:pt x="23204" y="34239"/>
                    <a:pt x="23204" y="34239"/>
                  </a:cubicBezTo>
                  <a:cubicBezTo>
                    <a:pt x="23448" y="34079"/>
                    <a:pt x="23448" y="34079"/>
                    <a:pt x="23448" y="34079"/>
                  </a:cubicBezTo>
                  <a:cubicBezTo>
                    <a:pt x="23367" y="33436"/>
                    <a:pt x="23367" y="33436"/>
                    <a:pt x="23367" y="33436"/>
                  </a:cubicBezTo>
                  <a:cubicBezTo>
                    <a:pt x="23367" y="33436"/>
                    <a:pt x="23367" y="33194"/>
                    <a:pt x="23286" y="33114"/>
                  </a:cubicBezTo>
                  <a:cubicBezTo>
                    <a:pt x="23123" y="33034"/>
                    <a:pt x="22880" y="32793"/>
                    <a:pt x="22880" y="32793"/>
                  </a:cubicBezTo>
                  <a:cubicBezTo>
                    <a:pt x="22799" y="32551"/>
                    <a:pt x="22799" y="32551"/>
                    <a:pt x="22799" y="32551"/>
                  </a:cubicBezTo>
                  <a:cubicBezTo>
                    <a:pt x="22474" y="32310"/>
                    <a:pt x="22474" y="32310"/>
                    <a:pt x="22474" y="32310"/>
                  </a:cubicBezTo>
                  <a:cubicBezTo>
                    <a:pt x="22474" y="32310"/>
                    <a:pt x="22393" y="32150"/>
                    <a:pt x="22312" y="32150"/>
                  </a:cubicBezTo>
                  <a:cubicBezTo>
                    <a:pt x="22231" y="32230"/>
                    <a:pt x="22312" y="32230"/>
                    <a:pt x="22150" y="32471"/>
                  </a:cubicBezTo>
                  <a:cubicBezTo>
                    <a:pt x="21987" y="32632"/>
                    <a:pt x="21744" y="32712"/>
                    <a:pt x="21744" y="32712"/>
                  </a:cubicBezTo>
                  <a:cubicBezTo>
                    <a:pt x="21257" y="32873"/>
                    <a:pt x="21257" y="32873"/>
                    <a:pt x="21257" y="32873"/>
                  </a:cubicBezTo>
                  <a:cubicBezTo>
                    <a:pt x="21257" y="32873"/>
                    <a:pt x="20933" y="32712"/>
                    <a:pt x="20851" y="32551"/>
                  </a:cubicBezTo>
                  <a:cubicBezTo>
                    <a:pt x="20770" y="32471"/>
                    <a:pt x="20202" y="31989"/>
                    <a:pt x="20202" y="31989"/>
                  </a:cubicBezTo>
                  <a:cubicBezTo>
                    <a:pt x="20202" y="31989"/>
                    <a:pt x="19878" y="31748"/>
                    <a:pt x="19797" y="31748"/>
                  </a:cubicBezTo>
                  <a:cubicBezTo>
                    <a:pt x="19634" y="31748"/>
                    <a:pt x="19472" y="31748"/>
                    <a:pt x="19472" y="31748"/>
                  </a:cubicBezTo>
                  <a:cubicBezTo>
                    <a:pt x="19229" y="31346"/>
                    <a:pt x="19229" y="31346"/>
                    <a:pt x="19229" y="31346"/>
                  </a:cubicBezTo>
                  <a:cubicBezTo>
                    <a:pt x="19148" y="31265"/>
                    <a:pt x="19148" y="31265"/>
                    <a:pt x="19148" y="31265"/>
                  </a:cubicBezTo>
                  <a:cubicBezTo>
                    <a:pt x="19148" y="31265"/>
                    <a:pt x="18904" y="31024"/>
                    <a:pt x="19066" y="31024"/>
                  </a:cubicBezTo>
                  <a:cubicBezTo>
                    <a:pt x="19310" y="31024"/>
                    <a:pt x="19391" y="30783"/>
                    <a:pt x="19391" y="30783"/>
                  </a:cubicBezTo>
                  <a:cubicBezTo>
                    <a:pt x="19391" y="30542"/>
                    <a:pt x="19391" y="30542"/>
                    <a:pt x="19391" y="30542"/>
                  </a:cubicBezTo>
                  <a:cubicBezTo>
                    <a:pt x="19391" y="30381"/>
                    <a:pt x="19391" y="30381"/>
                    <a:pt x="19391" y="30381"/>
                  </a:cubicBezTo>
                  <a:cubicBezTo>
                    <a:pt x="19310" y="29979"/>
                    <a:pt x="19310" y="29979"/>
                    <a:pt x="19310" y="29979"/>
                  </a:cubicBezTo>
                  <a:cubicBezTo>
                    <a:pt x="19310" y="29979"/>
                    <a:pt x="19229" y="29578"/>
                    <a:pt x="19310" y="29497"/>
                  </a:cubicBezTo>
                  <a:cubicBezTo>
                    <a:pt x="19472" y="29497"/>
                    <a:pt x="19959" y="29417"/>
                    <a:pt x="19959" y="29417"/>
                  </a:cubicBezTo>
                  <a:cubicBezTo>
                    <a:pt x="19959" y="29417"/>
                    <a:pt x="20202" y="29497"/>
                    <a:pt x="20446" y="29578"/>
                  </a:cubicBezTo>
                  <a:cubicBezTo>
                    <a:pt x="20608" y="29578"/>
                    <a:pt x="20770" y="29658"/>
                    <a:pt x="20770" y="29658"/>
                  </a:cubicBezTo>
                  <a:cubicBezTo>
                    <a:pt x="20770" y="29658"/>
                    <a:pt x="21257" y="29899"/>
                    <a:pt x="21338" y="29979"/>
                  </a:cubicBezTo>
                  <a:cubicBezTo>
                    <a:pt x="21338" y="30060"/>
                    <a:pt x="21501" y="30140"/>
                    <a:pt x="21663" y="30221"/>
                  </a:cubicBezTo>
                  <a:cubicBezTo>
                    <a:pt x="21906" y="30381"/>
                    <a:pt x="22393" y="30221"/>
                    <a:pt x="22393" y="30221"/>
                  </a:cubicBezTo>
                  <a:cubicBezTo>
                    <a:pt x="22393" y="30221"/>
                    <a:pt x="22636" y="30140"/>
                    <a:pt x="22799" y="30140"/>
                  </a:cubicBezTo>
                  <a:cubicBezTo>
                    <a:pt x="22880" y="30140"/>
                    <a:pt x="23610" y="30140"/>
                    <a:pt x="23610" y="30140"/>
                  </a:cubicBezTo>
                  <a:cubicBezTo>
                    <a:pt x="23610" y="30140"/>
                    <a:pt x="23935" y="30140"/>
                    <a:pt x="24016" y="30140"/>
                  </a:cubicBezTo>
                  <a:cubicBezTo>
                    <a:pt x="24097" y="30140"/>
                    <a:pt x="24421" y="30140"/>
                    <a:pt x="24421" y="30140"/>
                  </a:cubicBezTo>
                  <a:cubicBezTo>
                    <a:pt x="25070" y="30301"/>
                    <a:pt x="25070" y="30301"/>
                    <a:pt x="25070" y="30301"/>
                  </a:cubicBezTo>
                  <a:cubicBezTo>
                    <a:pt x="25557" y="30060"/>
                    <a:pt x="25557" y="30060"/>
                    <a:pt x="25557" y="30060"/>
                  </a:cubicBezTo>
                  <a:cubicBezTo>
                    <a:pt x="25557" y="30060"/>
                    <a:pt x="25557" y="29658"/>
                    <a:pt x="25720" y="29658"/>
                  </a:cubicBezTo>
                  <a:cubicBezTo>
                    <a:pt x="25801" y="29658"/>
                    <a:pt x="25963" y="29658"/>
                    <a:pt x="26125" y="29658"/>
                  </a:cubicBezTo>
                  <a:cubicBezTo>
                    <a:pt x="26288" y="29738"/>
                    <a:pt x="26774" y="29578"/>
                    <a:pt x="26774" y="29578"/>
                  </a:cubicBezTo>
                  <a:cubicBezTo>
                    <a:pt x="26288" y="28935"/>
                    <a:pt x="26288" y="28935"/>
                    <a:pt x="26288" y="28935"/>
                  </a:cubicBezTo>
                  <a:cubicBezTo>
                    <a:pt x="26288" y="28935"/>
                    <a:pt x="26288" y="28935"/>
                    <a:pt x="26125" y="28613"/>
                  </a:cubicBezTo>
                  <a:cubicBezTo>
                    <a:pt x="26044" y="28292"/>
                    <a:pt x="25801" y="27970"/>
                    <a:pt x="25801" y="27970"/>
                  </a:cubicBezTo>
                  <a:cubicBezTo>
                    <a:pt x="25801" y="27970"/>
                    <a:pt x="25476" y="27890"/>
                    <a:pt x="25233" y="27809"/>
                  </a:cubicBezTo>
                  <a:cubicBezTo>
                    <a:pt x="24989" y="27729"/>
                    <a:pt x="25152" y="27809"/>
                    <a:pt x="24989" y="27649"/>
                  </a:cubicBezTo>
                  <a:cubicBezTo>
                    <a:pt x="24827" y="27568"/>
                    <a:pt x="24097" y="27166"/>
                    <a:pt x="24097" y="27166"/>
                  </a:cubicBezTo>
                  <a:cubicBezTo>
                    <a:pt x="24097" y="27166"/>
                    <a:pt x="23772" y="27086"/>
                    <a:pt x="23691" y="26925"/>
                  </a:cubicBezTo>
                  <a:cubicBezTo>
                    <a:pt x="23610" y="26684"/>
                    <a:pt x="23691" y="25961"/>
                    <a:pt x="23691" y="25961"/>
                  </a:cubicBezTo>
                  <a:cubicBezTo>
                    <a:pt x="23772" y="25559"/>
                    <a:pt x="23772" y="25559"/>
                    <a:pt x="23772" y="25559"/>
                  </a:cubicBezTo>
                  <a:cubicBezTo>
                    <a:pt x="24178" y="24755"/>
                    <a:pt x="24178" y="24755"/>
                    <a:pt x="24178" y="24755"/>
                  </a:cubicBezTo>
                  <a:cubicBezTo>
                    <a:pt x="24340" y="24032"/>
                    <a:pt x="24340" y="24032"/>
                    <a:pt x="24340" y="24032"/>
                  </a:cubicBezTo>
                  <a:cubicBezTo>
                    <a:pt x="25152" y="23067"/>
                    <a:pt x="25152" y="23067"/>
                    <a:pt x="25152" y="23067"/>
                  </a:cubicBezTo>
                  <a:cubicBezTo>
                    <a:pt x="25395" y="22344"/>
                    <a:pt x="25395" y="22344"/>
                    <a:pt x="25395" y="22344"/>
                  </a:cubicBezTo>
                  <a:cubicBezTo>
                    <a:pt x="25557" y="21620"/>
                    <a:pt x="25557" y="21620"/>
                    <a:pt x="25557" y="21620"/>
                  </a:cubicBezTo>
                  <a:cubicBezTo>
                    <a:pt x="25557" y="20897"/>
                    <a:pt x="25557" y="20897"/>
                    <a:pt x="25557" y="20897"/>
                  </a:cubicBezTo>
                  <a:cubicBezTo>
                    <a:pt x="25557" y="20334"/>
                    <a:pt x="25557" y="20334"/>
                    <a:pt x="25557" y="20334"/>
                  </a:cubicBezTo>
                  <a:cubicBezTo>
                    <a:pt x="26612" y="20334"/>
                    <a:pt x="26612" y="20334"/>
                    <a:pt x="26612" y="20334"/>
                  </a:cubicBezTo>
                  <a:cubicBezTo>
                    <a:pt x="26612" y="20576"/>
                    <a:pt x="26612" y="20576"/>
                    <a:pt x="26612" y="20576"/>
                  </a:cubicBezTo>
                  <a:cubicBezTo>
                    <a:pt x="26612" y="20576"/>
                    <a:pt x="26774" y="20254"/>
                    <a:pt x="26855" y="20254"/>
                  </a:cubicBezTo>
                  <a:cubicBezTo>
                    <a:pt x="26937" y="20254"/>
                    <a:pt x="27586" y="19852"/>
                    <a:pt x="27586" y="19852"/>
                  </a:cubicBezTo>
                  <a:cubicBezTo>
                    <a:pt x="27829" y="20013"/>
                    <a:pt x="27829" y="20013"/>
                    <a:pt x="27829" y="20013"/>
                  </a:cubicBezTo>
                  <a:cubicBezTo>
                    <a:pt x="28478" y="20174"/>
                    <a:pt x="28478" y="20174"/>
                    <a:pt x="28478" y="20174"/>
                  </a:cubicBezTo>
                  <a:cubicBezTo>
                    <a:pt x="28478" y="20174"/>
                    <a:pt x="28722" y="20254"/>
                    <a:pt x="28640" y="20415"/>
                  </a:cubicBezTo>
                  <a:cubicBezTo>
                    <a:pt x="28559" y="20576"/>
                    <a:pt x="28559" y="20576"/>
                    <a:pt x="28640" y="20576"/>
                  </a:cubicBezTo>
                  <a:cubicBezTo>
                    <a:pt x="28722" y="20576"/>
                    <a:pt x="29046" y="20334"/>
                    <a:pt x="29046" y="20334"/>
                  </a:cubicBezTo>
                  <a:cubicBezTo>
                    <a:pt x="29614" y="20576"/>
                    <a:pt x="29614" y="20576"/>
                    <a:pt x="29614" y="20576"/>
                  </a:cubicBezTo>
                  <a:cubicBezTo>
                    <a:pt x="29127" y="20013"/>
                    <a:pt x="29127" y="20013"/>
                    <a:pt x="29127" y="20013"/>
                  </a:cubicBezTo>
                  <a:cubicBezTo>
                    <a:pt x="29127" y="20013"/>
                    <a:pt x="29046" y="19611"/>
                    <a:pt x="29046" y="19450"/>
                  </a:cubicBezTo>
                  <a:cubicBezTo>
                    <a:pt x="29046" y="19290"/>
                    <a:pt x="28965" y="18647"/>
                    <a:pt x="28965" y="18647"/>
                  </a:cubicBezTo>
                  <a:cubicBezTo>
                    <a:pt x="28884" y="18164"/>
                    <a:pt x="28884" y="18164"/>
                    <a:pt x="28884" y="18164"/>
                  </a:cubicBezTo>
                  <a:cubicBezTo>
                    <a:pt x="28722" y="17762"/>
                    <a:pt x="28722" y="17762"/>
                    <a:pt x="28722" y="17762"/>
                  </a:cubicBezTo>
                  <a:cubicBezTo>
                    <a:pt x="28478" y="17521"/>
                    <a:pt x="28478" y="17521"/>
                    <a:pt x="28478" y="17521"/>
                  </a:cubicBezTo>
                  <a:cubicBezTo>
                    <a:pt x="28397" y="17119"/>
                    <a:pt x="28397" y="17119"/>
                    <a:pt x="28397" y="17119"/>
                  </a:cubicBezTo>
                  <a:cubicBezTo>
                    <a:pt x="28235" y="16798"/>
                    <a:pt x="28235" y="16798"/>
                    <a:pt x="28235" y="16798"/>
                  </a:cubicBezTo>
                  <a:cubicBezTo>
                    <a:pt x="27667" y="16476"/>
                    <a:pt x="27667" y="16476"/>
                    <a:pt x="27667" y="16476"/>
                  </a:cubicBezTo>
                  <a:cubicBezTo>
                    <a:pt x="27261" y="16396"/>
                    <a:pt x="27261" y="16396"/>
                    <a:pt x="27261" y="16396"/>
                  </a:cubicBezTo>
                  <a:cubicBezTo>
                    <a:pt x="26937" y="16476"/>
                    <a:pt x="26937" y="16476"/>
                    <a:pt x="26937" y="16476"/>
                  </a:cubicBezTo>
                  <a:cubicBezTo>
                    <a:pt x="26612" y="16476"/>
                    <a:pt x="26612" y="16476"/>
                    <a:pt x="26612" y="16476"/>
                  </a:cubicBezTo>
                  <a:cubicBezTo>
                    <a:pt x="26369" y="16075"/>
                    <a:pt x="26369" y="16075"/>
                    <a:pt x="26369" y="16075"/>
                  </a:cubicBezTo>
                  <a:cubicBezTo>
                    <a:pt x="26369" y="16075"/>
                    <a:pt x="26288" y="15512"/>
                    <a:pt x="26288" y="15432"/>
                  </a:cubicBezTo>
                  <a:cubicBezTo>
                    <a:pt x="26288" y="15351"/>
                    <a:pt x="26125" y="14789"/>
                    <a:pt x="26125" y="14789"/>
                  </a:cubicBezTo>
                  <a:cubicBezTo>
                    <a:pt x="26044" y="14146"/>
                    <a:pt x="26044" y="14146"/>
                    <a:pt x="26044" y="14146"/>
                  </a:cubicBezTo>
                  <a:cubicBezTo>
                    <a:pt x="25801" y="13503"/>
                    <a:pt x="25801" y="13503"/>
                    <a:pt x="25801" y="13503"/>
                  </a:cubicBezTo>
                  <a:cubicBezTo>
                    <a:pt x="25801" y="13503"/>
                    <a:pt x="25638" y="13101"/>
                    <a:pt x="25557" y="12940"/>
                  </a:cubicBezTo>
                  <a:cubicBezTo>
                    <a:pt x="25476" y="12779"/>
                    <a:pt x="25314" y="12458"/>
                    <a:pt x="25314" y="12458"/>
                  </a:cubicBezTo>
                  <a:cubicBezTo>
                    <a:pt x="25152" y="11895"/>
                    <a:pt x="25152" y="11895"/>
                    <a:pt x="25152" y="11895"/>
                  </a:cubicBezTo>
                  <a:cubicBezTo>
                    <a:pt x="24503" y="11734"/>
                    <a:pt x="24503" y="11734"/>
                    <a:pt x="24503" y="11734"/>
                  </a:cubicBezTo>
                  <a:cubicBezTo>
                    <a:pt x="23448" y="11413"/>
                    <a:pt x="23448" y="11413"/>
                    <a:pt x="23448" y="11413"/>
                  </a:cubicBezTo>
                  <a:cubicBezTo>
                    <a:pt x="22880" y="11172"/>
                    <a:pt x="22880" y="11172"/>
                    <a:pt x="22880" y="11172"/>
                  </a:cubicBezTo>
                  <a:cubicBezTo>
                    <a:pt x="22961" y="10931"/>
                    <a:pt x="22961" y="10931"/>
                    <a:pt x="22961" y="10931"/>
                  </a:cubicBezTo>
                  <a:cubicBezTo>
                    <a:pt x="23286" y="10850"/>
                    <a:pt x="23286" y="10850"/>
                    <a:pt x="23286" y="10850"/>
                  </a:cubicBezTo>
                  <a:cubicBezTo>
                    <a:pt x="23286" y="10850"/>
                    <a:pt x="23448" y="10850"/>
                    <a:pt x="23610" y="10850"/>
                  </a:cubicBezTo>
                  <a:cubicBezTo>
                    <a:pt x="23853" y="10850"/>
                    <a:pt x="24016" y="10850"/>
                    <a:pt x="24178" y="10850"/>
                  </a:cubicBezTo>
                  <a:cubicBezTo>
                    <a:pt x="24340" y="10850"/>
                    <a:pt x="24584" y="10850"/>
                    <a:pt x="24584" y="10850"/>
                  </a:cubicBezTo>
                  <a:cubicBezTo>
                    <a:pt x="24908" y="10448"/>
                    <a:pt x="24908" y="10448"/>
                    <a:pt x="24908" y="10448"/>
                  </a:cubicBezTo>
                  <a:cubicBezTo>
                    <a:pt x="26125" y="9805"/>
                    <a:pt x="26125" y="9805"/>
                    <a:pt x="26125" y="9805"/>
                  </a:cubicBezTo>
                  <a:cubicBezTo>
                    <a:pt x="26693" y="9725"/>
                    <a:pt x="26693" y="9725"/>
                    <a:pt x="26693" y="9725"/>
                  </a:cubicBezTo>
                  <a:cubicBezTo>
                    <a:pt x="27261" y="9725"/>
                    <a:pt x="27261" y="9725"/>
                    <a:pt x="27261" y="9725"/>
                  </a:cubicBezTo>
                  <a:cubicBezTo>
                    <a:pt x="27261" y="9725"/>
                    <a:pt x="27261" y="10046"/>
                    <a:pt x="27423" y="10127"/>
                  </a:cubicBezTo>
                  <a:cubicBezTo>
                    <a:pt x="27586" y="10207"/>
                    <a:pt x="27667" y="10207"/>
                    <a:pt x="27748" y="10288"/>
                  </a:cubicBezTo>
                  <a:cubicBezTo>
                    <a:pt x="27910" y="10288"/>
                    <a:pt x="28397" y="10368"/>
                    <a:pt x="28397" y="10368"/>
                  </a:cubicBezTo>
                  <a:cubicBezTo>
                    <a:pt x="28722" y="10529"/>
                    <a:pt x="28722" y="10529"/>
                    <a:pt x="28722" y="10529"/>
                  </a:cubicBezTo>
                  <a:cubicBezTo>
                    <a:pt x="29046" y="11011"/>
                    <a:pt x="29046" y="11011"/>
                    <a:pt x="29046" y="11011"/>
                  </a:cubicBezTo>
                  <a:cubicBezTo>
                    <a:pt x="29614" y="11332"/>
                    <a:pt x="29614" y="11332"/>
                    <a:pt x="29614" y="11332"/>
                  </a:cubicBezTo>
                  <a:cubicBezTo>
                    <a:pt x="29614" y="11332"/>
                    <a:pt x="29695" y="11574"/>
                    <a:pt x="29614" y="11654"/>
                  </a:cubicBezTo>
                  <a:cubicBezTo>
                    <a:pt x="29533" y="11734"/>
                    <a:pt x="29614" y="11975"/>
                    <a:pt x="29290" y="12136"/>
                  </a:cubicBezTo>
                  <a:cubicBezTo>
                    <a:pt x="28965" y="12297"/>
                    <a:pt x="28559" y="12618"/>
                    <a:pt x="28478" y="12618"/>
                  </a:cubicBezTo>
                  <a:cubicBezTo>
                    <a:pt x="28397" y="12699"/>
                    <a:pt x="28154" y="13020"/>
                    <a:pt x="28154" y="13020"/>
                  </a:cubicBezTo>
                  <a:cubicBezTo>
                    <a:pt x="27991" y="13342"/>
                    <a:pt x="27991" y="13342"/>
                    <a:pt x="27991" y="13342"/>
                  </a:cubicBezTo>
                  <a:cubicBezTo>
                    <a:pt x="28073" y="13583"/>
                    <a:pt x="28073" y="13583"/>
                    <a:pt x="28073" y="13583"/>
                  </a:cubicBezTo>
                  <a:cubicBezTo>
                    <a:pt x="28073" y="13583"/>
                    <a:pt x="28073" y="13663"/>
                    <a:pt x="28073" y="13744"/>
                  </a:cubicBezTo>
                  <a:cubicBezTo>
                    <a:pt x="27991" y="13904"/>
                    <a:pt x="27910" y="14146"/>
                    <a:pt x="27910" y="14146"/>
                  </a:cubicBezTo>
                  <a:cubicBezTo>
                    <a:pt x="27991" y="14547"/>
                    <a:pt x="27991" y="14547"/>
                    <a:pt x="27991" y="14547"/>
                  </a:cubicBezTo>
                  <a:cubicBezTo>
                    <a:pt x="27991" y="14547"/>
                    <a:pt x="28073" y="14708"/>
                    <a:pt x="28154" y="14869"/>
                  </a:cubicBezTo>
                  <a:cubicBezTo>
                    <a:pt x="28154" y="14949"/>
                    <a:pt x="28884" y="15110"/>
                    <a:pt x="28884" y="15110"/>
                  </a:cubicBezTo>
                  <a:cubicBezTo>
                    <a:pt x="29614" y="15190"/>
                    <a:pt x="29614" y="15190"/>
                    <a:pt x="29614" y="15190"/>
                  </a:cubicBezTo>
                  <a:cubicBezTo>
                    <a:pt x="30182" y="15753"/>
                    <a:pt x="30182" y="15753"/>
                    <a:pt x="30182" y="15753"/>
                  </a:cubicBezTo>
                  <a:cubicBezTo>
                    <a:pt x="30669" y="15994"/>
                    <a:pt x="30669" y="15994"/>
                    <a:pt x="30669" y="15994"/>
                  </a:cubicBezTo>
                  <a:cubicBezTo>
                    <a:pt x="31237" y="15914"/>
                    <a:pt x="31237" y="15914"/>
                    <a:pt x="31237" y="15914"/>
                  </a:cubicBezTo>
                  <a:cubicBezTo>
                    <a:pt x="31805" y="15512"/>
                    <a:pt x="31805" y="15512"/>
                    <a:pt x="31805" y="15512"/>
                  </a:cubicBezTo>
                  <a:cubicBezTo>
                    <a:pt x="32210" y="15271"/>
                    <a:pt x="32210" y="15271"/>
                    <a:pt x="32210" y="15271"/>
                  </a:cubicBezTo>
                  <a:cubicBezTo>
                    <a:pt x="32210" y="15271"/>
                    <a:pt x="32454" y="14949"/>
                    <a:pt x="32535" y="14869"/>
                  </a:cubicBezTo>
                  <a:cubicBezTo>
                    <a:pt x="32616" y="14789"/>
                    <a:pt x="32860" y="14547"/>
                    <a:pt x="32860" y="14547"/>
                  </a:cubicBezTo>
                  <a:cubicBezTo>
                    <a:pt x="32860" y="14547"/>
                    <a:pt x="33022" y="14387"/>
                    <a:pt x="33022" y="14306"/>
                  </a:cubicBezTo>
                  <a:cubicBezTo>
                    <a:pt x="33022" y="14226"/>
                    <a:pt x="32941" y="13583"/>
                    <a:pt x="32941" y="13583"/>
                  </a:cubicBezTo>
                  <a:cubicBezTo>
                    <a:pt x="32778" y="13101"/>
                    <a:pt x="32778" y="13101"/>
                    <a:pt x="32778" y="13101"/>
                  </a:cubicBezTo>
                  <a:cubicBezTo>
                    <a:pt x="32535" y="12538"/>
                    <a:pt x="32535" y="12538"/>
                    <a:pt x="32535" y="12538"/>
                  </a:cubicBezTo>
                  <a:cubicBezTo>
                    <a:pt x="32535" y="12538"/>
                    <a:pt x="32373" y="12297"/>
                    <a:pt x="32373" y="12136"/>
                  </a:cubicBezTo>
                  <a:cubicBezTo>
                    <a:pt x="32373" y="12056"/>
                    <a:pt x="32292" y="11734"/>
                    <a:pt x="32292" y="11734"/>
                  </a:cubicBezTo>
                  <a:cubicBezTo>
                    <a:pt x="31967" y="11413"/>
                    <a:pt x="31967" y="11413"/>
                    <a:pt x="31967" y="11413"/>
                  </a:cubicBezTo>
                  <a:cubicBezTo>
                    <a:pt x="32129" y="11091"/>
                    <a:pt x="32129" y="11091"/>
                    <a:pt x="32129" y="11091"/>
                  </a:cubicBezTo>
                  <a:cubicBezTo>
                    <a:pt x="32292" y="10850"/>
                    <a:pt x="32292" y="10850"/>
                    <a:pt x="32292" y="10850"/>
                  </a:cubicBezTo>
                  <a:cubicBezTo>
                    <a:pt x="32697" y="10368"/>
                    <a:pt x="32697" y="10368"/>
                    <a:pt x="32697" y="10368"/>
                  </a:cubicBezTo>
                  <a:cubicBezTo>
                    <a:pt x="32860" y="10046"/>
                    <a:pt x="32860" y="10046"/>
                    <a:pt x="32860" y="10046"/>
                  </a:cubicBezTo>
                  <a:cubicBezTo>
                    <a:pt x="32535" y="9645"/>
                    <a:pt x="32535" y="9645"/>
                    <a:pt x="32535" y="9645"/>
                  </a:cubicBezTo>
                  <a:cubicBezTo>
                    <a:pt x="32292" y="9564"/>
                    <a:pt x="32292" y="9564"/>
                    <a:pt x="32292" y="9564"/>
                  </a:cubicBezTo>
                  <a:cubicBezTo>
                    <a:pt x="32778" y="9323"/>
                    <a:pt x="32778" y="9323"/>
                    <a:pt x="32778" y="9323"/>
                  </a:cubicBezTo>
                  <a:cubicBezTo>
                    <a:pt x="33103" y="9162"/>
                    <a:pt x="33103" y="9162"/>
                    <a:pt x="33103" y="9162"/>
                  </a:cubicBezTo>
                  <a:cubicBezTo>
                    <a:pt x="33509" y="8198"/>
                    <a:pt x="33509" y="8198"/>
                    <a:pt x="33509" y="8198"/>
                  </a:cubicBezTo>
                  <a:cubicBezTo>
                    <a:pt x="33752" y="7635"/>
                    <a:pt x="33752" y="7635"/>
                    <a:pt x="33752" y="7635"/>
                  </a:cubicBezTo>
                  <a:cubicBezTo>
                    <a:pt x="34077" y="6751"/>
                    <a:pt x="34077" y="6751"/>
                    <a:pt x="34077" y="6751"/>
                  </a:cubicBezTo>
                  <a:cubicBezTo>
                    <a:pt x="34077" y="6751"/>
                    <a:pt x="34239" y="6108"/>
                    <a:pt x="34239" y="6028"/>
                  </a:cubicBezTo>
                  <a:cubicBezTo>
                    <a:pt x="34239" y="5947"/>
                    <a:pt x="34482" y="5787"/>
                    <a:pt x="34482" y="5787"/>
                  </a:cubicBezTo>
                  <a:cubicBezTo>
                    <a:pt x="34807" y="5385"/>
                    <a:pt x="34807" y="5385"/>
                    <a:pt x="34807" y="5385"/>
                  </a:cubicBezTo>
                  <a:cubicBezTo>
                    <a:pt x="35050" y="4902"/>
                    <a:pt x="35050" y="4902"/>
                    <a:pt x="35050" y="4902"/>
                  </a:cubicBezTo>
                  <a:cubicBezTo>
                    <a:pt x="35212" y="4581"/>
                    <a:pt x="35212" y="4581"/>
                    <a:pt x="35212" y="4581"/>
                  </a:cubicBezTo>
                  <a:cubicBezTo>
                    <a:pt x="35618" y="3938"/>
                    <a:pt x="35618" y="3938"/>
                    <a:pt x="35618" y="3938"/>
                  </a:cubicBezTo>
                  <a:cubicBezTo>
                    <a:pt x="35943" y="4099"/>
                    <a:pt x="35943" y="4099"/>
                    <a:pt x="35943" y="4099"/>
                  </a:cubicBezTo>
                  <a:cubicBezTo>
                    <a:pt x="35943" y="4099"/>
                    <a:pt x="36105" y="4259"/>
                    <a:pt x="36105" y="4420"/>
                  </a:cubicBezTo>
                  <a:cubicBezTo>
                    <a:pt x="36105" y="4581"/>
                    <a:pt x="36024" y="4661"/>
                    <a:pt x="36105" y="4661"/>
                  </a:cubicBezTo>
                  <a:cubicBezTo>
                    <a:pt x="36267" y="4661"/>
                    <a:pt x="36186" y="4661"/>
                    <a:pt x="36267" y="4581"/>
                  </a:cubicBezTo>
                  <a:cubicBezTo>
                    <a:pt x="36430" y="4420"/>
                    <a:pt x="36511" y="4099"/>
                    <a:pt x="36511" y="4018"/>
                  </a:cubicBezTo>
                  <a:cubicBezTo>
                    <a:pt x="36511" y="3938"/>
                    <a:pt x="36673" y="3938"/>
                    <a:pt x="36511" y="3858"/>
                  </a:cubicBezTo>
                  <a:cubicBezTo>
                    <a:pt x="36267" y="3777"/>
                    <a:pt x="35943" y="3616"/>
                    <a:pt x="35943" y="3616"/>
                  </a:cubicBezTo>
                  <a:cubicBezTo>
                    <a:pt x="35943" y="3616"/>
                    <a:pt x="35618" y="3536"/>
                    <a:pt x="35618" y="3456"/>
                  </a:cubicBezTo>
                  <a:cubicBezTo>
                    <a:pt x="35699" y="3375"/>
                    <a:pt x="35943" y="2652"/>
                    <a:pt x="35943" y="2652"/>
                  </a:cubicBezTo>
                  <a:cubicBezTo>
                    <a:pt x="36267" y="1848"/>
                    <a:pt x="36267" y="1848"/>
                    <a:pt x="36267" y="1848"/>
                  </a:cubicBezTo>
                  <a:cubicBezTo>
                    <a:pt x="36267" y="1366"/>
                    <a:pt x="36267" y="1366"/>
                    <a:pt x="36267" y="1366"/>
                  </a:cubicBezTo>
                  <a:cubicBezTo>
                    <a:pt x="36511" y="964"/>
                    <a:pt x="36511" y="964"/>
                    <a:pt x="36511" y="964"/>
                  </a:cubicBezTo>
                  <a:cubicBezTo>
                    <a:pt x="36754" y="643"/>
                    <a:pt x="36916" y="160"/>
                    <a:pt x="37322" y="0"/>
                  </a:cubicBezTo>
                  <a:cubicBezTo>
                    <a:pt x="120000" y="0"/>
                    <a:pt x="120000" y="0"/>
                    <a:pt x="120000" y="0"/>
                  </a:cubicBezTo>
                  <a:cubicBezTo>
                    <a:pt x="120000" y="59156"/>
                    <a:pt x="120000" y="59156"/>
                    <a:pt x="120000" y="59156"/>
                  </a:cubicBezTo>
                  <a:cubicBezTo>
                    <a:pt x="118864" y="59557"/>
                    <a:pt x="118864" y="59557"/>
                    <a:pt x="118864" y="59557"/>
                  </a:cubicBezTo>
                  <a:cubicBezTo>
                    <a:pt x="118701" y="59557"/>
                    <a:pt x="116430" y="59236"/>
                    <a:pt x="116511" y="59959"/>
                  </a:cubicBezTo>
                  <a:cubicBezTo>
                    <a:pt x="116592" y="60361"/>
                    <a:pt x="116997" y="60442"/>
                    <a:pt x="116997" y="60442"/>
                  </a:cubicBezTo>
                  <a:cubicBezTo>
                    <a:pt x="118052" y="61406"/>
                    <a:pt x="118052" y="61406"/>
                    <a:pt x="118052" y="61406"/>
                  </a:cubicBezTo>
                  <a:cubicBezTo>
                    <a:pt x="117971" y="61969"/>
                    <a:pt x="117971" y="61969"/>
                    <a:pt x="117971" y="61969"/>
                  </a:cubicBezTo>
                  <a:cubicBezTo>
                    <a:pt x="118620" y="62129"/>
                    <a:pt x="118620" y="62129"/>
                    <a:pt x="118620" y="62129"/>
                  </a:cubicBezTo>
                  <a:cubicBezTo>
                    <a:pt x="120000" y="62129"/>
                    <a:pt x="120000" y="62129"/>
                    <a:pt x="120000" y="62129"/>
                  </a:cubicBezTo>
                  <a:cubicBezTo>
                    <a:pt x="120000" y="63094"/>
                    <a:pt x="120000" y="63094"/>
                    <a:pt x="120000" y="63094"/>
                  </a:cubicBezTo>
                  <a:cubicBezTo>
                    <a:pt x="119188" y="63174"/>
                    <a:pt x="118296" y="63335"/>
                    <a:pt x="118133" y="63415"/>
                  </a:cubicBezTo>
                  <a:cubicBezTo>
                    <a:pt x="117241" y="64380"/>
                    <a:pt x="117241" y="64380"/>
                    <a:pt x="117241" y="64380"/>
                  </a:cubicBezTo>
                  <a:cubicBezTo>
                    <a:pt x="118296" y="65746"/>
                    <a:pt x="118296" y="65746"/>
                    <a:pt x="118296" y="65746"/>
                  </a:cubicBezTo>
                  <a:cubicBezTo>
                    <a:pt x="118215" y="66630"/>
                    <a:pt x="118215" y="66630"/>
                    <a:pt x="118215" y="66630"/>
                  </a:cubicBezTo>
                  <a:cubicBezTo>
                    <a:pt x="117322" y="67273"/>
                    <a:pt x="117322" y="67273"/>
                    <a:pt x="117322" y="67273"/>
                  </a:cubicBezTo>
                  <a:cubicBezTo>
                    <a:pt x="118052" y="67997"/>
                    <a:pt x="118052" y="67997"/>
                    <a:pt x="118052" y="67997"/>
                  </a:cubicBezTo>
                  <a:cubicBezTo>
                    <a:pt x="119350" y="67997"/>
                    <a:pt x="119350" y="67997"/>
                    <a:pt x="119350" y="67997"/>
                  </a:cubicBezTo>
                  <a:cubicBezTo>
                    <a:pt x="120000" y="68479"/>
                    <a:pt x="120000" y="68479"/>
                    <a:pt x="120000" y="68479"/>
                  </a:cubicBezTo>
                  <a:cubicBezTo>
                    <a:pt x="120000" y="72257"/>
                    <a:pt x="120000" y="72257"/>
                    <a:pt x="120000" y="72257"/>
                  </a:cubicBezTo>
                  <a:cubicBezTo>
                    <a:pt x="119756" y="72257"/>
                    <a:pt x="119432" y="72337"/>
                    <a:pt x="119026" y="72337"/>
                  </a:cubicBezTo>
                  <a:cubicBezTo>
                    <a:pt x="118458" y="73302"/>
                    <a:pt x="118458" y="73302"/>
                    <a:pt x="118458" y="73302"/>
                  </a:cubicBezTo>
                  <a:cubicBezTo>
                    <a:pt x="114320" y="72578"/>
                    <a:pt x="114320" y="72578"/>
                    <a:pt x="114320" y="72578"/>
                  </a:cubicBezTo>
                  <a:cubicBezTo>
                    <a:pt x="112941" y="71774"/>
                    <a:pt x="112941" y="71774"/>
                    <a:pt x="112941" y="71774"/>
                  </a:cubicBezTo>
                  <a:cubicBezTo>
                    <a:pt x="111886" y="72498"/>
                    <a:pt x="112129" y="72176"/>
                    <a:pt x="111237" y="73141"/>
                  </a:cubicBezTo>
                  <a:cubicBezTo>
                    <a:pt x="108803" y="72498"/>
                    <a:pt x="108803" y="72498"/>
                    <a:pt x="108803" y="72498"/>
                  </a:cubicBezTo>
                  <a:cubicBezTo>
                    <a:pt x="107261" y="73221"/>
                    <a:pt x="107261" y="73221"/>
                    <a:pt x="107261" y="73221"/>
                  </a:cubicBezTo>
                  <a:cubicBezTo>
                    <a:pt x="105476" y="74989"/>
                    <a:pt x="105476" y="74989"/>
                    <a:pt x="105476" y="74989"/>
                  </a:cubicBezTo>
                  <a:cubicBezTo>
                    <a:pt x="102474" y="74829"/>
                    <a:pt x="102474" y="74829"/>
                    <a:pt x="102474" y="74829"/>
                  </a:cubicBezTo>
                  <a:cubicBezTo>
                    <a:pt x="101825" y="73945"/>
                    <a:pt x="101825" y="73945"/>
                    <a:pt x="101825" y="73945"/>
                  </a:cubicBezTo>
                  <a:cubicBezTo>
                    <a:pt x="101663" y="74748"/>
                    <a:pt x="101663" y="74748"/>
                    <a:pt x="101663" y="74748"/>
                  </a:cubicBezTo>
                  <a:cubicBezTo>
                    <a:pt x="102312" y="75552"/>
                    <a:pt x="102312" y="75552"/>
                    <a:pt x="102312" y="75552"/>
                  </a:cubicBezTo>
                  <a:cubicBezTo>
                    <a:pt x="101176" y="76115"/>
                    <a:pt x="101176" y="76115"/>
                    <a:pt x="101176" y="76115"/>
                  </a:cubicBezTo>
                  <a:cubicBezTo>
                    <a:pt x="100770" y="74989"/>
                    <a:pt x="100770" y="74989"/>
                    <a:pt x="100770" y="74989"/>
                  </a:cubicBezTo>
                  <a:cubicBezTo>
                    <a:pt x="99797" y="73784"/>
                    <a:pt x="99797" y="73784"/>
                    <a:pt x="99797" y="73784"/>
                  </a:cubicBezTo>
                  <a:cubicBezTo>
                    <a:pt x="98336" y="73462"/>
                    <a:pt x="98336" y="73462"/>
                    <a:pt x="98336" y="73462"/>
                  </a:cubicBezTo>
                  <a:cubicBezTo>
                    <a:pt x="97525" y="72900"/>
                    <a:pt x="97525" y="72900"/>
                    <a:pt x="97525" y="72900"/>
                  </a:cubicBezTo>
                  <a:cubicBezTo>
                    <a:pt x="97363" y="72819"/>
                    <a:pt x="94361" y="73141"/>
                    <a:pt x="93793" y="73221"/>
                  </a:cubicBezTo>
                  <a:cubicBezTo>
                    <a:pt x="93062" y="72739"/>
                    <a:pt x="92981" y="72739"/>
                    <a:pt x="92170" y="72337"/>
                  </a:cubicBezTo>
                  <a:cubicBezTo>
                    <a:pt x="91359" y="72980"/>
                    <a:pt x="91359" y="72980"/>
                    <a:pt x="91359" y="72980"/>
                  </a:cubicBezTo>
                  <a:cubicBezTo>
                    <a:pt x="91359" y="72980"/>
                    <a:pt x="90953" y="73703"/>
                    <a:pt x="90304" y="73703"/>
                  </a:cubicBezTo>
                  <a:cubicBezTo>
                    <a:pt x="89574" y="73703"/>
                    <a:pt x="89655" y="72739"/>
                    <a:pt x="89655" y="72739"/>
                  </a:cubicBezTo>
                  <a:cubicBezTo>
                    <a:pt x="88600" y="72900"/>
                    <a:pt x="88600" y="72900"/>
                    <a:pt x="88600" y="72900"/>
                  </a:cubicBezTo>
                  <a:cubicBezTo>
                    <a:pt x="87221" y="74829"/>
                    <a:pt x="87221" y="74829"/>
                    <a:pt x="87221" y="74829"/>
                  </a:cubicBezTo>
                  <a:cubicBezTo>
                    <a:pt x="85517" y="76275"/>
                    <a:pt x="85517" y="76275"/>
                    <a:pt x="85517" y="76275"/>
                  </a:cubicBezTo>
                  <a:cubicBezTo>
                    <a:pt x="84543" y="77722"/>
                    <a:pt x="84543" y="77722"/>
                    <a:pt x="84543" y="77722"/>
                  </a:cubicBezTo>
                  <a:cubicBezTo>
                    <a:pt x="82677" y="78446"/>
                    <a:pt x="82677" y="78446"/>
                    <a:pt x="82677" y="78446"/>
                  </a:cubicBezTo>
                  <a:cubicBezTo>
                    <a:pt x="82758" y="79089"/>
                    <a:pt x="82758" y="79089"/>
                    <a:pt x="82758" y="79089"/>
                  </a:cubicBezTo>
                  <a:cubicBezTo>
                    <a:pt x="84624" y="80696"/>
                    <a:pt x="84624" y="80696"/>
                    <a:pt x="84624" y="80696"/>
                  </a:cubicBezTo>
                  <a:cubicBezTo>
                    <a:pt x="83326" y="81580"/>
                    <a:pt x="83326" y="81580"/>
                    <a:pt x="83326" y="81580"/>
                  </a:cubicBezTo>
                  <a:cubicBezTo>
                    <a:pt x="81379" y="79571"/>
                    <a:pt x="82109" y="81098"/>
                    <a:pt x="79675" y="79249"/>
                  </a:cubicBezTo>
                  <a:cubicBezTo>
                    <a:pt x="79269" y="80696"/>
                    <a:pt x="79188" y="80294"/>
                    <a:pt x="79432" y="81500"/>
                  </a:cubicBezTo>
                  <a:cubicBezTo>
                    <a:pt x="78377" y="82223"/>
                    <a:pt x="78377" y="82223"/>
                    <a:pt x="78377" y="82223"/>
                  </a:cubicBezTo>
                  <a:cubicBezTo>
                    <a:pt x="78945" y="84393"/>
                    <a:pt x="78539" y="83670"/>
                    <a:pt x="79918" y="85117"/>
                  </a:cubicBezTo>
                  <a:cubicBezTo>
                    <a:pt x="79107" y="86805"/>
                    <a:pt x="79269" y="86081"/>
                    <a:pt x="79350" y="88091"/>
                  </a:cubicBezTo>
                  <a:cubicBezTo>
                    <a:pt x="81217" y="88653"/>
                    <a:pt x="81217" y="88653"/>
                    <a:pt x="81217" y="88653"/>
                  </a:cubicBezTo>
                  <a:cubicBezTo>
                    <a:pt x="81703" y="89778"/>
                    <a:pt x="81703" y="89778"/>
                    <a:pt x="81703" y="89778"/>
                  </a:cubicBezTo>
                  <a:cubicBezTo>
                    <a:pt x="82920" y="90341"/>
                    <a:pt x="82920" y="90341"/>
                    <a:pt x="82920" y="90341"/>
                  </a:cubicBezTo>
                  <a:cubicBezTo>
                    <a:pt x="84137" y="89537"/>
                    <a:pt x="84137" y="89537"/>
                    <a:pt x="84137" y="89537"/>
                  </a:cubicBezTo>
                  <a:cubicBezTo>
                    <a:pt x="85922" y="90421"/>
                    <a:pt x="85922" y="90421"/>
                    <a:pt x="85922" y="90421"/>
                  </a:cubicBezTo>
                  <a:cubicBezTo>
                    <a:pt x="88275" y="92190"/>
                    <a:pt x="88275" y="92190"/>
                    <a:pt x="88275" y="92190"/>
                  </a:cubicBezTo>
                  <a:cubicBezTo>
                    <a:pt x="89655" y="93878"/>
                    <a:pt x="89655" y="93878"/>
                    <a:pt x="89655" y="93878"/>
                  </a:cubicBezTo>
                  <a:cubicBezTo>
                    <a:pt x="88843" y="93235"/>
                    <a:pt x="88843" y="93235"/>
                    <a:pt x="88843" y="93235"/>
                  </a:cubicBezTo>
                  <a:cubicBezTo>
                    <a:pt x="88356" y="93476"/>
                    <a:pt x="88356" y="93476"/>
                    <a:pt x="88356" y="93476"/>
                  </a:cubicBezTo>
                  <a:cubicBezTo>
                    <a:pt x="88681" y="94038"/>
                    <a:pt x="88681" y="94038"/>
                    <a:pt x="88681" y="94038"/>
                  </a:cubicBezTo>
                  <a:cubicBezTo>
                    <a:pt x="90385" y="94521"/>
                    <a:pt x="90385" y="94521"/>
                    <a:pt x="90385" y="94521"/>
                  </a:cubicBezTo>
                  <a:cubicBezTo>
                    <a:pt x="90304" y="95807"/>
                    <a:pt x="90304" y="95807"/>
                    <a:pt x="90304" y="95807"/>
                  </a:cubicBezTo>
                  <a:cubicBezTo>
                    <a:pt x="89006" y="100629"/>
                    <a:pt x="89006" y="100629"/>
                    <a:pt x="89006" y="100629"/>
                  </a:cubicBezTo>
                  <a:cubicBezTo>
                    <a:pt x="87951" y="102880"/>
                    <a:pt x="87951" y="102880"/>
                    <a:pt x="87951" y="102880"/>
                  </a:cubicBezTo>
                  <a:cubicBezTo>
                    <a:pt x="87707" y="104246"/>
                    <a:pt x="87707" y="104246"/>
                    <a:pt x="87707" y="104246"/>
                  </a:cubicBezTo>
                  <a:cubicBezTo>
                    <a:pt x="87545" y="105612"/>
                    <a:pt x="87545" y="105612"/>
                    <a:pt x="87545" y="105612"/>
                  </a:cubicBezTo>
                  <a:cubicBezTo>
                    <a:pt x="87870" y="106738"/>
                    <a:pt x="87870" y="106738"/>
                    <a:pt x="87870" y="106738"/>
                  </a:cubicBezTo>
                  <a:cubicBezTo>
                    <a:pt x="87870" y="106738"/>
                    <a:pt x="87870" y="107059"/>
                    <a:pt x="88194" y="107381"/>
                  </a:cubicBezTo>
                  <a:cubicBezTo>
                    <a:pt x="88519" y="107702"/>
                    <a:pt x="88600" y="108024"/>
                    <a:pt x="89006" y="108345"/>
                  </a:cubicBezTo>
                  <a:cubicBezTo>
                    <a:pt x="89411" y="108586"/>
                    <a:pt x="89249" y="108747"/>
                    <a:pt x="90709" y="108827"/>
                  </a:cubicBezTo>
                  <a:cubicBezTo>
                    <a:pt x="92089" y="108988"/>
                    <a:pt x="90791" y="109631"/>
                    <a:pt x="90872" y="109872"/>
                  </a:cubicBezTo>
                  <a:cubicBezTo>
                    <a:pt x="90953" y="110033"/>
                    <a:pt x="91034" y="111158"/>
                    <a:pt x="91602" y="112283"/>
                  </a:cubicBezTo>
                  <a:cubicBezTo>
                    <a:pt x="92170" y="113409"/>
                    <a:pt x="92494" y="113248"/>
                    <a:pt x="93387" y="113730"/>
                  </a:cubicBezTo>
                  <a:cubicBezTo>
                    <a:pt x="94279" y="114132"/>
                    <a:pt x="93874" y="114293"/>
                    <a:pt x="94442" y="115418"/>
                  </a:cubicBezTo>
                  <a:cubicBezTo>
                    <a:pt x="95010" y="116463"/>
                    <a:pt x="96389" y="115981"/>
                    <a:pt x="96632" y="115981"/>
                  </a:cubicBezTo>
                  <a:cubicBezTo>
                    <a:pt x="96795" y="115981"/>
                    <a:pt x="96957" y="116222"/>
                    <a:pt x="97200" y="116543"/>
                  </a:cubicBezTo>
                  <a:cubicBezTo>
                    <a:pt x="97200" y="116543"/>
                    <a:pt x="97200" y="116543"/>
                    <a:pt x="97200" y="116543"/>
                  </a:cubicBezTo>
                  <a:cubicBezTo>
                    <a:pt x="97200" y="116543"/>
                    <a:pt x="96713" y="117026"/>
                    <a:pt x="96551" y="117106"/>
                  </a:cubicBezTo>
                  <a:cubicBezTo>
                    <a:pt x="96470" y="117186"/>
                    <a:pt x="96389" y="117267"/>
                    <a:pt x="96308" y="117347"/>
                  </a:cubicBezTo>
                  <a:cubicBezTo>
                    <a:pt x="96227" y="117508"/>
                    <a:pt x="96470" y="117588"/>
                    <a:pt x="96308" y="117669"/>
                  </a:cubicBezTo>
                  <a:cubicBezTo>
                    <a:pt x="96146" y="117749"/>
                    <a:pt x="95983" y="118070"/>
                    <a:pt x="95983" y="118231"/>
                  </a:cubicBezTo>
                  <a:cubicBezTo>
                    <a:pt x="96064" y="118392"/>
                    <a:pt x="95902" y="118633"/>
                    <a:pt x="95902" y="118633"/>
                  </a:cubicBezTo>
                  <a:cubicBezTo>
                    <a:pt x="95902" y="118633"/>
                    <a:pt x="95578" y="119035"/>
                    <a:pt x="95172" y="119035"/>
                  </a:cubicBezTo>
                  <a:cubicBezTo>
                    <a:pt x="94847" y="119115"/>
                    <a:pt x="94604" y="118955"/>
                    <a:pt x="94279" y="118874"/>
                  </a:cubicBezTo>
                  <a:cubicBezTo>
                    <a:pt x="93955" y="118794"/>
                    <a:pt x="93955" y="118794"/>
                    <a:pt x="93955" y="118794"/>
                  </a:cubicBezTo>
                  <a:cubicBezTo>
                    <a:pt x="93955" y="118794"/>
                    <a:pt x="93711" y="118794"/>
                    <a:pt x="93387" y="118713"/>
                  </a:cubicBezTo>
                  <a:cubicBezTo>
                    <a:pt x="93062" y="118553"/>
                    <a:pt x="93306" y="118553"/>
                    <a:pt x="93306" y="118553"/>
                  </a:cubicBezTo>
                  <a:cubicBezTo>
                    <a:pt x="92981" y="118231"/>
                    <a:pt x="92981" y="118231"/>
                    <a:pt x="92981" y="118231"/>
                  </a:cubicBezTo>
                  <a:cubicBezTo>
                    <a:pt x="92657" y="117829"/>
                    <a:pt x="92657" y="117829"/>
                    <a:pt x="92657" y="117829"/>
                  </a:cubicBezTo>
                  <a:cubicBezTo>
                    <a:pt x="92657" y="117829"/>
                    <a:pt x="92576" y="117749"/>
                    <a:pt x="92576" y="117588"/>
                  </a:cubicBezTo>
                  <a:cubicBezTo>
                    <a:pt x="92494" y="117427"/>
                    <a:pt x="92494" y="117588"/>
                    <a:pt x="92332" y="117588"/>
                  </a:cubicBezTo>
                  <a:cubicBezTo>
                    <a:pt x="92170" y="117588"/>
                    <a:pt x="92089" y="117669"/>
                    <a:pt x="91926" y="117588"/>
                  </a:cubicBezTo>
                  <a:cubicBezTo>
                    <a:pt x="91845" y="117508"/>
                    <a:pt x="91845" y="117427"/>
                    <a:pt x="91845" y="117347"/>
                  </a:cubicBezTo>
                  <a:cubicBezTo>
                    <a:pt x="91845" y="117267"/>
                    <a:pt x="91602" y="117106"/>
                    <a:pt x="91359" y="117106"/>
                  </a:cubicBezTo>
                  <a:cubicBezTo>
                    <a:pt x="91115" y="117026"/>
                    <a:pt x="91196" y="116865"/>
                    <a:pt x="90872" y="116865"/>
                  </a:cubicBezTo>
                  <a:cubicBezTo>
                    <a:pt x="90547" y="116865"/>
                    <a:pt x="90791" y="116624"/>
                    <a:pt x="90791" y="116463"/>
                  </a:cubicBezTo>
                  <a:cubicBezTo>
                    <a:pt x="90709" y="116383"/>
                    <a:pt x="90466" y="116624"/>
                    <a:pt x="90385" y="116704"/>
                  </a:cubicBezTo>
                  <a:cubicBezTo>
                    <a:pt x="90304" y="116784"/>
                    <a:pt x="90223" y="116945"/>
                    <a:pt x="90060" y="116945"/>
                  </a:cubicBezTo>
                  <a:cubicBezTo>
                    <a:pt x="89979" y="117026"/>
                    <a:pt x="89898" y="116543"/>
                    <a:pt x="89898" y="116543"/>
                  </a:cubicBezTo>
                  <a:cubicBezTo>
                    <a:pt x="89898" y="116543"/>
                    <a:pt x="89898" y="116543"/>
                    <a:pt x="89574" y="116543"/>
                  </a:cubicBezTo>
                  <a:cubicBezTo>
                    <a:pt x="89168" y="116543"/>
                    <a:pt x="89411" y="116704"/>
                    <a:pt x="89411" y="116704"/>
                  </a:cubicBezTo>
                  <a:cubicBezTo>
                    <a:pt x="89168" y="117267"/>
                    <a:pt x="89168" y="117267"/>
                    <a:pt x="89168" y="117267"/>
                  </a:cubicBezTo>
                  <a:cubicBezTo>
                    <a:pt x="88762" y="117588"/>
                    <a:pt x="88762" y="117588"/>
                    <a:pt x="88762" y="117588"/>
                  </a:cubicBezTo>
                  <a:cubicBezTo>
                    <a:pt x="88762" y="117588"/>
                    <a:pt x="88843" y="117829"/>
                    <a:pt x="88924" y="117990"/>
                  </a:cubicBezTo>
                  <a:cubicBezTo>
                    <a:pt x="88924" y="118151"/>
                    <a:pt x="89168" y="118231"/>
                    <a:pt x="89168" y="118231"/>
                  </a:cubicBezTo>
                  <a:cubicBezTo>
                    <a:pt x="89168" y="118231"/>
                    <a:pt x="89411" y="118392"/>
                    <a:pt x="89655" y="118553"/>
                  </a:cubicBezTo>
                  <a:cubicBezTo>
                    <a:pt x="89898" y="118713"/>
                    <a:pt x="89817" y="118713"/>
                    <a:pt x="89979" y="118713"/>
                  </a:cubicBezTo>
                  <a:cubicBezTo>
                    <a:pt x="90141" y="118794"/>
                    <a:pt x="90385" y="118874"/>
                    <a:pt x="90709" y="119035"/>
                  </a:cubicBezTo>
                  <a:cubicBezTo>
                    <a:pt x="91034" y="119115"/>
                    <a:pt x="90872" y="119035"/>
                    <a:pt x="91359" y="119437"/>
                  </a:cubicBezTo>
                  <a:cubicBezTo>
                    <a:pt x="91764" y="119758"/>
                    <a:pt x="91277" y="119437"/>
                    <a:pt x="91196" y="119678"/>
                  </a:cubicBezTo>
                  <a:cubicBezTo>
                    <a:pt x="91115" y="120000"/>
                    <a:pt x="90628" y="119356"/>
                    <a:pt x="90304" y="119517"/>
                  </a:cubicBezTo>
                  <a:cubicBezTo>
                    <a:pt x="89979" y="119598"/>
                    <a:pt x="89898" y="119356"/>
                    <a:pt x="89655" y="119437"/>
                  </a:cubicBezTo>
                  <a:cubicBezTo>
                    <a:pt x="89655" y="119437"/>
                    <a:pt x="89655" y="119437"/>
                    <a:pt x="89655" y="119437"/>
                  </a:cubicBezTo>
                  <a:cubicBezTo>
                    <a:pt x="89574" y="119437"/>
                    <a:pt x="89574" y="119437"/>
                    <a:pt x="89574" y="119437"/>
                  </a:cubicBezTo>
                  <a:cubicBezTo>
                    <a:pt x="89574" y="119356"/>
                    <a:pt x="89492" y="119276"/>
                    <a:pt x="89492" y="119196"/>
                  </a:cubicBezTo>
                  <a:cubicBezTo>
                    <a:pt x="89411" y="119115"/>
                    <a:pt x="89006" y="119115"/>
                    <a:pt x="89006" y="119115"/>
                  </a:cubicBezTo>
                  <a:cubicBezTo>
                    <a:pt x="88681" y="119035"/>
                    <a:pt x="88681" y="119035"/>
                    <a:pt x="88681" y="119035"/>
                  </a:cubicBezTo>
                  <a:cubicBezTo>
                    <a:pt x="88438" y="118955"/>
                    <a:pt x="88438" y="118955"/>
                    <a:pt x="88438" y="118955"/>
                  </a:cubicBezTo>
                  <a:cubicBezTo>
                    <a:pt x="88194" y="118553"/>
                    <a:pt x="88194" y="118553"/>
                    <a:pt x="88194" y="118553"/>
                  </a:cubicBezTo>
                  <a:cubicBezTo>
                    <a:pt x="87951" y="118392"/>
                    <a:pt x="87951" y="118392"/>
                    <a:pt x="87951" y="118392"/>
                  </a:cubicBezTo>
                  <a:cubicBezTo>
                    <a:pt x="87707" y="118070"/>
                    <a:pt x="87707" y="118070"/>
                    <a:pt x="87707" y="118070"/>
                  </a:cubicBezTo>
                  <a:cubicBezTo>
                    <a:pt x="87789" y="117910"/>
                    <a:pt x="87789" y="117910"/>
                    <a:pt x="87789" y="117910"/>
                  </a:cubicBezTo>
                  <a:cubicBezTo>
                    <a:pt x="88032" y="117588"/>
                    <a:pt x="88032" y="117588"/>
                    <a:pt x="88032" y="117588"/>
                  </a:cubicBezTo>
                  <a:cubicBezTo>
                    <a:pt x="88032" y="117588"/>
                    <a:pt x="88113" y="117588"/>
                    <a:pt x="88194" y="117427"/>
                  </a:cubicBezTo>
                  <a:cubicBezTo>
                    <a:pt x="88356" y="117186"/>
                    <a:pt x="88194" y="117186"/>
                    <a:pt x="88194" y="117186"/>
                  </a:cubicBezTo>
                  <a:cubicBezTo>
                    <a:pt x="88194" y="117186"/>
                    <a:pt x="87870" y="117026"/>
                    <a:pt x="87707" y="116945"/>
                  </a:cubicBezTo>
                  <a:cubicBezTo>
                    <a:pt x="87545" y="116865"/>
                    <a:pt x="87302" y="117106"/>
                    <a:pt x="87302" y="117106"/>
                  </a:cubicBezTo>
                  <a:cubicBezTo>
                    <a:pt x="86815" y="117026"/>
                    <a:pt x="86815" y="117026"/>
                    <a:pt x="86815" y="117026"/>
                  </a:cubicBezTo>
                  <a:cubicBezTo>
                    <a:pt x="86409" y="117026"/>
                    <a:pt x="86409" y="117026"/>
                    <a:pt x="86409" y="117026"/>
                  </a:cubicBezTo>
                  <a:cubicBezTo>
                    <a:pt x="86085" y="116704"/>
                    <a:pt x="86085" y="116704"/>
                    <a:pt x="86085" y="116704"/>
                  </a:cubicBezTo>
                  <a:cubicBezTo>
                    <a:pt x="85517" y="116543"/>
                    <a:pt x="85517" y="116543"/>
                    <a:pt x="85517" y="116543"/>
                  </a:cubicBezTo>
                  <a:cubicBezTo>
                    <a:pt x="85192" y="116383"/>
                    <a:pt x="85192" y="116383"/>
                    <a:pt x="85192" y="116383"/>
                  </a:cubicBezTo>
                  <a:cubicBezTo>
                    <a:pt x="85192" y="116383"/>
                    <a:pt x="85192" y="115740"/>
                    <a:pt x="85192" y="115659"/>
                  </a:cubicBezTo>
                  <a:cubicBezTo>
                    <a:pt x="85192" y="115498"/>
                    <a:pt x="85192" y="115257"/>
                    <a:pt x="85192" y="115257"/>
                  </a:cubicBezTo>
                  <a:cubicBezTo>
                    <a:pt x="85192" y="115257"/>
                    <a:pt x="84705" y="115177"/>
                    <a:pt x="84462" y="115257"/>
                  </a:cubicBezTo>
                  <a:cubicBezTo>
                    <a:pt x="84300" y="115338"/>
                    <a:pt x="84056" y="115257"/>
                    <a:pt x="84056" y="115257"/>
                  </a:cubicBezTo>
                  <a:cubicBezTo>
                    <a:pt x="84056" y="115257"/>
                    <a:pt x="83407" y="115177"/>
                    <a:pt x="83326" y="115016"/>
                  </a:cubicBezTo>
                  <a:cubicBezTo>
                    <a:pt x="83326" y="114855"/>
                    <a:pt x="83326" y="114936"/>
                    <a:pt x="83245" y="114936"/>
                  </a:cubicBezTo>
                  <a:cubicBezTo>
                    <a:pt x="83083" y="114936"/>
                    <a:pt x="82596" y="114936"/>
                    <a:pt x="82596" y="114936"/>
                  </a:cubicBezTo>
                  <a:cubicBezTo>
                    <a:pt x="82109" y="114775"/>
                    <a:pt x="82109" y="114775"/>
                    <a:pt x="82109" y="114775"/>
                  </a:cubicBezTo>
                  <a:cubicBezTo>
                    <a:pt x="82109" y="115498"/>
                    <a:pt x="82109" y="115498"/>
                    <a:pt x="82109" y="115498"/>
                  </a:cubicBezTo>
                  <a:cubicBezTo>
                    <a:pt x="82028" y="115338"/>
                    <a:pt x="82028" y="115338"/>
                    <a:pt x="82028" y="115338"/>
                  </a:cubicBezTo>
                  <a:cubicBezTo>
                    <a:pt x="81217" y="115257"/>
                    <a:pt x="81217" y="115257"/>
                    <a:pt x="81217" y="115257"/>
                  </a:cubicBezTo>
                  <a:cubicBezTo>
                    <a:pt x="80730" y="115498"/>
                    <a:pt x="80730" y="115498"/>
                    <a:pt x="80730" y="115498"/>
                  </a:cubicBezTo>
                  <a:cubicBezTo>
                    <a:pt x="80324" y="115659"/>
                    <a:pt x="80324" y="115659"/>
                    <a:pt x="80324" y="115659"/>
                  </a:cubicBezTo>
                  <a:cubicBezTo>
                    <a:pt x="80324" y="115900"/>
                    <a:pt x="80324" y="115900"/>
                    <a:pt x="80324" y="115900"/>
                  </a:cubicBezTo>
                  <a:cubicBezTo>
                    <a:pt x="80162" y="116141"/>
                    <a:pt x="80162" y="116141"/>
                    <a:pt x="80162" y="116141"/>
                  </a:cubicBezTo>
                  <a:cubicBezTo>
                    <a:pt x="80162" y="116141"/>
                    <a:pt x="79918" y="116222"/>
                    <a:pt x="79756" y="116222"/>
                  </a:cubicBezTo>
                  <a:cubicBezTo>
                    <a:pt x="79756" y="116302"/>
                    <a:pt x="79675" y="116463"/>
                    <a:pt x="79675" y="116543"/>
                  </a:cubicBezTo>
                  <a:cubicBezTo>
                    <a:pt x="79594" y="116624"/>
                    <a:pt x="79432" y="116624"/>
                    <a:pt x="79432" y="116624"/>
                  </a:cubicBezTo>
                  <a:cubicBezTo>
                    <a:pt x="79107" y="116543"/>
                    <a:pt x="79107" y="116543"/>
                    <a:pt x="79107" y="116543"/>
                  </a:cubicBezTo>
                  <a:cubicBezTo>
                    <a:pt x="78864" y="116543"/>
                    <a:pt x="78864" y="116543"/>
                    <a:pt x="78864" y="116543"/>
                  </a:cubicBezTo>
                  <a:cubicBezTo>
                    <a:pt x="78701" y="116383"/>
                    <a:pt x="78701" y="116383"/>
                    <a:pt x="78701" y="116383"/>
                  </a:cubicBezTo>
                  <a:cubicBezTo>
                    <a:pt x="78864" y="116061"/>
                    <a:pt x="78864" y="116061"/>
                    <a:pt x="78864" y="116061"/>
                  </a:cubicBezTo>
                  <a:cubicBezTo>
                    <a:pt x="78864" y="115900"/>
                    <a:pt x="78864" y="115900"/>
                    <a:pt x="78864" y="115900"/>
                  </a:cubicBezTo>
                  <a:cubicBezTo>
                    <a:pt x="78864" y="115900"/>
                    <a:pt x="78864" y="115900"/>
                    <a:pt x="78864" y="115900"/>
                  </a:cubicBezTo>
                  <a:cubicBezTo>
                    <a:pt x="78864" y="115900"/>
                    <a:pt x="78864" y="115900"/>
                    <a:pt x="78864" y="115900"/>
                  </a:cubicBezTo>
                  <a:cubicBezTo>
                    <a:pt x="78377" y="115900"/>
                    <a:pt x="78377" y="115900"/>
                    <a:pt x="78377" y="115900"/>
                  </a:cubicBezTo>
                  <a:cubicBezTo>
                    <a:pt x="77890" y="115740"/>
                    <a:pt x="77890" y="115740"/>
                    <a:pt x="77890" y="115740"/>
                  </a:cubicBezTo>
                  <a:cubicBezTo>
                    <a:pt x="76835" y="115659"/>
                    <a:pt x="76835" y="115659"/>
                    <a:pt x="76835" y="115659"/>
                  </a:cubicBezTo>
                  <a:cubicBezTo>
                    <a:pt x="76186" y="115498"/>
                    <a:pt x="76186" y="115498"/>
                    <a:pt x="76186" y="115498"/>
                  </a:cubicBezTo>
                  <a:cubicBezTo>
                    <a:pt x="75780" y="115097"/>
                    <a:pt x="75780" y="115097"/>
                    <a:pt x="75780" y="115097"/>
                  </a:cubicBezTo>
                  <a:cubicBezTo>
                    <a:pt x="75131" y="114936"/>
                    <a:pt x="75131" y="114936"/>
                    <a:pt x="75131" y="114936"/>
                  </a:cubicBezTo>
                  <a:cubicBezTo>
                    <a:pt x="74563" y="115338"/>
                    <a:pt x="74563" y="115338"/>
                    <a:pt x="74563" y="115338"/>
                  </a:cubicBezTo>
                  <a:cubicBezTo>
                    <a:pt x="74563" y="115338"/>
                    <a:pt x="73995" y="115097"/>
                    <a:pt x="73752" y="115097"/>
                  </a:cubicBezTo>
                  <a:cubicBezTo>
                    <a:pt x="73590" y="115177"/>
                    <a:pt x="73265" y="115257"/>
                    <a:pt x="73184" y="115338"/>
                  </a:cubicBezTo>
                  <a:cubicBezTo>
                    <a:pt x="73103" y="115338"/>
                    <a:pt x="73103" y="115418"/>
                    <a:pt x="73022" y="115418"/>
                  </a:cubicBezTo>
                  <a:cubicBezTo>
                    <a:pt x="73022" y="115418"/>
                    <a:pt x="73022" y="115418"/>
                    <a:pt x="73022" y="115418"/>
                  </a:cubicBezTo>
                  <a:cubicBezTo>
                    <a:pt x="73022" y="115418"/>
                    <a:pt x="73022" y="115418"/>
                    <a:pt x="73022" y="115418"/>
                  </a:cubicBezTo>
                  <a:cubicBezTo>
                    <a:pt x="73022" y="115418"/>
                    <a:pt x="73022" y="115418"/>
                    <a:pt x="73022" y="115418"/>
                  </a:cubicBezTo>
                  <a:cubicBezTo>
                    <a:pt x="73022" y="115498"/>
                    <a:pt x="73022" y="115498"/>
                    <a:pt x="73022" y="115498"/>
                  </a:cubicBezTo>
                  <a:cubicBezTo>
                    <a:pt x="73022" y="115498"/>
                    <a:pt x="73022" y="115498"/>
                    <a:pt x="73022" y="115498"/>
                  </a:cubicBezTo>
                  <a:cubicBezTo>
                    <a:pt x="73022" y="115498"/>
                    <a:pt x="73022" y="115498"/>
                    <a:pt x="73022" y="115498"/>
                  </a:cubicBezTo>
                  <a:cubicBezTo>
                    <a:pt x="73022" y="115498"/>
                    <a:pt x="73022" y="115498"/>
                    <a:pt x="73022" y="115498"/>
                  </a:cubicBezTo>
                  <a:cubicBezTo>
                    <a:pt x="73022" y="115498"/>
                    <a:pt x="73022" y="115498"/>
                    <a:pt x="73022" y="115498"/>
                  </a:cubicBezTo>
                  <a:cubicBezTo>
                    <a:pt x="73022" y="115498"/>
                    <a:pt x="73022" y="115498"/>
                    <a:pt x="73022" y="115498"/>
                  </a:cubicBezTo>
                  <a:cubicBezTo>
                    <a:pt x="72941" y="115498"/>
                    <a:pt x="72941" y="115498"/>
                    <a:pt x="72941" y="115498"/>
                  </a:cubicBezTo>
                  <a:cubicBezTo>
                    <a:pt x="72941" y="115498"/>
                    <a:pt x="72941" y="115498"/>
                    <a:pt x="72941" y="115498"/>
                  </a:cubicBezTo>
                  <a:cubicBezTo>
                    <a:pt x="72941" y="115498"/>
                    <a:pt x="72941" y="115498"/>
                    <a:pt x="72941" y="115498"/>
                  </a:cubicBezTo>
                  <a:cubicBezTo>
                    <a:pt x="72941" y="115498"/>
                    <a:pt x="72941" y="115498"/>
                    <a:pt x="72941" y="115498"/>
                  </a:cubicBezTo>
                  <a:cubicBezTo>
                    <a:pt x="72941" y="115498"/>
                    <a:pt x="72941" y="115498"/>
                    <a:pt x="72941" y="115498"/>
                  </a:cubicBezTo>
                  <a:cubicBezTo>
                    <a:pt x="72941" y="115498"/>
                    <a:pt x="72941" y="115498"/>
                    <a:pt x="72941" y="115498"/>
                  </a:cubicBezTo>
                  <a:cubicBezTo>
                    <a:pt x="72941" y="115498"/>
                    <a:pt x="72941" y="115498"/>
                    <a:pt x="72941" y="115498"/>
                  </a:cubicBezTo>
                  <a:cubicBezTo>
                    <a:pt x="72941" y="115579"/>
                    <a:pt x="72941" y="115579"/>
                    <a:pt x="72941" y="115579"/>
                  </a:cubicBezTo>
                  <a:cubicBezTo>
                    <a:pt x="72941" y="115579"/>
                    <a:pt x="72941" y="115579"/>
                    <a:pt x="72941" y="115579"/>
                  </a:cubicBezTo>
                  <a:cubicBezTo>
                    <a:pt x="72941" y="115579"/>
                    <a:pt x="72941" y="115579"/>
                    <a:pt x="72941" y="115579"/>
                  </a:cubicBezTo>
                  <a:cubicBezTo>
                    <a:pt x="72941" y="115579"/>
                    <a:pt x="72941" y="115579"/>
                    <a:pt x="72941" y="115579"/>
                  </a:cubicBezTo>
                  <a:cubicBezTo>
                    <a:pt x="72941" y="115579"/>
                    <a:pt x="72941" y="115579"/>
                    <a:pt x="72941" y="115579"/>
                  </a:cubicBezTo>
                  <a:cubicBezTo>
                    <a:pt x="72941" y="115579"/>
                    <a:pt x="72941" y="115579"/>
                    <a:pt x="72941" y="115579"/>
                  </a:cubicBezTo>
                  <a:cubicBezTo>
                    <a:pt x="72941" y="115579"/>
                    <a:pt x="72941" y="115579"/>
                    <a:pt x="72941" y="115579"/>
                  </a:cubicBezTo>
                  <a:cubicBezTo>
                    <a:pt x="72941" y="115579"/>
                    <a:pt x="72941" y="115579"/>
                    <a:pt x="72941" y="115579"/>
                  </a:cubicBezTo>
                  <a:cubicBezTo>
                    <a:pt x="72941" y="115579"/>
                    <a:pt x="72941" y="115579"/>
                    <a:pt x="72941" y="115579"/>
                  </a:cubicBezTo>
                  <a:cubicBezTo>
                    <a:pt x="72941" y="115579"/>
                    <a:pt x="72941" y="115579"/>
                    <a:pt x="72941" y="115579"/>
                  </a:cubicBezTo>
                  <a:cubicBezTo>
                    <a:pt x="72941" y="115579"/>
                    <a:pt x="72941" y="115579"/>
                    <a:pt x="72941" y="115579"/>
                  </a:cubicBezTo>
                  <a:cubicBezTo>
                    <a:pt x="72860" y="115579"/>
                    <a:pt x="72860" y="115579"/>
                    <a:pt x="72860" y="115579"/>
                  </a:cubicBezTo>
                  <a:cubicBezTo>
                    <a:pt x="72860" y="115579"/>
                    <a:pt x="72860" y="115579"/>
                    <a:pt x="72860" y="115579"/>
                  </a:cubicBezTo>
                  <a:cubicBezTo>
                    <a:pt x="72860" y="115579"/>
                    <a:pt x="72860" y="115579"/>
                    <a:pt x="72860" y="115579"/>
                  </a:cubicBezTo>
                  <a:cubicBezTo>
                    <a:pt x="72860" y="115579"/>
                    <a:pt x="72860" y="115579"/>
                    <a:pt x="72860" y="115579"/>
                  </a:cubicBezTo>
                  <a:cubicBezTo>
                    <a:pt x="72860" y="115579"/>
                    <a:pt x="72860" y="115579"/>
                    <a:pt x="72860" y="115579"/>
                  </a:cubicBezTo>
                  <a:cubicBezTo>
                    <a:pt x="72860" y="115579"/>
                    <a:pt x="72860" y="115579"/>
                    <a:pt x="72860" y="115579"/>
                  </a:cubicBezTo>
                  <a:cubicBezTo>
                    <a:pt x="72860" y="115579"/>
                    <a:pt x="72860" y="115579"/>
                    <a:pt x="72860" y="115579"/>
                  </a:cubicBezTo>
                  <a:cubicBezTo>
                    <a:pt x="72860" y="115579"/>
                    <a:pt x="72860" y="115579"/>
                    <a:pt x="72860" y="115579"/>
                  </a:cubicBezTo>
                  <a:cubicBezTo>
                    <a:pt x="72860" y="115579"/>
                    <a:pt x="72860" y="115579"/>
                    <a:pt x="72860" y="115579"/>
                  </a:cubicBezTo>
                  <a:cubicBezTo>
                    <a:pt x="72860" y="115579"/>
                    <a:pt x="72860" y="115579"/>
                    <a:pt x="72860" y="115579"/>
                  </a:cubicBezTo>
                  <a:cubicBezTo>
                    <a:pt x="72860" y="115579"/>
                    <a:pt x="72860" y="115579"/>
                    <a:pt x="72860" y="115579"/>
                  </a:cubicBezTo>
                  <a:cubicBezTo>
                    <a:pt x="72860" y="115579"/>
                    <a:pt x="72860" y="115579"/>
                    <a:pt x="72860" y="115579"/>
                  </a:cubicBezTo>
                  <a:cubicBezTo>
                    <a:pt x="72860" y="115579"/>
                    <a:pt x="72860" y="115579"/>
                    <a:pt x="72860" y="115579"/>
                  </a:cubicBezTo>
                  <a:cubicBezTo>
                    <a:pt x="72860" y="115579"/>
                    <a:pt x="72860" y="115579"/>
                    <a:pt x="72860" y="115579"/>
                  </a:cubicBezTo>
                  <a:cubicBezTo>
                    <a:pt x="72860" y="115579"/>
                    <a:pt x="72860" y="115579"/>
                    <a:pt x="72860" y="115579"/>
                  </a:cubicBezTo>
                  <a:cubicBezTo>
                    <a:pt x="72860" y="115579"/>
                    <a:pt x="72860" y="115579"/>
                    <a:pt x="72860" y="115579"/>
                  </a:cubicBezTo>
                  <a:cubicBezTo>
                    <a:pt x="72860" y="115579"/>
                    <a:pt x="72860" y="115579"/>
                    <a:pt x="72860" y="115579"/>
                  </a:cubicBezTo>
                  <a:cubicBezTo>
                    <a:pt x="72860" y="115579"/>
                    <a:pt x="72860" y="115579"/>
                    <a:pt x="72860" y="115579"/>
                  </a:cubicBezTo>
                  <a:cubicBezTo>
                    <a:pt x="72697" y="115659"/>
                    <a:pt x="72535" y="115579"/>
                    <a:pt x="72373" y="115579"/>
                  </a:cubicBezTo>
                  <a:cubicBezTo>
                    <a:pt x="72292" y="115659"/>
                    <a:pt x="72210" y="115740"/>
                    <a:pt x="72048" y="115740"/>
                  </a:cubicBezTo>
                  <a:cubicBezTo>
                    <a:pt x="71886" y="115740"/>
                    <a:pt x="71805" y="115659"/>
                    <a:pt x="71643" y="115659"/>
                  </a:cubicBezTo>
                  <a:cubicBezTo>
                    <a:pt x="71561" y="115740"/>
                    <a:pt x="71480" y="115820"/>
                    <a:pt x="71318" y="115820"/>
                  </a:cubicBezTo>
                  <a:cubicBezTo>
                    <a:pt x="71156" y="115820"/>
                    <a:pt x="71075" y="115659"/>
                    <a:pt x="71075" y="115659"/>
                  </a:cubicBezTo>
                  <a:cubicBezTo>
                    <a:pt x="70831" y="115659"/>
                    <a:pt x="70831" y="115659"/>
                    <a:pt x="70831" y="115659"/>
                  </a:cubicBezTo>
                  <a:cubicBezTo>
                    <a:pt x="70588" y="115418"/>
                    <a:pt x="70588" y="115418"/>
                    <a:pt x="70588" y="115418"/>
                  </a:cubicBezTo>
                  <a:cubicBezTo>
                    <a:pt x="70588" y="115418"/>
                    <a:pt x="70507" y="115579"/>
                    <a:pt x="70263" y="115579"/>
                  </a:cubicBezTo>
                  <a:cubicBezTo>
                    <a:pt x="70101" y="115498"/>
                    <a:pt x="69939" y="115418"/>
                    <a:pt x="69776" y="115498"/>
                  </a:cubicBezTo>
                  <a:cubicBezTo>
                    <a:pt x="69614" y="115498"/>
                    <a:pt x="69371" y="115579"/>
                    <a:pt x="69371" y="115579"/>
                  </a:cubicBezTo>
                  <a:cubicBezTo>
                    <a:pt x="68722" y="115338"/>
                    <a:pt x="68722" y="115338"/>
                    <a:pt x="68722" y="115338"/>
                  </a:cubicBezTo>
                  <a:cubicBezTo>
                    <a:pt x="68316" y="115257"/>
                    <a:pt x="68316" y="115257"/>
                    <a:pt x="68316" y="115257"/>
                  </a:cubicBezTo>
                  <a:cubicBezTo>
                    <a:pt x="67991" y="115177"/>
                    <a:pt x="67991" y="115177"/>
                    <a:pt x="67991" y="115177"/>
                  </a:cubicBezTo>
                  <a:cubicBezTo>
                    <a:pt x="67829" y="115418"/>
                    <a:pt x="67829" y="115418"/>
                    <a:pt x="67829" y="115418"/>
                  </a:cubicBezTo>
                  <a:cubicBezTo>
                    <a:pt x="67423" y="115418"/>
                    <a:pt x="67423" y="115418"/>
                    <a:pt x="67423" y="115418"/>
                  </a:cubicBezTo>
                  <a:cubicBezTo>
                    <a:pt x="67423" y="115418"/>
                    <a:pt x="66937" y="115257"/>
                    <a:pt x="66612" y="115338"/>
                  </a:cubicBezTo>
                  <a:cubicBezTo>
                    <a:pt x="66531" y="115338"/>
                    <a:pt x="66288" y="115579"/>
                    <a:pt x="66206" y="115579"/>
                  </a:cubicBezTo>
                  <a:cubicBezTo>
                    <a:pt x="66125" y="115659"/>
                    <a:pt x="66450" y="115900"/>
                    <a:pt x="66288" y="115900"/>
                  </a:cubicBezTo>
                  <a:cubicBezTo>
                    <a:pt x="63853" y="115659"/>
                    <a:pt x="61014" y="114695"/>
                    <a:pt x="58580" y="114052"/>
                  </a:cubicBezTo>
                  <a:cubicBezTo>
                    <a:pt x="58580" y="114052"/>
                    <a:pt x="56551" y="113569"/>
                    <a:pt x="56227" y="113569"/>
                  </a:cubicBezTo>
                  <a:cubicBezTo>
                    <a:pt x="55902" y="113569"/>
                    <a:pt x="55253" y="112685"/>
                    <a:pt x="55253" y="112444"/>
                  </a:cubicBezTo>
                  <a:cubicBezTo>
                    <a:pt x="55253" y="112203"/>
                    <a:pt x="55172" y="111480"/>
                    <a:pt x="55496" y="111319"/>
                  </a:cubicBezTo>
                  <a:cubicBezTo>
                    <a:pt x="55821" y="111158"/>
                    <a:pt x="55821" y="111158"/>
                    <a:pt x="56389" y="110676"/>
                  </a:cubicBezTo>
                  <a:cubicBezTo>
                    <a:pt x="56876" y="110113"/>
                    <a:pt x="56876" y="109711"/>
                    <a:pt x="56876" y="109711"/>
                  </a:cubicBezTo>
                  <a:cubicBezTo>
                    <a:pt x="55659" y="108988"/>
                    <a:pt x="55659" y="108988"/>
                    <a:pt x="55659" y="108988"/>
                  </a:cubicBezTo>
                  <a:cubicBezTo>
                    <a:pt x="55659" y="108988"/>
                    <a:pt x="54279" y="109711"/>
                    <a:pt x="54036" y="109551"/>
                  </a:cubicBezTo>
                  <a:cubicBezTo>
                    <a:pt x="53711" y="109390"/>
                    <a:pt x="52413" y="110274"/>
                    <a:pt x="52413" y="110274"/>
                  </a:cubicBezTo>
                  <a:cubicBezTo>
                    <a:pt x="51115" y="110354"/>
                    <a:pt x="51115" y="110354"/>
                    <a:pt x="51115" y="110354"/>
                  </a:cubicBezTo>
                  <a:cubicBezTo>
                    <a:pt x="51115" y="110194"/>
                    <a:pt x="51115" y="110194"/>
                    <a:pt x="51115" y="110194"/>
                  </a:cubicBezTo>
                  <a:cubicBezTo>
                    <a:pt x="51115" y="110194"/>
                    <a:pt x="51359" y="109390"/>
                    <a:pt x="51683" y="109551"/>
                  </a:cubicBezTo>
                  <a:cubicBezTo>
                    <a:pt x="52008" y="108586"/>
                    <a:pt x="52008" y="108586"/>
                    <a:pt x="52008" y="108586"/>
                  </a:cubicBezTo>
                  <a:cubicBezTo>
                    <a:pt x="51845" y="107461"/>
                    <a:pt x="51845" y="107461"/>
                    <a:pt x="51845" y="107461"/>
                  </a:cubicBezTo>
                  <a:cubicBezTo>
                    <a:pt x="51521" y="105934"/>
                    <a:pt x="51521" y="105934"/>
                    <a:pt x="51521" y="105934"/>
                  </a:cubicBezTo>
                  <a:cubicBezTo>
                    <a:pt x="53144" y="105853"/>
                    <a:pt x="53144" y="105853"/>
                    <a:pt x="53144" y="105853"/>
                  </a:cubicBezTo>
                  <a:cubicBezTo>
                    <a:pt x="54604" y="105050"/>
                    <a:pt x="54604" y="105050"/>
                    <a:pt x="54604" y="105050"/>
                  </a:cubicBezTo>
                  <a:cubicBezTo>
                    <a:pt x="54117" y="104246"/>
                    <a:pt x="54117" y="104246"/>
                    <a:pt x="54117" y="104246"/>
                  </a:cubicBezTo>
                  <a:cubicBezTo>
                    <a:pt x="52738" y="104728"/>
                    <a:pt x="52738" y="104728"/>
                    <a:pt x="52738" y="104728"/>
                  </a:cubicBezTo>
                  <a:cubicBezTo>
                    <a:pt x="51440" y="104487"/>
                    <a:pt x="51440" y="104487"/>
                    <a:pt x="51440" y="104487"/>
                  </a:cubicBezTo>
                  <a:cubicBezTo>
                    <a:pt x="49736" y="105934"/>
                    <a:pt x="49736" y="105934"/>
                    <a:pt x="49736" y="105934"/>
                  </a:cubicBezTo>
                  <a:cubicBezTo>
                    <a:pt x="47789" y="105934"/>
                    <a:pt x="47789" y="105934"/>
                    <a:pt x="47789" y="105934"/>
                  </a:cubicBezTo>
                  <a:cubicBezTo>
                    <a:pt x="47139" y="105853"/>
                    <a:pt x="47139" y="105853"/>
                    <a:pt x="47139" y="105853"/>
                  </a:cubicBezTo>
                  <a:cubicBezTo>
                    <a:pt x="47221" y="105693"/>
                    <a:pt x="47221" y="105532"/>
                    <a:pt x="47302" y="105532"/>
                  </a:cubicBezTo>
                  <a:cubicBezTo>
                    <a:pt x="47464" y="105452"/>
                    <a:pt x="48681" y="105050"/>
                    <a:pt x="48681" y="105050"/>
                  </a:cubicBezTo>
                  <a:cubicBezTo>
                    <a:pt x="49492" y="104567"/>
                    <a:pt x="49492" y="104567"/>
                    <a:pt x="49492" y="104567"/>
                  </a:cubicBezTo>
                  <a:cubicBezTo>
                    <a:pt x="49492" y="104567"/>
                    <a:pt x="49898" y="104005"/>
                    <a:pt x="50060" y="103924"/>
                  </a:cubicBezTo>
                  <a:cubicBezTo>
                    <a:pt x="50223" y="103924"/>
                    <a:pt x="50385" y="103603"/>
                    <a:pt x="50547" y="103201"/>
                  </a:cubicBezTo>
                  <a:cubicBezTo>
                    <a:pt x="50791" y="102880"/>
                    <a:pt x="50953" y="102638"/>
                    <a:pt x="50953" y="102638"/>
                  </a:cubicBezTo>
                  <a:cubicBezTo>
                    <a:pt x="50953" y="102638"/>
                    <a:pt x="51926" y="102397"/>
                    <a:pt x="51845" y="102317"/>
                  </a:cubicBezTo>
                  <a:cubicBezTo>
                    <a:pt x="51845" y="102156"/>
                    <a:pt x="51440" y="101835"/>
                    <a:pt x="51926" y="101835"/>
                  </a:cubicBezTo>
                  <a:cubicBezTo>
                    <a:pt x="52413" y="101835"/>
                    <a:pt x="52413" y="101835"/>
                    <a:pt x="52657" y="101674"/>
                  </a:cubicBezTo>
                  <a:cubicBezTo>
                    <a:pt x="52819" y="101594"/>
                    <a:pt x="52738" y="101513"/>
                    <a:pt x="52819" y="101272"/>
                  </a:cubicBezTo>
                  <a:cubicBezTo>
                    <a:pt x="52981" y="101111"/>
                    <a:pt x="53062" y="100870"/>
                    <a:pt x="53062" y="100709"/>
                  </a:cubicBezTo>
                  <a:cubicBezTo>
                    <a:pt x="52981" y="100549"/>
                    <a:pt x="52576" y="99906"/>
                    <a:pt x="52576" y="99745"/>
                  </a:cubicBezTo>
                  <a:cubicBezTo>
                    <a:pt x="52494" y="99504"/>
                    <a:pt x="52576" y="99022"/>
                    <a:pt x="52576" y="99022"/>
                  </a:cubicBezTo>
                  <a:cubicBezTo>
                    <a:pt x="52576" y="99022"/>
                    <a:pt x="52819" y="98941"/>
                    <a:pt x="53062" y="98861"/>
                  </a:cubicBezTo>
                  <a:cubicBezTo>
                    <a:pt x="53225" y="98700"/>
                    <a:pt x="53549" y="98137"/>
                    <a:pt x="53549" y="98137"/>
                  </a:cubicBezTo>
                  <a:cubicBezTo>
                    <a:pt x="53630" y="97736"/>
                    <a:pt x="53630" y="97736"/>
                    <a:pt x="53630" y="97736"/>
                  </a:cubicBezTo>
                  <a:cubicBezTo>
                    <a:pt x="53630" y="97736"/>
                    <a:pt x="53955" y="97494"/>
                    <a:pt x="54036" y="97494"/>
                  </a:cubicBezTo>
                  <a:cubicBezTo>
                    <a:pt x="54198" y="97414"/>
                    <a:pt x="55496" y="96932"/>
                    <a:pt x="55578" y="96932"/>
                  </a:cubicBezTo>
                  <a:cubicBezTo>
                    <a:pt x="55659" y="96932"/>
                    <a:pt x="56470" y="97012"/>
                    <a:pt x="56227" y="96610"/>
                  </a:cubicBezTo>
                  <a:cubicBezTo>
                    <a:pt x="55983" y="96289"/>
                    <a:pt x="55902" y="96128"/>
                    <a:pt x="55821" y="95887"/>
                  </a:cubicBezTo>
                  <a:cubicBezTo>
                    <a:pt x="55740" y="95646"/>
                    <a:pt x="55740" y="95083"/>
                    <a:pt x="55740" y="95003"/>
                  </a:cubicBezTo>
                  <a:cubicBezTo>
                    <a:pt x="55821" y="94922"/>
                    <a:pt x="56470" y="94681"/>
                    <a:pt x="55740" y="94601"/>
                  </a:cubicBezTo>
                  <a:cubicBezTo>
                    <a:pt x="55010" y="94521"/>
                    <a:pt x="55578" y="94279"/>
                    <a:pt x="55415" y="94119"/>
                  </a:cubicBezTo>
                  <a:cubicBezTo>
                    <a:pt x="55172" y="93958"/>
                    <a:pt x="54685" y="93636"/>
                    <a:pt x="54685" y="93636"/>
                  </a:cubicBezTo>
                  <a:cubicBezTo>
                    <a:pt x="54442" y="93636"/>
                    <a:pt x="54442" y="93636"/>
                    <a:pt x="54442" y="93636"/>
                  </a:cubicBezTo>
                  <a:cubicBezTo>
                    <a:pt x="54523" y="92833"/>
                    <a:pt x="54523" y="92833"/>
                    <a:pt x="54523" y="92833"/>
                  </a:cubicBezTo>
                  <a:cubicBezTo>
                    <a:pt x="54523" y="92833"/>
                    <a:pt x="54766" y="92511"/>
                    <a:pt x="54847" y="92511"/>
                  </a:cubicBezTo>
                  <a:cubicBezTo>
                    <a:pt x="54929" y="92431"/>
                    <a:pt x="55010" y="92109"/>
                    <a:pt x="54847" y="92109"/>
                  </a:cubicBezTo>
                  <a:cubicBezTo>
                    <a:pt x="54685" y="92190"/>
                    <a:pt x="54198" y="92270"/>
                    <a:pt x="54198" y="92270"/>
                  </a:cubicBezTo>
                  <a:cubicBezTo>
                    <a:pt x="54198" y="92270"/>
                    <a:pt x="53793" y="92270"/>
                    <a:pt x="53874" y="92109"/>
                  </a:cubicBezTo>
                  <a:cubicBezTo>
                    <a:pt x="53874" y="91868"/>
                    <a:pt x="54036" y="91868"/>
                    <a:pt x="54279" y="91627"/>
                  </a:cubicBezTo>
                  <a:cubicBezTo>
                    <a:pt x="54523" y="91386"/>
                    <a:pt x="54604" y="91225"/>
                    <a:pt x="54604" y="91225"/>
                  </a:cubicBezTo>
                  <a:cubicBezTo>
                    <a:pt x="54523" y="90743"/>
                    <a:pt x="54523" y="90743"/>
                    <a:pt x="54523" y="90743"/>
                  </a:cubicBezTo>
                  <a:cubicBezTo>
                    <a:pt x="54523" y="90743"/>
                    <a:pt x="54523" y="90421"/>
                    <a:pt x="54442" y="90421"/>
                  </a:cubicBezTo>
                  <a:cubicBezTo>
                    <a:pt x="54442" y="90341"/>
                    <a:pt x="53955" y="89377"/>
                    <a:pt x="53955" y="89377"/>
                  </a:cubicBezTo>
                  <a:cubicBezTo>
                    <a:pt x="53955" y="89377"/>
                    <a:pt x="53468" y="89216"/>
                    <a:pt x="53387" y="89377"/>
                  </a:cubicBezTo>
                  <a:cubicBezTo>
                    <a:pt x="53387" y="89537"/>
                    <a:pt x="53225" y="89859"/>
                    <a:pt x="53225" y="89859"/>
                  </a:cubicBezTo>
                  <a:cubicBezTo>
                    <a:pt x="52657" y="89859"/>
                    <a:pt x="52657" y="89859"/>
                    <a:pt x="52657" y="89859"/>
                  </a:cubicBezTo>
                  <a:cubicBezTo>
                    <a:pt x="52332" y="89618"/>
                    <a:pt x="52332" y="89618"/>
                    <a:pt x="52332" y="89618"/>
                  </a:cubicBezTo>
                  <a:cubicBezTo>
                    <a:pt x="51683" y="89457"/>
                    <a:pt x="51683" y="89457"/>
                    <a:pt x="51683" y="89457"/>
                  </a:cubicBezTo>
                  <a:cubicBezTo>
                    <a:pt x="51683" y="89457"/>
                    <a:pt x="51602" y="89537"/>
                    <a:pt x="51521" y="89618"/>
                  </a:cubicBezTo>
                  <a:cubicBezTo>
                    <a:pt x="51521" y="89698"/>
                    <a:pt x="50872" y="89296"/>
                    <a:pt x="50872" y="89296"/>
                  </a:cubicBezTo>
                  <a:cubicBezTo>
                    <a:pt x="50872" y="89296"/>
                    <a:pt x="50628" y="89618"/>
                    <a:pt x="50547" y="89698"/>
                  </a:cubicBezTo>
                  <a:cubicBezTo>
                    <a:pt x="50547" y="89698"/>
                    <a:pt x="49898" y="89537"/>
                    <a:pt x="49898" y="89537"/>
                  </a:cubicBezTo>
                  <a:cubicBezTo>
                    <a:pt x="49249" y="89618"/>
                    <a:pt x="49249" y="89618"/>
                    <a:pt x="49249" y="89618"/>
                  </a:cubicBezTo>
                  <a:cubicBezTo>
                    <a:pt x="48681" y="89698"/>
                    <a:pt x="48681" y="89698"/>
                    <a:pt x="48681" y="89698"/>
                  </a:cubicBezTo>
                  <a:cubicBezTo>
                    <a:pt x="48194" y="89457"/>
                    <a:pt x="48194" y="89457"/>
                    <a:pt x="48194" y="89457"/>
                  </a:cubicBezTo>
                  <a:cubicBezTo>
                    <a:pt x="48032" y="89698"/>
                    <a:pt x="48032" y="89698"/>
                    <a:pt x="48032" y="89698"/>
                  </a:cubicBezTo>
                  <a:cubicBezTo>
                    <a:pt x="48113" y="90100"/>
                    <a:pt x="48113" y="90100"/>
                    <a:pt x="48113" y="90100"/>
                  </a:cubicBezTo>
                  <a:cubicBezTo>
                    <a:pt x="47707" y="90341"/>
                    <a:pt x="47707" y="90341"/>
                    <a:pt x="47707" y="90341"/>
                  </a:cubicBezTo>
                  <a:cubicBezTo>
                    <a:pt x="47221" y="90020"/>
                    <a:pt x="47221" y="90020"/>
                    <a:pt x="47221" y="90020"/>
                  </a:cubicBezTo>
                  <a:cubicBezTo>
                    <a:pt x="46815" y="89939"/>
                    <a:pt x="46815" y="89939"/>
                    <a:pt x="46815" y="89939"/>
                  </a:cubicBezTo>
                  <a:cubicBezTo>
                    <a:pt x="46247" y="89377"/>
                    <a:pt x="46247" y="89377"/>
                    <a:pt x="46247" y="89377"/>
                  </a:cubicBezTo>
                  <a:cubicBezTo>
                    <a:pt x="45760" y="89216"/>
                    <a:pt x="45760" y="89216"/>
                    <a:pt x="45760" y="89216"/>
                  </a:cubicBezTo>
                  <a:cubicBezTo>
                    <a:pt x="45273" y="88975"/>
                    <a:pt x="45273" y="88975"/>
                    <a:pt x="45273" y="88975"/>
                  </a:cubicBezTo>
                  <a:cubicBezTo>
                    <a:pt x="45273" y="88975"/>
                    <a:pt x="45030" y="89618"/>
                    <a:pt x="44949" y="89698"/>
                  </a:cubicBezTo>
                  <a:cubicBezTo>
                    <a:pt x="44868" y="89698"/>
                    <a:pt x="44462" y="89859"/>
                    <a:pt x="44381" y="89859"/>
                  </a:cubicBezTo>
                  <a:cubicBezTo>
                    <a:pt x="44219" y="89939"/>
                    <a:pt x="44137" y="90341"/>
                    <a:pt x="44137" y="90341"/>
                  </a:cubicBezTo>
                  <a:cubicBezTo>
                    <a:pt x="43732" y="90582"/>
                    <a:pt x="43732" y="90582"/>
                    <a:pt x="43732" y="90582"/>
                  </a:cubicBezTo>
                  <a:cubicBezTo>
                    <a:pt x="43732" y="90582"/>
                    <a:pt x="43488" y="90421"/>
                    <a:pt x="43326" y="90421"/>
                  </a:cubicBezTo>
                  <a:cubicBezTo>
                    <a:pt x="43245" y="90421"/>
                    <a:pt x="43164" y="90502"/>
                    <a:pt x="43164" y="90502"/>
                  </a:cubicBezTo>
                  <a:cubicBezTo>
                    <a:pt x="43002" y="90743"/>
                    <a:pt x="43002" y="90743"/>
                    <a:pt x="43002" y="90743"/>
                  </a:cubicBezTo>
                  <a:cubicBezTo>
                    <a:pt x="43002" y="90743"/>
                    <a:pt x="42920" y="90743"/>
                    <a:pt x="42677" y="90582"/>
                  </a:cubicBezTo>
                  <a:cubicBezTo>
                    <a:pt x="42515" y="90502"/>
                    <a:pt x="42271" y="90341"/>
                    <a:pt x="42271" y="90341"/>
                  </a:cubicBezTo>
                  <a:cubicBezTo>
                    <a:pt x="42028" y="90261"/>
                    <a:pt x="42028" y="90261"/>
                    <a:pt x="42028" y="90261"/>
                  </a:cubicBezTo>
                  <a:cubicBezTo>
                    <a:pt x="42028" y="90261"/>
                    <a:pt x="41298" y="90582"/>
                    <a:pt x="41217" y="90663"/>
                  </a:cubicBezTo>
                  <a:cubicBezTo>
                    <a:pt x="41217" y="90743"/>
                    <a:pt x="41054" y="90984"/>
                    <a:pt x="41054" y="90984"/>
                  </a:cubicBezTo>
                  <a:cubicBezTo>
                    <a:pt x="40649" y="90663"/>
                    <a:pt x="40649" y="90663"/>
                    <a:pt x="40649" y="90663"/>
                  </a:cubicBezTo>
                  <a:cubicBezTo>
                    <a:pt x="40162" y="90341"/>
                    <a:pt x="40162" y="90341"/>
                    <a:pt x="40162" y="90341"/>
                  </a:cubicBezTo>
                  <a:cubicBezTo>
                    <a:pt x="40081" y="89778"/>
                    <a:pt x="40081" y="89778"/>
                    <a:pt x="40081" y="89778"/>
                  </a:cubicBezTo>
                  <a:cubicBezTo>
                    <a:pt x="39188" y="88975"/>
                    <a:pt x="39188" y="88975"/>
                    <a:pt x="39188" y="88975"/>
                  </a:cubicBezTo>
                  <a:cubicBezTo>
                    <a:pt x="39026" y="88171"/>
                    <a:pt x="39026" y="88171"/>
                    <a:pt x="39026" y="88171"/>
                  </a:cubicBezTo>
                  <a:cubicBezTo>
                    <a:pt x="38377" y="87689"/>
                    <a:pt x="38377" y="87689"/>
                    <a:pt x="38377" y="87689"/>
                  </a:cubicBezTo>
                  <a:cubicBezTo>
                    <a:pt x="37971" y="88171"/>
                    <a:pt x="37971" y="88171"/>
                    <a:pt x="37971" y="88171"/>
                  </a:cubicBezTo>
                  <a:cubicBezTo>
                    <a:pt x="37322" y="88091"/>
                    <a:pt x="37322" y="88091"/>
                    <a:pt x="37322" y="88091"/>
                  </a:cubicBezTo>
                  <a:close/>
                  <a:moveTo>
                    <a:pt x="28965" y="5867"/>
                  </a:moveTo>
                  <a:cubicBezTo>
                    <a:pt x="28965" y="5867"/>
                    <a:pt x="28965" y="5867"/>
                    <a:pt x="28965" y="5867"/>
                  </a:cubicBezTo>
                  <a:cubicBezTo>
                    <a:pt x="29046" y="5947"/>
                    <a:pt x="29046" y="5947"/>
                    <a:pt x="29046" y="5947"/>
                  </a:cubicBezTo>
                  <a:cubicBezTo>
                    <a:pt x="29046" y="5947"/>
                    <a:pt x="29533" y="6430"/>
                    <a:pt x="29939" y="6430"/>
                  </a:cubicBezTo>
                  <a:cubicBezTo>
                    <a:pt x="30344" y="6430"/>
                    <a:pt x="30020" y="6430"/>
                    <a:pt x="30425" y="6349"/>
                  </a:cubicBezTo>
                  <a:cubicBezTo>
                    <a:pt x="30750" y="6188"/>
                    <a:pt x="30831" y="5947"/>
                    <a:pt x="30993" y="5706"/>
                  </a:cubicBezTo>
                  <a:cubicBezTo>
                    <a:pt x="31156" y="5465"/>
                    <a:pt x="31156" y="5465"/>
                    <a:pt x="31156" y="5224"/>
                  </a:cubicBezTo>
                  <a:cubicBezTo>
                    <a:pt x="31156" y="4983"/>
                    <a:pt x="31156" y="4581"/>
                    <a:pt x="31156" y="4340"/>
                  </a:cubicBezTo>
                  <a:cubicBezTo>
                    <a:pt x="31156" y="4099"/>
                    <a:pt x="31399" y="4179"/>
                    <a:pt x="31643" y="4179"/>
                  </a:cubicBezTo>
                  <a:cubicBezTo>
                    <a:pt x="31805" y="4179"/>
                    <a:pt x="31480" y="3536"/>
                    <a:pt x="31480" y="3536"/>
                  </a:cubicBezTo>
                  <a:cubicBezTo>
                    <a:pt x="31480" y="3536"/>
                    <a:pt x="30750" y="3215"/>
                    <a:pt x="30425" y="3215"/>
                  </a:cubicBezTo>
                  <a:cubicBezTo>
                    <a:pt x="30101" y="3215"/>
                    <a:pt x="29371" y="3134"/>
                    <a:pt x="29371" y="3134"/>
                  </a:cubicBezTo>
                  <a:cubicBezTo>
                    <a:pt x="28478" y="4259"/>
                    <a:pt x="28478" y="4259"/>
                    <a:pt x="28478" y="4259"/>
                  </a:cubicBezTo>
                  <a:cubicBezTo>
                    <a:pt x="28478" y="4259"/>
                    <a:pt x="28803" y="5787"/>
                    <a:pt x="28965" y="5867"/>
                  </a:cubicBezTo>
                  <a:close/>
                </a:path>
              </a:pathLst>
            </a:custGeom>
            <a:solidFill>
              <a:srgbClr val="D9D9D9"/>
            </a:solidFill>
            <a:ln w="3175" cap="flat" cmpd="sng">
              <a:solidFill>
                <a:schemeClr val="tx1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defTabSz="457178"/>
              <a:endParaRPr kern="0">
                <a:solidFill>
                  <a:srgbClr val="7F7F7F"/>
                </a:solidFill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46" name="Shape 2053">
              <a:extLst>
                <a:ext uri="{FF2B5EF4-FFF2-40B4-BE49-F238E27FC236}">
                  <a16:creationId xmlns:a16="http://schemas.microsoft.com/office/drawing/2014/main" id="{3375BC00-9C67-4A7A-8642-677962170696}"/>
                </a:ext>
              </a:extLst>
            </p:cNvPr>
            <p:cNvSpPr/>
            <p:nvPr/>
          </p:nvSpPr>
          <p:spPr>
            <a:xfrm>
              <a:off x="3733035" y="1542150"/>
              <a:ext cx="664055" cy="121670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30103" y="109309"/>
                  </a:moveTo>
                  <a:cubicBezTo>
                    <a:pt x="28453" y="109963"/>
                    <a:pt x="28453" y="109963"/>
                    <a:pt x="28453" y="109963"/>
                  </a:cubicBezTo>
                  <a:cubicBezTo>
                    <a:pt x="28453" y="110836"/>
                    <a:pt x="28453" y="110836"/>
                    <a:pt x="28453" y="110836"/>
                  </a:cubicBezTo>
                  <a:cubicBezTo>
                    <a:pt x="27628" y="111709"/>
                    <a:pt x="27628" y="111709"/>
                    <a:pt x="27628" y="111709"/>
                  </a:cubicBezTo>
                  <a:cubicBezTo>
                    <a:pt x="27628" y="111709"/>
                    <a:pt x="26804" y="111927"/>
                    <a:pt x="26804" y="112145"/>
                  </a:cubicBezTo>
                  <a:cubicBezTo>
                    <a:pt x="26391" y="112363"/>
                    <a:pt x="24742" y="113018"/>
                    <a:pt x="24742" y="113018"/>
                  </a:cubicBezTo>
                  <a:cubicBezTo>
                    <a:pt x="24742" y="113018"/>
                    <a:pt x="24742" y="113236"/>
                    <a:pt x="24329" y="113236"/>
                  </a:cubicBezTo>
                  <a:cubicBezTo>
                    <a:pt x="23917" y="113236"/>
                    <a:pt x="21030" y="113890"/>
                    <a:pt x="21030" y="113890"/>
                  </a:cubicBezTo>
                  <a:cubicBezTo>
                    <a:pt x="20206" y="114763"/>
                    <a:pt x="20206" y="114763"/>
                    <a:pt x="20206" y="114763"/>
                  </a:cubicBezTo>
                  <a:cubicBezTo>
                    <a:pt x="18556" y="114981"/>
                    <a:pt x="18556" y="114981"/>
                    <a:pt x="18556" y="114981"/>
                  </a:cubicBezTo>
                  <a:cubicBezTo>
                    <a:pt x="17319" y="116072"/>
                    <a:pt x="17319" y="116072"/>
                    <a:pt x="17319" y="116072"/>
                  </a:cubicBezTo>
                  <a:cubicBezTo>
                    <a:pt x="15257" y="116509"/>
                    <a:pt x="15257" y="116509"/>
                    <a:pt x="15257" y="116509"/>
                  </a:cubicBezTo>
                  <a:cubicBezTo>
                    <a:pt x="13608" y="116727"/>
                    <a:pt x="13608" y="116727"/>
                    <a:pt x="13608" y="116727"/>
                  </a:cubicBezTo>
                  <a:cubicBezTo>
                    <a:pt x="11958" y="116290"/>
                    <a:pt x="11958" y="116290"/>
                    <a:pt x="11958" y="116290"/>
                  </a:cubicBezTo>
                  <a:cubicBezTo>
                    <a:pt x="10721" y="116727"/>
                    <a:pt x="10721" y="116727"/>
                    <a:pt x="10721" y="116727"/>
                  </a:cubicBezTo>
                  <a:cubicBezTo>
                    <a:pt x="9484" y="117163"/>
                    <a:pt x="9484" y="117163"/>
                    <a:pt x="9484" y="117163"/>
                  </a:cubicBezTo>
                  <a:cubicBezTo>
                    <a:pt x="9896" y="118036"/>
                    <a:pt x="9896" y="118036"/>
                    <a:pt x="9896" y="118036"/>
                  </a:cubicBezTo>
                  <a:cubicBezTo>
                    <a:pt x="11134" y="118472"/>
                    <a:pt x="11134" y="118472"/>
                    <a:pt x="11134" y="118472"/>
                  </a:cubicBezTo>
                  <a:cubicBezTo>
                    <a:pt x="11958" y="117818"/>
                    <a:pt x="11958" y="117818"/>
                    <a:pt x="11958" y="117818"/>
                  </a:cubicBezTo>
                  <a:cubicBezTo>
                    <a:pt x="14432" y="118254"/>
                    <a:pt x="14432" y="118254"/>
                    <a:pt x="14432" y="118254"/>
                  </a:cubicBezTo>
                  <a:cubicBezTo>
                    <a:pt x="14432" y="118254"/>
                    <a:pt x="15257" y="118909"/>
                    <a:pt x="15670" y="119127"/>
                  </a:cubicBezTo>
                  <a:cubicBezTo>
                    <a:pt x="15670" y="119345"/>
                    <a:pt x="15670" y="120000"/>
                    <a:pt x="16082" y="120000"/>
                  </a:cubicBezTo>
                  <a:cubicBezTo>
                    <a:pt x="16494" y="119781"/>
                    <a:pt x="18556" y="119127"/>
                    <a:pt x="18556" y="119127"/>
                  </a:cubicBezTo>
                  <a:cubicBezTo>
                    <a:pt x="17731" y="118254"/>
                    <a:pt x="17731" y="118254"/>
                    <a:pt x="17731" y="118254"/>
                  </a:cubicBezTo>
                  <a:cubicBezTo>
                    <a:pt x="17731" y="118254"/>
                    <a:pt x="18969" y="118036"/>
                    <a:pt x="19793" y="118036"/>
                  </a:cubicBezTo>
                  <a:cubicBezTo>
                    <a:pt x="20618" y="118036"/>
                    <a:pt x="21443" y="118254"/>
                    <a:pt x="21855" y="117818"/>
                  </a:cubicBezTo>
                  <a:cubicBezTo>
                    <a:pt x="21855" y="117600"/>
                    <a:pt x="23092" y="117600"/>
                    <a:pt x="23092" y="117600"/>
                  </a:cubicBezTo>
                  <a:cubicBezTo>
                    <a:pt x="23092" y="117600"/>
                    <a:pt x="23917" y="116945"/>
                    <a:pt x="23917" y="116945"/>
                  </a:cubicBezTo>
                  <a:cubicBezTo>
                    <a:pt x="23917" y="116727"/>
                    <a:pt x="25154" y="116290"/>
                    <a:pt x="25154" y="116290"/>
                  </a:cubicBezTo>
                  <a:cubicBezTo>
                    <a:pt x="25154" y="116290"/>
                    <a:pt x="28041" y="116945"/>
                    <a:pt x="28453" y="116945"/>
                  </a:cubicBezTo>
                  <a:cubicBezTo>
                    <a:pt x="28865" y="116945"/>
                    <a:pt x="31752" y="116509"/>
                    <a:pt x="31752" y="116509"/>
                  </a:cubicBezTo>
                  <a:cubicBezTo>
                    <a:pt x="32989" y="117163"/>
                    <a:pt x="32989" y="117163"/>
                    <a:pt x="32989" y="117163"/>
                  </a:cubicBezTo>
                  <a:cubicBezTo>
                    <a:pt x="32989" y="117163"/>
                    <a:pt x="32989" y="117600"/>
                    <a:pt x="33814" y="117818"/>
                  </a:cubicBezTo>
                  <a:cubicBezTo>
                    <a:pt x="34639" y="117818"/>
                    <a:pt x="35051" y="117818"/>
                    <a:pt x="35051" y="117818"/>
                  </a:cubicBezTo>
                  <a:cubicBezTo>
                    <a:pt x="36288" y="118690"/>
                    <a:pt x="36288" y="118690"/>
                    <a:pt x="36288" y="118690"/>
                  </a:cubicBezTo>
                  <a:cubicBezTo>
                    <a:pt x="37525" y="119127"/>
                    <a:pt x="37525" y="119127"/>
                    <a:pt x="37525" y="119127"/>
                  </a:cubicBezTo>
                  <a:cubicBezTo>
                    <a:pt x="37525" y="119127"/>
                    <a:pt x="38762" y="119127"/>
                    <a:pt x="38762" y="118909"/>
                  </a:cubicBezTo>
                  <a:cubicBezTo>
                    <a:pt x="38762" y="118690"/>
                    <a:pt x="39175" y="118254"/>
                    <a:pt x="39587" y="118036"/>
                  </a:cubicBezTo>
                  <a:cubicBezTo>
                    <a:pt x="40000" y="118036"/>
                    <a:pt x="41237" y="117818"/>
                    <a:pt x="41237" y="117818"/>
                  </a:cubicBezTo>
                  <a:cubicBezTo>
                    <a:pt x="41237" y="117818"/>
                    <a:pt x="41237" y="117381"/>
                    <a:pt x="41237" y="117163"/>
                  </a:cubicBezTo>
                  <a:cubicBezTo>
                    <a:pt x="41237" y="116727"/>
                    <a:pt x="41237" y="116072"/>
                    <a:pt x="41649" y="115854"/>
                  </a:cubicBezTo>
                  <a:cubicBezTo>
                    <a:pt x="41649" y="115854"/>
                    <a:pt x="42886" y="114981"/>
                    <a:pt x="42886" y="114981"/>
                  </a:cubicBezTo>
                  <a:cubicBezTo>
                    <a:pt x="44948" y="114763"/>
                    <a:pt x="44948" y="114763"/>
                    <a:pt x="44948" y="114763"/>
                  </a:cubicBezTo>
                  <a:cubicBezTo>
                    <a:pt x="49896" y="114545"/>
                    <a:pt x="49896" y="114545"/>
                    <a:pt x="49896" y="114545"/>
                  </a:cubicBezTo>
                  <a:cubicBezTo>
                    <a:pt x="51546" y="114545"/>
                    <a:pt x="51546" y="114545"/>
                    <a:pt x="51546" y="114545"/>
                  </a:cubicBezTo>
                  <a:cubicBezTo>
                    <a:pt x="53608" y="115418"/>
                    <a:pt x="53608" y="115418"/>
                    <a:pt x="53608" y="115418"/>
                  </a:cubicBezTo>
                  <a:cubicBezTo>
                    <a:pt x="55670" y="116509"/>
                    <a:pt x="55670" y="116509"/>
                    <a:pt x="55670" y="116509"/>
                  </a:cubicBezTo>
                  <a:cubicBezTo>
                    <a:pt x="55670" y="116509"/>
                    <a:pt x="56907" y="117381"/>
                    <a:pt x="56907" y="117163"/>
                  </a:cubicBezTo>
                  <a:cubicBezTo>
                    <a:pt x="57319" y="116727"/>
                    <a:pt x="57731" y="115854"/>
                    <a:pt x="58144" y="115854"/>
                  </a:cubicBezTo>
                  <a:cubicBezTo>
                    <a:pt x="58556" y="115854"/>
                    <a:pt x="59793" y="116727"/>
                    <a:pt x="59793" y="116727"/>
                  </a:cubicBezTo>
                  <a:cubicBezTo>
                    <a:pt x="61443" y="116945"/>
                    <a:pt x="61443" y="116945"/>
                    <a:pt x="61443" y="116945"/>
                  </a:cubicBezTo>
                  <a:cubicBezTo>
                    <a:pt x="62680" y="116945"/>
                    <a:pt x="62680" y="116945"/>
                    <a:pt x="62680" y="116945"/>
                  </a:cubicBezTo>
                  <a:cubicBezTo>
                    <a:pt x="63917" y="116290"/>
                    <a:pt x="63917" y="116290"/>
                    <a:pt x="63917" y="116290"/>
                  </a:cubicBezTo>
                  <a:cubicBezTo>
                    <a:pt x="63092" y="115636"/>
                    <a:pt x="63092" y="115636"/>
                    <a:pt x="63092" y="115636"/>
                  </a:cubicBezTo>
                  <a:cubicBezTo>
                    <a:pt x="64742" y="115854"/>
                    <a:pt x="64742" y="115854"/>
                    <a:pt x="64742" y="115854"/>
                  </a:cubicBezTo>
                  <a:cubicBezTo>
                    <a:pt x="69278" y="116072"/>
                    <a:pt x="69278" y="116072"/>
                    <a:pt x="69278" y="116072"/>
                  </a:cubicBezTo>
                  <a:cubicBezTo>
                    <a:pt x="71340" y="115854"/>
                    <a:pt x="71340" y="115854"/>
                    <a:pt x="71340" y="115854"/>
                  </a:cubicBezTo>
                  <a:cubicBezTo>
                    <a:pt x="72989" y="115636"/>
                    <a:pt x="72989" y="115636"/>
                    <a:pt x="72989" y="115636"/>
                  </a:cubicBezTo>
                  <a:cubicBezTo>
                    <a:pt x="72989" y="116072"/>
                    <a:pt x="72989" y="116072"/>
                    <a:pt x="72989" y="116072"/>
                  </a:cubicBezTo>
                  <a:cubicBezTo>
                    <a:pt x="70515" y="116509"/>
                    <a:pt x="70515" y="116509"/>
                    <a:pt x="70515" y="116509"/>
                  </a:cubicBezTo>
                  <a:cubicBezTo>
                    <a:pt x="70515" y="116509"/>
                    <a:pt x="69278" y="116509"/>
                    <a:pt x="69690" y="116727"/>
                  </a:cubicBezTo>
                  <a:cubicBezTo>
                    <a:pt x="70103" y="117163"/>
                    <a:pt x="72164" y="117600"/>
                    <a:pt x="72164" y="117600"/>
                  </a:cubicBezTo>
                  <a:cubicBezTo>
                    <a:pt x="72164" y="117600"/>
                    <a:pt x="70927" y="117818"/>
                    <a:pt x="72577" y="117818"/>
                  </a:cubicBezTo>
                  <a:cubicBezTo>
                    <a:pt x="74226" y="117818"/>
                    <a:pt x="75051" y="117600"/>
                    <a:pt x="75051" y="117600"/>
                  </a:cubicBezTo>
                  <a:cubicBezTo>
                    <a:pt x="76288" y="116945"/>
                    <a:pt x="76288" y="116945"/>
                    <a:pt x="76288" y="116945"/>
                  </a:cubicBezTo>
                  <a:cubicBezTo>
                    <a:pt x="75463" y="116509"/>
                    <a:pt x="75463" y="116509"/>
                    <a:pt x="75463" y="116509"/>
                  </a:cubicBezTo>
                  <a:cubicBezTo>
                    <a:pt x="73402" y="116290"/>
                    <a:pt x="73402" y="116290"/>
                    <a:pt x="73402" y="116290"/>
                  </a:cubicBezTo>
                  <a:cubicBezTo>
                    <a:pt x="73814" y="115418"/>
                    <a:pt x="73814" y="115418"/>
                    <a:pt x="73814" y="115418"/>
                  </a:cubicBezTo>
                  <a:cubicBezTo>
                    <a:pt x="74226" y="115418"/>
                    <a:pt x="74226" y="115418"/>
                    <a:pt x="74226" y="115418"/>
                  </a:cubicBezTo>
                  <a:cubicBezTo>
                    <a:pt x="75463" y="116072"/>
                    <a:pt x="75463" y="116072"/>
                    <a:pt x="75463" y="116072"/>
                  </a:cubicBezTo>
                  <a:cubicBezTo>
                    <a:pt x="76701" y="115636"/>
                    <a:pt x="76701" y="115636"/>
                    <a:pt x="76701" y="115636"/>
                  </a:cubicBezTo>
                  <a:cubicBezTo>
                    <a:pt x="78350" y="115854"/>
                    <a:pt x="78350" y="115854"/>
                    <a:pt x="78350" y="115854"/>
                  </a:cubicBezTo>
                  <a:cubicBezTo>
                    <a:pt x="79175" y="116727"/>
                    <a:pt x="79175" y="116727"/>
                    <a:pt x="79175" y="116727"/>
                  </a:cubicBezTo>
                  <a:cubicBezTo>
                    <a:pt x="79175" y="116727"/>
                    <a:pt x="80000" y="117163"/>
                    <a:pt x="80824" y="116727"/>
                  </a:cubicBezTo>
                  <a:cubicBezTo>
                    <a:pt x="81649" y="116509"/>
                    <a:pt x="82474" y="116290"/>
                    <a:pt x="82474" y="116290"/>
                  </a:cubicBezTo>
                  <a:cubicBezTo>
                    <a:pt x="87422" y="116509"/>
                    <a:pt x="87422" y="116509"/>
                    <a:pt x="87422" y="116509"/>
                  </a:cubicBezTo>
                  <a:cubicBezTo>
                    <a:pt x="87422" y="116509"/>
                    <a:pt x="89896" y="116290"/>
                    <a:pt x="90309" y="116727"/>
                  </a:cubicBezTo>
                  <a:cubicBezTo>
                    <a:pt x="90721" y="116945"/>
                    <a:pt x="91958" y="117381"/>
                    <a:pt x="91958" y="117381"/>
                  </a:cubicBezTo>
                  <a:cubicBezTo>
                    <a:pt x="94020" y="117600"/>
                    <a:pt x="94020" y="117600"/>
                    <a:pt x="94020" y="117600"/>
                  </a:cubicBezTo>
                  <a:cubicBezTo>
                    <a:pt x="96082" y="117600"/>
                    <a:pt x="96082" y="117600"/>
                    <a:pt x="96082" y="117600"/>
                  </a:cubicBezTo>
                  <a:cubicBezTo>
                    <a:pt x="96082" y="117600"/>
                    <a:pt x="96907" y="117163"/>
                    <a:pt x="97319" y="116945"/>
                  </a:cubicBezTo>
                  <a:cubicBezTo>
                    <a:pt x="98144" y="116945"/>
                    <a:pt x="99381" y="116509"/>
                    <a:pt x="99793" y="116509"/>
                  </a:cubicBezTo>
                  <a:cubicBezTo>
                    <a:pt x="100618" y="116509"/>
                    <a:pt x="102680" y="116290"/>
                    <a:pt x="102680" y="116290"/>
                  </a:cubicBezTo>
                  <a:cubicBezTo>
                    <a:pt x="103092" y="116290"/>
                    <a:pt x="103505" y="116509"/>
                    <a:pt x="104329" y="116290"/>
                  </a:cubicBezTo>
                  <a:cubicBezTo>
                    <a:pt x="104742" y="116290"/>
                    <a:pt x="105979" y="115200"/>
                    <a:pt x="105979" y="115200"/>
                  </a:cubicBezTo>
                  <a:cubicBezTo>
                    <a:pt x="105979" y="115200"/>
                    <a:pt x="106391" y="114763"/>
                    <a:pt x="107216" y="114763"/>
                  </a:cubicBezTo>
                  <a:cubicBezTo>
                    <a:pt x="108041" y="114763"/>
                    <a:pt x="109278" y="114763"/>
                    <a:pt x="109690" y="114545"/>
                  </a:cubicBezTo>
                  <a:cubicBezTo>
                    <a:pt x="110103" y="114109"/>
                    <a:pt x="110515" y="113890"/>
                    <a:pt x="110927" y="113672"/>
                  </a:cubicBezTo>
                  <a:cubicBezTo>
                    <a:pt x="111340" y="113454"/>
                    <a:pt x="112164" y="112800"/>
                    <a:pt x="111752" y="112581"/>
                  </a:cubicBezTo>
                  <a:cubicBezTo>
                    <a:pt x="111752" y="112363"/>
                    <a:pt x="112164" y="111490"/>
                    <a:pt x="112164" y="111490"/>
                  </a:cubicBezTo>
                  <a:cubicBezTo>
                    <a:pt x="112164" y="111490"/>
                    <a:pt x="110927" y="111490"/>
                    <a:pt x="110515" y="111490"/>
                  </a:cubicBezTo>
                  <a:cubicBezTo>
                    <a:pt x="110103" y="111272"/>
                    <a:pt x="108453" y="111490"/>
                    <a:pt x="108041" y="111272"/>
                  </a:cubicBezTo>
                  <a:cubicBezTo>
                    <a:pt x="107628" y="111272"/>
                    <a:pt x="105979" y="111272"/>
                    <a:pt x="105979" y="111272"/>
                  </a:cubicBezTo>
                  <a:cubicBezTo>
                    <a:pt x="105567" y="110836"/>
                    <a:pt x="105567" y="110836"/>
                    <a:pt x="105567" y="110836"/>
                  </a:cubicBezTo>
                  <a:cubicBezTo>
                    <a:pt x="105567" y="110836"/>
                    <a:pt x="105154" y="110618"/>
                    <a:pt x="104742" y="110400"/>
                  </a:cubicBezTo>
                  <a:cubicBezTo>
                    <a:pt x="104329" y="110400"/>
                    <a:pt x="104742" y="110400"/>
                    <a:pt x="103917" y="110181"/>
                  </a:cubicBezTo>
                  <a:cubicBezTo>
                    <a:pt x="103505" y="110181"/>
                    <a:pt x="102680" y="109745"/>
                    <a:pt x="102680" y="109745"/>
                  </a:cubicBezTo>
                  <a:cubicBezTo>
                    <a:pt x="101443" y="109527"/>
                    <a:pt x="101443" y="109527"/>
                    <a:pt x="101443" y="109527"/>
                  </a:cubicBezTo>
                  <a:cubicBezTo>
                    <a:pt x="99793" y="109527"/>
                    <a:pt x="99793" y="109527"/>
                    <a:pt x="99793" y="109527"/>
                  </a:cubicBezTo>
                  <a:cubicBezTo>
                    <a:pt x="101443" y="109090"/>
                    <a:pt x="101443" y="109090"/>
                    <a:pt x="101443" y="109090"/>
                  </a:cubicBezTo>
                  <a:cubicBezTo>
                    <a:pt x="101443" y="109090"/>
                    <a:pt x="103092" y="109090"/>
                    <a:pt x="103505" y="109090"/>
                  </a:cubicBezTo>
                  <a:cubicBezTo>
                    <a:pt x="103917" y="109309"/>
                    <a:pt x="105567" y="109309"/>
                    <a:pt x="105567" y="109090"/>
                  </a:cubicBezTo>
                  <a:cubicBezTo>
                    <a:pt x="105979" y="109090"/>
                    <a:pt x="107216" y="108000"/>
                    <a:pt x="107216" y="108000"/>
                  </a:cubicBezTo>
                  <a:cubicBezTo>
                    <a:pt x="106804" y="107345"/>
                    <a:pt x="106804" y="107345"/>
                    <a:pt x="106804" y="107345"/>
                  </a:cubicBezTo>
                  <a:cubicBezTo>
                    <a:pt x="105979" y="106909"/>
                    <a:pt x="105979" y="106909"/>
                    <a:pt x="105979" y="106909"/>
                  </a:cubicBezTo>
                  <a:cubicBezTo>
                    <a:pt x="104329" y="107127"/>
                    <a:pt x="104329" y="107127"/>
                    <a:pt x="104329" y="107127"/>
                  </a:cubicBezTo>
                  <a:cubicBezTo>
                    <a:pt x="106804" y="106472"/>
                    <a:pt x="106804" y="106472"/>
                    <a:pt x="106804" y="106472"/>
                  </a:cubicBezTo>
                  <a:cubicBezTo>
                    <a:pt x="107628" y="106036"/>
                    <a:pt x="107628" y="106036"/>
                    <a:pt x="107628" y="106036"/>
                  </a:cubicBezTo>
                  <a:cubicBezTo>
                    <a:pt x="108865" y="106472"/>
                    <a:pt x="108865" y="106472"/>
                    <a:pt x="108865" y="106472"/>
                  </a:cubicBezTo>
                  <a:cubicBezTo>
                    <a:pt x="108865" y="106472"/>
                    <a:pt x="110927" y="106690"/>
                    <a:pt x="110927" y="106472"/>
                  </a:cubicBezTo>
                  <a:cubicBezTo>
                    <a:pt x="111340" y="106254"/>
                    <a:pt x="111752" y="105818"/>
                    <a:pt x="111752" y="105818"/>
                  </a:cubicBezTo>
                  <a:cubicBezTo>
                    <a:pt x="111752" y="105163"/>
                    <a:pt x="111752" y="105163"/>
                    <a:pt x="111752" y="105163"/>
                  </a:cubicBezTo>
                  <a:cubicBezTo>
                    <a:pt x="115876" y="103636"/>
                    <a:pt x="115876" y="103636"/>
                    <a:pt x="115876" y="103636"/>
                  </a:cubicBezTo>
                  <a:cubicBezTo>
                    <a:pt x="117525" y="102327"/>
                    <a:pt x="117525" y="102327"/>
                    <a:pt x="117525" y="102327"/>
                  </a:cubicBezTo>
                  <a:cubicBezTo>
                    <a:pt x="117938" y="101018"/>
                    <a:pt x="117938" y="101018"/>
                    <a:pt x="117938" y="101018"/>
                  </a:cubicBezTo>
                  <a:cubicBezTo>
                    <a:pt x="120000" y="99054"/>
                    <a:pt x="120000" y="99054"/>
                    <a:pt x="120000" y="99054"/>
                  </a:cubicBezTo>
                  <a:cubicBezTo>
                    <a:pt x="119587" y="96436"/>
                    <a:pt x="119587" y="96436"/>
                    <a:pt x="119587" y="96436"/>
                  </a:cubicBezTo>
                  <a:cubicBezTo>
                    <a:pt x="117525" y="94690"/>
                    <a:pt x="117525" y="94690"/>
                    <a:pt x="117525" y="94690"/>
                  </a:cubicBezTo>
                  <a:cubicBezTo>
                    <a:pt x="117525" y="94690"/>
                    <a:pt x="115051" y="93600"/>
                    <a:pt x="114226" y="93381"/>
                  </a:cubicBezTo>
                  <a:cubicBezTo>
                    <a:pt x="113402" y="93381"/>
                    <a:pt x="108865" y="92727"/>
                    <a:pt x="108865" y="92727"/>
                  </a:cubicBezTo>
                  <a:cubicBezTo>
                    <a:pt x="105567" y="92290"/>
                    <a:pt x="105567" y="92290"/>
                    <a:pt x="105567" y="92290"/>
                  </a:cubicBezTo>
                  <a:cubicBezTo>
                    <a:pt x="103917" y="92727"/>
                    <a:pt x="103917" y="92727"/>
                    <a:pt x="103917" y="92727"/>
                  </a:cubicBezTo>
                  <a:cubicBezTo>
                    <a:pt x="103505" y="93381"/>
                    <a:pt x="103505" y="93381"/>
                    <a:pt x="103505" y="93381"/>
                  </a:cubicBezTo>
                  <a:cubicBezTo>
                    <a:pt x="102268" y="93818"/>
                    <a:pt x="102268" y="93818"/>
                    <a:pt x="102268" y="93818"/>
                  </a:cubicBezTo>
                  <a:cubicBezTo>
                    <a:pt x="102268" y="93818"/>
                    <a:pt x="101030" y="94254"/>
                    <a:pt x="101030" y="94254"/>
                  </a:cubicBezTo>
                  <a:cubicBezTo>
                    <a:pt x="100618" y="94254"/>
                    <a:pt x="99793" y="93600"/>
                    <a:pt x="99793" y="93600"/>
                  </a:cubicBezTo>
                  <a:cubicBezTo>
                    <a:pt x="99793" y="93600"/>
                    <a:pt x="98556" y="92945"/>
                    <a:pt x="98556" y="92945"/>
                  </a:cubicBezTo>
                  <a:cubicBezTo>
                    <a:pt x="98144" y="92945"/>
                    <a:pt x="96907" y="92727"/>
                    <a:pt x="96907" y="92727"/>
                  </a:cubicBezTo>
                  <a:cubicBezTo>
                    <a:pt x="98556" y="92072"/>
                    <a:pt x="98556" y="92072"/>
                    <a:pt x="98556" y="92072"/>
                  </a:cubicBezTo>
                  <a:cubicBezTo>
                    <a:pt x="100618" y="91636"/>
                    <a:pt x="100618" y="91636"/>
                    <a:pt x="100618" y="91636"/>
                  </a:cubicBezTo>
                  <a:cubicBezTo>
                    <a:pt x="100618" y="91636"/>
                    <a:pt x="101443" y="91200"/>
                    <a:pt x="101443" y="90981"/>
                  </a:cubicBezTo>
                  <a:cubicBezTo>
                    <a:pt x="101855" y="90981"/>
                    <a:pt x="102680" y="90545"/>
                    <a:pt x="102680" y="90545"/>
                  </a:cubicBezTo>
                  <a:cubicBezTo>
                    <a:pt x="103092" y="88800"/>
                    <a:pt x="103092" y="88800"/>
                    <a:pt x="103092" y="88800"/>
                  </a:cubicBezTo>
                  <a:cubicBezTo>
                    <a:pt x="102268" y="87054"/>
                    <a:pt x="102268" y="87054"/>
                    <a:pt x="102268" y="87054"/>
                  </a:cubicBezTo>
                  <a:cubicBezTo>
                    <a:pt x="101030" y="86181"/>
                    <a:pt x="101030" y="86181"/>
                    <a:pt x="101030" y="86181"/>
                  </a:cubicBezTo>
                  <a:cubicBezTo>
                    <a:pt x="100206" y="85309"/>
                    <a:pt x="100206" y="85309"/>
                    <a:pt x="100206" y="85309"/>
                  </a:cubicBezTo>
                  <a:cubicBezTo>
                    <a:pt x="99381" y="85309"/>
                    <a:pt x="99381" y="85309"/>
                    <a:pt x="99381" y="85309"/>
                  </a:cubicBezTo>
                  <a:cubicBezTo>
                    <a:pt x="97731" y="84654"/>
                    <a:pt x="97731" y="84654"/>
                    <a:pt x="97731" y="84654"/>
                  </a:cubicBezTo>
                  <a:cubicBezTo>
                    <a:pt x="96494" y="83781"/>
                    <a:pt x="96494" y="83781"/>
                    <a:pt x="96494" y="83781"/>
                  </a:cubicBezTo>
                  <a:cubicBezTo>
                    <a:pt x="96082" y="83127"/>
                    <a:pt x="96082" y="83127"/>
                    <a:pt x="96082" y="83127"/>
                  </a:cubicBezTo>
                  <a:cubicBezTo>
                    <a:pt x="96494" y="82690"/>
                    <a:pt x="96494" y="82690"/>
                    <a:pt x="96494" y="82690"/>
                  </a:cubicBezTo>
                  <a:cubicBezTo>
                    <a:pt x="96907" y="82909"/>
                    <a:pt x="96907" y="82909"/>
                    <a:pt x="96907" y="82909"/>
                  </a:cubicBezTo>
                  <a:cubicBezTo>
                    <a:pt x="96907" y="82909"/>
                    <a:pt x="96907" y="83345"/>
                    <a:pt x="97319" y="83345"/>
                  </a:cubicBezTo>
                  <a:cubicBezTo>
                    <a:pt x="97319" y="83563"/>
                    <a:pt x="97731" y="83781"/>
                    <a:pt x="97731" y="83781"/>
                  </a:cubicBezTo>
                  <a:cubicBezTo>
                    <a:pt x="98144" y="84000"/>
                    <a:pt x="99793" y="84436"/>
                    <a:pt x="99793" y="84436"/>
                  </a:cubicBezTo>
                  <a:cubicBezTo>
                    <a:pt x="100618" y="84436"/>
                    <a:pt x="100618" y="84436"/>
                    <a:pt x="100618" y="84436"/>
                  </a:cubicBezTo>
                  <a:cubicBezTo>
                    <a:pt x="101443" y="85090"/>
                    <a:pt x="101443" y="85090"/>
                    <a:pt x="101443" y="85090"/>
                  </a:cubicBezTo>
                  <a:cubicBezTo>
                    <a:pt x="101443" y="85090"/>
                    <a:pt x="101855" y="84436"/>
                    <a:pt x="101855" y="84436"/>
                  </a:cubicBezTo>
                  <a:cubicBezTo>
                    <a:pt x="101855" y="84218"/>
                    <a:pt x="100618" y="83345"/>
                    <a:pt x="100618" y="83345"/>
                  </a:cubicBezTo>
                  <a:cubicBezTo>
                    <a:pt x="100206" y="83345"/>
                    <a:pt x="99793" y="82472"/>
                    <a:pt x="99793" y="82472"/>
                  </a:cubicBezTo>
                  <a:cubicBezTo>
                    <a:pt x="99381" y="82254"/>
                    <a:pt x="98556" y="80945"/>
                    <a:pt x="98556" y="80945"/>
                  </a:cubicBezTo>
                  <a:cubicBezTo>
                    <a:pt x="98556" y="80945"/>
                    <a:pt x="98144" y="80509"/>
                    <a:pt x="98144" y="80290"/>
                  </a:cubicBezTo>
                  <a:cubicBezTo>
                    <a:pt x="98144" y="80290"/>
                    <a:pt x="98144" y="79200"/>
                    <a:pt x="98144" y="79200"/>
                  </a:cubicBezTo>
                  <a:cubicBezTo>
                    <a:pt x="98969" y="78981"/>
                    <a:pt x="98969" y="78981"/>
                    <a:pt x="98969" y="78981"/>
                  </a:cubicBezTo>
                  <a:cubicBezTo>
                    <a:pt x="99793" y="78545"/>
                    <a:pt x="99793" y="78545"/>
                    <a:pt x="99793" y="78545"/>
                  </a:cubicBezTo>
                  <a:cubicBezTo>
                    <a:pt x="99793" y="78545"/>
                    <a:pt x="99381" y="78545"/>
                    <a:pt x="99381" y="78327"/>
                  </a:cubicBezTo>
                  <a:cubicBezTo>
                    <a:pt x="98969" y="77890"/>
                    <a:pt x="98144" y="77454"/>
                    <a:pt x="98144" y="77454"/>
                  </a:cubicBezTo>
                  <a:cubicBezTo>
                    <a:pt x="98144" y="77454"/>
                    <a:pt x="97319" y="77236"/>
                    <a:pt x="96907" y="77018"/>
                  </a:cubicBezTo>
                  <a:cubicBezTo>
                    <a:pt x="96907" y="76581"/>
                    <a:pt x="96494" y="76145"/>
                    <a:pt x="96494" y="76145"/>
                  </a:cubicBezTo>
                  <a:cubicBezTo>
                    <a:pt x="96494" y="75927"/>
                    <a:pt x="96082" y="74618"/>
                    <a:pt x="96082" y="74618"/>
                  </a:cubicBezTo>
                  <a:cubicBezTo>
                    <a:pt x="94020" y="73527"/>
                    <a:pt x="94020" y="73527"/>
                    <a:pt x="94020" y="73527"/>
                  </a:cubicBezTo>
                  <a:cubicBezTo>
                    <a:pt x="94020" y="73527"/>
                    <a:pt x="93195" y="73090"/>
                    <a:pt x="92783" y="72872"/>
                  </a:cubicBezTo>
                  <a:cubicBezTo>
                    <a:pt x="92783" y="72872"/>
                    <a:pt x="91546" y="72654"/>
                    <a:pt x="91546" y="72654"/>
                  </a:cubicBezTo>
                  <a:cubicBezTo>
                    <a:pt x="91134" y="72654"/>
                    <a:pt x="89072" y="72000"/>
                    <a:pt x="89072" y="72000"/>
                  </a:cubicBezTo>
                  <a:cubicBezTo>
                    <a:pt x="89072" y="72000"/>
                    <a:pt x="87422" y="70909"/>
                    <a:pt x="87422" y="70690"/>
                  </a:cubicBezTo>
                  <a:cubicBezTo>
                    <a:pt x="87422" y="70472"/>
                    <a:pt x="86597" y="69163"/>
                    <a:pt x="86597" y="69163"/>
                  </a:cubicBezTo>
                  <a:cubicBezTo>
                    <a:pt x="86597" y="68290"/>
                    <a:pt x="86597" y="68290"/>
                    <a:pt x="86597" y="68290"/>
                  </a:cubicBezTo>
                  <a:cubicBezTo>
                    <a:pt x="85773" y="66545"/>
                    <a:pt x="85773" y="66545"/>
                    <a:pt x="85773" y="66545"/>
                  </a:cubicBezTo>
                  <a:cubicBezTo>
                    <a:pt x="85360" y="64800"/>
                    <a:pt x="85360" y="64800"/>
                    <a:pt x="85360" y="64800"/>
                  </a:cubicBezTo>
                  <a:cubicBezTo>
                    <a:pt x="85360" y="63054"/>
                    <a:pt x="85360" y="63054"/>
                    <a:pt x="85360" y="63054"/>
                  </a:cubicBezTo>
                  <a:cubicBezTo>
                    <a:pt x="85360" y="61527"/>
                    <a:pt x="85360" y="61527"/>
                    <a:pt x="85360" y="61527"/>
                  </a:cubicBezTo>
                  <a:cubicBezTo>
                    <a:pt x="85360" y="60218"/>
                    <a:pt x="85360" y="60218"/>
                    <a:pt x="85360" y="60218"/>
                  </a:cubicBezTo>
                  <a:cubicBezTo>
                    <a:pt x="83298" y="58909"/>
                    <a:pt x="83298" y="58909"/>
                    <a:pt x="83298" y="58909"/>
                  </a:cubicBezTo>
                  <a:cubicBezTo>
                    <a:pt x="82474" y="57600"/>
                    <a:pt x="82474" y="57600"/>
                    <a:pt x="82474" y="57600"/>
                  </a:cubicBezTo>
                  <a:cubicBezTo>
                    <a:pt x="80000" y="56290"/>
                    <a:pt x="80000" y="56290"/>
                    <a:pt x="80000" y="56290"/>
                  </a:cubicBezTo>
                  <a:cubicBezTo>
                    <a:pt x="78350" y="55200"/>
                    <a:pt x="78350" y="55200"/>
                    <a:pt x="78350" y="55200"/>
                  </a:cubicBezTo>
                  <a:cubicBezTo>
                    <a:pt x="77113" y="54981"/>
                    <a:pt x="77113" y="54981"/>
                    <a:pt x="77113" y="54981"/>
                  </a:cubicBezTo>
                  <a:cubicBezTo>
                    <a:pt x="75051" y="53672"/>
                    <a:pt x="75051" y="53672"/>
                    <a:pt x="75051" y="53672"/>
                  </a:cubicBezTo>
                  <a:cubicBezTo>
                    <a:pt x="73402" y="53454"/>
                    <a:pt x="73402" y="53454"/>
                    <a:pt x="73402" y="53454"/>
                  </a:cubicBezTo>
                  <a:cubicBezTo>
                    <a:pt x="71752" y="53890"/>
                    <a:pt x="71752" y="53890"/>
                    <a:pt x="71752" y="53890"/>
                  </a:cubicBezTo>
                  <a:cubicBezTo>
                    <a:pt x="70103" y="54109"/>
                    <a:pt x="70103" y="54109"/>
                    <a:pt x="70103" y="54109"/>
                  </a:cubicBezTo>
                  <a:cubicBezTo>
                    <a:pt x="68453" y="54327"/>
                    <a:pt x="68453" y="54327"/>
                    <a:pt x="68453" y="54327"/>
                  </a:cubicBezTo>
                  <a:cubicBezTo>
                    <a:pt x="65567" y="53672"/>
                    <a:pt x="65567" y="53672"/>
                    <a:pt x="65567" y="53672"/>
                  </a:cubicBezTo>
                  <a:cubicBezTo>
                    <a:pt x="64329" y="53018"/>
                    <a:pt x="64329" y="53018"/>
                    <a:pt x="64329" y="53018"/>
                  </a:cubicBezTo>
                  <a:cubicBezTo>
                    <a:pt x="62680" y="52800"/>
                    <a:pt x="62680" y="52800"/>
                    <a:pt x="62680" y="52800"/>
                  </a:cubicBezTo>
                  <a:cubicBezTo>
                    <a:pt x="61855" y="52800"/>
                    <a:pt x="61855" y="52800"/>
                    <a:pt x="61855" y="52800"/>
                  </a:cubicBezTo>
                  <a:cubicBezTo>
                    <a:pt x="61855" y="52800"/>
                    <a:pt x="61855" y="52581"/>
                    <a:pt x="61855" y="52581"/>
                  </a:cubicBezTo>
                  <a:cubicBezTo>
                    <a:pt x="61855" y="52581"/>
                    <a:pt x="62680" y="52581"/>
                    <a:pt x="62680" y="52581"/>
                  </a:cubicBezTo>
                  <a:cubicBezTo>
                    <a:pt x="62680" y="52581"/>
                    <a:pt x="63505" y="52800"/>
                    <a:pt x="63917" y="52800"/>
                  </a:cubicBezTo>
                  <a:cubicBezTo>
                    <a:pt x="63917" y="52800"/>
                    <a:pt x="65154" y="53018"/>
                    <a:pt x="65154" y="53018"/>
                  </a:cubicBezTo>
                  <a:cubicBezTo>
                    <a:pt x="65154" y="53018"/>
                    <a:pt x="65567" y="53236"/>
                    <a:pt x="65979" y="53236"/>
                  </a:cubicBezTo>
                  <a:cubicBezTo>
                    <a:pt x="66391" y="53236"/>
                    <a:pt x="67628" y="53236"/>
                    <a:pt x="67628" y="53236"/>
                  </a:cubicBezTo>
                  <a:cubicBezTo>
                    <a:pt x="68865" y="52800"/>
                    <a:pt x="68865" y="52800"/>
                    <a:pt x="68865" y="52800"/>
                  </a:cubicBezTo>
                  <a:cubicBezTo>
                    <a:pt x="69278" y="52145"/>
                    <a:pt x="69278" y="52145"/>
                    <a:pt x="69278" y="52145"/>
                  </a:cubicBezTo>
                  <a:cubicBezTo>
                    <a:pt x="70515" y="51927"/>
                    <a:pt x="70515" y="51927"/>
                    <a:pt x="70515" y="51927"/>
                  </a:cubicBezTo>
                  <a:cubicBezTo>
                    <a:pt x="71340" y="51709"/>
                    <a:pt x="71340" y="51709"/>
                    <a:pt x="71340" y="51709"/>
                  </a:cubicBezTo>
                  <a:cubicBezTo>
                    <a:pt x="72164" y="51709"/>
                    <a:pt x="72164" y="51709"/>
                    <a:pt x="72164" y="51709"/>
                  </a:cubicBezTo>
                  <a:cubicBezTo>
                    <a:pt x="72164" y="51709"/>
                    <a:pt x="72577" y="52145"/>
                    <a:pt x="73402" y="51927"/>
                  </a:cubicBezTo>
                  <a:cubicBezTo>
                    <a:pt x="74226" y="51927"/>
                    <a:pt x="74639" y="51709"/>
                    <a:pt x="74639" y="51709"/>
                  </a:cubicBezTo>
                  <a:cubicBezTo>
                    <a:pt x="74639" y="51709"/>
                    <a:pt x="76288" y="51272"/>
                    <a:pt x="75876" y="51272"/>
                  </a:cubicBezTo>
                  <a:cubicBezTo>
                    <a:pt x="75876" y="51054"/>
                    <a:pt x="75876" y="50836"/>
                    <a:pt x="75463" y="50836"/>
                  </a:cubicBezTo>
                  <a:cubicBezTo>
                    <a:pt x="75463" y="50618"/>
                    <a:pt x="74639" y="50181"/>
                    <a:pt x="74639" y="50181"/>
                  </a:cubicBezTo>
                  <a:cubicBezTo>
                    <a:pt x="74639" y="50181"/>
                    <a:pt x="74226" y="50181"/>
                    <a:pt x="74226" y="49963"/>
                  </a:cubicBezTo>
                  <a:cubicBezTo>
                    <a:pt x="74226" y="49745"/>
                    <a:pt x="74226" y="49309"/>
                    <a:pt x="74226" y="49309"/>
                  </a:cubicBezTo>
                  <a:cubicBezTo>
                    <a:pt x="73402" y="48872"/>
                    <a:pt x="73402" y="48872"/>
                    <a:pt x="73402" y="48872"/>
                  </a:cubicBezTo>
                  <a:cubicBezTo>
                    <a:pt x="73402" y="48872"/>
                    <a:pt x="72989" y="48872"/>
                    <a:pt x="72577" y="48872"/>
                  </a:cubicBezTo>
                  <a:cubicBezTo>
                    <a:pt x="72164" y="48872"/>
                    <a:pt x="71752" y="49090"/>
                    <a:pt x="71752" y="49090"/>
                  </a:cubicBezTo>
                  <a:cubicBezTo>
                    <a:pt x="70103" y="49309"/>
                    <a:pt x="70103" y="49309"/>
                    <a:pt x="70103" y="49309"/>
                  </a:cubicBezTo>
                  <a:cubicBezTo>
                    <a:pt x="68041" y="49527"/>
                    <a:pt x="68041" y="49527"/>
                    <a:pt x="68041" y="49527"/>
                  </a:cubicBezTo>
                  <a:cubicBezTo>
                    <a:pt x="68041" y="49309"/>
                    <a:pt x="68041" y="49309"/>
                    <a:pt x="68041" y="49309"/>
                  </a:cubicBezTo>
                  <a:cubicBezTo>
                    <a:pt x="70103" y="49090"/>
                    <a:pt x="70103" y="49090"/>
                    <a:pt x="70103" y="49090"/>
                  </a:cubicBezTo>
                  <a:cubicBezTo>
                    <a:pt x="71340" y="48654"/>
                    <a:pt x="71340" y="48654"/>
                    <a:pt x="71340" y="48654"/>
                  </a:cubicBezTo>
                  <a:cubicBezTo>
                    <a:pt x="71340" y="48654"/>
                    <a:pt x="71340" y="48436"/>
                    <a:pt x="71752" y="48436"/>
                  </a:cubicBezTo>
                  <a:cubicBezTo>
                    <a:pt x="72164" y="48436"/>
                    <a:pt x="73402" y="48654"/>
                    <a:pt x="73402" y="48654"/>
                  </a:cubicBezTo>
                  <a:cubicBezTo>
                    <a:pt x="73814" y="48654"/>
                    <a:pt x="75463" y="48654"/>
                    <a:pt x="75463" y="48654"/>
                  </a:cubicBezTo>
                  <a:cubicBezTo>
                    <a:pt x="75463" y="48654"/>
                    <a:pt x="76701" y="48218"/>
                    <a:pt x="76701" y="48000"/>
                  </a:cubicBezTo>
                  <a:cubicBezTo>
                    <a:pt x="77113" y="48000"/>
                    <a:pt x="78762" y="47563"/>
                    <a:pt x="78762" y="47563"/>
                  </a:cubicBezTo>
                  <a:cubicBezTo>
                    <a:pt x="78762" y="46909"/>
                    <a:pt x="78762" y="46909"/>
                    <a:pt x="78762" y="46909"/>
                  </a:cubicBezTo>
                  <a:cubicBezTo>
                    <a:pt x="78762" y="46909"/>
                    <a:pt x="79175" y="46254"/>
                    <a:pt x="79587" y="46254"/>
                  </a:cubicBezTo>
                  <a:cubicBezTo>
                    <a:pt x="79587" y="46254"/>
                    <a:pt x="81237" y="45600"/>
                    <a:pt x="81237" y="45600"/>
                  </a:cubicBezTo>
                  <a:cubicBezTo>
                    <a:pt x="82886" y="44727"/>
                    <a:pt x="82886" y="44727"/>
                    <a:pt x="82886" y="44727"/>
                  </a:cubicBezTo>
                  <a:cubicBezTo>
                    <a:pt x="83711" y="43636"/>
                    <a:pt x="83711" y="43636"/>
                    <a:pt x="83711" y="43636"/>
                  </a:cubicBezTo>
                  <a:cubicBezTo>
                    <a:pt x="84536" y="42763"/>
                    <a:pt x="84536" y="42763"/>
                    <a:pt x="84536" y="42763"/>
                  </a:cubicBezTo>
                  <a:cubicBezTo>
                    <a:pt x="84536" y="42763"/>
                    <a:pt x="86185" y="42109"/>
                    <a:pt x="85773" y="41890"/>
                  </a:cubicBezTo>
                  <a:cubicBezTo>
                    <a:pt x="85773" y="41454"/>
                    <a:pt x="85773" y="40800"/>
                    <a:pt x="85773" y="40800"/>
                  </a:cubicBezTo>
                  <a:cubicBezTo>
                    <a:pt x="85773" y="40800"/>
                    <a:pt x="87010" y="40363"/>
                    <a:pt x="87422" y="40145"/>
                  </a:cubicBezTo>
                  <a:cubicBezTo>
                    <a:pt x="87422" y="39927"/>
                    <a:pt x="90309" y="38836"/>
                    <a:pt x="90309" y="38836"/>
                  </a:cubicBezTo>
                  <a:cubicBezTo>
                    <a:pt x="90721" y="37745"/>
                    <a:pt x="90721" y="37745"/>
                    <a:pt x="90721" y="37745"/>
                  </a:cubicBezTo>
                  <a:cubicBezTo>
                    <a:pt x="90309" y="37309"/>
                    <a:pt x="90309" y="37309"/>
                    <a:pt x="90309" y="37309"/>
                  </a:cubicBezTo>
                  <a:cubicBezTo>
                    <a:pt x="89896" y="36654"/>
                    <a:pt x="89896" y="36654"/>
                    <a:pt x="89896" y="36654"/>
                  </a:cubicBezTo>
                  <a:cubicBezTo>
                    <a:pt x="89072" y="36000"/>
                    <a:pt x="89072" y="36000"/>
                    <a:pt x="89072" y="36000"/>
                  </a:cubicBezTo>
                  <a:cubicBezTo>
                    <a:pt x="88247" y="35345"/>
                    <a:pt x="88247" y="35345"/>
                    <a:pt x="88247" y="35345"/>
                  </a:cubicBezTo>
                  <a:cubicBezTo>
                    <a:pt x="86597" y="35345"/>
                    <a:pt x="86597" y="35345"/>
                    <a:pt x="86597" y="35345"/>
                  </a:cubicBezTo>
                  <a:cubicBezTo>
                    <a:pt x="86597" y="35345"/>
                    <a:pt x="86185" y="35781"/>
                    <a:pt x="86185" y="35563"/>
                  </a:cubicBezTo>
                  <a:cubicBezTo>
                    <a:pt x="85773" y="35563"/>
                    <a:pt x="84948" y="35127"/>
                    <a:pt x="84948" y="35127"/>
                  </a:cubicBezTo>
                  <a:cubicBezTo>
                    <a:pt x="83298" y="35345"/>
                    <a:pt x="83298" y="35345"/>
                    <a:pt x="83298" y="35345"/>
                  </a:cubicBezTo>
                  <a:cubicBezTo>
                    <a:pt x="81237" y="35127"/>
                    <a:pt x="81237" y="35127"/>
                    <a:pt x="81237" y="35127"/>
                  </a:cubicBezTo>
                  <a:cubicBezTo>
                    <a:pt x="80824" y="34690"/>
                    <a:pt x="80824" y="34690"/>
                    <a:pt x="80824" y="34690"/>
                  </a:cubicBezTo>
                  <a:cubicBezTo>
                    <a:pt x="79175" y="34690"/>
                    <a:pt x="79175" y="34690"/>
                    <a:pt x="79175" y="34690"/>
                  </a:cubicBezTo>
                  <a:cubicBezTo>
                    <a:pt x="78350" y="34472"/>
                    <a:pt x="78350" y="34472"/>
                    <a:pt x="78350" y="34472"/>
                  </a:cubicBezTo>
                  <a:cubicBezTo>
                    <a:pt x="76701" y="34690"/>
                    <a:pt x="76701" y="34690"/>
                    <a:pt x="76701" y="34690"/>
                  </a:cubicBezTo>
                  <a:cubicBezTo>
                    <a:pt x="75463" y="34690"/>
                    <a:pt x="75463" y="34690"/>
                    <a:pt x="75463" y="34690"/>
                  </a:cubicBezTo>
                  <a:cubicBezTo>
                    <a:pt x="74639" y="34472"/>
                    <a:pt x="74639" y="34472"/>
                    <a:pt x="74639" y="34472"/>
                  </a:cubicBezTo>
                  <a:cubicBezTo>
                    <a:pt x="73402" y="33818"/>
                    <a:pt x="73402" y="33818"/>
                    <a:pt x="73402" y="33818"/>
                  </a:cubicBezTo>
                  <a:cubicBezTo>
                    <a:pt x="70927" y="33818"/>
                    <a:pt x="70927" y="33818"/>
                    <a:pt x="70927" y="33818"/>
                  </a:cubicBezTo>
                  <a:cubicBezTo>
                    <a:pt x="70515" y="34254"/>
                    <a:pt x="70515" y="34254"/>
                    <a:pt x="70515" y="34254"/>
                  </a:cubicBezTo>
                  <a:cubicBezTo>
                    <a:pt x="68865" y="34254"/>
                    <a:pt x="68865" y="34254"/>
                    <a:pt x="68865" y="34254"/>
                  </a:cubicBezTo>
                  <a:cubicBezTo>
                    <a:pt x="68865" y="34254"/>
                    <a:pt x="68453" y="34254"/>
                    <a:pt x="68041" y="34254"/>
                  </a:cubicBezTo>
                  <a:cubicBezTo>
                    <a:pt x="68041" y="34254"/>
                    <a:pt x="67216" y="34472"/>
                    <a:pt x="67216" y="34472"/>
                  </a:cubicBezTo>
                  <a:cubicBezTo>
                    <a:pt x="66391" y="34690"/>
                    <a:pt x="66391" y="34690"/>
                    <a:pt x="66391" y="34690"/>
                  </a:cubicBezTo>
                  <a:cubicBezTo>
                    <a:pt x="65567" y="34690"/>
                    <a:pt x="65567" y="34690"/>
                    <a:pt x="65567" y="34690"/>
                  </a:cubicBezTo>
                  <a:cubicBezTo>
                    <a:pt x="63917" y="34472"/>
                    <a:pt x="63917" y="34472"/>
                    <a:pt x="63917" y="34472"/>
                  </a:cubicBezTo>
                  <a:cubicBezTo>
                    <a:pt x="63092" y="35127"/>
                    <a:pt x="63092" y="35127"/>
                    <a:pt x="63092" y="35127"/>
                  </a:cubicBezTo>
                  <a:cubicBezTo>
                    <a:pt x="61855" y="35345"/>
                    <a:pt x="61855" y="35345"/>
                    <a:pt x="61855" y="35345"/>
                  </a:cubicBezTo>
                  <a:cubicBezTo>
                    <a:pt x="60618" y="36000"/>
                    <a:pt x="60618" y="36000"/>
                    <a:pt x="60618" y="36000"/>
                  </a:cubicBezTo>
                  <a:cubicBezTo>
                    <a:pt x="61030" y="35345"/>
                    <a:pt x="61030" y="35345"/>
                    <a:pt x="61030" y="35345"/>
                  </a:cubicBezTo>
                  <a:cubicBezTo>
                    <a:pt x="61855" y="34909"/>
                    <a:pt x="61855" y="34909"/>
                    <a:pt x="61855" y="34909"/>
                  </a:cubicBezTo>
                  <a:cubicBezTo>
                    <a:pt x="63092" y="34690"/>
                    <a:pt x="63092" y="34690"/>
                    <a:pt x="63092" y="34690"/>
                  </a:cubicBezTo>
                  <a:cubicBezTo>
                    <a:pt x="63917" y="34036"/>
                    <a:pt x="63917" y="34036"/>
                    <a:pt x="63917" y="34036"/>
                  </a:cubicBezTo>
                  <a:cubicBezTo>
                    <a:pt x="63917" y="34036"/>
                    <a:pt x="64742" y="33818"/>
                    <a:pt x="64742" y="33600"/>
                  </a:cubicBezTo>
                  <a:cubicBezTo>
                    <a:pt x="65154" y="33600"/>
                    <a:pt x="65979" y="33163"/>
                    <a:pt x="65979" y="33163"/>
                  </a:cubicBezTo>
                  <a:cubicBezTo>
                    <a:pt x="64742" y="32945"/>
                    <a:pt x="64742" y="32945"/>
                    <a:pt x="64742" y="32945"/>
                  </a:cubicBezTo>
                  <a:cubicBezTo>
                    <a:pt x="63505" y="33381"/>
                    <a:pt x="63505" y="33381"/>
                    <a:pt x="63505" y="33381"/>
                  </a:cubicBezTo>
                  <a:cubicBezTo>
                    <a:pt x="63505" y="33381"/>
                    <a:pt x="63092" y="33381"/>
                    <a:pt x="62680" y="33381"/>
                  </a:cubicBezTo>
                  <a:cubicBezTo>
                    <a:pt x="62680" y="33381"/>
                    <a:pt x="61443" y="33600"/>
                    <a:pt x="61443" y="33600"/>
                  </a:cubicBezTo>
                  <a:cubicBezTo>
                    <a:pt x="58969" y="34036"/>
                    <a:pt x="58969" y="34036"/>
                    <a:pt x="58969" y="34036"/>
                  </a:cubicBezTo>
                  <a:cubicBezTo>
                    <a:pt x="61443" y="33381"/>
                    <a:pt x="61443" y="33381"/>
                    <a:pt x="61443" y="33381"/>
                  </a:cubicBezTo>
                  <a:cubicBezTo>
                    <a:pt x="61443" y="33381"/>
                    <a:pt x="62268" y="33163"/>
                    <a:pt x="62680" y="32945"/>
                  </a:cubicBezTo>
                  <a:cubicBezTo>
                    <a:pt x="63092" y="32945"/>
                    <a:pt x="63917" y="32727"/>
                    <a:pt x="63917" y="32727"/>
                  </a:cubicBezTo>
                  <a:cubicBezTo>
                    <a:pt x="64329" y="32727"/>
                    <a:pt x="65154" y="32509"/>
                    <a:pt x="65154" y="32509"/>
                  </a:cubicBezTo>
                  <a:cubicBezTo>
                    <a:pt x="65567" y="32727"/>
                    <a:pt x="66391" y="32945"/>
                    <a:pt x="66804" y="32727"/>
                  </a:cubicBezTo>
                  <a:cubicBezTo>
                    <a:pt x="66804" y="32727"/>
                    <a:pt x="67216" y="32290"/>
                    <a:pt x="67628" y="32290"/>
                  </a:cubicBezTo>
                  <a:cubicBezTo>
                    <a:pt x="67628" y="32072"/>
                    <a:pt x="68453" y="31636"/>
                    <a:pt x="68453" y="31636"/>
                  </a:cubicBezTo>
                  <a:cubicBezTo>
                    <a:pt x="65979" y="31636"/>
                    <a:pt x="65979" y="31636"/>
                    <a:pt x="65979" y="31636"/>
                  </a:cubicBezTo>
                  <a:cubicBezTo>
                    <a:pt x="65979" y="31636"/>
                    <a:pt x="65567" y="31854"/>
                    <a:pt x="65154" y="31854"/>
                  </a:cubicBezTo>
                  <a:cubicBezTo>
                    <a:pt x="64742" y="31636"/>
                    <a:pt x="63917" y="31636"/>
                    <a:pt x="63505" y="31418"/>
                  </a:cubicBezTo>
                  <a:cubicBezTo>
                    <a:pt x="63505" y="31418"/>
                    <a:pt x="63092" y="31200"/>
                    <a:pt x="63092" y="31200"/>
                  </a:cubicBezTo>
                  <a:cubicBezTo>
                    <a:pt x="62680" y="31200"/>
                    <a:pt x="61855" y="30763"/>
                    <a:pt x="61855" y="30763"/>
                  </a:cubicBezTo>
                  <a:cubicBezTo>
                    <a:pt x="62268" y="30545"/>
                    <a:pt x="62268" y="30545"/>
                    <a:pt x="62268" y="30545"/>
                  </a:cubicBezTo>
                  <a:cubicBezTo>
                    <a:pt x="63092" y="30981"/>
                    <a:pt x="63092" y="30981"/>
                    <a:pt x="63092" y="30981"/>
                  </a:cubicBezTo>
                  <a:cubicBezTo>
                    <a:pt x="63092" y="30981"/>
                    <a:pt x="63505" y="31200"/>
                    <a:pt x="63917" y="31200"/>
                  </a:cubicBezTo>
                  <a:cubicBezTo>
                    <a:pt x="64329" y="31200"/>
                    <a:pt x="64742" y="30981"/>
                    <a:pt x="65567" y="30981"/>
                  </a:cubicBezTo>
                  <a:cubicBezTo>
                    <a:pt x="65979" y="31200"/>
                    <a:pt x="66804" y="30545"/>
                    <a:pt x="66804" y="30545"/>
                  </a:cubicBezTo>
                  <a:cubicBezTo>
                    <a:pt x="66804" y="30545"/>
                    <a:pt x="65979" y="30545"/>
                    <a:pt x="67216" y="30327"/>
                  </a:cubicBezTo>
                  <a:cubicBezTo>
                    <a:pt x="68041" y="29890"/>
                    <a:pt x="67628" y="30109"/>
                    <a:pt x="68453" y="29672"/>
                  </a:cubicBezTo>
                  <a:cubicBezTo>
                    <a:pt x="69278" y="29454"/>
                    <a:pt x="71340" y="28800"/>
                    <a:pt x="71340" y="28800"/>
                  </a:cubicBezTo>
                  <a:cubicBezTo>
                    <a:pt x="73814" y="28363"/>
                    <a:pt x="73814" y="28363"/>
                    <a:pt x="73814" y="28363"/>
                  </a:cubicBezTo>
                  <a:cubicBezTo>
                    <a:pt x="75463" y="27272"/>
                    <a:pt x="75463" y="27272"/>
                    <a:pt x="75463" y="27272"/>
                  </a:cubicBezTo>
                  <a:cubicBezTo>
                    <a:pt x="76701" y="27272"/>
                    <a:pt x="76701" y="27272"/>
                    <a:pt x="76701" y="27272"/>
                  </a:cubicBezTo>
                  <a:cubicBezTo>
                    <a:pt x="78350" y="26400"/>
                    <a:pt x="78350" y="26400"/>
                    <a:pt x="78350" y="26400"/>
                  </a:cubicBezTo>
                  <a:cubicBezTo>
                    <a:pt x="79175" y="25963"/>
                    <a:pt x="79175" y="25963"/>
                    <a:pt x="79175" y="25963"/>
                  </a:cubicBezTo>
                  <a:cubicBezTo>
                    <a:pt x="78762" y="24872"/>
                    <a:pt x="78762" y="24872"/>
                    <a:pt x="78762" y="24872"/>
                  </a:cubicBezTo>
                  <a:cubicBezTo>
                    <a:pt x="79587" y="24000"/>
                    <a:pt x="79587" y="24000"/>
                    <a:pt x="79587" y="24000"/>
                  </a:cubicBezTo>
                  <a:cubicBezTo>
                    <a:pt x="79587" y="23345"/>
                    <a:pt x="79587" y="23345"/>
                    <a:pt x="79587" y="23345"/>
                  </a:cubicBezTo>
                  <a:cubicBezTo>
                    <a:pt x="78350" y="23127"/>
                    <a:pt x="78350" y="23127"/>
                    <a:pt x="78350" y="23127"/>
                  </a:cubicBezTo>
                  <a:cubicBezTo>
                    <a:pt x="75876" y="23127"/>
                    <a:pt x="75876" y="23127"/>
                    <a:pt x="75876" y="23127"/>
                  </a:cubicBezTo>
                  <a:cubicBezTo>
                    <a:pt x="75876" y="23127"/>
                    <a:pt x="75463" y="23781"/>
                    <a:pt x="75051" y="23563"/>
                  </a:cubicBezTo>
                  <a:cubicBezTo>
                    <a:pt x="75051" y="23563"/>
                    <a:pt x="73402" y="22909"/>
                    <a:pt x="72989" y="22909"/>
                  </a:cubicBezTo>
                  <a:cubicBezTo>
                    <a:pt x="72989" y="22909"/>
                    <a:pt x="71340" y="23563"/>
                    <a:pt x="71340" y="23563"/>
                  </a:cubicBezTo>
                  <a:cubicBezTo>
                    <a:pt x="70515" y="23563"/>
                    <a:pt x="70515" y="23563"/>
                    <a:pt x="70515" y="23563"/>
                  </a:cubicBezTo>
                  <a:cubicBezTo>
                    <a:pt x="70515" y="23563"/>
                    <a:pt x="70103" y="23563"/>
                    <a:pt x="69278" y="23563"/>
                  </a:cubicBezTo>
                  <a:cubicBezTo>
                    <a:pt x="68453" y="23345"/>
                    <a:pt x="66804" y="23127"/>
                    <a:pt x="66804" y="23127"/>
                  </a:cubicBezTo>
                  <a:cubicBezTo>
                    <a:pt x="65567" y="23563"/>
                    <a:pt x="65567" y="23563"/>
                    <a:pt x="65567" y="23563"/>
                  </a:cubicBezTo>
                  <a:cubicBezTo>
                    <a:pt x="64742" y="23345"/>
                    <a:pt x="64742" y="23345"/>
                    <a:pt x="64742" y="23345"/>
                  </a:cubicBezTo>
                  <a:cubicBezTo>
                    <a:pt x="63092" y="24000"/>
                    <a:pt x="63092" y="24000"/>
                    <a:pt x="63092" y="24000"/>
                  </a:cubicBezTo>
                  <a:cubicBezTo>
                    <a:pt x="63092" y="23563"/>
                    <a:pt x="63092" y="23563"/>
                    <a:pt x="63092" y="23563"/>
                  </a:cubicBezTo>
                  <a:cubicBezTo>
                    <a:pt x="63917" y="22909"/>
                    <a:pt x="63917" y="22909"/>
                    <a:pt x="63917" y="22909"/>
                  </a:cubicBezTo>
                  <a:cubicBezTo>
                    <a:pt x="63917" y="22909"/>
                    <a:pt x="63505" y="22690"/>
                    <a:pt x="63092" y="22690"/>
                  </a:cubicBezTo>
                  <a:cubicBezTo>
                    <a:pt x="63092" y="22690"/>
                    <a:pt x="62268" y="22472"/>
                    <a:pt x="62268" y="22472"/>
                  </a:cubicBezTo>
                  <a:cubicBezTo>
                    <a:pt x="61443" y="23127"/>
                    <a:pt x="61443" y="23127"/>
                    <a:pt x="61443" y="23127"/>
                  </a:cubicBezTo>
                  <a:cubicBezTo>
                    <a:pt x="59793" y="23563"/>
                    <a:pt x="59793" y="23563"/>
                    <a:pt x="59793" y="23563"/>
                  </a:cubicBezTo>
                  <a:cubicBezTo>
                    <a:pt x="60206" y="23345"/>
                    <a:pt x="60206" y="23345"/>
                    <a:pt x="60206" y="23345"/>
                  </a:cubicBezTo>
                  <a:cubicBezTo>
                    <a:pt x="61443" y="22909"/>
                    <a:pt x="61443" y="22909"/>
                    <a:pt x="61443" y="22909"/>
                  </a:cubicBezTo>
                  <a:cubicBezTo>
                    <a:pt x="61443" y="22472"/>
                    <a:pt x="61443" y="22472"/>
                    <a:pt x="61443" y="22472"/>
                  </a:cubicBezTo>
                  <a:cubicBezTo>
                    <a:pt x="61443" y="22472"/>
                    <a:pt x="61030" y="22472"/>
                    <a:pt x="61030" y="22472"/>
                  </a:cubicBezTo>
                  <a:cubicBezTo>
                    <a:pt x="60618" y="22472"/>
                    <a:pt x="60206" y="22254"/>
                    <a:pt x="60206" y="22254"/>
                  </a:cubicBezTo>
                  <a:cubicBezTo>
                    <a:pt x="59381" y="22036"/>
                    <a:pt x="59381" y="22036"/>
                    <a:pt x="59381" y="22036"/>
                  </a:cubicBezTo>
                  <a:cubicBezTo>
                    <a:pt x="58969" y="21600"/>
                    <a:pt x="58969" y="21600"/>
                    <a:pt x="58969" y="21600"/>
                  </a:cubicBezTo>
                  <a:cubicBezTo>
                    <a:pt x="57731" y="21818"/>
                    <a:pt x="57731" y="21818"/>
                    <a:pt x="57731" y="21818"/>
                  </a:cubicBezTo>
                  <a:cubicBezTo>
                    <a:pt x="57319" y="22254"/>
                    <a:pt x="57319" y="22254"/>
                    <a:pt x="57319" y="22254"/>
                  </a:cubicBezTo>
                  <a:cubicBezTo>
                    <a:pt x="56494" y="22472"/>
                    <a:pt x="56494" y="22472"/>
                    <a:pt x="56494" y="22472"/>
                  </a:cubicBezTo>
                  <a:cubicBezTo>
                    <a:pt x="55670" y="22472"/>
                    <a:pt x="55670" y="22472"/>
                    <a:pt x="55670" y="22472"/>
                  </a:cubicBezTo>
                  <a:cubicBezTo>
                    <a:pt x="56082" y="23127"/>
                    <a:pt x="56082" y="23127"/>
                    <a:pt x="56082" y="23127"/>
                  </a:cubicBezTo>
                  <a:cubicBezTo>
                    <a:pt x="55670" y="23781"/>
                    <a:pt x="55670" y="23781"/>
                    <a:pt x="55670" y="23781"/>
                  </a:cubicBezTo>
                  <a:cubicBezTo>
                    <a:pt x="54432" y="23781"/>
                    <a:pt x="54432" y="23781"/>
                    <a:pt x="54432" y="23781"/>
                  </a:cubicBezTo>
                  <a:cubicBezTo>
                    <a:pt x="54432" y="23781"/>
                    <a:pt x="54432" y="24654"/>
                    <a:pt x="54845" y="24654"/>
                  </a:cubicBezTo>
                  <a:cubicBezTo>
                    <a:pt x="54845" y="24654"/>
                    <a:pt x="55257" y="25090"/>
                    <a:pt x="55257" y="25090"/>
                  </a:cubicBezTo>
                  <a:cubicBezTo>
                    <a:pt x="55257" y="25527"/>
                    <a:pt x="55257" y="25527"/>
                    <a:pt x="55257" y="25527"/>
                  </a:cubicBezTo>
                  <a:cubicBezTo>
                    <a:pt x="55670" y="25745"/>
                    <a:pt x="55670" y="25745"/>
                    <a:pt x="55670" y="25745"/>
                  </a:cubicBezTo>
                  <a:cubicBezTo>
                    <a:pt x="55670" y="25745"/>
                    <a:pt x="55257" y="25745"/>
                    <a:pt x="54845" y="25745"/>
                  </a:cubicBezTo>
                  <a:cubicBezTo>
                    <a:pt x="54845" y="25745"/>
                    <a:pt x="54432" y="25309"/>
                    <a:pt x="54432" y="25309"/>
                  </a:cubicBezTo>
                  <a:cubicBezTo>
                    <a:pt x="52783" y="25309"/>
                    <a:pt x="52783" y="25309"/>
                    <a:pt x="52783" y="25309"/>
                  </a:cubicBezTo>
                  <a:cubicBezTo>
                    <a:pt x="52371" y="25309"/>
                    <a:pt x="52371" y="25309"/>
                    <a:pt x="52371" y="25309"/>
                  </a:cubicBezTo>
                  <a:cubicBezTo>
                    <a:pt x="51958" y="25963"/>
                    <a:pt x="51958" y="25963"/>
                    <a:pt x="51958" y="25963"/>
                  </a:cubicBezTo>
                  <a:cubicBezTo>
                    <a:pt x="52371" y="26618"/>
                    <a:pt x="52371" y="26618"/>
                    <a:pt x="52371" y="26618"/>
                  </a:cubicBezTo>
                  <a:cubicBezTo>
                    <a:pt x="51958" y="27054"/>
                    <a:pt x="51958" y="27054"/>
                    <a:pt x="51958" y="27054"/>
                  </a:cubicBezTo>
                  <a:cubicBezTo>
                    <a:pt x="51546" y="27272"/>
                    <a:pt x="51546" y="27272"/>
                    <a:pt x="51546" y="27272"/>
                  </a:cubicBezTo>
                  <a:cubicBezTo>
                    <a:pt x="51546" y="27272"/>
                    <a:pt x="50721" y="27709"/>
                    <a:pt x="50721" y="27709"/>
                  </a:cubicBezTo>
                  <a:cubicBezTo>
                    <a:pt x="50721" y="27927"/>
                    <a:pt x="51134" y="28581"/>
                    <a:pt x="51134" y="28581"/>
                  </a:cubicBezTo>
                  <a:cubicBezTo>
                    <a:pt x="51134" y="28581"/>
                    <a:pt x="51546" y="29018"/>
                    <a:pt x="51958" y="29018"/>
                  </a:cubicBezTo>
                  <a:cubicBezTo>
                    <a:pt x="51958" y="29236"/>
                    <a:pt x="52783" y="29454"/>
                    <a:pt x="52783" y="29454"/>
                  </a:cubicBezTo>
                  <a:cubicBezTo>
                    <a:pt x="52783" y="30109"/>
                    <a:pt x="52783" y="30109"/>
                    <a:pt x="52783" y="30109"/>
                  </a:cubicBezTo>
                  <a:cubicBezTo>
                    <a:pt x="51958" y="29454"/>
                    <a:pt x="51958" y="29454"/>
                    <a:pt x="51958" y="29454"/>
                  </a:cubicBezTo>
                  <a:cubicBezTo>
                    <a:pt x="51958" y="29454"/>
                    <a:pt x="51546" y="29236"/>
                    <a:pt x="51134" y="29018"/>
                  </a:cubicBezTo>
                  <a:cubicBezTo>
                    <a:pt x="51134" y="29018"/>
                    <a:pt x="50721" y="28581"/>
                    <a:pt x="50721" y="28581"/>
                  </a:cubicBezTo>
                  <a:cubicBezTo>
                    <a:pt x="50721" y="28581"/>
                    <a:pt x="49896" y="28800"/>
                    <a:pt x="49896" y="28800"/>
                  </a:cubicBezTo>
                  <a:cubicBezTo>
                    <a:pt x="49896" y="28800"/>
                    <a:pt x="49484" y="28800"/>
                    <a:pt x="49896" y="29018"/>
                  </a:cubicBezTo>
                  <a:cubicBezTo>
                    <a:pt x="49896" y="29236"/>
                    <a:pt x="49072" y="29454"/>
                    <a:pt x="49072" y="29454"/>
                  </a:cubicBezTo>
                  <a:cubicBezTo>
                    <a:pt x="49072" y="29454"/>
                    <a:pt x="47835" y="29672"/>
                    <a:pt x="47835" y="29454"/>
                  </a:cubicBezTo>
                  <a:cubicBezTo>
                    <a:pt x="47835" y="29236"/>
                    <a:pt x="47835" y="29018"/>
                    <a:pt x="47422" y="28800"/>
                  </a:cubicBezTo>
                  <a:cubicBezTo>
                    <a:pt x="47422" y="28800"/>
                    <a:pt x="47010" y="28800"/>
                    <a:pt x="47010" y="28800"/>
                  </a:cubicBezTo>
                  <a:cubicBezTo>
                    <a:pt x="47010" y="29018"/>
                    <a:pt x="46597" y="29236"/>
                    <a:pt x="46597" y="29236"/>
                  </a:cubicBezTo>
                  <a:cubicBezTo>
                    <a:pt x="47010" y="29890"/>
                    <a:pt x="47010" y="29890"/>
                    <a:pt x="47010" y="29890"/>
                  </a:cubicBezTo>
                  <a:cubicBezTo>
                    <a:pt x="47010" y="29890"/>
                    <a:pt x="46597" y="30327"/>
                    <a:pt x="46597" y="30327"/>
                  </a:cubicBezTo>
                  <a:cubicBezTo>
                    <a:pt x="46597" y="30109"/>
                    <a:pt x="46185" y="29672"/>
                    <a:pt x="46185" y="29454"/>
                  </a:cubicBezTo>
                  <a:cubicBezTo>
                    <a:pt x="46185" y="29454"/>
                    <a:pt x="46185" y="29018"/>
                    <a:pt x="45773" y="29018"/>
                  </a:cubicBezTo>
                  <a:cubicBezTo>
                    <a:pt x="45773" y="29018"/>
                    <a:pt x="44948" y="29454"/>
                    <a:pt x="44948" y="29454"/>
                  </a:cubicBezTo>
                  <a:cubicBezTo>
                    <a:pt x="44948" y="29454"/>
                    <a:pt x="44536" y="29454"/>
                    <a:pt x="44536" y="29672"/>
                  </a:cubicBezTo>
                  <a:cubicBezTo>
                    <a:pt x="44536" y="29672"/>
                    <a:pt x="44123" y="30327"/>
                    <a:pt x="44536" y="30545"/>
                  </a:cubicBezTo>
                  <a:cubicBezTo>
                    <a:pt x="44948" y="30763"/>
                    <a:pt x="44948" y="30763"/>
                    <a:pt x="45360" y="30763"/>
                  </a:cubicBezTo>
                  <a:cubicBezTo>
                    <a:pt x="45773" y="30763"/>
                    <a:pt x="45773" y="30981"/>
                    <a:pt x="45773" y="30981"/>
                  </a:cubicBezTo>
                  <a:cubicBezTo>
                    <a:pt x="44123" y="30981"/>
                    <a:pt x="44123" y="30981"/>
                    <a:pt x="44123" y="30981"/>
                  </a:cubicBezTo>
                  <a:cubicBezTo>
                    <a:pt x="44123" y="30981"/>
                    <a:pt x="43711" y="31200"/>
                    <a:pt x="44123" y="31418"/>
                  </a:cubicBezTo>
                  <a:cubicBezTo>
                    <a:pt x="44123" y="31418"/>
                    <a:pt x="44123" y="31854"/>
                    <a:pt x="44123" y="31854"/>
                  </a:cubicBezTo>
                  <a:cubicBezTo>
                    <a:pt x="44123" y="31854"/>
                    <a:pt x="44948" y="32290"/>
                    <a:pt x="44948" y="32290"/>
                  </a:cubicBezTo>
                  <a:cubicBezTo>
                    <a:pt x="44948" y="32290"/>
                    <a:pt x="44536" y="32727"/>
                    <a:pt x="44536" y="32727"/>
                  </a:cubicBezTo>
                  <a:cubicBezTo>
                    <a:pt x="44536" y="32727"/>
                    <a:pt x="43711" y="32509"/>
                    <a:pt x="43711" y="32509"/>
                  </a:cubicBezTo>
                  <a:cubicBezTo>
                    <a:pt x="43298" y="32290"/>
                    <a:pt x="43298" y="32509"/>
                    <a:pt x="42886" y="32509"/>
                  </a:cubicBezTo>
                  <a:cubicBezTo>
                    <a:pt x="42886" y="32727"/>
                    <a:pt x="42474" y="32945"/>
                    <a:pt x="42474" y="33163"/>
                  </a:cubicBezTo>
                  <a:cubicBezTo>
                    <a:pt x="42474" y="33163"/>
                    <a:pt x="42886" y="33381"/>
                    <a:pt x="42886" y="33600"/>
                  </a:cubicBezTo>
                  <a:cubicBezTo>
                    <a:pt x="42474" y="34036"/>
                    <a:pt x="42474" y="34472"/>
                    <a:pt x="42474" y="34472"/>
                  </a:cubicBezTo>
                  <a:cubicBezTo>
                    <a:pt x="42474" y="34472"/>
                    <a:pt x="42061" y="34472"/>
                    <a:pt x="42474" y="34690"/>
                  </a:cubicBezTo>
                  <a:cubicBezTo>
                    <a:pt x="42886" y="34909"/>
                    <a:pt x="43711" y="34909"/>
                    <a:pt x="44123" y="34909"/>
                  </a:cubicBezTo>
                  <a:cubicBezTo>
                    <a:pt x="44536" y="34909"/>
                    <a:pt x="44536" y="34909"/>
                    <a:pt x="44536" y="34909"/>
                  </a:cubicBezTo>
                  <a:cubicBezTo>
                    <a:pt x="44948" y="34909"/>
                    <a:pt x="45360" y="34909"/>
                    <a:pt x="45773" y="35127"/>
                  </a:cubicBezTo>
                  <a:cubicBezTo>
                    <a:pt x="45773" y="35127"/>
                    <a:pt x="46185" y="35127"/>
                    <a:pt x="46185" y="35127"/>
                  </a:cubicBezTo>
                  <a:cubicBezTo>
                    <a:pt x="46185" y="35127"/>
                    <a:pt x="45773" y="35563"/>
                    <a:pt x="45360" y="35345"/>
                  </a:cubicBezTo>
                  <a:cubicBezTo>
                    <a:pt x="44948" y="35127"/>
                    <a:pt x="44123" y="35127"/>
                    <a:pt x="43711" y="35127"/>
                  </a:cubicBezTo>
                  <a:cubicBezTo>
                    <a:pt x="43298" y="35127"/>
                    <a:pt x="43711" y="35563"/>
                    <a:pt x="43711" y="35563"/>
                  </a:cubicBezTo>
                  <a:cubicBezTo>
                    <a:pt x="44123" y="36000"/>
                    <a:pt x="44123" y="36000"/>
                    <a:pt x="44123" y="36000"/>
                  </a:cubicBezTo>
                  <a:cubicBezTo>
                    <a:pt x="44123" y="36000"/>
                    <a:pt x="44536" y="36218"/>
                    <a:pt x="44123" y="36218"/>
                  </a:cubicBezTo>
                  <a:cubicBezTo>
                    <a:pt x="43711" y="36218"/>
                    <a:pt x="42886" y="36000"/>
                    <a:pt x="42886" y="36000"/>
                  </a:cubicBezTo>
                  <a:cubicBezTo>
                    <a:pt x="42886" y="36000"/>
                    <a:pt x="42886" y="36000"/>
                    <a:pt x="42474" y="36000"/>
                  </a:cubicBezTo>
                  <a:cubicBezTo>
                    <a:pt x="42474" y="36000"/>
                    <a:pt x="42061" y="36218"/>
                    <a:pt x="41649" y="36218"/>
                  </a:cubicBezTo>
                  <a:cubicBezTo>
                    <a:pt x="41237" y="36218"/>
                    <a:pt x="41237" y="36218"/>
                    <a:pt x="40824" y="36000"/>
                  </a:cubicBezTo>
                  <a:cubicBezTo>
                    <a:pt x="40412" y="36000"/>
                    <a:pt x="39587" y="35563"/>
                    <a:pt x="39587" y="35563"/>
                  </a:cubicBezTo>
                  <a:cubicBezTo>
                    <a:pt x="39587" y="35563"/>
                    <a:pt x="39175" y="35563"/>
                    <a:pt x="39175" y="35345"/>
                  </a:cubicBezTo>
                  <a:cubicBezTo>
                    <a:pt x="39175" y="35127"/>
                    <a:pt x="39587" y="34690"/>
                    <a:pt x="39587" y="34690"/>
                  </a:cubicBezTo>
                  <a:cubicBezTo>
                    <a:pt x="40000" y="34472"/>
                    <a:pt x="39587" y="34472"/>
                    <a:pt x="40000" y="34472"/>
                  </a:cubicBezTo>
                  <a:cubicBezTo>
                    <a:pt x="40412" y="34472"/>
                    <a:pt x="41649" y="34472"/>
                    <a:pt x="40824" y="34036"/>
                  </a:cubicBezTo>
                  <a:cubicBezTo>
                    <a:pt x="40412" y="33600"/>
                    <a:pt x="40412" y="33600"/>
                    <a:pt x="40000" y="33600"/>
                  </a:cubicBezTo>
                  <a:cubicBezTo>
                    <a:pt x="39587" y="33818"/>
                    <a:pt x="38762" y="34036"/>
                    <a:pt x="38762" y="34036"/>
                  </a:cubicBezTo>
                  <a:cubicBezTo>
                    <a:pt x="38762" y="34036"/>
                    <a:pt x="38350" y="33818"/>
                    <a:pt x="38762" y="33163"/>
                  </a:cubicBezTo>
                  <a:cubicBezTo>
                    <a:pt x="39175" y="32509"/>
                    <a:pt x="38762" y="32509"/>
                    <a:pt x="39175" y="32290"/>
                  </a:cubicBezTo>
                  <a:cubicBezTo>
                    <a:pt x="39587" y="32072"/>
                    <a:pt x="40000" y="31854"/>
                    <a:pt x="40000" y="31854"/>
                  </a:cubicBezTo>
                  <a:cubicBezTo>
                    <a:pt x="40000" y="31854"/>
                    <a:pt x="40000" y="31636"/>
                    <a:pt x="39175" y="31200"/>
                  </a:cubicBezTo>
                  <a:cubicBezTo>
                    <a:pt x="38762" y="30763"/>
                    <a:pt x="38350" y="30327"/>
                    <a:pt x="38350" y="30327"/>
                  </a:cubicBezTo>
                  <a:cubicBezTo>
                    <a:pt x="37938" y="30109"/>
                    <a:pt x="37113" y="30545"/>
                    <a:pt x="37113" y="30545"/>
                  </a:cubicBezTo>
                  <a:cubicBezTo>
                    <a:pt x="37113" y="30763"/>
                    <a:pt x="36701" y="31200"/>
                    <a:pt x="37113" y="31418"/>
                  </a:cubicBezTo>
                  <a:cubicBezTo>
                    <a:pt x="37113" y="31636"/>
                    <a:pt x="37113" y="31854"/>
                    <a:pt x="36701" y="32072"/>
                  </a:cubicBezTo>
                  <a:cubicBezTo>
                    <a:pt x="36288" y="32072"/>
                    <a:pt x="36288" y="32290"/>
                    <a:pt x="35876" y="32072"/>
                  </a:cubicBezTo>
                  <a:cubicBezTo>
                    <a:pt x="35463" y="31854"/>
                    <a:pt x="35876" y="32072"/>
                    <a:pt x="35463" y="31636"/>
                  </a:cubicBezTo>
                  <a:cubicBezTo>
                    <a:pt x="35051" y="31418"/>
                    <a:pt x="35463" y="31418"/>
                    <a:pt x="35051" y="31418"/>
                  </a:cubicBezTo>
                  <a:cubicBezTo>
                    <a:pt x="34639" y="31200"/>
                    <a:pt x="34226" y="30981"/>
                    <a:pt x="34226" y="30981"/>
                  </a:cubicBezTo>
                  <a:cubicBezTo>
                    <a:pt x="34226" y="30981"/>
                    <a:pt x="32989" y="30763"/>
                    <a:pt x="32989" y="30981"/>
                  </a:cubicBezTo>
                  <a:cubicBezTo>
                    <a:pt x="32989" y="31200"/>
                    <a:pt x="32989" y="31200"/>
                    <a:pt x="33402" y="31418"/>
                  </a:cubicBezTo>
                  <a:cubicBezTo>
                    <a:pt x="33402" y="31636"/>
                    <a:pt x="33814" y="31636"/>
                    <a:pt x="33814" y="31854"/>
                  </a:cubicBezTo>
                  <a:cubicBezTo>
                    <a:pt x="33814" y="32072"/>
                    <a:pt x="33402" y="32072"/>
                    <a:pt x="33402" y="32072"/>
                  </a:cubicBezTo>
                  <a:cubicBezTo>
                    <a:pt x="33402" y="32072"/>
                    <a:pt x="32989" y="31854"/>
                    <a:pt x="32577" y="31854"/>
                  </a:cubicBezTo>
                  <a:cubicBezTo>
                    <a:pt x="32577" y="31854"/>
                    <a:pt x="31752" y="32290"/>
                    <a:pt x="31752" y="32290"/>
                  </a:cubicBezTo>
                  <a:cubicBezTo>
                    <a:pt x="31752" y="32290"/>
                    <a:pt x="31752" y="32509"/>
                    <a:pt x="31752" y="32727"/>
                  </a:cubicBezTo>
                  <a:cubicBezTo>
                    <a:pt x="31752" y="32727"/>
                    <a:pt x="31752" y="32945"/>
                    <a:pt x="31752" y="33163"/>
                  </a:cubicBezTo>
                  <a:cubicBezTo>
                    <a:pt x="32164" y="33381"/>
                    <a:pt x="32164" y="33818"/>
                    <a:pt x="32577" y="33818"/>
                  </a:cubicBezTo>
                  <a:cubicBezTo>
                    <a:pt x="33402" y="33818"/>
                    <a:pt x="35051" y="33381"/>
                    <a:pt x="35051" y="33381"/>
                  </a:cubicBezTo>
                  <a:cubicBezTo>
                    <a:pt x="35051" y="33600"/>
                    <a:pt x="35876" y="33818"/>
                    <a:pt x="36288" y="34036"/>
                  </a:cubicBezTo>
                  <a:cubicBezTo>
                    <a:pt x="36288" y="34036"/>
                    <a:pt x="36288" y="34472"/>
                    <a:pt x="36288" y="34472"/>
                  </a:cubicBezTo>
                  <a:cubicBezTo>
                    <a:pt x="36288" y="34472"/>
                    <a:pt x="35876" y="34690"/>
                    <a:pt x="35463" y="34690"/>
                  </a:cubicBezTo>
                  <a:cubicBezTo>
                    <a:pt x="35051" y="34690"/>
                    <a:pt x="34639" y="34254"/>
                    <a:pt x="34639" y="34690"/>
                  </a:cubicBezTo>
                  <a:cubicBezTo>
                    <a:pt x="34639" y="34909"/>
                    <a:pt x="34226" y="35345"/>
                    <a:pt x="34639" y="35563"/>
                  </a:cubicBezTo>
                  <a:cubicBezTo>
                    <a:pt x="35051" y="35781"/>
                    <a:pt x="35051" y="36218"/>
                    <a:pt x="35876" y="36218"/>
                  </a:cubicBezTo>
                  <a:cubicBezTo>
                    <a:pt x="36701" y="36436"/>
                    <a:pt x="36701" y="36654"/>
                    <a:pt x="37113" y="36436"/>
                  </a:cubicBezTo>
                  <a:cubicBezTo>
                    <a:pt x="37525" y="36218"/>
                    <a:pt x="37525" y="36000"/>
                    <a:pt x="37938" y="36218"/>
                  </a:cubicBezTo>
                  <a:cubicBezTo>
                    <a:pt x="38350" y="36218"/>
                    <a:pt x="38762" y="36218"/>
                    <a:pt x="39175" y="36436"/>
                  </a:cubicBezTo>
                  <a:cubicBezTo>
                    <a:pt x="39175" y="36654"/>
                    <a:pt x="38762" y="36654"/>
                    <a:pt x="38762" y="36654"/>
                  </a:cubicBezTo>
                  <a:cubicBezTo>
                    <a:pt x="38762" y="36654"/>
                    <a:pt x="38350" y="36654"/>
                    <a:pt x="38350" y="36872"/>
                  </a:cubicBezTo>
                  <a:cubicBezTo>
                    <a:pt x="38350" y="36872"/>
                    <a:pt x="37938" y="37090"/>
                    <a:pt x="38350" y="37090"/>
                  </a:cubicBezTo>
                  <a:cubicBezTo>
                    <a:pt x="39175" y="37090"/>
                    <a:pt x="39587" y="37090"/>
                    <a:pt x="39587" y="37090"/>
                  </a:cubicBezTo>
                  <a:cubicBezTo>
                    <a:pt x="39587" y="37090"/>
                    <a:pt x="40000" y="36654"/>
                    <a:pt x="40412" y="36872"/>
                  </a:cubicBezTo>
                  <a:cubicBezTo>
                    <a:pt x="40412" y="37090"/>
                    <a:pt x="40000" y="37090"/>
                    <a:pt x="39587" y="37309"/>
                  </a:cubicBezTo>
                  <a:cubicBezTo>
                    <a:pt x="39175" y="37527"/>
                    <a:pt x="39175" y="37527"/>
                    <a:pt x="39175" y="37745"/>
                  </a:cubicBezTo>
                  <a:cubicBezTo>
                    <a:pt x="39175" y="37963"/>
                    <a:pt x="38762" y="37963"/>
                    <a:pt x="38762" y="38181"/>
                  </a:cubicBezTo>
                  <a:cubicBezTo>
                    <a:pt x="38762" y="38400"/>
                    <a:pt x="37938" y="39272"/>
                    <a:pt x="39175" y="38618"/>
                  </a:cubicBezTo>
                  <a:cubicBezTo>
                    <a:pt x="40824" y="37963"/>
                    <a:pt x="40824" y="38181"/>
                    <a:pt x="40824" y="37963"/>
                  </a:cubicBezTo>
                  <a:cubicBezTo>
                    <a:pt x="40824" y="37745"/>
                    <a:pt x="40824" y="37745"/>
                    <a:pt x="41649" y="37527"/>
                  </a:cubicBezTo>
                  <a:cubicBezTo>
                    <a:pt x="42061" y="37309"/>
                    <a:pt x="42474" y="37309"/>
                    <a:pt x="42886" y="37309"/>
                  </a:cubicBezTo>
                  <a:cubicBezTo>
                    <a:pt x="42886" y="37090"/>
                    <a:pt x="43711" y="37090"/>
                    <a:pt x="43298" y="37309"/>
                  </a:cubicBezTo>
                  <a:cubicBezTo>
                    <a:pt x="42886" y="37527"/>
                    <a:pt x="42474" y="37309"/>
                    <a:pt x="42886" y="37527"/>
                  </a:cubicBezTo>
                  <a:cubicBezTo>
                    <a:pt x="43298" y="37745"/>
                    <a:pt x="43298" y="37963"/>
                    <a:pt x="43711" y="37963"/>
                  </a:cubicBezTo>
                  <a:cubicBezTo>
                    <a:pt x="44123" y="37963"/>
                    <a:pt x="44123" y="37963"/>
                    <a:pt x="44123" y="37963"/>
                  </a:cubicBezTo>
                  <a:cubicBezTo>
                    <a:pt x="44123" y="37963"/>
                    <a:pt x="43298" y="37963"/>
                    <a:pt x="42886" y="37963"/>
                  </a:cubicBezTo>
                  <a:cubicBezTo>
                    <a:pt x="42886" y="37963"/>
                    <a:pt x="42474" y="37963"/>
                    <a:pt x="42474" y="37963"/>
                  </a:cubicBezTo>
                  <a:cubicBezTo>
                    <a:pt x="42061" y="37963"/>
                    <a:pt x="42061" y="38181"/>
                    <a:pt x="42061" y="38181"/>
                  </a:cubicBezTo>
                  <a:cubicBezTo>
                    <a:pt x="41649" y="38400"/>
                    <a:pt x="41649" y="38400"/>
                    <a:pt x="41649" y="38400"/>
                  </a:cubicBezTo>
                  <a:cubicBezTo>
                    <a:pt x="41649" y="38400"/>
                    <a:pt x="42061" y="38618"/>
                    <a:pt x="42061" y="38836"/>
                  </a:cubicBezTo>
                  <a:cubicBezTo>
                    <a:pt x="42061" y="38836"/>
                    <a:pt x="42061" y="38836"/>
                    <a:pt x="41649" y="38836"/>
                  </a:cubicBezTo>
                  <a:cubicBezTo>
                    <a:pt x="41237" y="38836"/>
                    <a:pt x="41649" y="38618"/>
                    <a:pt x="40824" y="38836"/>
                  </a:cubicBezTo>
                  <a:cubicBezTo>
                    <a:pt x="40000" y="38836"/>
                    <a:pt x="40412" y="38400"/>
                    <a:pt x="40000" y="39054"/>
                  </a:cubicBezTo>
                  <a:cubicBezTo>
                    <a:pt x="39587" y="39709"/>
                    <a:pt x="39175" y="39709"/>
                    <a:pt x="39175" y="39709"/>
                  </a:cubicBezTo>
                  <a:cubicBezTo>
                    <a:pt x="39175" y="39709"/>
                    <a:pt x="39175" y="39709"/>
                    <a:pt x="39175" y="39927"/>
                  </a:cubicBezTo>
                  <a:cubicBezTo>
                    <a:pt x="39175" y="39927"/>
                    <a:pt x="39587" y="40145"/>
                    <a:pt x="40000" y="40363"/>
                  </a:cubicBezTo>
                  <a:cubicBezTo>
                    <a:pt x="40824" y="40581"/>
                    <a:pt x="41237" y="40800"/>
                    <a:pt x="41237" y="40800"/>
                  </a:cubicBezTo>
                  <a:cubicBezTo>
                    <a:pt x="41237" y="40800"/>
                    <a:pt x="40824" y="40800"/>
                    <a:pt x="40412" y="40800"/>
                  </a:cubicBezTo>
                  <a:cubicBezTo>
                    <a:pt x="39587" y="41018"/>
                    <a:pt x="39175" y="41018"/>
                    <a:pt x="38762" y="41236"/>
                  </a:cubicBezTo>
                  <a:cubicBezTo>
                    <a:pt x="38762" y="41236"/>
                    <a:pt x="38350" y="41454"/>
                    <a:pt x="37938" y="41454"/>
                  </a:cubicBezTo>
                  <a:cubicBezTo>
                    <a:pt x="37525" y="41454"/>
                    <a:pt x="36288" y="41236"/>
                    <a:pt x="35876" y="41454"/>
                  </a:cubicBezTo>
                  <a:cubicBezTo>
                    <a:pt x="35463" y="41454"/>
                    <a:pt x="35051" y="41454"/>
                    <a:pt x="34639" y="41672"/>
                  </a:cubicBezTo>
                  <a:cubicBezTo>
                    <a:pt x="34639" y="41672"/>
                    <a:pt x="34639" y="41890"/>
                    <a:pt x="34639" y="41890"/>
                  </a:cubicBezTo>
                  <a:cubicBezTo>
                    <a:pt x="34639" y="41890"/>
                    <a:pt x="34226" y="42109"/>
                    <a:pt x="34639" y="42109"/>
                  </a:cubicBezTo>
                  <a:cubicBezTo>
                    <a:pt x="35051" y="42109"/>
                    <a:pt x="36701" y="42109"/>
                    <a:pt x="36701" y="42109"/>
                  </a:cubicBezTo>
                  <a:cubicBezTo>
                    <a:pt x="37113" y="42109"/>
                    <a:pt x="37113" y="42327"/>
                    <a:pt x="37113" y="42327"/>
                  </a:cubicBezTo>
                  <a:cubicBezTo>
                    <a:pt x="36288" y="42327"/>
                    <a:pt x="36288" y="42327"/>
                    <a:pt x="36288" y="42327"/>
                  </a:cubicBezTo>
                  <a:cubicBezTo>
                    <a:pt x="36288" y="42327"/>
                    <a:pt x="35463" y="42327"/>
                    <a:pt x="35051" y="42327"/>
                  </a:cubicBezTo>
                  <a:cubicBezTo>
                    <a:pt x="35051" y="42327"/>
                    <a:pt x="33814" y="42545"/>
                    <a:pt x="33814" y="42545"/>
                  </a:cubicBezTo>
                  <a:cubicBezTo>
                    <a:pt x="33814" y="42545"/>
                    <a:pt x="32989" y="42981"/>
                    <a:pt x="32989" y="43200"/>
                  </a:cubicBezTo>
                  <a:cubicBezTo>
                    <a:pt x="32989" y="43200"/>
                    <a:pt x="32989" y="43418"/>
                    <a:pt x="33402" y="43854"/>
                  </a:cubicBezTo>
                  <a:cubicBezTo>
                    <a:pt x="34226" y="44072"/>
                    <a:pt x="34226" y="44290"/>
                    <a:pt x="34226" y="44509"/>
                  </a:cubicBezTo>
                  <a:cubicBezTo>
                    <a:pt x="34226" y="44509"/>
                    <a:pt x="34226" y="44509"/>
                    <a:pt x="34226" y="44727"/>
                  </a:cubicBezTo>
                  <a:cubicBezTo>
                    <a:pt x="33814" y="44727"/>
                    <a:pt x="32989" y="45163"/>
                    <a:pt x="32989" y="45163"/>
                  </a:cubicBezTo>
                  <a:cubicBezTo>
                    <a:pt x="32989" y="45163"/>
                    <a:pt x="32989" y="45163"/>
                    <a:pt x="32989" y="45600"/>
                  </a:cubicBezTo>
                  <a:cubicBezTo>
                    <a:pt x="32577" y="45818"/>
                    <a:pt x="31752" y="46472"/>
                    <a:pt x="32577" y="46472"/>
                  </a:cubicBezTo>
                  <a:cubicBezTo>
                    <a:pt x="33402" y="46690"/>
                    <a:pt x="32989" y="46909"/>
                    <a:pt x="33814" y="46690"/>
                  </a:cubicBezTo>
                  <a:cubicBezTo>
                    <a:pt x="35051" y="46472"/>
                    <a:pt x="33814" y="46254"/>
                    <a:pt x="35463" y="46472"/>
                  </a:cubicBezTo>
                  <a:cubicBezTo>
                    <a:pt x="37113" y="46690"/>
                    <a:pt x="37525" y="46472"/>
                    <a:pt x="37938" y="46472"/>
                  </a:cubicBezTo>
                  <a:cubicBezTo>
                    <a:pt x="38350" y="46254"/>
                    <a:pt x="38350" y="46254"/>
                    <a:pt x="38762" y="46036"/>
                  </a:cubicBezTo>
                  <a:cubicBezTo>
                    <a:pt x="38762" y="46036"/>
                    <a:pt x="37938" y="45818"/>
                    <a:pt x="39175" y="45818"/>
                  </a:cubicBezTo>
                  <a:cubicBezTo>
                    <a:pt x="40412" y="45600"/>
                    <a:pt x="40412" y="45600"/>
                    <a:pt x="40412" y="45600"/>
                  </a:cubicBezTo>
                  <a:cubicBezTo>
                    <a:pt x="40412" y="45600"/>
                    <a:pt x="39587" y="44945"/>
                    <a:pt x="40412" y="45381"/>
                  </a:cubicBezTo>
                  <a:cubicBezTo>
                    <a:pt x="41649" y="45818"/>
                    <a:pt x="41649" y="46036"/>
                    <a:pt x="41649" y="46036"/>
                  </a:cubicBezTo>
                  <a:cubicBezTo>
                    <a:pt x="40824" y="46472"/>
                    <a:pt x="40824" y="46472"/>
                    <a:pt x="40824" y="46472"/>
                  </a:cubicBezTo>
                  <a:cubicBezTo>
                    <a:pt x="40824" y="46690"/>
                    <a:pt x="40824" y="46690"/>
                    <a:pt x="40824" y="46690"/>
                  </a:cubicBezTo>
                  <a:cubicBezTo>
                    <a:pt x="40824" y="46690"/>
                    <a:pt x="40000" y="46690"/>
                    <a:pt x="39587" y="47127"/>
                  </a:cubicBezTo>
                  <a:cubicBezTo>
                    <a:pt x="39175" y="47563"/>
                    <a:pt x="37938" y="48218"/>
                    <a:pt x="37938" y="48436"/>
                  </a:cubicBezTo>
                  <a:cubicBezTo>
                    <a:pt x="37938" y="48436"/>
                    <a:pt x="38350" y="48218"/>
                    <a:pt x="37525" y="48654"/>
                  </a:cubicBezTo>
                  <a:cubicBezTo>
                    <a:pt x="36288" y="49090"/>
                    <a:pt x="35876" y="49090"/>
                    <a:pt x="35051" y="49309"/>
                  </a:cubicBezTo>
                  <a:cubicBezTo>
                    <a:pt x="34639" y="49745"/>
                    <a:pt x="34639" y="49527"/>
                    <a:pt x="34226" y="49745"/>
                  </a:cubicBezTo>
                  <a:cubicBezTo>
                    <a:pt x="34226" y="49963"/>
                    <a:pt x="33814" y="50181"/>
                    <a:pt x="33814" y="50181"/>
                  </a:cubicBezTo>
                  <a:cubicBezTo>
                    <a:pt x="33402" y="50618"/>
                    <a:pt x="33402" y="50618"/>
                    <a:pt x="33402" y="50618"/>
                  </a:cubicBezTo>
                  <a:cubicBezTo>
                    <a:pt x="32164" y="50836"/>
                    <a:pt x="32164" y="50836"/>
                    <a:pt x="32164" y="50836"/>
                  </a:cubicBezTo>
                  <a:cubicBezTo>
                    <a:pt x="30927" y="50618"/>
                    <a:pt x="30927" y="50618"/>
                    <a:pt x="30927" y="50618"/>
                  </a:cubicBezTo>
                  <a:cubicBezTo>
                    <a:pt x="30103" y="51054"/>
                    <a:pt x="30103" y="51054"/>
                    <a:pt x="30103" y="51054"/>
                  </a:cubicBezTo>
                  <a:cubicBezTo>
                    <a:pt x="30103" y="51054"/>
                    <a:pt x="28865" y="50836"/>
                    <a:pt x="28453" y="50836"/>
                  </a:cubicBezTo>
                  <a:cubicBezTo>
                    <a:pt x="28041" y="51054"/>
                    <a:pt x="27628" y="51272"/>
                    <a:pt x="27628" y="51272"/>
                  </a:cubicBezTo>
                  <a:cubicBezTo>
                    <a:pt x="27628" y="51272"/>
                    <a:pt x="27216" y="51272"/>
                    <a:pt x="27216" y="51709"/>
                  </a:cubicBezTo>
                  <a:cubicBezTo>
                    <a:pt x="27216" y="51927"/>
                    <a:pt x="26804" y="52581"/>
                    <a:pt x="26804" y="52581"/>
                  </a:cubicBezTo>
                  <a:cubicBezTo>
                    <a:pt x="25979" y="53018"/>
                    <a:pt x="25979" y="53018"/>
                    <a:pt x="25979" y="53018"/>
                  </a:cubicBezTo>
                  <a:cubicBezTo>
                    <a:pt x="25979" y="53018"/>
                    <a:pt x="25567" y="53454"/>
                    <a:pt x="26391" y="53236"/>
                  </a:cubicBezTo>
                  <a:cubicBezTo>
                    <a:pt x="27216" y="53018"/>
                    <a:pt x="27628" y="52800"/>
                    <a:pt x="28041" y="52581"/>
                  </a:cubicBezTo>
                  <a:cubicBezTo>
                    <a:pt x="28041" y="52581"/>
                    <a:pt x="28865" y="52363"/>
                    <a:pt x="28865" y="52363"/>
                  </a:cubicBezTo>
                  <a:cubicBezTo>
                    <a:pt x="28865" y="52800"/>
                    <a:pt x="28865" y="52800"/>
                    <a:pt x="28865" y="52800"/>
                  </a:cubicBezTo>
                  <a:cubicBezTo>
                    <a:pt x="28453" y="53672"/>
                    <a:pt x="28453" y="53672"/>
                    <a:pt x="28453" y="53672"/>
                  </a:cubicBezTo>
                  <a:cubicBezTo>
                    <a:pt x="28041" y="53890"/>
                    <a:pt x="28041" y="53890"/>
                    <a:pt x="28041" y="53890"/>
                  </a:cubicBezTo>
                  <a:cubicBezTo>
                    <a:pt x="27628" y="54109"/>
                    <a:pt x="27628" y="54109"/>
                    <a:pt x="27628" y="54109"/>
                  </a:cubicBezTo>
                  <a:cubicBezTo>
                    <a:pt x="27628" y="54109"/>
                    <a:pt x="26804" y="54981"/>
                    <a:pt x="27628" y="54981"/>
                  </a:cubicBezTo>
                  <a:cubicBezTo>
                    <a:pt x="28453" y="54763"/>
                    <a:pt x="28041" y="54763"/>
                    <a:pt x="28865" y="54545"/>
                  </a:cubicBezTo>
                  <a:cubicBezTo>
                    <a:pt x="29690" y="54545"/>
                    <a:pt x="29278" y="54327"/>
                    <a:pt x="30927" y="54109"/>
                  </a:cubicBezTo>
                  <a:cubicBezTo>
                    <a:pt x="32164" y="54109"/>
                    <a:pt x="32164" y="53672"/>
                    <a:pt x="32164" y="53454"/>
                  </a:cubicBezTo>
                  <a:cubicBezTo>
                    <a:pt x="32164" y="53454"/>
                    <a:pt x="32164" y="53236"/>
                    <a:pt x="32164" y="53018"/>
                  </a:cubicBezTo>
                  <a:cubicBezTo>
                    <a:pt x="32164" y="52800"/>
                    <a:pt x="31340" y="52581"/>
                    <a:pt x="32577" y="52363"/>
                  </a:cubicBezTo>
                  <a:cubicBezTo>
                    <a:pt x="33402" y="52363"/>
                    <a:pt x="32989" y="52581"/>
                    <a:pt x="33402" y="52363"/>
                  </a:cubicBezTo>
                  <a:cubicBezTo>
                    <a:pt x="33814" y="52145"/>
                    <a:pt x="33814" y="52581"/>
                    <a:pt x="33814" y="51927"/>
                  </a:cubicBezTo>
                  <a:cubicBezTo>
                    <a:pt x="33814" y="51490"/>
                    <a:pt x="33814" y="51490"/>
                    <a:pt x="34639" y="51272"/>
                  </a:cubicBezTo>
                  <a:cubicBezTo>
                    <a:pt x="35463" y="50836"/>
                    <a:pt x="35051" y="51054"/>
                    <a:pt x="35463" y="50836"/>
                  </a:cubicBezTo>
                  <a:cubicBezTo>
                    <a:pt x="35876" y="50618"/>
                    <a:pt x="35463" y="50618"/>
                    <a:pt x="35876" y="50400"/>
                  </a:cubicBezTo>
                  <a:cubicBezTo>
                    <a:pt x="36701" y="50181"/>
                    <a:pt x="36701" y="50181"/>
                    <a:pt x="36701" y="50181"/>
                  </a:cubicBezTo>
                  <a:cubicBezTo>
                    <a:pt x="36701" y="49963"/>
                    <a:pt x="37938" y="49527"/>
                    <a:pt x="37938" y="49527"/>
                  </a:cubicBezTo>
                  <a:cubicBezTo>
                    <a:pt x="37938" y="49090"/>
                    <a:pt x="37938" y="49090"/>
                    <a:pt x="37938" y="49090"/>
                  </a:cubicBezTo>
                  <a:cubicBezTo>
                    <a:pt x="39587" y="48654"/>
                    <a:pt x="39587" y="48654"/>
                    <a:pt x="39587" y="48654"/>
                  </a:cubicBezTo>
                  <a:cubicBezTo>
                    <a:pt x="39587" y="48654"/>
                    <a:pt x="40000" y="48436"/>
                    <a:pt x="40000" y="48654"/>
                  </a:cubicBezTo>
                  <a:cubicBezTo>
                    <a:pt x="39587" y="48872"/>
                    <a:pt x="39175" y="49309"/>
                    <a:pt x="39175" y="49309"/>
                  </a:cubicBezTo>
                  <a:cubicBezTo>
                    <a:pt x="39175" y="49745"/>
                    <a:pt x="39175" y="49745"/>
                    <a:pt x="39175" y="49745"/>
                  </a:cubicBezTo>
                  <a:cubicBezTo>
                    <a:pt x="37938" y="50181"/>
                    <a:pt x="37938" y="50181"/>
                    <a:pt x="37938" y="50181"/>
                  </a:cubicBezTo>
                  <a:cubicBezTo>
                    <a:pt x="37938" y="50181"/>
                    <a:pt x="38762" y="50400"/>
                    <a:pt x="38350" y="50618"/>
                  </a:cubicBezTo>
                  <a:cubicBezTo>
                    <a:pt x="37938" y="50836"/>
                    <a:pt x="37113" y="51054"/>
                    <a:pt x="37113" y="51054"/>
                  </a:cubicBezTo>
                  <a:cubicBezTo>
                    <a:pt x="37113" y="51490"/>
                    <a:pt x="37113" y="51490"/>
                    <a:pt x="37113" y="51490"/>
                  </a:cubicBezTo>
                  <a:cubicBezTo>
                    <a:pt x="37525" y="51709"/>
                    <a:pt x="37525" y="51709"/>
                    <a:pt x="37525" y="51709"/>
                  </a:cubicBezTo>
                  <a:cubicBezTo>
                    <a:pt x="36701" y="52581"/>
                    <a:pt x="36701" y="52581"/>
                    <a:pt x="36701" y="52581"/>
                  </a:cubicBezTo>
                  <a:cubicBezTo>
                    <a:pt x="37525" y="53018"/>
                    <a:pt x="37525" y="53018"/>
                    <a:pt x="37525" y="53018"/>
                  </a:cubicBezTo>
                  <a:cubicBezTo>
                    <a:pt x="37938" y="53454"/>
                    <a:pt x="37938" y="53454"/>
                    <a:pt x="37938" y="53454"/>
                  </a:cubicBezTo>
                  <a:cubicBezTo>
                    <a:pt x="37938" y="53454"/>
                    <a:pt x="37525" y="53672"/>
                    <a:pt x="37113" y="53890"/>
                  </a:cubicBezTo>
                  <a:cubicBezTo>
                    <a:pt x="36701" y="53890"/>
                    <a:pt x="35876" y="54545"/>
                    <a:pt x="35876" y="54545"/>
                  </a:cubicBezTo>
                  <a:cubicBezTo>
                    <a:pt x="35051" y="55200"/>
                    <a:pt x="35051" y="55200"/>
                    <a:pt x="35051" y="55200"/>
                  </a:cubicBezTo>
                  <a:cubicBezTo>
                    <a:pt x="34226" y="55854"/>
                    <a:pt x="34226" y="55854"/>
                    <a:pt x="34226" y="55854"/>
                  </a:cubicBezTo>
                  <a:cubicBezTo>
                    <a:pt x="34226" y="56509"/>
                    <a:pt x="34226" y="56509"/>
                    <a:pt x="34226" y="56509"/>
                  </a:cubicBezTo>
                  <a:cubicBezTo>
                    <a:pt x="33814" y="57381"/>
                    <a:pt x="33814" y="57381"/>
                    <a:pt x="33814" y="57381"/>
                  </a:cubicBezTo>
                  <a:cubicBezTo>
                    <a:pt x="32989" y="57600"/>
                    <a:pt x="32989" y="57600"/>
                    <a:pt x="32989" y="57600"/>
                  </a:cubicBezTo>
                  <a:cubicBezTo>
                    <a:pt x="32989" y="57600"/>
                    <a:pt x="32577" y="58254"/>
                    <a:pt x="33402" y="58254"/>
                  </a:cubicBezTo>
                  <a:cubicBezTo>
                    <a:pt x="34226" y="58472"/>
                    <a:pt x="34226" y="58472"/>
                    <a:pt x="34639" y="58472"/>
                  </a:cubicBezTo>
                  <a:cubicBezTo>
                    <a:pt x="35463" y="58472"/>
                    <a:pt x="35051" y="58472"/>
                    <a:pt x="35463" y="58472"/>
                  </a:cubicBezTo>
                  <a:cubicBezTo>
                    <a:pt x="35876" y="58472"/>
                    <a:pt x="36701" y="58472"/>
                    <a:pt x="36701" y="58036"/>
                  </a:cubicBezTo>
                  <a:cubicBezTo>
                    <a:pt x="36701" y="57600"/>
                    <a:pt x="36701" y="57163"/>
                    <a:pt x="36701" y="56945"/>
                  </a:cubicBezTo>
                  <a:cubicBezTo>
                    <a:pt x="36701" y="56945"/>
                    <a:pt x="37525" y="56290"/>
                    <a:pt x="37525" y="56290"/>
                  </a:cubicBezTo>
                  <a:cubicBezTo>
                    <a:pt x="37525" y="55418"/>
                    <a:pt x="37525" y="55418"/>
                    <a:pt x="37525" y="55418"/>
                  </a:cubicBezTo>
                  <a:cubicBezTo>
                    <a:pt x="37525" y="55418"/>
                    <a:pt x="37525" y="55200"/>
                    <a:pt x="38350" y="54763"/>
                  </a:cubicBezTo>
                  <a:cubicBezTo>
                    <a:pt x="39175" y="54545"/>
                    <a:pt x="38762" y="54545"/>
                    <a:pt x="39175" y="54545"/>
                  </a:cubicBezTo>
                  <a:cubicBezTo>
                    <a:pt x="39587" y="54327"/>
                    <a:pt x="39587" y="54109"/>
                    <a:pt x="39587" y="53890"/>
                  </a:cubicBezTo>
                  <a:cubicBezTo>
                    <a:pt x="40000" y="53672"/>
                    <a:pt x="40000" y="53672"/>
                    <a:pt x="40000" y="53672"/>
                  </a:cubicBezTo>
                  <a:cubicBezTo>
                    <a:pt x="40412" y="53236"/>
                    <a:pt x="40412" y="53236"/>
                    <a:pt x="40412" y="53236"/>
                  </a:cubicBezTo>
                  <a:cubicBezTo>
                    <a:pt x="40412" y="51490"/>
                    <a:pt x="40412" y="51490"/>
                    <a:pt x="40412" y="51490"/>
                  </a:cubicBezTo>
                  <a:cubicBezTo>
                    <a:pt x="40412" y="51490"/>
                    <a:pt x="40412" y="51054"/>
                    <a:pt x="40824" y="51054"/>
                  </a:cubicBezTo>
                  <a:cubicBezTo>
                    <a:pt x="41237" y="51054"/>
                    <a:pt x="41649" y="51054"/>
                    <a:pt x="41649" y="51054"/>
                  </a:cubicBezTo>
                  <a:cubicBezTo>
                    <a:pt x="41649" y="51054"/>
                    <a:pt x="41649" y="51272"/>
                    <a:pt x="41649" y="51709"/>
                  </a:cubicBezTo>
                  <a:cubicBezTo>
                    <a:pt x="41237" y="52145"/>
                    <a:pt x="41649" y="52800"/>
                    <a:pt x="41649" y="52800"/>
                  </a:cubicBezTo>
                  <a:cubicBezTo>
                    <a:pt x="44536" y="54109"/>
                    <a:pt x="44536" y="54109"/>
                    <a:pt x="44536" y="54109"/>
                  </a:cubicBezTo>
                  <a:cubicBezTo>
                    <a:pt x="44536" y="54109"/>
                    <a:pt x="45773" y="55200"/>
                    <a:pt x="45773" y="55418"/>
                  </a:cubicBezTo>
                  <a:cubicBezTo>
                    <a:pt x="45773" y="55418"/>
                    <a:pt x="47835" y="56290"/>
                    <a:pt x="47835" y="56290"/>
                  </a:cubicBezTo>
                  <a:cubicBezTo>
                    <a:pt x="47835" y="56290"/>
                    <a:pt x="48247" y="56509"/>
                    <a:pt x="47835" y="56727"/>
                  </a:cubicBezTo>
                  <a:cubicBezTo>
                    <a:pt x="47835" y="56945"/>
                    <a:pt x="48247" y="57163"/>
                    <a:pt x="48247" y="57381"/>
                  </a:cubicBezTo>
                  <a:cubicBezTo>
                    <a:pt x="47835" y="57600"/>
                    <a:pt x="47422" y="58254"/>
                    <a:pt x="47422" y="58254"/>
                  </a:cubicBezTo>
                  <a:cubicBezTo>
                    <a:pt x="46597" y="58472"/>
                    <a:pt x="46597" y="58472"/>
                    <a:pt x="46597" y="58472"/>
                  </a:cubicBezTo>
                  <a:cubicBezTo>
                    <a:pt x="45360" y="59127"/>
                    <a:pt x="45360" y="59127"/>
                    <a:pt x="45360" y="59127"/>
                  </a:cubicBezTo>
                  <a:cubicBezTo>
                    <a:pt x="44948" y="60000"/>
                    <a:pt x="44948" y="60000"/>
                    <a:pt x="44948" y="60000"/>
                  </a:cubicBezTo>
                  <a:cubicBezTo>
                    <a:pt x="44123" y="60654"/>
                    <a:pt x="44123" y="60654"/>
                    <a:pt x="44123" y="60654"/>
                  </a:cubicBezTo>
                  <a:cubicBezTo>
                    <a:pt x="42474" y="61090"/>
                    <a:pt x="42474" y="61090"/>
                    <a:pt x="42474" y="61090"/>
                  </a:cubicBezTo>
                  <a:cubicBezTo>
                    <a:pt x="40412" y="62181"/>
                    <a:pt x="40412" y="62181"/>
                    <a:pt x="40412" y="62181"/>
                  </a:cubicBezTo>
                  <a:cubicBezTo>
                    <a:pt x="39587" y="63054"/>
                    <a:pt x="39587" y="63054"/>
                    <a:pt x="39587" y="63054"/>
                  </a:cubicBezTo>
                  <a:cubicBezTo>
                    <a:pt x="38350" y="63927"/>
                    <a:pt x="38350" y="63927"/>
                    <a:pt x="38350" y="63927"/>
                  </a:cubicBezTo>
                  <a:cubicBezTo>
                    <a:pt x="38350" y="64581"/>
                    <a:pt x="38350" y="64581"/>
                    <a:pt x="38350" y="64581"/>
                  </a:cubicBezTo>
                  <a:cubicBezTo>
                    <a:pt x="38350" y="64581"/>
                    <a:pt x="39175" y="65454"/>
                    <a:pt x="39587" y="65454"/>
                  </a:cubicBezTo>
                  <a:cubicBezTo>
                    <a:pt x="39587" y="65454"/>
                    <a:pt x="40000" y="65672"/>
                    <a:pt x="40000" y="65672"/>
                  </a:cubicBezTo>
                  <a:cubicBezTo>
                    <a:pt x="40412" y="66763"/>
                    <a:pt x="40412" y="66763"/>
                    <a:pt x="40412" y="66763"/>
                  </a:cubicBezTo>
                  <a:cubicBezTo>
                    <a:pt x="40412" y="66763"/>
                    <a:pt x="40412" y="67418"/>
                    <a:pt x="40824" y="67418"/>
                  </a:cubicBezTo>
                  <a:cubicBezTo>
                    <a:pt x="41237" y="67200"/>
                    <a:pt x="41649" y="66545"/>
                    <a:pt x="41649" y="66545"/>
                  </a:cubicBezTo>
                  <a:cubicBezTo>
                    <a:pt x="41649" y="66545"/>
                    <a:pt x="40824" y="66109"/>
                    <a:pt x="40824" y="65672"/>
                  </a:cubicBezTo>
                  <a:cubicBezTo>
                    <a:pt x="40824" y="65236"/>
                    <a:pt x="41649" y="64581"/>
                    <a:pt x="41649" y="64581"/>
                  </a:cubicBezTo>
                  <a:cubicBezTo>
                    <a:pt x="42474" y="64363"/>
                    <a:pt x="42474" y="64363"/>
                    <a:pt x="42474" y="64363"/>
                  </a:cubicBezTo>
                  <a:cubicBezTo>
                    <a:pt x="42474" y="64363"/>
                    <a:pt x="42061" y="64363"/>
                    <a:pt x="42474" y="64581"/>
                  </a:cubicBezTo>
                  <a:cubicBezTo>
                    <a:pt x="42886" y="65018"/>
                    <a:pt x="42886" y="64800"/>
                    <a:pt x="43298" y="65018"/>
                  </a:cubicBezTo>
                  <a:cubicBezTo>
                    <a:pt x="43298" y="65236"/>
                    <a:pt x="44536" y="65890"/>
                    <a:pt x="44536" y="65890"/>
                  </a:cubicBezTo>
                  <a:cubicBezTo>
                    <a:pt x="44536" y="65890"/>
                    <a:pt x="45773" y="66545"/>
                    <a:pt x="46185" y="66763"/>
                  </a:cubicBezTo>
                  <a:cubicBezTo>
                    <a:pt x="46597" y="66981"/>
                    <a:pt x="47010" y="67418"/>
                    <a:pt x="47422" y="67418"/>
                  </a:cubicBezTo>
                  <a:cubicBezTo>
                    <a:pt x="47835" y="67200"/>
                    <a:pt x="48247" y="67418"/>
                    <a:pt x="48247" y="66981"/>
                  </a:cubicBezTo>
                  <a:cubicBezTo>
                    <a:pt x="48247" y="66545"/>
                    <a:pt x="48659" y="66545"/>
                    <a:pt x="48659" y="66109"/>
                  </a:cubicBezTo>
                  <a:cubicBezTo>
                    <a:pt x="48247" y="65890"/>
                    <a:pt x="48247" y="65236"/>
                    <a:pt x="48247" y="65236"/>
                  </a:cubicBezTo>
                  <a:cubicBezTo>
                    <a:pt x="48247" y="65236"/>
                    <a:pt x="48247" y="65018"/>
                    <a:pt x="48659" y="65018"/>
                  </a:cubicBezTo>
                  <a:cubicBezTo>
                    <a:pt x="49484" y="65018"/>
                    <a:pt x="49484" y="65454"/>
                    <a:pt x="49484" y="65454"/>
                  </a:cubicBezTo>
                  <a:cubicBezTo>
                    <a:pt x="49484" y="65454"/>
                    <a:pt x="49896" y="66109"/>
                    <a:pt x="50309" y="66327"/>
                  </a:cubicBezTo>
                  <a:cubicBezTo>
                    <a:pt x="50721" y="66327"/>
                    <a:pt x="51134" y="66327"/>
                    <a:pt x="51546" y="66545"/>
                  </a:cubicBezTo>
                  <a:cubicBezTo>
                    <a:pt x="51958" y="66981"/>
                    <a:pt x="54020" y="67200"/>
                    <a:pt x="54020" y="67200"/>
                  </a:cubicBezTo>
                  <a:cubicBezTo>
                    <a:pt x="54020" y="67200"/>
                    <a:pt x="54432" y="66981"/>
                    <a:pt x="54845" y="66763"/>
                  </a:cubicBezTo>
                  <a:cubicBezTo>
                    <a:pt x="54845" y="66545"/>
                    <a:pt x="55670" y="66545"/>
                    <a:pt x="55670" y="66545"/>
                  </a:cubicBezTo>
                  <a:cubicBezTo>
                    <a:pt x="55670" y="66545"/>
                    <a:pt x="55257" y="66109"/>
                    <a:pt x="56494" y="66327"/>
                  </a:cubicBezTo>
                  <a:cubicBezTo>
                    <a:pt x="57319" y="66327"/>
                    <a:pt x="57731" y="66545"/>
                    <a:pt x="57731" y="66327"/>
                  </a:cubicBezTo>
                  <a:cubicBezTo>
                    <a:pt x="58144" y="66109"/>
                    <a:pt x="58969" y="65236"/>
                    <a:pt x="58969" y="65236"/>
                  </a:cubicBezTo>
                  <a:cubicBezTo>
                    <a:pt x="58969" y="65236"/>
                    <a:pt x="58556" y="64581"/>
                    <a:pt x="59793" y="64800"/>
                  </a:cubicBezTo>
                  <a:cubicBezTo>
                    <a:pt x="60618" y="65236"/>
                    <a:pt x="65154" y="65672"/>
                    <a:pt x="65154" y="65672"/>
                  </a:cubicBezTo>
                  <a:cubicBezTo>
                    <a:pt x="64742" y="66109"/>
                    <a:pt x="64742" y="66109"/>
                    <a:pt x="64742" y="66109"/>
                  </a:cubicBezTo>
                  <a:cubicBezTo>
                    <a:pt x="63092" y="65890"/>
                    <a:pt x="63092" y="65890"/>
                    <a:pt x="63092" y="65890"/>
                  </a:cubicBezTo>
                  <a:cubicBezTo>
                    <a:pt x="61855" y="66109"/>
                    <a:pt x="61855" y="66109"/>
                    <a:pt x="61855" y="66109"/>
                  </a:cubicBezTo>
                  <a:cubicBezTo>
                    <a:pt x="61855" y="66109"/>
                    <a:pt x="61443" y="66109"/>
                    <a:pt x="61030" y="66545"/>
                  </a:cubicBezTo>
                  <a:cubicBezTo>
                    <a:pt x="61030" y="66763"/>
                    <a:pt x="61030" y="66981"/>
                    <a:pt x="60618" y="67200"/>
                  </a:cubicBezTo>
                  <a:cubicBezTo>
                    <a:pt x="60618" y="67418"/>
                    <a:pt x="60206" y="67636"/>
                    <a:pt x="59793" y="67636"/>
                  </a:cubicBezTo>
                  <a:cubicBezTo>
                    <a:pt x="59793" y="67854"/>
                    <a:pt x="58144" y="68509"/>
                    <a:pt x="58144" y="68509"/>
                  </a:cubicBezTo>
                  <a:cubicBezTo>
                    <a:pt x="57319" y="69163"/>
                    <a:pt x="57319" y="69163"/>
                    <a:pt x="57319" y="69163"/>
                  </a:cubicBezTo>
                  <a:cubicBezTo>
                    <a:pt x="56494" y="70254"/>
                    <a:pt x="56494" y="70254"/>
                    <a:pt x="56494" y="70254"/>
                  </a:cubicBezTo>
                  <a:cubicBezTo>
                    <a:pt x="56494" y="70254"/>
                    <a:pt x="56494" y="71127"/>
                    <a:pt x="56907" y="71127"/>
                  </a:cubicBezTo>
                  <a:cubicBezTo>
                    <a:pt x="57319" y="71345"/>
                    <a:pt x="58144" y="72000"/>
                    <a:pt x="58144" y="72000"/>
                  </a:cubicBezTo>
                  <a:cubicBezTo>
                    <a:pt x="58144" y="72000"/>
                    <a:pt x="58144" y="72436"/>
                    <a:pt x="58144" y="72654"/>
                  </a:cubicBezTo>
                  <a:cubicBezTo>
                    <a:pt x="58144" y="72872"/>
                    <a:pt x="58144" y="73090"/>
                    <a:pt x="58556" y="73527"/>
                  </a:cubicBezTo>
                  <a:cubicBezTo>
                    <a:pt x="58969" y="73745"/>
                    <a:pt x="59381" y="74618"/>
                    <a:pt x="59381" y="74618"/>
                  </a:cubicBezTo>
                  <a:cubicBezTo>
                    <a:pt x="59793" y="74618"/>
                    <a:pt x="59793" y="74618"/>
                    <a:pt x="59793" y="74618"/>
                  </a:cubicBezTo>
                  <a:cubicBezTo>
                    <a:pt x="59793" y="75272"/>
                    <a:pt x="59793" y="75272"/>
                    <a:pt x="59793" y="75272"/>
                  </a:cubicBezTo>
                  <a:cubicBezTo>
                    <a:pt x="59793" y="75272"/>
                    <a:pt x="59793" y="75927"/>
                    <a:pt x="60206" y="75927"/>
                  </a:cubicBezTo>
                  <a:cubicBezTo>
                    <a:pt x="61030" y="75927"/>
                    <a:pt x="62268" y="75490"/>
                    <a:pt x="62268" y="75490"/>
                  </a:cubicBezTo>
                  <a:cubicBezTo>
                    <a:pt x="65567" y="75054"/>
                    <a:pt x="65567" y="75054"/>
                    <a:pt x="65567" y="75054"/>
                  </a:cubicBezTo>
                  <a:cubicBezTo>
                    <a:pt x="65567" y="75054"/>
                    <a:pt x="65154" y="75927"/>
                    <a:pt x="65154" y="76145"/>
                  </a:cubicBezTo>
                  <a:cubicBezTo>
                    <a:pt x="65154" y="76363"/>
                    <a:pt x="64329" y="76363"/>
                    <a:pt x="63917" y="76581"/>
                  </a:cubicBezTo>
                  <a:cubicBezTo>
                    <a:pt x="63917" y="76800"/>
                    <a:pt x="63917" y="77018"/>
                    <a:pt x="63917" y="77018"/>
                  </a:cubicBezTo>
                  <a:cubicBezTo>
                    <a:pt x="63917" y="77018"/>
                    <a:pt x="63505" y="77672"/>
                    <a:pt x="63092" y="77672"/>
                  </a:cubicBezTo>
                  <a:cubicBezTo>
                    <a:pt x="62268" y="77672"/>
                    <a:pt x="61443" y="77890"/>
                    <a:pt x="61443" y="77890"/>
                  </a:cubicBezTo>
                  <a:cubicBezTo>
                    <a:pt x="61443" y="77890"/>
                    <a:pt x="61030" y="77454"/>
                    <a:pt x="61030" y="78109"/>
                  </a:cubicBezTo>
                  <a:cubicBezTo>
                    <a:pt x="60618" y="78545"/>
                    <a:pt x="60206" y="78981"/>
                    <a:pt x="60206" y="79200"/>
                  </a:cubicBezTo>
                  <a:cubicBezTo>
                    <a:pt x="60206" y="79418"/>
                    <a:pt x="59381" y="79636"/>
                    <a:pt x="60618" y="79854"/>
                  </a:cubicBezTo>
                  <a:cubicBezTo>
                    <a:pt x="61443" y="79854"/>
                    <a:pt x="61443" y="80509"/>
                    <a:pt x="61443" y="80509"/>
                  </a:cubicBezTo>
                  <a:cubicBezTo>
                    <a:pt x="61443" y="80509"/>
                    <a:pt x="60618" y="80945"/>
                    <a:pt x="60206" y="81163"/>
                  </a:cubicBezTo>
                  <a:cubicBezTo>
                    <a:pt x="59793" y="81381"/>
                    <a:pt x="59381" y="81163"/>
                    <a:pt x="59381" y="81381"/>
                  </a:cubicBezTo>
                  <a:cubicBezTo>
                    <a:pt x="59381" y="81600"/>
                    <a:pt x="60206" y="82690"/>
                    <a:pt x="60206" y="82690"/>
                  </a:cubicBezTo>
                  <a:cubicBezTo>
                    <a:pt x="60206" y="82690"/>
                    <a:pt x="60206" y="83345"/>
                    <a:pt x="59381" y="83345"/>
                  </a:cubicBezTo>
                  <a:cubicBezTo>
                    <a:pt x="58556" y="83345"/>
                    <a:pt x="58556" y="83345"/>
                    <a:pt x="58144" y="83345"/>
                  </a:cubicBezTo>
                  <a:cubicBezTo>
                    <a:pt x="57731" y="83345"/>
                    <a:pt x="57319" y="83345"/>
                    <a:pt x="57319" y="83345"/>
                  </a:cubicBezTo>
                  <a:cubicBezTo>
                    <a:pt x="57319" y="83345"/>
                    <a:pt x="57731" y="83563"/>
                    <a:pt x="57731" y="84000"/>
                  </a:cubicBezTo>
                  <a:cubicBezTo>
                    <a:pt x="57731" y="84436"/>
                    <a:pt x="57731" y="84872"/>
                    <a:pt x="57731" y="84872"/>
                  </a:cubicBezTo>
                  <a:cubicBezTo>
                    <a:pt x="56494" y="84654"/>
                    <a:pt x="56494" y="84654"/>
                    <a:pt x="56494" y="84654"/>
                  </a:cubicBezTo>
                  <a:cubicBezTo>
                    <a:pt x="55257" y="84000"/>
                    <a:pt x="55257" y="84000"/>
                    <a:pt x="55257" y="84000"/>
                  </a:cubicBezTo>
                  <a:cubicBezTo>
                    <a:pt x="55257" y="84000"/>
                    <a:pt x="54020" y="84000"/>
                    <a:pt x="53608" y="84000"/>
                  </a:cubicBezTo>
                  <a:cubicBezTo>
                    <a:pt x="53195" y="84218"/>
                    <a:pt x="51958" y="84218"/>
                    <a:pt x="51958" y="84218"/>
                  </a:cubicBezTo>
                  <a:cubicBezTo>
                    <a:pt x="51958" y="84218"/>
                    <a:pt x="49896" y="83781"/>
                    <a:pt x="49484" y="83563"/>
                  </a:cubicBezTo>
                  <a:cubicBezTo>
                    <a:pt x="49484" y="83345"/>
                    <a:pt x="49484" y="83345"/>
                    <a:pt x="49072" y="83563"/>
                  </a:cubicBezTo>
                  <a:cubicBezTo>
                    <a:pt x="49072" y="83563"/>
                    <a:pt x="49484" y="83563"/>
                    <a:pt x="49072" y="83563"/>
                  </a:cubicBezTo>
                  <a:cubicBezTo>
                    <a:pt x="48659" y="83781"/>
                    <a:pt x="49484" y="83781"/>
                    <a:pt x="47835" y="83781"/>
                  </a:cubicBezTo>
                  <a:cubicBezTo>
                    <a:pt x="46185" y="84000"/>
                    <a:pt x="44536" y="84218"/>
                    <a:pt x="44536" y="84218"/>
                  </a:cubicBezTo>
                  <a:cubicBezTo>
                    <a:pt x="44536" y="84218"/>
                    <a:pt x="45773" y="83563"/>
                    <a:pt x="45360" y="83345"/>
                  </a:cubicBezTo>
                  <a:cubicBezTo>
                    <a:pt x="44948" y="83127"/>
                    <a:pt x="45360" y="83345"/>
                    <a:pt x="44536" y="83127"/>
                  </a:cubicBezTo>
                  <a:cubicBezTo>
                    <a:pt x="44123" y="82909"/>
                    <a:pt x="43298" y="82472"/>
                    <a:pt x="43298" y="82254"/>
                  </a:cubicBezTo>
                  <a:cubicBezTo>
                    <a:pt x="43298" y="82036"/>
                    <a:pt x="43298" y="81600"/>
                    <a:pt x="42474" y="81600"/>
                  </a:cubicBezTo>
                  <a:cubicBezTo>
                    <a:pt x="42061" y="81600"/>
                    <a:pt x="41649" y="81163"/>
                    <a:pt x="40824" y="81600"/>
                  </a:cubicBezTo>
                  <a:cubicBezTo>
                    <a:pt x="40412" y="81818"/>
                    <a:pt x="40000" y="81818"/>
                    <a:pt x="40000" y="82036"/>
                  </a:cubicBezTo>
                  <a:cubicBezTo>
                    <a:pt x="39587" y="82254"/>
                    <a:pt x="37938" y="82472"/>
                    <a:pt x="37938" y="82472"/>
                  </a:cubicBezTo>
                  <a:cubicBezTo>
                    <a:pt x="37938" y="82472"/>
                    <a:pt x="39175" y="83345"/>
                    <a:pt x="39175" y="83563"/>
                  </a:cubicBezTo>
                  <a:cubicBezTo>
                    <a:pt x="39175" y="83781"/>
                    <a:pt x="40000" y="84654"/>
                    <a:pt x="40000" y="84654"/>
                  </a:cubicBezTo>
                  <a:cubicBezTo>
                    <a:pt x="42886" y="84654"/>
                    <a:pt x="42886" y="84654"/>
                    <a:pt x="42886" y="84654"/>
                  </a:cubicBezTo>
                  <a:cubicBezTo>
                    <a:pt x="42886" y="84654"/>
                    <a:pt x="40824" y="85090"/>
                    <a:pt x="40824" y="85527"/>
                  </a:cubicBezTo>
                  <a:cubicBezTo>
                    <a:pt x="40412" y="85745"/>
                    <a:pt x="40412" y="85963"/>
                    <a:pt x="40000" y="86181"/>
                  </a:cubicBezTo>
                  <a:cubicBezTo>
                    <a:pt x="39587" y="86400"/>
                    <a:pt x="39587" y="86618"/>
                    <a:pt x="38762" y="86836"/>
                  </a:cubicBezTo>
                  <a:cubicBezTo>
                    <a:pt x="37525" y="86836"/>
                    <a:pt x="36288" y="87054"/>
                    <a:pt x="35463" y="87272"/>
                  </a:cubicBezTo>
                  <a:cubicBezTo>
                    <a:pt x="35051" y="87490"/>
                    <a:pt x="34639" y="87490"/>
                    <a:pt x="34639" y="87709"/>
                  </a:cubicBezTo>
                  <a:cubicBezTo>
                    <a:pt x="34639" y="88145"/>
                    <a:pt x="32164" y="87927"/>
                    <a:pt x="34639" y="88363"/>
                  </a:cubicBezTo>
                  <a:cubicBezTo>
                    <a:pt x="37113" y="88581"/>
                    <a:pt x="37525" y="88800"/>
                    <a:pt x="37525" y="88800"/>
                  </a:cubicBezTo>
                  <a:cubicBezTo>
                    <a:pt x="37525" y="88800"/>
                    <a:pt x="38762" y="88145"/>
                    <a:pt x="39175" y="87927"/>
                  </a:cubicBezTo>
                  <a:cubicBezTo>
                    <a:pt x="40000" y="87490"/>
                    <a:pt x="40000" y="87490"/>
                    <a:pt x="41649" y="87490"/>
                  </a:cubicBezTo>
                  <a:cubicBezTo>
                    <a:pt x="43298" y="87709"/>
                    <a:pt x="43298" y="87490"/>
                    <a:pt x="43298" y="87709"/>
                  </a:cubicBezTo>
                  <a:cubicBezTo>
                    <a:pt x="43298" y="88145"/>
                    <a:pt x="43298" y="88363"/>
                    <a:pt x="43298" y="88800"/>
                  </a:cubicBezTo>
                  <a:cubicBezTo>
                    <a:pt x="42886" y="89236"/>
                    <a:pt x="42061" y="89454"/>
                    <a:pt x="42886" y="90109"/>
                  </a:cubicBezTo>
                  <a:cubicBezTo>
                    <a:pt x="43711" y="90545"/>
                    <a:pt x="42474" y="90981"/>
                    <a:pt x="42474" y="91200"/>
                  </a:cubicBezTo>
                  <a:cubicBezTo>
                    <a:pt x="42474" y="91200"/>
                    <a:pt x="41649" y="91854"/>
                    <a:pt x="42061" y="91854"/>
                  </a:cubicBezTo>
                  <a:cubicBezTo>
                    <a:pt x="42474" y="92072"/>
                    <a:pt x="42474" y="92072"/>
                    <a:pt x="42474" y="92072"/>
                  </a:cubicBezTo>
                  <a:cubicBezTo>
                    <a:pt x="42474" y="92072"/>
                    <a:pt x="41649" y="93163"/>
                    <a:pt x="41649" y="93381"/>
                  </a:cubicBezTo>
                  <a:cubicBezTo>
                    <a:pt x="41649" y="93381"/>
                    <a:pt x="40412" y="94690"/>
                    <a:pt x="40000" y="94690"/>
                  </a:cubicBezTo>
                  <a:cubicBezTo>
                    <a:pt x="39587" y="94909"/>
                    <a:pt x="40412" y="94909"/>
                    <a:pt x="37938" y="95345"/>
                  </a:cubicBezTo>
                  <a:cubicBezTo>
                    <a:pt x="35463" y="95563"/>
                    <a:pt x="34226" y="95781"/>
                    <a:pt x="34226" y="95781"/>
                  </a:cubicBezTo>
                  <a:cubicBezTo>
                    <a:pt x="32164" y="96218"/>
                    <a:pt x="32164" y="96218"/>
                    <a:pt x="32164" y="96218"/>
                  </a:cubicBezTo>
                  <a:cubicBezTo>
                    <a:pt x="30515" y="96872"/>
                    <a:pt x="30515" y="96872"/>
                    <a:pt x="30515" y="96872"/>
                  </a:cubicBezTo>
                  <a:cubicBezTo>
                    <a:pt x="29278" y="96872"/>
                    <a:pt x="29278" y="96872"/>
                    <a:pt x="29278" y="96872"/>
                  </a:cubicBezTo>
                  <a:cubicBezTo>
                    <a:pt x="27216" y="96654"/>
                    <a:pt x="27216" y="96654"/>
                    <a:pt x="27216" y="96654"/>
                  </a:cubicBezTo>
                  <a:cubicBezTo>
                    <a:pt x="27216" y="96654"/>
                    <a:pt x="25154" y="97309"/>
                    <a:pt x="25154" y="97527"/>
                  </a:cubicBezTo>
                  <a:cubicBezTo>
                    <a:pt x="25154" y="97527"/>
                    <a:pt x="23917" y="97745"/>
                    <a:pt x="23505" y="97963"/>
                  </a:cubicBezTo>
                  <a:cubicBezTo>
                    <a:pt x="23505" y="98181"/>
                    <a:pt x="25567" y="98618"/>
                    <a:pt x="25567" y="98618"/>
                  </a:cubicBezTo>
                  <a:cubicBezTo>
                    <a:pt x="25979" y="99272"/>
                    <a:pt x="25979" y="99272"/>
                    <a:pt x="25979" y="99272"/>
                  </a:cubicBezTo>
                  <a:cubicBezTo>
                    <a:pt x="25154" y="99272"/>
                    <a:pt x="25154" y="99272"/>
                    <a:pt x="25154" y="99272"/>
                  </a:cubicBezTo>
                  <a:cubicBezTo>
                    <a:pt x="23505" y="99490"/>
                    <a:pt x="23505" y="99490"/>
                    <a:pt x="23505" y="99490"/>
                  </a:cubicBezTo>
                  <a:cubicBezTo>
                    <a:pt x="23505" y="99927"/>
                    <a:pt x="23505" y="99927"/>
                    <a:pt x="23505" y="99927"/>
                  </a:cubicBezTo>
                  <a:cubicBezTo>
                    <a:pt x="24329" y="100145"/>
                    <a:pt x="24329" y="100145"/>
                    <a:pt x="24329" y="100145"/>
                  </a:cubicBezTo>
                  <a:cubicBezTo>
                    <a:pt x="24329" y="100145"/>
                    <a:pt x="24742" y="100363"/>
                    <a:pt x="25154" y="100363"/>
                  </a:cubicBezTo>
                  <a:cubicBezTo>
                    <a:pt x="25979" y="100363"/>
                    <a:pt x="27628" y="99927"/>
                    <a:pt x="27628" y="99927"/>
                  </a:cubicBezTo>
                  <a:cubicBezTo>
                    <a:pt x="25567" y="100581"/>
                    <a:pt x="25567" y="100581"/>
                    <a:pt x="25567" y="100581"/>
                  </a:cubicBezTo>
                  <a:cubicBezTo>
                    <a:pt x="25154" y="101236"/>
                    <a:pt x="25154" y="101236"/>
                    <a:pt x="25154" y="101236"/>
                  </a:cubicBezTo>
                  <a:cubicBezTo>
                    <a:pt x="25154" y="101236"/>
                    <a:pt x="24742" y="101672"/>
                    <a:pt x="25567" y="101672"/>
                  </a:cubicBezTo>
                  <a:cubicBezTo>
                    <a:pt x="26391" y="101672"/>
                    <a:pt x="27216" y="101672"/>
                    <a:pt x="27216" y="101672"/>
                  </a:cubicBezTo>
                  <a:cubicBezTo>
                    <a:pt x="27216" y="101672"/>
                    <a:pt x="27628" y="101236"/>
                    <a:pt x="28453" y="101236"/>
                  </a:cubicBezTo>
                  <a:cubicBezTo>
                    <a:pt x="29690" y="101454"/>
                    <a:pt x="29690" y="101454"/>
                    <a:pt x="29690" y="101454"/>
                  </a:cubicBezTo>
                  <a:cubicBezTo>
                    <a:pt x="29690" y="101454"/>
                    <a:pt x="30103" y="100800"/>
                    <a:pt x="30515" y="100800"/>
                  </a:cubicBezTo>
                  <a:cubicBezTo>
                    <a:pt x="30515" y="100800"/>
                    <a:pt x="30103" y="100800"/>
                    <a:pt x="31340" y="100800"/>
                  </a:cubicBezTo>
                  <a:cubicBezTo>
                    <a:pt x="32164" y="101018"/>
                    <a:pt x="35051" y="100800"/>
                    <a:pt x="35051" y="100800"/>
                  </a:cubicBezTo>
                  <a:cubicBezTo>
                    <a:pt x="35051" y="100800"/>
                    <a:pt x="35463" y="100800"/>
                    <a:pt x="35463" y="101018"/>
                  </a:cubicBezTo>
                  <a:cubicBezTo>
                    <a:pt x="35463" y="101454"/>
                    <a:pt x="36288" y="101454"/>
                    <a:pt x="36701" y="101890"/>
                  </a:cubicBezTo>
                  <a:cubicBezTo>
                    <a:pt x="37525" y="102109"/>
                    <a:pt x="39175" y="102327"/>
                    <a:pt x="39175" y="102327"/>
                  </a:cubicBezTo>
                  <a:cubicBezTo>
                    <a:pt x="37938" y="102545"/>
                    <a:pt x="37938" y="102545"/>
                    <a:pt x="37938" y="102545"/>
                  </a:cubicBezTo>
                  <a:cubicBezTo>
                    <a:pt x="36288" y="102327"/>
                    <a:pt x="36288" y="102327"/>
                    <a:pt x="36288" y="102327"/>
                  </a:cubicBezTo>
                  <a:cubicBezTo>
                    <a:pt x="36288" y="102327"/>
                    <a:pt x="35463" y="102109"/>
                    <a:pt x="35463" y="102327"/>
                  </a:cubicBezTo>
                  <a:cubicBezTo>
                    <a:pt x="35463" y="102763"/>
                    <a:pt x="35051" y="103418"/>
                    <a:pt x="35051" y="103418"/>
                  </a:cubicBezTo>
                  <a:cubicBezTo>
                    <a:pt x="35463" y="103418"/>
                    <a:pt x="37525" y="103636"/>
                    <a:pt x="37525" y="103636"/>
                  </a:cubicBezTo>
                  <a:cubicBezTo>
                    <a:pt x="39587" y="103636"/>
                    <a:pt x="39587" y="103636"/>
                    <a:pt x="39587" y="103636"/>
                  </a:cubicBezTo>
                  <a:cubicBezTo>
                    <a:pt x="40412" y="103418"/>
                    <a:pt x="40412" y="103418"/>
                    <a:pt x="40412" y="103418"/>
                  </a:cubicBezTo>
                  <a:cubicBezTo>
                    <a:pt x="41649" y="102981"/>
                    <a:pt x="41649" y="102981"/>
                    <a:pt x="41649" y="102981"/>
                  </a:cubicBezTo>
                  <a:cubicBezTo>
                    <a:pt x="41649" y="102981"/>
                    <a:pt x="42061" y="103418"/>
                    <a:pt x="41649" y="103418"/>
                  </a:cubicBezTo>
                  <a:cubicBezTo>
                    <a:pt x="41649" y="103636"/>
                    <a:pt x="42061" y="104072"/>
                    <a:pt x="42061" y="104072"/>
                  </a:cubicBezTo>
                  <a:cubicBezTo>
                    <a:pt x="42061" y="104072"/>
                    <a:pt x="42061" y="104727"/>
                    <a:pt x="42474" y="104727"/>
                  </a:cubicBezTo>
                  <a:cubicBezTo>
                    <a:pt x="42886" y="104727"/>
                    <a:pt x="43711" y="105381"/>
                    <a:pt x="43711" y="105381"/>
                  </a:cubicBezTo>
                  <a:cubicBezTo>
                    <a:pt x="44536" y="106036"/>
                    <a:pt x="44536" y="106036"/>
                    <a:pt x="44536" y="106036"/>
                  </a:cubicBezTo>
                  <a:cubicBezTo>
                    <a:pt x="46185" y="106254"/>
                    <a:pt x="46185" y="106254"/>
                    <a:pt x="46185" y="106254"/>
                  </a:cubicBezTo>
                  <a:cubicBezTo>
                    <a:pt x="46185" y="106254"/>
                    <a:pt x="47422" y="106254"/>
                    <a:pt x="47835" y="106254"/>
                  </a:cubicBezTo>
                  <a:cubicBezTo>
                    <a:pt x="48247" y="106472"/>
                    <a:pt x="49072" y="106690"/>
                    <a:pt x="49072" y="106472"/>
                  </a:cubicBezTo>
                  <a:cubicBezTo>
                    <a:pt x="49484" y="106254"/>
                    <a:pt x="50309" y="105818"/>
                    <a:pt x="50309" y="105818"/>
                  </a:cubicBezTo>
                  <a:cubicBezTo>
                    <a:pt x="51958" y="105163"/>
                    <a:pt x="51958" y="105163"/>
                    <a:pt x="51958" y="105163"/>
                  </a:cubicBezTo>
                  <a:cubicBezTo>
                    <a:pt x="51958" y="105163"/>
                    <a:pt x="52783" y="105163"/>
                    <a:pt x="53608" y="105163"/>
                  </a:cubicBezTo>
                  <a:cubicBezTo>
                    <a:pt x="54020" y="105163"/>
                    <a:pt x="56907" y="104945"/>
                    <a:pt x="56907" y="104945"/>
                  </a:cubicBezTo>
                  <a:cubicBezTo>
                    <a:pt x="56907" y="104945"/>
                    <a:pt x="57319" y="104509"/>
                    <a:pt x="58144" y="104290"/>
                  </a:cubicBezTo>
                  <a:cubicBezTo>
                    <a:pt x="58556" y="104072"/>
                    <a:pt x="60206" y="103636"/>
                    <a:pt x="60206" y="103636"/>
                  </a:cubicBezTo>
                  <a:cubicBezTo>
                    <a:pt x="63092" y="103200"/>
                    <a:pt x="63092" y="103200"/>
                    <a:pt x="63092" y="103200"/>
                  </a:cubicBezTo>
                  <a:cubicBezTo>
                    <a:pt x="60618" y="103636"/>
                    <a:pt x="60618" y="103636"/>
                    <a:pt x="60618" y="103636"/>
                  </a:cubicBezTo>
                  <a:cubicBezTo>
                    <a:pt x="59793" y="104072"/>
                    <a:pt x="59793" y="104072"/>
                    <a:pt x="59793" y="104072"/>
                  </a:cubicBezTo>
                  <a:cubicBezTo>
                    <a:pt x="58144" y="104727"/>
                    <a:pt x="58144" y="104727"/>
                    <a:pt x="58144" y="104727"/>
                  </a:cubicBezTo>
                  <a:cubicBezTo>
                    <a:pt x="57319" y="105163"/>
                    <a:pt x="57319" y="105163"/>
                    <a:pt x="57319" y="105163"/>
                  </a:cubicBezTo>
                  <a:cubicBezTo>
                    <a:pt x="57319" y="105163"/>
                    <a:pt x="56494" y="105381"/>
                    <a:pt x="56082" y="105600"/>
                  </a:cubicBezTo>
                  <a:cubicBezTo>
                    <a:pt x="56082" y="105600"/>
                    <a:pt x="54845" y="106690"/>
                    <a:pt x="54845" y="106690"/>
                  </a:cubicBezTo>
                  <a:cubicBezTo>
                    <a:pt x="53608" y="106909"/>
                    <a:pt x="53608" y="106909"/>
                    <a:pt x="53608" y="106909"/>
                  </a:cubicBezTo>
                  <a:cubicBezTo>
                    <a:pt x="53608" y="106909"/>
                    <a:pt x="52371" y="107345"/>
                    <a:pt x="51958" y="107781"/>
                  </a:cubicBezTo>
                  <a:cubicBezTo>
                    <a:pt x="51546" y="108000"/>
                    <a:pt x="51134" y="108218"/>
                    <a:pt x="51134" y="108218"/>
                  </a:cubicBezTo>
                  <a:cubicBezTo>
                    <a:pt x="51134" y="108218"/>
                    <a:pt x="51546" y="108654"/>
                    <a:pt x="49484" y="108654"/>
                  </a:cubicBezTo>
                  <a:cubicBezTo>
                    <a:pt x="47422" y="108436"/>
                    <a:pt x="45773" y="108218"/>
                    <a:pt x="45773" y="108218"/>
                  </a:cubicBezTo>
                  <a:cubicBezTo>
                    <a:pt x="45773" y="108218"/>
                    <a:pt x="43711" y="108000"/>
                    <a:pt x="43298" y="108000"/>
                  </a:cubicBezTo>
                  <a:cubicBezTo>
                    <a:pt x="42886" y="107781"/>
                    <a:pt x="42886" y="107781"/>
                    <a:pt x="41649" y="107781"/>
                  </a:cubicBezTo>
                  <a:cubicBezTo>
                    <a:pt x="40824" y="107781"/>
                    <a:pt x="36701" y="107127"/>
                    <a:pt x="36701" y="107127"/>
                  </a:cubicBezTo>
                  <a:cubicBezTo>
                    <a:pt x="36701" y="107127"/>
                    <a:pt x="35876" y="107127"/>
                    <a:pt x="35463" y="107345"/>
                  </a:cubicBezTo>
                  <a:cubicBezTo>
                    <a:pt x="35051" y="107563"/>
                    <a:pt x="34226" y="107563"/>
                    <a:pt x="34226" y="107781"/>
                  </a:cubicBezTo>
                  <a:cubicBezTo>
                    <a:pt x="34226" y="108218"/>
                    <a:pt x="34226" y="108436"/>
                    <a:pt x="34226" y="108436"/>
                  </a:cubicBezTo>
                  <a:cubicBezTo>
                    <a:pt x="33814" y="109090"/>
                    <a:pt x="33814" y="109090"/>
                    <a:pt x="33814" y="109090"/>
                  </a:cubicBezTo>
                  <a:cubicBezTo>
                    <a:pt x="32164" y="109309"/>
                    <a:pt x="32164" y="109309"/>
                    <a:pt x="32164" y="109309"/>
                  </a:cubicBezTo>
                  <a:cubicBezTo>
                    <a:pt x="30103" y="109309"/>
                    <a:pt x="30103" y="109309"/>
                    <a:pt x="30103" y="109309"/>
                  </a:cubicBezTo>
                  <a:close/>
                  <a:moveTo>
                    <a:pt x="17731" y="58036"/>
                  </a:moveTo>
                  <a:cubicBezTo>
                    <a:pt x="17731" y="58036"/>
                    <a:pt x="17731" y="58036"/>
                    <a:pt x="17731" y="58036"/>
                  </a:cubicBezTo>
                  <a:cubicBezTo>
                    <a:pt x="18144" y="58036"/>
                    <a:pt x="20618" y="58036"/>
                    <a:pt x="20618" y="58036"/>
                  </a:cubicBezTo>
                  <a:cubicBezTo>
                    <a:pt x="22268" y="58036"/>
                    <a:pt x="22268" y="58036"/>
                    <a:pt x="22268" y="58036"/>
                  </a:cubicBezTo>
                  <a:cubicBezTo>
                    <a:pt x="22268" y="58036"/>
                    <a:pt x="24329" y="58036"/>
                    <a:pt x="24742" y="58036"/>
                  </a:cubicBezTo>
                  <a:cubicBezTo>
                    <a:pt x="25154" y="58036"/>
                    <a:pt x="25567" y="58254"/>
                    <a:pt x="25567" y="58254"/>
                  </a:cubicBezTo>
                  <a:cubicBezTo>
                    <a:pt x="25567" y="58254"/>
                    <a:pt x="26391" y="57818"/>
                    <a:pt x="26804" y="58036"/>
                  </a:cubicBezTo>
                  <a:cubicBezTo>
                    <a:pt x="27216" y="58036"/>
                    <a:pt x="28041" y="58690"/>
                    <a:pt x="28041" y="58690"/>
                  </a:cubicBezTo>
                  <a:cubicBezTo>
                    <a:pt x="28865" y="59781"/>
                    <a:pt x="28865" y="59781"/>
                    <a:pt x="28865" y="59781"/>
                  </a:cubicBezTo>
                  <a:cubicBezTo>
                    <a:pt x="29278" y="61090"/>
                    <a:pt x="29278" y="61090"/>
                    <a:pt x="29278" y="61090"/>
                  </a:cubicBezTo>
                  <a:cubicBezTo>
                    <a:pt x="29690" y="62181"/>
                    <a:pt x="29690" y="62181"/>
                    <a:pt x="29690" y="62181"/>
                  </a:cubicBezTo>
                  <a:cubicBezTo>
                    <a:pt x="31340" y="63272"/>
                    <a:pt x="31340" y="63272"/>
                    <a:pt x="31340" y="63272"/>
                  </a:cubicBezTo>
                  <a:cubicBezTo>
                    <a:pt x="30515" y="63927"/>
                    <a:pt x="30515" y="63927"/>
                    <a:pt x="30515" y="63927"/>
                  </a:cubicBezTo>
                  <a:cubicBezTo>
                    <a:pt x="30515" y="63927"/>
                    <a:pt x="30515" y="64800"/>
                    <a:pt x="30515" y="64800"/>
                  </a:cubicBezTo>
                  <a:cubicBezTo>
                    <a:pt x="30103" y="64800"/>
                    <a:pt x="28865" y="65018"/>
                    <a:pt x="28865" y="65018"/>
                  </a:cubicBezTo>
                  <a:cubicBezTo>
                    <a:pt x="28453" y="65236"/>
                    <a:pt x="28041" y="65890"/>
                    <a:pt x="28041" y="65890"/>
                  </a:cubicBezTo>
                  <a:cubicBezTo>
                    <a:pt x="28041" y="65890"/>
                    <a:pt x="29690" y="65018"/>
                    <a:pt x="30103" y="65236"/>
                  </a:cubicBezTo>
                  <a:cubicBezTo>
                    <a:pt x="30515" y="65236"/>
                    <a:pt x="31752" y="65236"/>
                    <a:pt x="31752" y="65236"/>
                  </a:cubicBezTo>
                  <a:cubicBezTo>
                    <a:pt x="32577" y="65672"/>
                    <a:pt x="32577" y="65672"/>
                    <a:pt x="32577" y="65672"/>
                  </a:cubicBezTo>
                  <a:cubicBezTo>
                    <a:pt x="33402" y="66545"/>
                    <a:pt x="33402" y="66545"/>
                    <a:pt x="33402" y="66545"/>
                  </a:cubicBezTo>
                  <a:cubicBezTo>
                    <a:pt x="33402" y="67636"/>
                    <a:pt x="33402" y="67636"/>
                    <a:pt x="33402" y="67636"/>
                  </a:cubicBezTo>
                  <a:cubicBezTo>
                    <a:pt x="33402" y="67636"/>
                    <a:pt x="33402" y="68509"/>
                    <a:pt x="32989" y="68509"/>
                  </a:cubicBezTo>
                  <a:cubicBezTo>
                    <a:pt x="32989" y="68727"/>
                    <a:pt x="32577" y="68945"/>
                    <a:pt x="32164" y="68945"/>
                  </a:cubicBezTo>
                  <a:cubicBezTo>
                    <a:pt x="31752" y="68945"/>
                    <a:pt x="31340" y="68945"/>
                    <a:pt x="31752" y="68509"/>
                  </a:cubicBezTo>
                  <a:cubicBezTo>
                    <a:pt x="31752" y="68072"/>
                    <a:pt x="32164" y="67636"/>
                    <a:pt x="32164" y="67636"/>
                  </a:cubicBezTo>
                  <a:cubicBezTo>
                    <a:pt x="32164" y="67418"/>
                    <a:pt x="32577" y="66545"/>
                    <a:pt x="32164" y="66545"/>
                  </a:cubicBezTo>
                  <a:cubicBezTo>
                    <a:pt x="31340" y="66545"/>
                    <a:pt x="30927" y="66109"/>
                    <a:pt x="30927" y="66545"/>
                  </a:cubicBezTo>
                  <a:cubicBezTo>
                    <a:pt x="30515" y="66763"/>
                    <a:pt x="30927" y="67636"/>
                    <a:pt x="30927" y="67636"/>
                  </a:cubicBezTo>
                  <a:cubicBezTo>
                    <a:pt x="30927" y="67636"/>
                    <a:pt x="31340" y="67854"/>
                    <a:pt x="31340" y="68072"/>
                  </a:cubicBezTo>
                  <a:cubicBezTo>
                    <a:pt x="30927" y="68290"/>
                    <a:pt x="30927" y="68072"/>
                    <a:pt x="30515" y="68509"/>
                  </a:cubicBezTo>
                  <a:cubicBezTo>
                    <a:pt x="29690" y="68727"/>
                    <a:pt x="30927" y="68945"/>
                    <a:pt x="30927" y="68945"/>
                  </a:cubicBezTo>
                  <a:cubicBezTo>
                    <a:pt x="31340" y="69381"/>
                    <a:pt x="31340" y="69381"/>
                    <a:pt x="31340" y="69381"/>
                  </a:cubicBezTo>
                  <a:cubicBezTo>
                    <a:pt x="31340" y="69381"/>
                    <a:pt x="31340" y="70036"/>
                    <a:pt x="30927" y="70036"/>
                  </a:cubicBezTo>
                  <a:cubicBezTo>
                    <a:pt x="30515" y="70254"/>
                    <a:pt x="30515" y="70472"/>
                    <a:pt x="28865" y="70036"/>
                  </a:cubicBezTo>
                  <a:cubicBezTo>
                    <a:pt x="27216" y="69818"/>
                    <a:pt x="26804" y="69600"/>
                    <a:pt x="26804" y="69600"/>
                  </a:cubicBezTo>
                  <a:cubicBezTo>
                    <a:pt x="26391" y="70690"/>
                    <a:pt x="26391" y="70690"/>
                    <a:pt x="26391" y="70690"/>
                  </a:cubicBezTo>
                  <a:cubicBezTo>
                    <a:pt x="25567" y="71563"/>
                    <a:pt x="25567" y="71563"/>
                    <a:pt x="25567" y="71563"/>
                  </a:cubicBezTo>
                  <a:cubicBezTo>
                    <a:pt x="22680" y="72000"/>
                    <a:pt x="22680" y="72000"/>
                    <a:pt x="22680" y="72000"/>
                  </a:cubicBezTo>
                  <a:cubicBezTo>
                    <a:pt x="21030" y="70909"/>
                    <a:pt x="21030" y="70909"/>
                    <a:pt x="21030" y="70909"/>
                  </a:cubicBezTo>
                  <a:cubicBezTo>
                    <a:pt x="21030" y="70909"/>
                    <a:pt x="19793" y="71127"/>
                    <a:pt x="19381" y="71127"/>
                  </a:cubicBezTo>
                  <a:cubicBezTo>
                    <a:pt x="18969" y="70909"/>
                    <a:pt x="16907" y="70690"/>
                    <a:pt x="16907" y="70690"/>
                  </a:cubicBezTo>
                  <a:cubicBezTo>
                    <a:pt x="16494" y="69600"/>
                    <a:pt x="16494" y="69600"/>
                    <a:pt x="16494" y="69600"/>
                  </a:cubicBezTo>
                  <a:cubicBezTo>
                    <a:pt x="14432" y="68509"/>
                    <a:pt x="14432" y="68509"/>
                    <a:pt x="14432" y="68509"/>
                  </a:cubicBezTo>
                  <a:cubicBezTo>
                    <a:pt x="14845" y="67636"/>
                    <a:pt x="14845" y="67636"/>
                    <a:pt x="14845" y="67636"/>
                  </a:cubicBezTo>
                  <a:cubicBezTo>
                    <a:pt x="13608" y="66327"/>
                    <a:pt x="13608" y="66327"/>
                    <a:pt x="13608" y="66327"/>
                  </a:cubicBezTo>
                  <a:cubicBezTo>
                    <a:pt x="11134" y="66545"/>
                    <a:pt x="11134" y="66545"/>
                    <a:pt x="11134" y="66545"/>
                  </a:cubicBezTo>
                  <a:cubicBezTo>
                    <a:pt x="10309" y="67636"/>
                    <a:pt x="10309" y="67636"/>
                    <a:pt x="10309" y="67636"/>
                  </a:cubicBezTo>
                  <a:cubicBezTo>
                    <a:pt x="10309" y="67636"/>
                    <a:pt x="11134" y="68072"/>
                    <a:pt x="10309" y="68290"/>
                  </a:cubicBezTo>
                  <a:cubicBezTo>
                    <a:pt x="9484" y="68290"/>
                    <a:pt x="7835" y="68509"/>
                    <a:pt x="7835" y="68509"/>
                  </a:cubicBezTo>
                  <a:cubicBezTo>
                    <a:pt x="7835" y="68509"/>
                    <a:pt x="5773" y="68727"/>
                    <a:pt x="5360" y="68727"/>
                  </a:cubicBezTo>
                  <a:cubicBezTo>
                    <a:pt x="5360" y="68727"/>
                    <a:pt x="3711" y="67418"/>
                    <a:pt x="3711" y="67418"/>
                  </a:cubicBezTo>
                  <a:cubicBezTo>
                    <a:pt x="3711" y="67418"/>
                    <a:pt x="2886" y="67418"/>
                    <a:pt x="2474" y="67418"/>
                  </a:cubicBezTo>
                  <a:cubicBezTo>
                    <a:pt x="2061" y="67418"/>
                    <a:pt x="2061" y="67636"/>
                    <a:pt x="2061" y="67200"/>
                  </a:cubicBezTo>
                  <a:cubicBezTo>
                    <a:pt x="2061" y="66763"/>
                    <a:pt x="1649" y="66109"/>
                    <a:pt x="1649" y="66109"/>
                  </a:cubicBezTo>
                  <a:cubicBezTo>
                    <a:pt x="1649" y="66109"/>
                    <a:pt x="2886" y="66763"/>
                    <a:pt x="1649" y="65890"/>
                  </a:cubicBezTo>
                  <a:cubicBezTo>
                    <a:pt x="412" y="65018"/>
                    <a:pt x="0" y="64145"/>
                    <a:pt x="0" y="64145"/>
                  </a:cubicBezTo>
                  <a:cubicBezTo>
                    <a:pt x="2061" y="63490"/>
                    <a:pt x="2061" y="63490"/>
                    <a:pt x="2061" y="63490"/>
                  </a:cubicBezTo>
                  <a:cubicBezTo>
                    <a:pt x="2061" y="63490"/>
                    <a:pt x="4123" y="63490"/>
                    <a:pt x="4536" y="63709"/>
                  </a:cubicBezTo>
                  <a:cubicBezTo>
                    <a:pt x="4948" y="63709"/>
                    <a:pt x="5360" y="63272"/>
                    <a:pt x="5360" y="63272"/>
                  </a:cubicBezTo>
                  <a:cubicBezTo>
                    <a:pt x="5360" y="63272"/>
                    <a:pt x="6185" y="62836"/>
                    <a:pt x="5360" y="62618"/>
                  </a:cubicBezTo>
                  <a:cubicBezTo>
                    <a:pt x="4948" y="62618"/>
                    <a:pt x="4123" y="62181"/>
                    <a:pt x="4123" y="62181"/>
                  </a:cubicBezTo>
                  <a:cubicBezTo>
                    <a:pt x="4123" y="62181"/>
                    <a:pt x="3298" y="61745"/>
                    <a:pt x="4536" y="61527"/>
                  </a:cubicBezTo>
                  <a:cubicBezTo>
                    <a:pt x="5773" y="61527"/>
                    <a:pt x="5773" y="61527"/>
                    <a:pt x="6597" y="61527"/>
                  </a:cubicBezTo>
                  <a:cubicBezTo>
                    <a:pt x="7422" y="61745"/>
                    <a:pt x="7835" y="62400"/>
                    <a:pt x="8247" y="61527"/>
                  </a:cubicBezTo>
                  <a:cubicBezTo>
                    <a:pt x="8659" y="60872"/>
                    <a:pt x="7835" y="60872"/>
                    <a:pt x="9072" y="60654"/>
                  </a:cubicBezTo>
                  <a:cubicBezTo>
                    <a:pt x="10309" y="60654"/>
                    <a:pt x="11134" y="60436"/>
                    <a:pt x="11134" y="60218"/>
                  </a:cubicBezTo>
                  <a:cubicBezTo>
                    <a:pt x="11134" y="60000"/>
                    <a:pt x="11134" y="59127"/>
                    <a:pt x="11546" y="59127"/>
                  </a:cubicBezTo>
                  <a:cubicBezTo>
                    <a:pt x="11958" y="59127"/>
                    <a:pt x="14020" y="59345"/>
                    <a:pt x="14020" y="59345"/>
                  </a:cubicBezTo>
                  <a:cubicBezTo>
                    <a:pt x="14020" y="59345"/>
                    <a:pt x="14845" y="58909"/>
                    <a:pt x="15670" y="59127"/>
                  </a:cubicBezTo>
                  <a:cubicBezTo>
                    <a:pt x="16494" y="59127"/>
                    <a:pt x="16907" y="58909"/>
                    <a:pt x="16907" y="58909"/>
                  </a:cubicBezTo>
                  <a:cubicBezTo>
                    <a:pt x="16907" y="58909"/>
                    <a:pt x="17731" y="58036"/>
                    <a:pt x="17731" y="58036"/>
                  </a:cubicBezTo>
                  <a:close/>
                  <a:moveTo>
                    <a:pt x="30515" y="49527"/>
                  </a:moveTo>
                  <a:cubicBezTo>
                    <a:pt x="30515" y="49527"/>
                    <a:pt x="30515" y="49527"/>
                    <a:pt x="30515" y="49527"/>
                  </a:cubicBezTo>
                  <a:cubicBezTo>
                    <a:pt x="30515" y="49527"/>
                    <a:pt x="30103" y="48872"/>
                    <a:pt x="30515" y="48872"/>
                  </a:cubicBezTo>
                  <a:cubicBezTo>
                    <a:pt x="30927" y="48872"/>
                    <a:pt x="32164" y="48654"/>
                    <a:pt x="32164" y="48654"/>
                  </a:cubicBezTo>
                  <a:cubicBezTo>
                    <a:pt x="32164" y="48654"/>
                    <a:pt x="32577" y="48218"/>
                    <a:pt x="32577" y="48436"/>
                  </a:cubicBezTo>
                  <a:cubicBezTo>
                    <a:pt x="32989" y="48436"/>
                    <a:pt x="32989" y="48872"/>
                    <a:pt x="32577" y="48872"/>
                  </a:cubicBezTo>
                  <a:cubicBezTo>
                    <a:pt x="32577" y="48872"/>
                    <a:pt x="31752" y="49309"/>
                    <a:pt x="31752" y="49309"/>
                  </a:cubicBezTo>
                  <a:cubicBezTo>
                    <a:pt x="31752" y="49309"/>
                    <a:pt x="30927" y="49527"/>
                    <a:pt x="30927" y="49527"/>
                  </a:cubicBezTo>
                  <a:cubicBezTo>
                    <a:pt x="30515" y="49527"/>
                    <a:pt x="30515" y="49527"/>
                    <a:pt x="30515" y="49527"/>
                  </a:cubicBezTo>
                  <a:close/>
                  <a:moveTo>
                    <a:pt x="35876" y="54109"/>
                  </a:moveTo>
                  <a:cubicBezTo>
                    <a:pt x="35876" y="54109"/>
                    <a:pt x="35876" y="54109"/>
                    <a:pt x="35876" y="54109"/>
                  </a:cubicBezTo>
                  <a:cubicBezTo>
                    <a:pt x="35876" y="54109"/>
                    <a:pt x="35876" y="54327"/>
                    <a:pt x="35463" y="54327"/>
                  </a:cubicBezTo>
                  <a:cubicBezTo>
                    <a:pt x="35051" y="54327"/>
                    <a:pt x="34226" y="54327"/>
                    <a:pt x="34226" y="54109"/>
                  </a:cubicBezTo>
                  <a:cubicBezTo>
                    <a:pt x="34226" y="54109"/>
                    <a:pt x="34639" y="53672"/>
                    <a:pt x="35051" y="53672"/>
                  </a:cubicBezTo>
                  <a:cubicBezTo>
                    <a:pt x="35051" y="53672"/>
                    <a:pt x="35463" y="53454"/>
                    <a:pt x="35463" y="53454"/>
                  </a:cubicBezTo>
                  <a:cubicBezTo>
                    <a:pt x="35463" y="53454"/>
                    <a:pt x="35463" y="53236"/>
                    <a:pt x="35463" y="53236"/>
                  </a:cubicBezTo>
                  <a:cubicBezTo>
                    <a:pt x="35876" y="53236"/>
                    <a:pt x="36288" y="53672"/>
                    <a:pt x="36288" y="53672"/>
                  </a:cubicBezTo>
                  <a:cubicBezTo>
                    <a:pt x="35876" y="54109"/>
                    <a:pt x="35876" y="54109"/>
                    <a:pt x="35876" y="54109"/>
                  </a:cubicBezTo>
                  <a:close/>
                  <a:moveTo>
                    <a:pt x="39175" y="55636"/>
                  </a:moveTo>
                  <a:cubicBezTo>
                    <a:pt x="39175" y="55636"/>
                    <a:pt x="39175" y="55636"/>
                    <a:pt x="39175" y="55636"/>
                  </a:cubicBezTo>
                  <a:cubicBezTo>
                    <a:pt x="39175" y="55418"/>
                    <a:pt x="40000" y="54981"/>
                    <a:pt x="40000" y="54763"/>
                  </a:cubicBezTo>
                  <a:cubicBezTo>
                    <a:pt x="40412" y="54763"/>
                    <a:pt x="40412" y="54545"/>
                    <a:pt x="40412" y="54545"/>
                  </a:cubicBezTo>
                  <a:cubicBezTo>
                    <a:pt x="40824" y="54327"/>
                    <a:pt x="41237" y="54327"/>
                    <a:pt x="41649" y="54327"/>
                  </a:cubicBezTo>
                  <a:cubicBezTo>
                    <a:pt x="42474" y="54545"/>
                    <a:pt x="43298" y="54981"/>
                    <a:pt x="42886" y="54981"/>
                  </a:cubicBezTo>
                  <a:cubicBezTo>
                    <a:pt x="42886" y="55200"/>
                    <a:pt x="42474" y="54981"/>
                    <a:pt x="42474" y="55636"/>
                  </a:cubicBezTo>
                  <a:cubicBezTo>
                    <a:pt x="42474" y="56290"/>
                    <a:pt x="42474" y="56290"/>
                    <a:pt x="42474" y="56509"/>
                  </a:cubicBezTo>
                  <a:cubicBezTo>
                    <a:pt x="42886" y="56727"/>
                    <a:pt x="42474" y="57381"/>
                    <a:pt x="42474" y="57381"/>
                  </a:cubicBezTo>
                  <a:cubicBezTo>
                    <a:pt x="42474" y="57381"/>
                    <a:pt x="42061" y="57818"/>
                    <a:pt x="41649" y="57818"/>
                  </a:cubicBezTo>
                  <a:cubicBezTo>
                    <a:pt x="41649" y="57818"/>
                    <a:pt x="41649" y="57818"/>
                    <a:pt x="40824" y="57600"/>
                  </a:cubicBezTo>
                  <a:cubicBezTo>
                    <a:pt x="40412" y="57600"/>
                    <a:pt x="39175" y="57163"/>
                    <a:pt x="39175" y="57163"/>
                  </a:cubicBezTo>
                  <a:cubicBezTo>
                    <a:pt x="39175" y="57163"/>
                    <a:pt x="39175" y="56072"/>
                    <a:pt x="39175" y="56072"/>
                  </a:cubicBezTo>
                  <a:cubicBezTo>
                    <a:pt x="39175" y="55854"/>
                    <a:pt x="38762" y="55636"/>
                    <a:pt x="38762" y="55636"/>
                  </a:cubicBezTo>
                  <a:cubicBezTo>
                    <a:pt x="39175" y="55636"/>
                    <a:pt x="39175" y="55636"/>
                    <a:pt x="39175" y="55636"/>
                  </a:cubicBezTo>
                  <a:close/>
                  <a:moveTo>
                    <a:pt x="30515" y="45818"/>
                  </a:moveTo>
                  <a:cubicBezTo>
                    <a:pt x="30515" y="45818"/>
                    <a:pt x="30515" y="45818"/>
                    <a:pt x="30515" y="45818"/>
                  </a:cubicBezTo>
                  <a:cubicBezTo>
                    <a:pt x="30515" y="45818"/>
                    <a:pt x="30515" y="45600"/>
                    <a:pt x="31340" y="45600"/>
                  </a:cubicBezTo>
                  <a:cubicBezTo>
                    <a:pt x="31752" y="45818"/>
                    <a:pt x="31752" y="46036"/>
                    <a:pt x="31752" y="46254"/>
                  </a:cubicBezTo>
                  <a:cubicBezTo>
                    <a:pt x="31752" y="46472"/>
                    <a:pt x="32989" y="46472"/>
                    <a:pt x="32577" y="46690"/>
                  </a:cubicBezTo>
                  <a:cubicBezTo>
                    <a:pt x="31752" y="46909"/>
                    <a:pt x="31340" y="46909"/>
                    <a:pt x="31340" y="46909"/>
                  </a:cubicBezTo>
                  <a:cubicBezTo>
                    <a:pt x="31340" y="46690"/>
                    <a:pt x="30927" y="46909"/>
                    <a:pt x="30927" y="46690"/>
                  </a:cubicBezTo>
                  <a:cubicBezTo>
                    <a:pt x="30927" y="46472"/>
                    <a:pt x="30103" y="46254"/>
                    <a:pt x="30103" y="46254"/>
                  </a:cubicBezTo>
                  <a:cubicBezTo>
                    <a:pt x="30103" y="46254"/>
                    <a:pt x="30515" y="45818"/>
                    <a:pt x="30515" y="45818"/>
                  </a:cubicBezTo>
                  <a:close/>
                  <a:moveTo>
                    <a:pt x="25154" y="42763"/>
                  </a:moveTo>
                  <a:cubicBezTo>
                    <a:pt x="25154" y="42763"/>
                    <a:pt x="25154" y="42763"/>
                    <a:pt x="25154" y="42763"/>
                  </a:cubicBezTo>
                  <a:cubicBezTo>
                    <a:pt x="25979" y="42981"/>
                    <a:pt x="26391" y="42763"/>
                    <a:pt x="26391" y="42981"/>
                  </a:cubicBezTo>
                  <a:cubicBezTo>
                    <a:pt x="26804" y="42981"/>
                    <a:pt x="27216" y="43200"/>
                    <a:pt x="26804" y="43418"/>
                  </a:cubicBezTo>
                  <a:cubicBezTo>
                    <a:pt x="25979" y="43636"/>
                    <a:pt x="25979" y="43636"/>
                    <a:pt x="25154" y="43636"/>
                  </a:cubicBezTo>
                  <a:cubicBezTo>
                    <a:pt x="24742" y="43636"/>
                    <a:pt x="25567" y="43636"/>
                    <a:pt x="24742" y="43636"/>
                  </a:cubicBezTo>
                  <a:cubicBezTo>
                    <a:pt x="23917" y="43636"/>
                    <a:pt x="22680" y="44072"/>
                    <a:pt x="23505" y="43418"/>
                  </a:cubicBezTo>
                  <a:cubicBezTo>
                    <a:pt x="24329" y="42981"/>
                    <a:pt x="25154" y="42763"/>
                    <a:pt x="25154" y="42763"/>
                  </a:cubicBezTo>
                  <a:close/>
                  <a:moveTo>
                    <a:pt x="29690" y="41672"/>
                  </a:moveTo>
                  <a:cubicBezTo>
                    <a:pt x="29690" y="41672"/>
                    <a:pt x="29690" y="41672"/>
                    <a:pt x="29690" y="41672"/>
                  </a:cubicBezTo>
                  <a:cubicBezTo>
                    <a:pt x="30103" y="41672"/>
                    <a:pt x="30515" y="41236"/>
                    <a:pt x="30927" y="41454"/>
                  </a:cubicBezTo>
                  <a:cubicBezTo>
                    <a:pt x="31340" y="41672"/>
                    <a:pt x="32164" y="41890"/>
                    <a:pt x="31340" y="42109"/>
                  </a:cubicBezTo>
                  <a:cubicBezTo>
                    <a:pt x="30515" y="42327"/>
                    <a:pt x="30515" y="42327"/>
                    <a:pt x="30103" y="42545"/>
                  </a:cubicBezTo>
                  <a:cubicBezTo>
                    <a:pt x="29278" y="42763"/>
                    <a:pt x="28453" y="42981"/>
                    <a:pt x="28041" y="42981"/>
                  </a:cubicBezTo>
                  <a:cubicBezTo>
                    <a:pt x="27628" y="42981"/>
                    <a:pt x="27216" y="42545"/>
                    <a:pt x="27628" y="42545"/>
                  </a:cubicBezTo>
                  <a:cubicBezTo>
                    <a:pt x="28041" y="42545"/>
                    <a:pt x="28453" y="42327"/>
                    <a:pt x="28865" y="42327"/>
                  </a:cubicBezTo>
                  <a:cubicBezTo>
                    <a:pt x="28865" y="42109"/>
                    <a:pt x="29690" y="41672"/>
                    <a:pt x="29690" y="41672"/>
                  </a:cubicBezTo>
                  <a:close/>
                  <a:moveTo>
                    <a:pt x="32164" y="37309"/>
                  </a:moveTo>
                  <a:cubicBezTo>
                    <a:pt x="32164" y="37309"/>
                    <a:pt x="32164" y="37309"/>
                    <a:pt x="32164" y="37309"/>
                  </a:cubicBezTo>
                  <a:cubicBezTo>
                    <a:pt x="32164" y="37309"/>
                    <a:pt x="32164" y="36654"/>
                    <a:pt x="32577" y="36872"/>
                  </a:cubicBezTo>
                  <a:cubicBezTo>
                    <a:pt x="33402" y="36872"/>
                    <a:pt x="33402" y="36872"/>
                    <a:pt x="33402" y="37090"/>
                  </a:cubicBezTo>
                  <a:cubicBezTo>
                    <a:pt x="33402" y="37309"/>
                    <a:pt x="34226" y="37090"/>
                    <a:pt x="33402" y="37309"/>
                  </a:cubicBezTo>
                  <a:cubicBezTo>
                    <a:pt x="32989" y="37309"/>
                    <a:pt x="32164" y="37309"/>
                    <a:pt x="32164" y="37309"/>
                  </a:cubicBezTo>
                  <a:close/>
                  <a:moveTo>
                    <a:pt x="35876" y="39490"/>
                  </a:moveTo>
                  <a:cubicBezTo>
                    <a:pt x="35876" y="39490"/>
                    <a:pt x="35876" y="39490"/>
                    <a:pt x="35876" y="39490"/>
                  </a:cubicBezTo>
                  <a:cubicBezTo>
                    <a:pt x="35876" y="39490"/>
                    <a:pt x="36288" y="39054"/>
                    <a:pt x="36701" y="39054"/>
                  </a:cubicBezTo>
                  <a:cubicBezTo>
                    <a:pt x="36701" y="39054"/>
                    <a:pt x="37113" y="39054"/>
                    <a:pt x="37113" y="39272"/>
                  </a:cubicBezTo>
                  <a:cubicBezTo>
                    <a:pt x="37113" y="39490"/>
                    <a:pt x="37113" y="39927"/>
                    <a:pt x="36701" y="39927"/>
                  </a:cubicBezTo>
                  <a:cubicBezTo>
                    <a:pt x="36288" y="39927"/>
                    <a:pt x="36288" y="40145"/>
                    <a:pt x="35876" y="39927"/>
                  </a:cubicBezTo>
                  <a:cubicBezTo>
                    <a:pt x="35463" y="39927"/>
                    <a:pt x="35876" y="39490"/>
                    <a:pt x="35876" y="39490"/>
                  </a:cubicBezTo>
                  <a:close/>
                  <a:moveTo>
                    <a:pt x="33814" y="38618"/>
                  </a:moveTo>
                  <a:cubicBezTo>
                    <a:pt x="33814" y="38618"/>
                    <a:pt x="33814" y="38618"/>
                    <a:pt x="33814" y="38618"/>
                  </a:cubicBezTo>
                  <a:cubicBezTo>
                    <a:pt x="33814" y="38618"/>
                    <a:pt x="33402" y="37745"/>
                    <a:pt x="34226" y="37745"/>
                  </a:cubicBezTo>
                  <a:cubicBezTo>
                    <a:pt x="35051" y="37527"/>
                    <a:pt x="35463" y="37527"/>
                    <a:pt x="35463" y="37527"/>
                  </a:cubicBezTo>
                  <a:cubicBezTo>
                    <a:pt x="35463" y="37527"/>
                    <a:pt x="36701" y="38400"/>
                    <a:pt x="36701" y="38400"/>
                  </a:cubicBezTo>
                  <a:cubicBezTo>
                    <a:pt x="36288" y="38618"/>
                    <a:pt x="36288" y="38836"/>
                    <a:pt x="35463" y="38836"/>
                  </a:cubicBezTo>
                  <a:cubicBezTo>
                    <a:pt x="35051" y="38836"/>
                    <a:pt x="34639" y="39054"/>
                    <a:pt x="34639" y="38836"/>
                  </a:cubicBezTo>
                  <a:cubicBezTo>
                    <a:pt x="34226" y="38618"/>
                    <a:pt x="33814" y="38618"/>
                    <a:pt x="33814" y="38618"/>
                  </a:cubicBezTo>
                  <a:close/>
                  <a:moveTo>
                    <a:pt x="18556" y="37963"/>
                  </a:moveTo>
                  <a:cubicBezTo>
                    <a:pt x="18556" y="37963"/>
                    <a:pt x="18556" y="37963"/>
                    <a:pt x="18556" y="37963"/>
                  </a:cubicBezTo>
                  <a:cubicBezTo>
                    <a:pt x="18969" y="37963"/>
                    <a:pt x="18969" y="37745"/>
                    <a:pt x="18969" y="38181"/>
                  </a:cubicBezTo>
                  <a:cubicBezTo>
                    <a:pt x="18969" y="38400"/>
                    <a:pt x="18969" y="38618"/>
                    <a:pt x="18969" y="38618"/>
                  </a:cubicBezTo>
                  <a:cubicBezTo>
                    <a:pt x="18969" y="38618"/>
                    <a:pt x="18556" y="39054"/>
                    <a:pt x="18144" y="38836"/>
                  </a:cubicBezTo>
                  <a:cubicBezTo>
                    <a:pt x="17731" y="38618"/>
                    <a:pt x="17731" y="38400"/>
                    <a:pt x="17731" y="38400"/>
                  </a:cubicBezTo>
                  <a:cubicBezTo>
                    <a:pt x="18556" y="37963"/>
                    <a:pt x="18556" y="37963"/>
                    <a:pt x="18556" y="37963"/>
                  </a:cubicBezTo>
                  <a:close/>
                  <a:moveTo>
                    <a:pt x="21855" y="35781"/>
                  </a:moveTo>
                  <a:cubicBezTo>
                    <a:pt x="21855" y="35781"/>
                    <a:pt x="21855" y="35781"/>
                    <a:pt x="21855" y="35781"/>
                  </a:cubicBezTo>
                  <a:cubicBezTo>
                    <a:pt x="22268" y="36000"/>
                    <a:pt x="23092" y="36436"/>
                    <a:pt x="23092" y="36436"/>
                  </a:cubicBezTo>
                  <a:cubicBezTo>
                    <a:pt x="21855" y="37090"/>
                    <a:pt x="21855" y="37090"/>
                    <a:pt x="21855" y="37090"/>
                  </a:cubicBezTo>
                  <a:cubicBezTo>
                    <a:pt x="21855" y="37090"/>
                    <a:pt x="20618" y="37309"/>
                    <a:pt x="20618" y="37527"/>
                  </a:cubicBezTo>
                  <a:cubicBezTo>
                    <a:pt x="20206" y="37527"/>
                    <a:pt x="21030" y="38181"/>
                    <a:pt x="20206" y="37963"/>
                  </a:cubicBezTo>
                  <a:cubicBezTo>
                    <a:pt x="19381" y="37745"/>
                    <a:pt x="18969" y="37309"/>
                    <a:pt x="19381" y="37309"/>
                  </a:cubicBezTo>
                  <a:cubicBezTo>
                    <a:pt x="19793" y="37090"/>
                    <a:pt x="19793" y="37090"/>
                    <a:pt x="20206" y="36872"/>
                  </a:cubicBezTo>
                  <a:cubicBezTo>
                    <a:pt x="20618" y="36654"/>
                    <a:pt x="21443" y="36000"/>
                    <a:pt x="21443" y="36000"/>
                  </a:cubicBezTo>
                  <a:cubicBezTo>
                    <a:pt x="21855" y="35781"/>
                    <a:pt x="21855" y="35781"/>
                    <a:pt x="21855" y="35781"/>
                  </a:cubicBezTo>
                  <a:close/>
                  <a:moveTo>
                    <a:pt x="23917" y="32727"/>
                  </a:moveTo>
                  <a:cubicBezTo>
                    <a:pt x="23917" y="32727"/>
                    <a:pt x="23917" y="32727"/>
                    <a:pt x="23917" y="32727"/>
                  </a:cubicBezTo>
                  <a:cubicBezTo>
                    <a:pt x="23917" y="32727"/>
                    <a:pt x="24742" y="32727"/>
                    <a:pt x="25154" y="32945"/>
                  </a:cubicBezTo>
                  <a:cubicBezTo>
                    <a:pt x="25154" y="32945"/>
                    <a:pt x="25567" y="33600"/>
                    <a:pt x="25567" y="33600"/>
                  </a:cubicBezTo>
                  <a:cubicBezTo>
                    <a:pt x="25567" y="33600"/>
                    <a:pt x="25979" y="33818"/>
                    <a:pt x="25567" y="34036"/>
                  </a:cubicBezTo>
                  <a:cubicBezTo>
                    <a:pt x="25154" y="34254"/>
                    <a:pt x="24329" y="34472"/>
                    <a:pt x="24329" y="34472"/>
                  </a:cubicBezTo>
                  <a:cubicBezTo>
                    <a:pt x="24329" y="35563"/>
                    <a:pt x="24329" y="35563"/>
                    <a:pt x="24329" y="35563"/>
                  </a:cubicBezTo>
                  <a:cubicBezTo>
                    <a:pt x="23917" y="36000"/>
                    <a:pt x="23917" y="36000"/>
                    <a:pt x="23917" y="36000"/>
                  </a:cubicBezTo>
                  <a:cubicBezTo>
                    <a:pt x="22680" y="35781"/>
                    <a:pt x="22680" y="35781"/>
                    <a:pt x="22680" y="35781"/>
                  </a:cubicBezTo>
                  <a:cubicBezTo>
                    <a:pt x="22680" y="34472"/>
                    <a:pt x="22680" y="34472"/>
                    <a:pt x="22680" y="34472"/>
                  </a:cubicBezTo>
                  <a:cubicBezTo>
                    <a:pt x="22268" y="33818"/>
                    <a:pt x="22268" y="33818"/>
                    <a:pt x="22268" y="33818"/>
                  </a:cubicBezTo>
                  <a:cubicBezTo>
                    <a:pt x="23505" y="33163"/>
                    <a:pt x="23505" y="33163"/>
                    <a:pt x="23505" y="33163"/>
                  </a:cubicBezTo>
                  <a:cubicBezTo>
                    <a:pt x="23917" y="32727"/>
                    <a:pt x="23917" y="32727"/>
                    <a:pt x="23917" y="32727"/>
                  </a:cubicBezTo>
                  <a:close/>
                  <a:moveTo>
                    <a:pt x="24742" y="30981"/>
                  </a:moveTo>
                  <a:cubicBezTo>
                    <a:pt x="24742" y="30981"/>
                    <a:pt x="24742" y="30981"/>
                    <a:pt x="24742" y="30981"/>
                  </a:cubicBezTo>
                  <a:cubicBezTo>
                    <a:pt x="24742" y="30981"/>
                    <a:pt x="25567" y="30763"/>
                    <a:pt x="25979" y="30981"/>
                  </a:cubicBezTo>
                  <a:cubicBezTo>
                    <a:pt x="26391" y="31200"/>
                    <a:pt x="26391" y="30763"/>
                    <a:pt x="26804" y="31200"/>
                  </a:cubicBezTo>
                  <a:cubicBezTo>
                    <a:pt x="27216" y="31636"/>
                    <a:pt x="27628" y="31636"/>
                    <a:pt x="27216" y="31854"/>
                  </a:cubicBezTo>
                  <a:cubicBezTo>
                    <a:pt x="27216" y="32072"/>
                    <a:pt x="27216" y="32290"/>
                    <a:pt x="26804" y="32509"/>
                  </a:cubicBezTo>
                  <a:cubicBezTo>
                    <a:pt x="26391" y="32727"/>
                    <a:pt x="26804" y="32945"/>
                    <a:pt x="25979" y="32727"/>
                  </a:cubicBezTo>
                  <a:cubicBezTo>
                    <a:pt x="25154" y="32509"/>
                    <a:pt x="25154" y="32509"/>
                    <a:pt x="24742" y="32290"/>
                  </a:cubicBezTo>
                  <a:cubicBezTo>
                    <a:pt x="24329" y="32072"/>
                    <a:pt x="24329" y="32072"/>
                    <a:pt x="24329" y="32072"/>
                  </a:cubicBezTo>
                  <a:cubicBezTo>
                    <a:pt x="24742" y="30981"/>
                    <a:pt x="24742" y="30981"/>
                    <a:pt x="24742" y="30981"/>
                  </a:cubicBezTo>
                  <a:close/>
                  <a:moveTo>
                    <a:pt x="28453" y="28800"/>
                  </a:moveTo>
                  <a:cubicBezTo>
                    <a:pt x="28453" y="28800"/>
                    <a:pt x="28453" y="28800"/>
                    <a:pt x="28453" y="28800"/>
                  </a:cubicBezTo>
                  <a:cubicBezTo>
                    <a:pt x="28453" y="28800"/>
                    <a:pt x="28865" y="28581"/>
                    <a:pt x="28453" y="29018"/>
                  </a:cubicBezTo>
                  <a:cubicBezTo>
                    <a:pt x="27628" y="29672"/>
                    <a:pt x="27628" y="29890"/>
                    <a:pt x="28041" y="29890"/>
                  </a:cubicBezTo>
                  <a:cubicBezTo>
                    <a:pt x="28041" y="29890"/>
                    <a:pt x="28453" y="29890"/>
                    <a:pt x="28453" y="29890"/>
                  </a:cubicBezTo>
                  <a:cubicBezTo>
                    <a:pt x="28453" y="30763"/>
                    <a:pt x="28453" y="30763"/>
                    <a:pt x="28453" y="30763"/>
                  </a:cubicBezTo>
                  <a:cubicBezTo>
                    <a:pt x="28453" y="30763"/>
                    <a:pt x="28453" y="30981"/>
                    <a:pt x="27216" y="30763"/>
                  </a:cubicBezTo>
                  <a:cubicBezTo>
                    <a:pt x="25979" y="30763"/>
                    <a:pt x="25154" y="30545"/>
                    <a:pt x="25154" y="30545"/>
                  </a:cubicBezTo>
                  <a:cubicBezTo>
                    <a:pt x="23917" y="29890"/>
                    <a:pt x="23917" y="29890"/>
                    <a:pt x="23917" y="29890"/>
                  </a:cubicBezTo>
                  <a:cubicBezTo>
                    <a:pt x="23917" y="29890"/>
                    <a:pt x="23505" y="29672"/>
                    <a:pt x="24329" y="29236"/>
                  </a:cubicBezTo>
                  <a:cubicBezTo>
                    <a:pt x="24742" y="28800"/>
                    <a:pt x="25979" y="29018"/>
                    <a:pt x="25979" y="29018"/>
                  </a:cubicBezTo>
                  <a:cubicBezTo>
                    <a:pt x="25979" y="29018"/>
                    <a:pt x="26391" y="29454"/>
                    <a:pt x="26804" y="29018"/>
                  </a:cubicBezTo>
                  <a:cubicBezTo>
                    <a:pt x="27216" y="28581"/>
                    <a:pt x="27216" y="28145"/>
                    <a:pt x="27628" y="28363"/>
                  </a:cubicBezTo>
                  <a:cubicBezTo>
                    <a:pt x="28041" y="28581"/>
                    <a:pt x="28453" y="28800"/>
                    <a:pt x="28453" y="28800"/>
                  </a:cubicBezTo>
                  <a:close/>
                  <a:moveTo>
                    <a:pt x="31752" y="26400"/>
                  </a:moveTo>
                  <a:cubicBezTo>
                    <a:pt x="31752" y="26400"/>
                    <a:pt x="31752" y="26400"/>
                    <a:pt x="31752" y="26400"/>
                  </a:cubicBezTo>
                  <a:cubicBezTo>
                    <a:pt x="31340" y="26181"/>
                    <a:pt x="31340" y="25745"/>
                    <a:pt x="31340" y="25745"/>
                  </a:cubicBezTo>
                  <a:cubicBezTo>
                    <a:pt x="31752" y="25309"/>
                    <a:pt x="31752" y="25309"/>
                    <a:pt x="31752" y="25309"/>
                  </a:cubicBezTo>
                  <a:cubicBezTo>
                    <a:pt x="31752" y="25309"/>
                    <a:pt x="30927" y="24872"/>
                    <a:pt x="30927" y="24654"/>
                  </a:cubicBezTo>
                  <a:cubicBezTo>
                    <a:pt x="30927" y="24436"/>
                    <a:pt x="30927" y="24000"/>
                    <a:pt x="31752" y="23781"/>
                  </a:cubicBezTo>
                  <a:cubicBezTo>
                    <a:pt x="32164" y="23563"/>
                    <a:pt x="32577" y="23127"/>
                    <a:pt x="32989" y="23127"/>
                  </a:cubicBezTo>
                  <a:cubicBezTo>
                    <a:pt x="32989" y="23345"/>
                    <a:pt x="32989" y="23345"/>
                    <a:pt x="33402" y="23781"/>
                  </a:cubicBezTo>
                  <a:cubicBezTo>
                    <a:pt x="33814" y="24000"/>
                    <a:pt x="33814" y="24436"/>
                    <a:pt x="34226" y="24218"/>
                  </a:cubicBezTo>
                  <a:cubicBezTo>
                    <a:pt x="34639" y="24000"/>
                    <a:pt x="34639" y="23781"/>
                    <a:pt x="35051" y="23563"/>
                  </a:cubicBezTo>
                  <a:cubicBezTo>
                    <a:pt x="35463" y="23345"/>
                    <a:pt x="35876" y="22690"/>
                    <a:pt x="35876" y="22690"/>
                  </a:cubicBezTo>
                  <a:cubicBezTo>
                    <a:pt x="35876" y="22690"/>
                    <a:pt x="36701" y="22909"/>
                    <a:pt x="37113" y="22690"/>
                  </a:cubicBezTo>
                  <a:cubicBezTo>
                    <a:pt x="37938" y="22472"/>
                    <a:pt x="37113" y="22472"/>
                    <a:pt x="38350" y="22254"/>
                  </a:cubicBezTo>
                  <a:cubicBezTo>
                    <a:pt x="39587" y="22254"/>
                    <a:pt x="40000" y="22254"/>
                    <a:pt x="40412" y="21818"/>
                  </a:cubicBezTo>
                  <a:cubicBezTo>
                    <a:pt x="40824" y="21600"/>
                    <a:pt x="40824" y="21818"/>
                    <a:pt x="41237" y="21600"/>
                  </a:cubicBezTo>
                  <a:cubicBezTo>
                    <a:pt x="41649" y="21381"/>
                    <a:pt x="42061" y="21163"/>
                    <a:pt x="42474" y="21163"/>
                  </a:cubicBezTo>
                  <a:cubicBezTo>
                    <a:pt x="42886" y="21381"/>
                    <a:pt x="43298" y="21600"/>
                    <a:pt x="43298" y="21818"/>
                  </a:cubicBezTo>
                  <a:cubicBezTo>
                    <a:pt x="43298" y="22036"/>
                    <a:pt x="43711" y="22472"/>
                    <a:pt x="43298" y="22690"/>
                  </a:cubicBezTo>
                  <a:cubicBezTo>
                    <a:pt x="42886" y="22909"/>
                    <a:pt x="42886" y="23127"/>
                    <a:pt x="42474" y="23127"/>
                  </a:cubicBezTo>
                  <a:cubicBezTo>
                    <a:pt x="42061" y="23345"/>
                    <a:pt x="40824" y="23781"/>
                    <a:pt x="40824" y="23781"/>
                  </a:cubicBezTo>
                  <a:cubicBezTo>
                    <a:pt x="40824" y="23781"/>
                    <a:pt x="40824" y="24218"/>
                    <a:pt x="41237" y="24218"/>
                  </a:cubicBezTo>
                  <a:cubicBezTo>
                    <a:pt x="41649" y="24218"/>
                    <a:pt x="42474" y="23563"/>
                    <a:pt x="42474" y="24000"/>
                  </a:cubicBezTo>
                  <a:cubicBezTo>
                    <a:pt x="42061" y="24436"/>
                    <a:pt x="43298" y="24654"/>
                    <a:pt x="42061" y="24872"/>
                  </a:cubicBezTo>
                  <a:cubicBezTo>
                    <a:pt x="41237" y="24872"/>
                    <a:pt x="40412" y="24654"/>
                    <a:pt x="40412" y="24654"/>
                  </a:cubicBezTo>
                  <a:cubicBezTo>
                    <a:pt x="39587" y="25309"/>
                    <a:pt x="39587" y="25309"/>
                    <a:pt x="39587" y="25309"/>
                  </a:cubicBezTo>
                  <a:cubicBezTo>
                    <a:pt x="39587" y="25309"/>
                    <a:pt x="38762" y="25090"/>
                    <a:pt x="38762" y="25309"/>
                  </a:cubicBezTo>
                  <a:cubicBezTo>
                    <a:pt x="38762" y="25527"/>
                    <a:pt x="39175" y="25963"/>
                    <a:pt x="39175" y="25963"/>
                  </a:cubicBezTo>
                  <a:cubicBezTo>
                    <a:pt x="38350" y="26400"/>
                    <a:pt x="38350" y="26400"/>
                    <a:pt x="38350" y="26400"/>
                  </a:cubicBezTo>
                  <a:cubicBezTo>
                    <a:pt x="38350" y="26400"/>
                    <a:pt x="37113" y="26181"/>
                    <a:pt x="37113" y="26400"/>
                  </a:cubicBezTo>
                  <a:cubicBezTo>
                    <a:pt x="37525" y="26618"/>
                    <a:pt x="37938" y="27054"/>
                    <a:pt x="37938" y="27054"/>
                  </a:cubicBezTo>
                  <a:cubicBezTo>
                    <a:pt x="37938" y="27054"/>
                    <a:pt x="37938" y="27490"/>
                    <a:pt x="37113" y="27490"/>
                  </a:cubicBezTo>
                  <a:cubicBezTo>
                    <a:pt x="36288" y="27490"/>
                    <a:pt x="35463" y="27490"/>
                    <a:pt x="35051" y="27490"/>
                  </a:cubicBezTo>
                  <a:cubicBezTo>
                    <a:pt x="34639" y="27272"/>
                    <a:pt x="34639" y="27272"/>
                    <a:pt x="34639" y="27272"/>
                  </a:cubicBezTo>
                  <a:cubicBezTo>
                    <a:pt x="34226" y="27927"/>
                    <a:pt x="34226" y="27927"/>
                    <a:pt x="34226" y="27927"/>
                  </a:cubicBezTo>
                  <a:cubicBezTo>
                    <a:pt x="34226" y="27927"/>
                    <a:pt x="34639" y="28145"/>
                    <a:pt x="34226" y="28363"/>
                  </a:cubicBezTo>
                  <a:cubicBezTo>
                    <a:pt x="33814" y="28581"/>
                    <a:pt x="32577" y="28581"/>
                    <a:pt x="32577" y="28581"/>
                  </a:cubicBezTo>
                  <a:cubicBezTo>
                    <a:pt x="32577" y="28581"/>
                    <a:pt x="32164" y="28581"/>
                    <a:pt x="32164" y="28581"/>
                  </a:cubicBezTo>
                  <a:cubicBezTo>
                    <a:pt x="32164" y="28800"/>
                    <a:pt x="31752" y="29236"/>
                    <a:pt x="31340" y="29236"/>
                  </a:cubicBezTo>
                  <a:cubicBezTo>
                    <a:pt x="30927" y="29018"/>
                    <a:pt x="30103" y="28800"/>
                    <a:pt x="29690" y="28581"/>
                  </a:cubicBezTo>
                  <a:cubicBezTo>
                    <a:pt x="29690" y="28363"/>
                    <a:pt x="29278" y="27490"/>
                    <a:pt x="30103" y="27709"/>
                  </a:cubicBezTo>
                  <a:cubicBezTo>
                    <a:pt x="30927" y="27709"/>
                    <a:pt x="31752" y="27927"/>
                    <a:pt x="31752" y="27490"/>
                  </a:cubicBezTo>
                  <a:cubicBezTo>
                    <a:pt x="31752" y="27054"/>
                    <a:pt x="31340" y="26836"/>
                    <a:pt x="31340" y="26836"/>
                  </a:cubicBezTo>
                  <a:cubicBezTo>
                    <a:pt x="31752" y="26400"/>
                    <a:pt x="31752" y="26400"/>
                    <a:pt x="31752" y="26400"/>
                  </a:cubicBezTo>
                  <a:close/>
                  <a:moveTo>
                    <a:pt x="110103" y="3272"/>
                  </a:moveTo>
                  <a:cubicBezTo>
                    <a:pt x="110103" y="3272"/>
                    <a:pt x="110103" y="3272"/>
                    <a:pt x="110103" y="3272"/>
                  </a:cubicBezTo>
                  <a:cubicBezTo>
                    <a:pt x="110515" y="3272"/>
                    <a:pt x="111752" y="3490"/>
                    <a:pt x="111752" y="3272"/>
                  </a:cubicBezTo>
                  <a:cubicBezTo>
                    <a:pt x="111752" y="3272"/>
                    <a:pt x="112164" y="2836"/>
                    <a:pt x="112164" y="2836"/>
                  </a:cubicBezTo>
                  <a:cubicBezTo>
                    <a:pt x="111752" y="2618"/>
                    <a:pt x="111340" y="2400"/>
                    <a:pt x="110927" y="2618"/>
                  </a:cubicBezTo>
                  <a:cubicBezTo>
                    <a:pt x="110515" y="2618"/>
                    <a:pt x="110103" y="2836"/>
                    <a:pt x="110103" y="2836"/>
                  </a:cubicBezTo>
                  <a:cubicBezTo>
                    <a:pt x="110103" y="3054"/>
                    <a:pt x="110103" y="3272"/>
                    <a:pt x="110103" y="3272"/>
                  </a:cubicBezTo>
                  <a:close/>
                  <a:moveTo>
                    <a:pt x="96907" y="6981"/>
                  </a:moveTo>
                  <a:cubicBezTo>
                    <a:pt x="96907" y="6981"/>
                    <a:pt x="96907" y="6981"/>
                    <a:pt x="96907" y="6981"/>
                  </a:cubicBezTo>
                  <a:cubicBezTo>
                    <a:pt x="97319" y="6981"/>
                    <a:pt x="97731" y="6545"/>
                    <a:pt x="97731" y="6763"/>
                  </a:cubicBezTo>
                  <a:cubicBezTo>
                    <a:pt x="97731" y="7200"/>
                    <a:pt x="98144" y="7200"/>
                    <a:pt x="97731" y="7418"/>
                  </a:cubicBezTo>
                  <a:cubicBezTo>
                    <a:pt x="97319" y="7418"/>
                    <a:pt x="96494" y="7854"/>
                    <a:pt x="96082" y="7636"/>
                  </a:cubicBezTo>
                  <a:cubicBezTo>
                    <a:pt x="96082" y="7636"/>
                    <a:pt x="96494" y="6763"/>
                    <a:pt x="96494" y="6763"/>
                  </a:cubicBezTo>
                  <a:cubicBezTo>
                    <a:pt x="96907" y="6981"/>
                    <a:pt x="96907" y="6981"/>
                    <a:pt x="96907" y="6981"/>
                  </a:cubicBezTo>
                  <a:close/>
                  <a:moveTo>
                    <a:pt x="104742" y="7418"/>
                  </a:moveTo>
                  <a:cubicBezTo>
                    <a:pt x="104742" y="7418"/>
                    <a:pt x="104742" y="7418"/>
                    <a:pt x="104742" y="7418"/>
                  </a:cubicBezTo>
                  <a:cubicBezTo>
                    <a:pt x="104742" y="7418"/>
                    <a:pt x="104742" y="7636"/>
                    <a:pt x="103917" y="7418"/>
                  </a:cubicBezTo>
                  <a:cubicBezTo>
                    <a:pt x="102680" y="7418"/>
                    <a:pt x="102268" y="7636"/>
                    <a:pt x="102268" y="7200"/>
                  </a:cubicBezTo>
                  <a:cubicBezTo>
                    <a:pt x="102268" y="6981"/>
                    <a:pt x="102680" y="6763"/>
                    <a:pt x="101855" y="6545"/>
                  </a:cubicBezTo>
                  <a:cubicBezTo>
                    <a:pt x="101030" y="6545"/>
                    <a:pt x="101030" y="6545"/>
                    <a:pt x="101030" y="6545"/>
                  </a:cubicBezTo>
                  <a:cubicBezTo>
                    <a:pt x="101030" y="6545"/>
                    <a:pt x="100618" y="6109"/>
                    <a:pt x="101030" y="5890"/>
                  </a:cubicBezTo>
                  <a:cubicBezTo>
                    <a:pt x="101855" y="5454"/>
                    <a:pt x="101855" y="5672"/>
                    <a:pt x="102268" y="5672"/>
                  </a:cubicBezTo>
                  <a:cubicBezTo>
                    <a:pt x="103092" y="5672"/>
                    <a:pt x="102680" y="5672"/>
                    <a:pt x="103505" y="5890"/>
                  </a:cubicBezTo>
                  <a:cubicBezTo>
                    <a:pt x="104329" y="5890"/>
                    <a:pt x="104742" y="6109"/>
                    <a:pt x="104742" y="5672"/>
                  </a:cubicBezTo>
                  <a:cubicBezTo>
                    <a:pt x="104742" y="5454"/>
                    <a:pt x="105154" y="5454"/>
                    <a:pt x="104329" y="5018"/>
                  </a:cubicBezTo>
                  <a:cubicBezTo>
                    <a:pt x="103917" y="4581"/>
                    <a:pt x="103917" y="4800"/>
                    <a:pt x="103505" y="4581"/>
                  </a:cubicBezTo>
                  <a:cubicBezTo>
                    <a:pt x="103092" y="4145"/>
                    <a:pt x="102268" y="3709"/>
                    <a:pt x="102680" y="3490"/>
                  </a:cubicBezTo>
                  <a:cubicBezTo>
                    <a:pt x="102680" y="3272"/>
                    <a:pt x="102268" y="3272"/>
                    <a:pt x="103092" y="2836"/>
                  </a:cubicBezTo>
                  <a:cubicBezTo>
                    <a:pt x="104329" y="2618"/>
                    <a:pt x="105154" y="2181"/>
                    <a:pt x="105567" y="2181"/>
                  </a:cubicBezTo>
                  <a:cubicBezTo>
                    <a:pt x="105979" y="2181"/>
                    <a:pt x="106391" y="2181"/>
                    <a:pt x="106391" y="2400"/>
                  </a:cubicBezTo>
                  <a:cubicBezTo>
                    <a:pt x="106391" y="2836"/>
                    <a:pt x="106391" y="3054"/>
                    <a:pt x="105979" y="3272"/>
                  </a:cubicBezTo>
                  <a:cubicBezTo>
                    <a:pt x="105567" y="3272"/>
                    <a:pt x="105567" y="3490"/>
                    <a:pt x="105567" y="3490"/>
                  </a:cubicBezTo>
                  <a:cubicBezTo>
                    <a:pt x="105567" y="3490"/>
                    <a:pt x="105154" y="4145"/>
                    <a:pt x="105979" y="4145"/>
                  </a:cubicBezTo>
                  <a:cubicBezTo>
                    <a:pt x="106804" y="3927"/>
                    <a:pt x="107216" y="3490"/>
                    <a:pt x="107216" y="3272"/>
                  </a:cubicBezTo>
                  <a:cubicBezTo>
                    <a:pt x="107628" y="3054"/>
                    <a:pt x="108041" y="3272"/>
                    <a:pt x="107628" y="2836"/>
                  </a:cubicBezTo>
                  <a:cubicBezTo>
                    <a:pt x="107628" y="2400"/>
                    <a:pt x="107216" y="2181"/>
                    <a:pt x="107628" y="2181"/>
                  </a:cubicBezTo>
                  <a:cubicBezTo>
                    <a:pt x="108041" y="2181"/>
                    <a:pt x="108453" y="2618"/>
                    <a:pt x="108865" y="2181"/>
                  </a:cubicBezTo>
                  <a:cubicBezTo>
                    <a:pt x="109690" y="1527"/>
                    <a:pt x="109690" y="1309"/>
                    <a:pt x="109690" y="1309"/>
                  </a:cubicBezTo>
                  <a:cubicBezTo>
                    <a:pt x="109690" y="1309"/>
                    <a:pt x="109278" y="1309"/>
                    <a:pt x="110103" y="1090"/>
                  </a:cubicBezTo>
                  <a:cubicBezTo>
                    <a:pt x="110927" y="872"/>
                    <a:pt x="110515" y="654"/>
                    <a:pt x="110927" y="436"/>
                  </a:cubicBezTo>
                  <a:cubicBezTo>
                    <a:pt x="111340" y="218"/>
                    <a:pt x="110515" y="0"/>
                    <a:pt x="111752" y="0"/>
                  </a:cubicBezTo>
                  <a:cubicBezTo>
                    <a:pt x="112577" y="218"/>
                    <a:pt x="112577" y="218"/>
                    <a:pt x="112989" y="436"/>
                  </a:cubicBezTo>
                  <a:cubicBezTo>
                    <a:pt x="113402" y="436"/>
                    <a:pt x="112577" y="1309"/>
                    <a:pt x="112164" y="1309"/>
                  </a:cubicBezTo>
                  <a:cubicBezTo>
                    <a:pt x="111752" y="1309"/>
                    <a:pt x="111752" y="1090"/>
                    <a:pt x="110927" y="1309"/>
                  </a:cubicBezTo>
                  <a:cubicBezTo>
                    <a:pt x="110515" y="1527"/>
                    <a:pt x="111340" y="1963"/>
                    <a:pt x="110927" y="2181"/>
                  </a:cubicBezTo>
                  <a:cubicBezTo>
                    <a:pt x="110515" y="2400"/>
                    <a:pt x="110103" y="2181"/>
                    <a:pt x="109690" y="2400"/>
                  </a:cubicBezTo>
                  <a:cubicBezTo>
                    <a:pt x="109278" y="2618"/>
                    <a:pt x="109278" y="2618"/>
                    <a:pt x="109278" y="2836"/>
                  </a:cubicBezTo>
                  <a:cubicBezTo>
                    <a:pt x="109278" y="3054"/>
                    <a:pt x="108865" y="3272"/>
                    <a:pt x="108453" y="3490"/>
                  </a:cubicBezTo>
                  <a:cubicBezTo>
                    <a:pt x="108453" y="3490"/>
                    <a:pt x="107216" y="3054"/>
                    <a:pt x="108453" y="3490"/>
                  </a:cubicBezTo>
                  <a:cubicBezTo>
                    <a:pt x="109690" y="3927"/>
                    <a:pt x="110103" y="3927"/>
                    <a:pt x="109690" y="4145"/>
                  </a:cubicBezTo>
                  <a:cubicBezTo>
                    <a:pt x="109278" y="4145"/>
                    <a:pt x="108453" y="4145"/>
                    <a:pt x="108041" y="4363"/>
                  </a:cubicBezTo>
                  <a:cubicBezTo>
                    <a:pt x="107628" y="4363"/>
                    <a:pt x="107216" y="4581"/>
                    <a:pt x="108041" y="4800"/>
                  </a:cubicBezTo>
                  <a:cubicBezTo>
                    <a:pt x="108865" y="5018"/>
                    <a:pt x="108453" y="5018"/>
                    <a:pt x="108865" y="5018"/>
                  </a:cubicBezTo>
                  <a:cubicBezTo>
                    <a:pt x="109278" y="4800"/>
                    <a:pt x="111340" y="4800"/>
                    <a:pt x="111340" y="5018"/>
                  </a:cubicBezTo>
                  <a:cubicBezTo>
                    <a:pt x="110927" y="5454"/>
                    <a:pt x="111340" y="5454"/>
                    <a:pt x="110515" y="5672"/>
                  </a:cubicBezTo>
                  <a:cubicBezTo>
                    <a:pt x="109278" y="5890"/>
                    <a:pt x="108453" y="5672"/>
                    <a:pt x="108041" y="5454"/>
                  </a:cubicBezTo>
                  <a:cubicBezTo>
                    <a:pt x="107628" y="5454"/>
                    <a:pt x="107628" y="5018"/>
                    <a:pt x="107628" y="5672"/>
                  </a:cubicBezTo>
                  <a:cubicBezTo>
                    <a:pt x="108041" y="6327"/>
                    <a:pt x="108865" y="6327"/>
                    <a:pt x="108453" y="6327"/>
                  </a:cubicBezTo>
                  <a:cubicBezTo>
                    <a:pt x="107628" y="6327"/>
                    <a:pt x="106804" y="6327"/>
                    <a:pt x="106804" y="6327"/>
                  </a:cubicBezTo>
                  <a:cubicBezTo>
                    <a:pt x="106804" y="6327"/>
                    <a:pt x="106391" y="5890"/>
                    <a:pt x="106804" y="6545"/>
                  </a:cubicBezTo>
                  <a:cubicBezTo>
                    <a:pt x="107216" y="7200"/>
                    <a:pt x="107216" y="7200"/>
                    <a:pt x="107216" y="7200"/>
                  </a:cubicBezTo>
                  <a:cubicBezTo>
                    <a:pt x="107216" y="7200"/>
                    <a:pt x="106391" y="7418"/>
                    <a:pt x="106391" y="7418"/>
                  </a:cubicBezTo>
                  <a:cubicBezTo>
                    <a:pt x="106391" y="7636"/>
                    <a:pt x="106804" y="8072"/>
                    <a:pt x="107216" y="8290"/>
                  </a:cubicBezTo>
                  <a:cubicBezTo>
                    <a:pt x="107216" y="8290"/>
                    <a:pt x="106804" y="9163"/>
                    <a:pt x="106391" y="9163"/>
                  </a:cubicBezTo>
                  <a:cubicBezTo>
                    <a:pt x="106391" y="9163"/>
                    <a:pt x="106391" y="9381"/>
                    <a:pt x="105979" y="9600"/>
                  </a:cubicBezTo>
                  <a:cubicBezTo>
                    <a:pt x="105567" y="9818"/>
                    <a:pt x="105154" y="10036"/>
                    <a:pt x="105154" y="10036"/>
                  </a:cubicBezTo>
                  <a:cubicBezTo>
                    <a:pt x="104329" y="11345"/>
                    <a:pt x="104329" y="11345"/>
                    <a:pt x="104329" y="11345"/>
                  </a:cubicBezTo>
                  <a:cubicBezTo>
                    <a:pt x="104329" y="11345"/>
                    <a:pt x="103917" y="11781"/>
                    <a:pt x="103505" y="11345"/>
                  </a:cubicBezTo>
                  <a:cubicBezTo>
                    <a:pt x="103505" y="10909"/>
                    <a:pt x="103092" y="10909"/>
                    <a:pt x="103505" y="10690"/>
                  </a:cubicBezTo>
                  <a:cubicBezTo>
                    <a:pt x="103917" y="10690"/>
                    <a:pt x="103917" y="10254"/>
                    <a:pt x="104329" y="10036"/>
                  </a:cubicBezTo>
                  <a:cubicBezTo>
                    <a:pt x="104329" y="9818"/>
                    <a:pt x="104742" y="8945"/>
                    <a:pt x="104742" y="8945"/>
                  </a:cubicBezTo>
                  <a:cubicBezTo>
                    <a:pt x="104742" y="8945"/>
                    <a:pt x="105567" y="8945"/>
                    <a:pt x="105979" y="8727"/>
                  </a:cubicBezTo>
                  <a:cubicBezTo>
                    <a:pt x="105979" y="8727"/>
                    <a:pt x="105154" y="7854"/>
                    <a:pt x="105154" y="7854"/>
                  </a:cubicBezTo>
                  <a:cubicBezTo>
                    <a:pt x="105567" y="7418"/>
                    <a:pt x="105567" y="7418"/>
                    <a:pt x="105567" y="7418"/>
                  </a:cubicBezTo>
                  <a:cubicBezTo>
                    <a:pt x="104742" y="7418"/>
                    <a:pt x="104742" y="7418"/>
                    <a:pt x="104742" y="7418"/>
                  </a:cubicBezTo>
                  <a:close/>
                  <a:moveTo>
                    <a:pt x="98556" y="14618"/>
                  </a:moveTo>
                  <a:cubicBezTo>
                    <a:pt x="98556" y="14618"/>
                    <a:pt x="98556" y="14618"/>
                    <a:pt x="98556" y="14618"/>
                  </a:cubicBezTo>
                  <a:cubicBezTo>
                    <a:pt x="98556" y="14618"/>
                    <a:pt x="99793" y="13745"/>
                    <a:pt x="100206" y="13963"/>
                  </a:cubicBezTo>
                  <a:cubicBezTo>
                    <a:pt x="100206" y="13963"/>
                    <a:pt x="100206" y="14181"/>
                    <a:pt x="100206" y="14400"/>
                  </a:cubicBezTo>
                  <a:cubicBezTo>
                    <a:pt x="100206" y="14400"/>
                    <a:pt x="100618" y="14836"/>
                    <a:pt x="100206" y="14836"/>
                  </a:cubicBezTo>
                  <a:cubicBezTo>
                    <a:pt x="99793" y="14836"/>
                    <a:pt x="99381" y="14836"/>
                    <a:pt x="98969" y="14836"/>
                  </a:cubicBezTo>
                  <a:cubicBezTo>
                    <a:pt x="98969" y="14836"/>
                    <a:pt x="98556" y="14618"/>
                    <a:pt x="98556" y="14618"/>
                  </a:cubicBezTo>
                  <a:close/>
                  <a:moveTo>
                    <a:pt x="80824" y="21381"/>
                  </a:moveTo>
                  <a:cubicBezTo>
                    <a:pt x="80824" y="21381"/>
                    <a:pt x="80824" y="21381"/>
                    <a:pt x="80824" y="21381"/>
                  </a:cubicBezTo>
                  <a:cubicBezTo>
                    <a:pt x="81649" y="20945"/>
                    <a:pt x="81649" y="20945"/>
                    <a:pt x="81649" y="20945"/>
                  </a:cubicBezTo>
                  <a:cubicBezTo>
                    <a:pt x="82886" y="21163"/>
                    <a:pt x="82886" y="21163"/>
                    <a:pt x="82886" y="21163"/>
                  </a:cubicBezTo>
                  <a:cubicBezTo>
                    <a:pt x="82886" y="21163"/>
                    <a:pt x="83298" y="20727"/>
                    <a:pt x="83298" y="21163"/>
                  </a:cubicBezTo>
                  <a:cubicBezTo>
                    <a:pt x="82886" y="21600"/>
                    <a:pt x="82061" y="22254"/>
                    <a:pt x="82061" y="22254"/>
                  </a:cubicBezTo>
                  <a:cubicBezTo>
                    <a:pt x="82061" y="22254"/>
                    <a:pt x="82474" y="22254"/>
                    <a:pt x="81649" y="22472"/>
                  </a:cubicBezTo>
                  <a:cubicBezTo>
                    <a:pt x="80824" y="22690"/>
                    <a:pt x="80824" y="22909"/>
                    <a:pt x="80412" y="22472"/>
                  </a:cubicBezTo>
                  <a:cubicBezTo>
                    <a:pt x="80000" y="22254"/>
                    <a:pt x="79587" y="22254"/>
                    <a:pt x="79587" y="22036"/>
                  </a:cubicBezTo>
                  <a:cubicBezTo>
                    <a:pt x="80000" y="21818"/>
                    <a:pt x="80000" y="21381"/>
                    <a:pt x="80000" y="21381"/>
                  </a:cubicBezTo>
                  <a:cubicBezTo>
                    <a:pt x="80824" y="21381"/>
                    <a:pt x="80824" y="21381"/>
                    <a:pt x="80824" y="21381"/>
                  </a:cubicBezTo>
                  <a:close/>
                  <a:moveTo>
                    <a:pt x="89484" y="15709"/>
                  </a:moveTo>
                  <a:cubicBezTo>
                    <a:pt x="89484" y="15709"/>
                    <a:pt x="89484" y="15709"/>
                    <a:pt x="89484" y="15709"/>
                  </a:cubicBezTo>
                  <a:cubicBezTo>
                    <a:pt x="89484" y="15709"/>
                    <a:pt x="89896" y="15272"/>
                    <a:pt x="90309" y="15272"/>
                  </a:cubicBezTo>
                  <a:cubicBezTo>
                    <a:pt x="90721" y="15490"/>
                    <a:pt x="91134" y="15490"/>
                    <a:pt x="91134" y="15709"/>
                  </a:cubicBezTo>
                  <a:cubicBezTo>
                    <a:pt x="90721" y="15927"/>
                    <a:pt x="90309" y="16145"/>
                    <a:pt x="89896" y="16145"/>
                  </a:cubicBezTo>
                  <a:cubicBezTo>
                    <a:pt x="89484" y="16145"/>
                    <a:pt x="89484" y="15709"/>
                    <a:pt x="89484" y="15709"/>
                  </a:cubicBezTo>
                  <a:close/>
                  <a:moveTo>
                    <a:pt x="87835" y="16800"/>
                  </a:moveTo>
                  <a:cubicBezTo>
                    <a:pt x="87835" y="16800"/>
                    <a:pt x="87835" y="16800"/>
                    <a:pt x="87835" y="16800"/>
                  </a:cubicBezTo>
                  <a:cubicBezTo>
                    <a:pt x="87835" y="16800"/>
                    <a:pt x="88659" y="16363"/>
                    <a:pt x="89072" y="16581"/>
                  </a:cubicBezTo>
                  <a:cubicBezTo>
                    <a:pt x="89072" y="16581"/>
                    <a:pt x="89484" y="16581"/>
                    <a:pt x="89072" y="16800"/>
                  </a:cubicBezTo>
                  <a:cubicBezTo>
                    <a:pt x="89072" y="17018"/>
                    <a:pt x="89896" y="16800"/>
                    <a:pt x="88659" y="17018"/>
                  </a:cubicBezTo>
                  <a:cubicBezTo>
                    <a:pt x="87835" y="17454"/>
                    <a:pt x="88247" y="17672"/>
                    <a:pt x="87422" y="17454"/>
                  </a:cubicBezTo>
                  <a:cubicBezTo>
                    <a:pt x="87010" y="17236"/>
                    <a:pt x="87010" y="17018"/>
                    <a:pt x="87010" y="16800"/>
                  </a:cubicBezTo>
                  <a:cubicBezTo>
                    <a:pt x="87010" y="16800"/>
                    <a:pt x="87422" y="16363"/>
                    <a:pt x="87422" y="16363"/>
                  </a:cubicBezTo>
                  <a:cubicBezTo>
                    <a:pt x="87835" y="16581"/>
                    <a:pt x="87835" y="16800"/>
                    <a:pt x="87835" y="16800"/>
                  </a:cubicBezTo>
                  <a:close/>
                  <a:moveTo>
                    <a:pt x="84536" y="17454"/>
                  </a:moveTo>
                  <a:cubicBezTo>
                    <a:pt x="84536" y="17454"/>
                    <a:pt x="84536" y="17454"/>
                    <a:pt x="84536" y="17454"/>
                  </a:cubicBezTo>
                  <a:cubicBezTo>
                    <a:pt x="84536" y="17454"/>
                    <a:pt x="85360" y="17672"/>
                    <a:pt x="85360" y="17672"/>
                  </a:cubicBezTo>
                  <a:cubicBezTo>
                    <a:pt x="85773" y="17890"/>
                    <a:pt x="85773" y="17672"/>
                    <a:pt x="86185" y="17454"/>
                  </a:cubicBezTo>
                  <a:cubicBezTo>
                    <a:pt x="87010" y="17454"/>
                    <a:pt x="86185" y="17454"/>
                    <a:pt x="86597" y="17236"/>
                  </a:cubicBezTo>
                  <a:cubicBezTo>
                    <a:pt x="87010" y="16800"/>
                    <a:pt x="86597" y="17018"/>
                    <a:pt x="86597" y="16800"/>
                  </a:cubicBezTo>
                  <a:cubicBezTo>
                    <a:pt x="86185" y="16800"/>
                    <a:pt x="86185" y="16800"/>
                    <a:pt x="85773" y="16800"/>
                  </a:cubicBezTo>
                  <a:cubicBezTo>
                    <a:pt x="84948" y="16800"/>
                    <a:pt x="84536" y="17454"/>
                    <a:pt x="84536" y="17454"/>
                  </a:cubicBezTo>
                  <a:close/>
                  <a:moveTo>
                    <a:pt x="86185" y="18763"/>
                  </a:moveTo>
                  <a:cubicBezTo>
                    <a:pt x="86185" y="18763"/>
                    <a:pt x="86185" y="18763"/>
                    <a:pt x="86185" y="18763"/>
                  </a:cubicBezTo>
                  <a:cubicBezTo>
                    <a:pt x="86185" y="18763"/>
                    <a:pt x="86597" y="18109"/>
                    <a:pt x="87010" y="18109"/>
                  </a:cubicBezTo>
                  <a:cubicBezTo>
                    <a:pt x="87422" y="18327"/>
                    <a:pt x="87422" y="18109"/>
                    <a:pt x="87422" y="18327"/>
                  </a:cubicBezTo>
                  <a:cubicBezTo>
                    <a:pt x="87422" y="18545"/>
                    <a:pt x="87422" y="18981"/>
                    <a:pt x="87010" y="18981"/>
                  </a:cubicBezTo>
                  <a:cubicBezTo>
                    <a:pt x="86597" y="18981"/>
                    <a:pt x="86185" y="18763"/>
                    <a:pt x="86185" y="18763"/>
                  </a:cubicBezTo>
                  <a:close/>
                  <a:moveTo>
                    <a:pt x="82886" y="18763"/>
                  </a:moveTo>
                  <a:cubicBezTo>
                    <a:pt x="82886" y="18763"/>
                    <a:pt x="82886" y="18763"/>
                    <a:pt x="82886" y="18763"/>
                  </a:cubicBezTo>
                  <a:cubicBezTo>
                    <a:pt x="83298" y="18327"/>
                    <a:pt x="83298" y="18327"/>
                    <a:pt x="83298" y="18327"/>
                  </a:cubicBezTo>
                  <a:cubicBezTo>
                    <a:pt x="84123" y="18545"/>
                    <a:pt x="84123" y="18545"/>
                    <a:pt x="84123" y="18545"/>
                  </a:cubicBezTo>
                  <a:cubicBezTo>
                    <a:pt x="84123" y="18545"/>
                    <a:pt x="84536" y="18763"/>
                    <a:pt x="84123" y="18763"/>
                  </a:cubicBezTo>
                  <a:cubicBezTo>
                    <a:pt x="84123" y="18981"/>
                    <a:pt x="83711" y="18981"/>
                    <a:pt x="83711" y="19200"/>
                  </a:cubicBezTo>
                  <a:cubicBezTo>
                    <a:pt x="83298" y="19200"/>
                    <a:pt x="82886" y="18981"/>
                    <a:pt x="82886" y="18981"/>
                  </a:cubicBezTo>
                  <a:cubicBezTo>
                    <a:pt x="82886" y="18763"/>
                    <a:pt x="82886" y="18763"/>
                    <a:pt x="82886" y="18763"/>
                  </a:cubicBezTo>
                  <a:close/>
                  <a:moveTo>
                    <a:pt x="82886" y="15927"/>
                  </a:moveTo>
                  <a:cubicBezTo>
                    <a:pt x="82886" y="15927"/>
                    <a:pt x="82886" y="15927"/>
                    <a:pt x="82886" y="15927"/>
                  </a:cubicBezTo>
                  <a:cubicBezTo>
                    <a:pt x="82886" y="15927"/>
                    <a:pt x="83711" y="15272"/>
                    <a:pt x="83711" y="15272"/>
                  </a:cubicBezTo>
                  <a:cubicBezTo>
                    <a:pt x="84123" y="15272"/>
                    <a:pt x="84536" y="15054"/>
                    <a:pt x="84536" y="15490"/>
                  </a:cubicBezTo>
                  <a:cubicBezTo>
                    <a:pt x="84536" y="15927"/>
                    <a:pt x="85360" y="16363"/>
                    <a:pt x="84123" y="16363"/>
                  </a:cubicBezTo>
                  <a:cubicBezTo>
                    <a:pt x="83298" y="16363"/>
                    <a:pt x="82886" y="16581"/>
                    <a:pt x="82886" y="16363"/>
                  </a:cubicBezTo>
                  <a:cubicBezTo>
                    <a:pt x="82474" y="16145"/>
                    <a:pt x="82886" y="15927"/>
                    <a:pt x="82886" y="15927"/>
                  </a:cubicBezTo>
                  <a:close/>
                  <a:moveTo>
                    <a:pt x="81237" y="17236"/>
                  </a:moveTo>
                  <a:cubicBezTo>
                    <a:pt x="81237" y="17236"/>
                    <a:pt x="81237" y="17236"/>
                    <a:pt x="81237" y="17236"/>
                  </a:cubicBezTo>
                  <a:cubicBezTo>
                    <a:pt x="81237" y="17236"/>
                    <a:pt x="82061" y="16800"/>
                    <a:pt x="82474" y="16800"/>
                  </a:cubicBezTo>
                  <a:cubicBezTo>
                    <a:pt x="82886" y="17018"/>
                    <a:pt x="83298" y="17018"/>
                    <a:pt x="83298" y="17236"/>
                  </a:cubicBezTo>
                  <a:cubicBezTo>
                    <a:pt x="83298" y="17454"/>
                    <a:pt x="83298" y="17454"/>
                    <a:pt x="82886" y="17672"/>
                  </a:cubicBezTo>
                  <a:cubicBezTo>
                    <a:pt x="82886" y="17890"/>
                    <a:pt x="82474" y="17890"/>
                    <a:pt x="82061" y="17890"/>
                  </a:cubicBezTo>
                  <a:cubicBezTo>
                    <a:pt x="82061" y="17890"/>
                    <a:pt x="81237" y="17236"/>
                    <a:pt x="81237" y="17236"/>
                  </a:cubicBezTo>
                  <a:close/>
                  <a:moveTo>
                    <a:pt x="82474" y="19854"/>
                  </a:moveTo>
                  <a:cubicBezTo>
                    <a:pt x="82474" y="19854"/>
                    <a:pt x="82474" y="19854"/>
                    <a:pt x="82474" y="19854"/>
                  </a:cubicBezTo>
                  <a:cubicBezTo>
                    <a:pt x="82474" y="19854"/>
                    <a:pt x="82061" y="20509"/>
                    <a:pt x="82061" y="20727"/>
                  </a:cubicBezTo>
                  <a:cubicBezTo>
                    <a:pt x="82061" y="20945"/>
                    <a:pt x="83298" y="20945"/>
                    <a:pt x="83711" y="20727"/>
                  </a:cubicBezTo>
                  <a:cubicBezTo>
                    <a:pt x="83711" y="20727"/>
                    <a:pt x="84123" y="20290"/>
                    <a:pt x="84123" y="20290"/>
                  </a:cubicBezTo>
                  <a:cubicBezTo>
                    <a:pt x="84123" y="20290"/>
                    <a:pt x="83711" y="19854"/>
                    <a:pt x="83298" y="19636"/>
                  </a:cubicBezTo>
                  <a:cubicBezTo>
                    <a:pt x="82886" y="19418"/>
                    <a:pt x="82474" y="19854"/>
                    <a:pt x="82474" y="19854"/>
                  </a:cubicBezTo>
                  <a:close/>
                  <a:moveTo>
                    <a:pt x="78762" y="19200"/>
                  </a:moveTo>
                  <a:cubicBezTo>
                    <a:pt x="78762" y="19200"/>
                    <a:pt x="78762" y="19200"/>
                    <a:pt x="78762" y="19200"/>
                  </a:cubicBezTo>
                  <a:cubicBezTo>
                    <a:pt x="78762" y="19854"/>
                    <a:pt x="78762" y="19854"/>
                    <a:pt x="78762" y="19854"/>
                  </a:cubicBezTo>
                  <a:cubicBezTo>
                    <a:pt x="78762" y="19854"/>
                    <a:pt x="79587" y="20290"/>
                    <a:pt x="80000" y="20290"/>
                  </a:cubicBezTo>
                  <a:cubicBezTo>
                    <a:pt x="80412" y="20509"/>
                    <a:pt x="80412" y="20290"/>
                    <a:pt x="81237" y="20509"/>
                  </a:cubicBezTo>
                  <a:cubicBezTo>
                    <a:pt x="81649" y="20509"/>
                    <a:pt x="81649" y="20290"/>
                    <a:pt x="81649" y="20290"/>
                  </a:cubicBezTo>
                  <a:cubicBezTo>
                    <a:pt x="82061" y="20290"/>
                    <a:pt x="82061" y="20290"/>
                    <a:pt x="82061" y="20072"/>
                  </a:cubicBezTo>
                  <a:cubicBezTo>
                    <a:pt x="82061" y="20072"/>
                    <a:pt x="81237" y="19854"/>
                    <a:pt x="80824" y="19636"/>
                  </a:cubicBezTo>
                  <a:cubicBezTo>
                    <a:pt x="80824" y="19418"/>
                    <a:pt x="80824" y="19418"/>
                    <a:pt x="80824" y="19200"/>
                  </a:cubicBezTo>
                  <a:cubicBezTo>
                    <a:pt x="80824" y="19200"/>
                    <a:pt x="81237" y="18981"/>
                    <a:pt x="81649" y="18981"/>
                  </a:cubicBezTo>
                  <a:cubicBezTo>
                    <a:pt x="81649" y="18763"/>
                    <a:pt x="81649" y="18327"/>
                    <a:pt x="81649" y="18327"/>
                  </a:cubicBezTo>
                  <a:cubicBezTo>
                    <a:pt x="81649" y="18327"/>
                    <a:pt x="80824" y="18327"/>
                    <a:pt x="80824" y="18109"/>
                  </a:cubicBezTo>
                  <a:cubicBezTo>
                    <a:pt x="80824" y="18109"/>
                    <a:pt x="80412" y="17890"/>
                    <a:pt x="80000" y="17672"/>
                  </a:cubicBezTo>
                  <a:cubicBezTo>
                    <a:pt x="80000" y="17454"/>
                    <a:pt x="79175" y="17454"/>
                    <a:pt x="78762" y="17454"/>
                  </a:cubicBezTo>
                  <a:cubicBezTo>
                    <a:pt x="78762" y="17454"/>
                    <a:pt x="78350" y="18109"/>
                    <a:pt x="77938" y="18327"/>
                  </a:cubicBezTo>
                  <a:cubicBezTo>
                    <a:pt x="77938" y="18327"/>
                    <a:pt x="77525" y="18763"/>
                    <a:pt x="77525" y="18763"/>
                  </a:cubicBezTo>
                  <a:cubicBezTo>
                    <a:pt x="77525" y="18981"/>
                    <a:pt x="77525" y="19200"/>
                    <a:pt x="77938" y="19418"/>
                  </a:cubicBezTo>
                  <a:cubicBezTo>
                    <a:pt x="78350" y="19418"/>
                    <a:pt x="78762" y="19200"/>
                    <a:pt x="78762" y="19200"/>
                  </a:cubicBezTo>
                  <a:close/>
                  <a:moveTo>
                    <a:pt x="77525" y="20945"/>
                  </a:moveTo>
                  <a:cubicBezTo>
                    <a:pt x="77525" y="20945"/>
                    <a:pt x="77525" y="20945"/>
                    <a:pt x="77525" y="20945"/>
                  </a:cubicBezTo>
                  <a:cubicBezTo>
                    <a:pt x="77113" y="20945"/>
                    <a:pt x="76288" y="20509"/>
                    <a:pt x="76288" y="20509"/>
                  </a:cubicBezTo>
                  <a:cubicBezTo>
                    <a:pt x="76288" y="20509"/>
                    <a:pt x="77113" y="20290"/>
                    <a:pt x="77113" y="20072"/>
                  </a:cubicBezTo>
                  <a:cubicBezTo>
                    <a:pt x="77525" y="20072"/>
                    <a:pt x="77113" y="19854"/>
                    <a:pt x="77938" y="19854"/>
                  </a:cubicBezTo>
                  <a:cubicBezTo>
                    <a:pt x="78762" y="20072"/>
                    <a:pt x="78762" y="20290"/>
                    <a:pt x="78762" y="20290"/>
                  </a:cubicBezTo>
                  <a:cubicBezTo>
                    <a:pt x="78762" y="20290"/>
                    <a:pt x="79175" y="20727"/>
                    <a:pt x="79175" y="20945"/>
                  </a:cubicBezTo>
                  <a:cubicBezTo>
                    <a:pt x="79175" y="20945"/>
                    <a:pt x="79175" y="21163"/>
                    <a:pt x="79175" y="21163"/>
                  </a:cubicBezTo>
                  <a:cubicBezTo>
                    <a:pt x="79175" y="21381"/>
                    <a:pt x="80000" y="21600"/>
                    <a:pt x="78762" y="21600"/>
                  </a:cubicBezTo>
                  <a:cubicBezTo>
                    <a:pt x="77938" y="21600"/>
                    <a:pt x="77938" y="21600"/>
                    <a:pt x="77938" y="21600"/>
                  </a:cubicBezTo>
                  <a:lnTo>
                    <a:pt x="77525" y="20945"/>
                  </a:lnTo>
                  <a:close/>
                </a:path>
              </a:pathLst>
            </a:custGeom>
            <a:solidFill>
              <a:srgbClr val="E4032D"/>
            </a:solidFill>
            <a:ln w="3175" cap="flat" cmpd="sng">
              <a:solidFill>
                <a:schemeClr val="tx1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defTabSz="457178"/>
              <a:endParaRPr kern="0" dirty="0">
                <a:solidFill>
                  <a:srgbClr val="7F7F7F"/>
                </a:solidFill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47" name="Shape 2054">
              <a:extLst>
                <a:ext uri="{FF2B5EF4-FFF2-40B4-BE49-F238E27FC236}">
                  <a16:creationId xmlns:a16="http://schemas.microsoft.com/office/drawing/2014/main" id="{D9E20E0D-D9D5-40AB-B84E-8584A834112B}"/>
                </a:ext>
              </a:extLst>
            </p:cNvPr>
            <p:cNvSpPr/>
            <p:nvPr/>
          </p:nvSpPr>
          <p:spPr>
            <a:xfrm>
              <a:off x="3278971" y="3425810"/>
              <a:ext cx="1218169" cy="970595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1460" y="43462"/>
                  </a:moveTo>
                  <a:cubicBezTo>
                    <a:pt x="110786" y="44009"/>
                    <a:pt x="110561" y="42642"/>
                    <a:pt x="110112" y="43462"/>
                  </a:cubicBezTo>
                  <a:cubicBezTo>
                    <a:pt x="109438" y="44555"/>
                    <a:pt x="111235" y="47015"/>
                    <a:pt x="110561" y="48382"/>
                  </a:cubicBezTo>
                  <a:cubicBezTo>
                    <a:pt x="109662" y="49749"/>
                    <a:pt x="107865" y="51662"/>
                    <a:pt x="105393" y="52209"/>
                  </a:cubicBezTo>
                  <a:cubicBezTo>
                    <a:pt x="104269" y="52482"/>
                    <a:pt x="103370" y="53849"/>
                    <a:pt x="102471" y="53576"/>
                  </a:cubicBezTo>
                  <a:cubicBezTo>
                    <a:pt x="101797" y="53576"/>
                    <a:pt x="100224" y="55489"/>
                    <a:pt x="100000" y="56036"/>
                  </a:cubicBezTo>
                  <a:cubicBezTo>
                    <a:pt x="99550" y="56856"/>
                    <a:pt x="98202" y="56036"/>
                    <a:pt x="97078" y="56856"/>
                  </a:cubicBezTo>
                  <a:cubicBezTo>
                    <a:pt x="95505" y="57676"/>
                    <a:pt x="96404" y="56583"/>
                    <a:pt x="90786" y="58496"/>
                  </a:cubicBezTo>
                  <a:cubicBezTo>
                    <a:pt x="89662" y="58769"/>
                    <a:pt x="88764" y="59316"/>
                    <a:pt x="87865" y="59589"/>
                  </a:cubicBezTo>
                  <a:cubicBezTo>
                    <a:pt x="86966" y="60136"/>
                    <a:pt x="86067" y="59863"/>
                    <a:pt x="86067" y="62050"/>
                  </a:cubicBezTo>
                  <a:cubicBezTo>
                    <a:pt x="86292" y="63143"/>
                    <a:pt x="87415" y="62323"/>
                    <a:pt x="87191" y="63416"/>
                  </a:cubicBezTo>
                  <a:cubicBezTo>
                    <a:pt x="87191" y="64236"/>
                    <a:pt x="85617" y="63963"/>
                    <a:pt x="84044" y="65056"/>
                  </a:cubicBezTo>
                  <a:cubicBezTo>
                    <a:pt x="83370" y="65603"/>
                    <a:pt x="82921" y="67517"/>
                    <a:pt x="82471" y="68063"/>
                  </a:cubicBezTo>
                  <a:cubicBezTo>
                    <a:pt x="80224" y="69703"/>
                    <a:pt x="78651" y="73257"/>
                    <a:pt x="78651" y="73257"/>
                  </a:cubicBezTo>
                  <a:cubicBezTo>
                    <a:pt x="77528" y="74624"/>
                    <a:pt x="76179" y="75717"/>
                    <a:pt x="75505" y="77357"/>
                  </a:cubicBezTo>
                  <a:cubicBezTo>
                    <a:pt x="73932" y="80911"/>
                    <a:pt x="73483" y="78997"/>
                    <a:pt x="74382" y="83371"/>
                  </a:cubicBezTo>
                  <a:cubicBezTo>
                    <a:pt x="74606" y="83917"/>
                    <a:pt x="74606" y="85831"/>
                    <a:pt x="75280" y="87198"/>
                  </a:cubicBezTo>
                  <a:cubicBezTo>
                    <a:pt x="76404" y="89111"/>
                    <a:pt x="78876" y="91025"/>
                    <a:pt x="78202" y="91571"/>
                  </a:cubicBezTo>
                  <a:cubicBezTo>
                    <a:pt x="77752" y="91845"/>
                    <a:pt x="75056" y="94031"/>
                    <a:pt x="74157" y="94031"/>
                  </a:cubicBezTo>
                  <a:cubicBezTo>
                    <a:pt x="72808" y="94305"/>
                    <a:pt x="72134" y="95398"/>
                    <a:pt x="70337" y="97858"/>
                  </a:cubicBezTo>
                  <a:cubicBezTo>
                    <a:pt x="69438" y="98678"/>
                    <a:pt x="69213" y="99498"/>
                    <a:pt x="68539" y="100592"/>
                  </a:cubicBezTo>
                  <a:cubicBezTo>
                    <a:pt x="67415" y="102232"/>
                    <a:pt x="67865" y="101958"/>
                    <a:pt x="66966" y="103872"/>
                  </a:cubicBezTo>
                  <a:cubicBezTo>
                    <a:pt x="66741" y="104419"/>
                    <a:pt x="66966" y="106332"/>
                    <a:pt x="66966" y="107152"/>
                  </a:cubicBezTo>
                  <a:cubicBezTo>
                    <a:pt x="64719" y="107425"/>
                    <a:pt x="64719" y="107425"/>
                    <a:pt x="64719" y="107425"/>
                  </a:cubicBezTo>
                  <a:cubicBezTo>
                    <a:pt x="60898" y="106059"/>
                    <a:pt x="60898" y="106059"/>
                    <a:pt x="60898" y="106059"/>
                  </a:cubicBezTo>
                  <a:cubicBezTo>
                    <a:pt x="58651" y="108519"/>
                    <a:pt x="58651" y="108519"/>
                    <a:pt x="58651" y="108519"/>
                  </a:cubicBezTo>
                  <a:cubicBezTo>
                    <a:pt x="57752" y="109339"/>
                    <a:pt x="56404" y="108792"/>
                    <a:pt x="55505" y="109612"/>
                  </a:cubicBezTo>
                  <a:cubicBezTo>
                    <a:pt x="55505" y="109612"/>
                    <a:pt x="54831" y="112072"/>
                    <a:pt x="54606" y="112619"/>
                  </a:cubicBezTo>
                  <a:cubicBezTo>
                    <a:pt x="54606" y="113439"/>
                    <a:pt x="53033" y="115626"/>
                    <a:pt x="53033" y="115626"/>
                  </a:cubicBezTo>
                  <a:cubicBezTo>
                    <a:pt x="52808" y="115899"/>
                    <a:pt x="51685" y="117266"/>
                    <a:pt x="51235" y="117539"/>
                  </a:cubicBezTo>
                  <a:cubicBezTo>
                    <a:pt x="50561" y="117813"/>
                    <a:pt x="50112" y="115626"/>
                    <a:pt x="49662" y="115626"/>
                  </a:cubicBezTo>
                  <a:cubicBezTo>
                    <a:pt x="48764" y="115626"/>
                    <a:pt x="48764" y="115353"/>
                    <a:pt x="47865" y="115079"/>
                  </a:cubicBezTo>
                  <a:cubicBezTo>
                    <a:pt x="46741" y="115079"/>
                    <a:pt x="46516" y="116993"/>
                    <a:pt x="45393" y="116993"/>
                  </a:cubicBezTo>
                  <a:cubicBezTo>
                    <a:pt x="43595" y="116719"/>
                    <a:pt x="40449" y="114533"/>
                    <a:pt x="40449" y="114533"/>
                  </a:cubicBezTo>
                  <a:cubicBezTo>
                    <a:pt x="39775" y="114259"/>
                    <a:pt x="39775" y="115353"/>
                    <a:pt x="39101" y="115353"/>
                  </a:cubicBezTo>
                  <a:cubicBezTo>
                    <a:pt x="37752" y="115079"/>
                    <a:pt x="35955" y="113986"/>
                    <a:pt x="34157" y="113439"/>
                  </a:cubicBezTo>
                  <a:cubicBezTo>
                    <a:pt x="32808" y="113166"/>
                    <a:pt x="30112" y="112619"/>
                    <a:pt x="30112" y="112619"/>
                  </a:cubicBezTo>
                  <a:cubicBezTo>
                    <a:pt x="29438" y="113166"/>
                    <a:pt x="28764" y="113166"/>
                    <a:pt x="28089" y="113439"/>
                  </a:cubicBezTo>
                  <a:cubicBezTo>
                    <a:pt x="27191" y="113986"/>
                    <a:pt x="26292" y="114806"/>
                    <a:pt x="25617" y="115079"/>
                  </a:cubicBezTo>
                  <a:cubicBezTo>
                    <a:pt x="24943" y="115353"/>
                    <a:pt x="23595" y="113986"/>
                    <a:pt x="21573" y="115353"/>
                  </a:cubicBezTo>
                  <a:cubicBezTo>
                    <a:pt x="20898" y="115626"/>
                    <a:pt x="20000" y="115353"/>
                    <a:pt x="19550" y="115899"/>
                  </a:cubicBezTo>
                  <a:cubicBezTo>
                    <a:pt x="18876" y="116719"/>
                    <a:pt x="18651" y="117813"/>
                    <a:pt x="17528" y="118359"/>
                  </a:cubicBezTo>
                  <a:cubicBezTo>
                    <a:pt x="16853" y="118633"/>
                    <a:pt x="15955" y="119726"/>
                    <a:pt x="15505" y="120000"/>
                  </a:cubicBezTo>
                  <a:cubicBezTo>
                    <a:pt x="14382" y="119179"/>
                    <a:pt x="12808" y="119179"/>
                    <a:pt x="12359" y="116993"/>
                  </a:cubicBezTo>
                  <a:cubicBezTo>
                    <a:pt x="12134" y="116173"/>
                    <a:pt x="11460" y="116993"/>
                    <a:pt x="11011" y="116173"/>
                  </a:cubicBezTo>
                  <a:cubicBezTo>
                    <a:pt x="10112" y="115079"/>
                    <a:pt x="9438" y="112619"/>
                    <a:pt x="9438" y="111526"/>
                  </a:cubicBezTo>
                  <a:cubicBezTo>
                    <a:pt x="9438" y="111526"/>
                    <a:pt x="10112" y="110432"/>
                    <a:pt x="9438" y="109339"/>
                  </a:cubicBezTo>
                  <a:cubicBezTo>
                    <a:pt x="8988" y="108246"/>
                    <a:pt x="8314" y="107972"/>
                    <a:pt x="8539" y="106879"/>
                  </a:cubicBezTo>
                  <a:cubicBezTo>
                    <a:pt x="9213" y="106879"/>
                    <a:pt x="8988" y="104965"/>
                    <a:pt x="8988" y="104965"/>
                  </a:cubicBezTo>
                  <a:cubicBezTo>
                    <a:pt x="8988" y="104419"/>
                    <a:pt x="7415" y="101138"/>
                    <a:pt x="6966" y="100592"/>
                  </a:cubicBezTo>
                  <a:cubicBezTo>
                    <a:pt x="5842" y="99772"/>
                    <a:pt x="4494" y="98678"/>
                    <a:pt x="3146" y="98405"/>
                  </a:cubicBezTo>
                  <a:cubicBezTo>
                    <a:pt x="0" y="97858"/>
                    <a:pt x="0" y="97858"/>
                    <a:pt x="0" y="97858"/>
                  </a:cubicBezTo>
                  <a:cubicBezTo>
                    <a:pt x="0" y="96765"/>
                    <a:pt x="0" y="96765"/>
                    <a:pt x="0" y="96765"/>
                  </a:cubicBezTo>
                  <a:cubicBezTo>
                    <a:pt x="0" y="96218"/>
                    <a:pt x="0" y="96218"/>
                    <a:pt x="0" y="96218"/>
                  </a:cubicBezTo>
                  <a:cubicBezTo>
                    <a:pt x="0" y="95945"/>
                    <a:pt x="0" y="95945"/>
                    <a:pt x="0" y="95945"/>
                  </a:cubicBezTo>
                  <a:cubicBezTo>
                    <a:pt x="224" y="95125"/>
                    <a:pt x="224" y="95125"/>
                    <a:pt x="224" y="95125"/>
                  </a:cubicBezTo>
                  <a:cubicBezTo>
                    <a:pt x="449" y="94578"/>
                    <a:pt x="449" y="94578"/>
                    <a:pt x="449" y="94578"/>
                  </a:cubicBezTo>
                  <a:cubicBezTo>
                    <a:pt x="224" y="94031"/>
                    <a:pt x="224" y="94031"/>
                    <a:pt x="224" y="94031"/>
                  </a:cubicBezTo>
                  <a:cubicBezTo>
                    <a:pt x="224" y="93485"/>
                    <a:pt x="224" y="93485"/>
                    <a:pt x="224" y="93485"/>
                  </a:cubicBezTo>
                  <a:cubicBezTo>
                    <a:pt x="224" y="92665"/>
                    <a:pt x="224" y="92665"/>
                    <a:pt x="224" y="92665"/>
                  </a:cubicBezTo>
                  <a:cubicBezTo>
                    <a:pt x="224" y="92665"/>
                    <a:pt x="0" y="92118"/>
                    <a:pt x="0" y="92118"/>
                  </a:cubicBezTo>
                  <a:cubicBezTo>
                    <a:pt x="0" y="92118"/>
                    <a:pt x="0" y="91571"/>
                    <a:pt x="0" y="91571"/>
                  </a:cubicBezTo>
                  <a:cubicBezTo>
                    <a:pt x="0" y="91571"/>
                    <a:pt x="449" y="91298"/>
                    <a:pt x="449" y="91298"/>
                  </a:cubicBezTo>
                  <a:cubicBezTo>
                    <a:pt x="449" y="91025"/>
                    <a:pt x="898" y="90751"/>
                    <a:pt x="898" y="90751"/>
                  </a:cubicBezTo>
                  <a:cubicBezTo>
                    <a:pt x="898" y="90751"/>
                    <a:pt x="1123" y="89931"/>
                    <a:pt x="1123" y="89658"/>
                  </a:cubicBezTo>
                  <a:cubicBezTo>
                    <a:pt x="1123" y="89658"/>
                    <a:pt x="1348" y="89384"/>
                    <a:pt x="1348" y="89384"/>
                  </a:cubicBezTo>
                  <a:cubicBezTo>
                    <a:pt x="2022" y="89111"/>
                    <a:pt x="2022" y="89111"/>
                    <a:pt x="2022" y="89111"/>
                  </a:cubicBezTo>
                  <a:cubicBezTo>
                    <a:pt x="2471" y="88564"/>
                    <a:pt x="2471" y="88564"/>
                    <a:pt x="2471" y="88564"/>
                  </a:cubicBezTo>
                  <a:cubicBezTo>
                    <a:pt x="2921" y="88291"/>
                    <a:pt x="2921" y="88291"/>
                    <a:pt x="2921" y="88291"/>
                  </a:cubicBezTo>
                  <a:cubicBezTo>
                    <a:pt x="3370" y="87744"/>
                    <a:pt x="3370" y="87744"/>
                    <a:pt x="3370" y="87744"/>
                  </a:cubicBezTo>
                  <a:cubicBezTo>
                    <a:pt x="3595" y="86651"/>
                    <a:pt x="3595" y="86651"/>
                    <a:pt x="3595" y="86651"/>
                  </a:cubicBezTo>
                  <a:cubicBezTo>
                    <a:pt x="3820" y="86378"/>
                    <a:pt x="3820" y="86378"/>
                    <a:pt x="3820" y="86378"/>
                  </a:cubicBezTo>
                  <a:cubicBezTo>
                    <a:pt x="3820" y="86378"/>
                    <a:pt x="4494" y="86378"/>
                    <a:pt x="4494" y="86378"/>
                  </a:cubicBezTo>
                  <a:cubicBezTo>
                    <a:pt x="4494" y="86378"/>
                    <a:pt x="4943" y="86378"/>
                    <a:pt x="4943" y="86378"/>
                  </a:cubicBezTo>
                  <a:cubicBezTo>
                    <a:pt x="4943" y="86104"/>
                    <a:pt x="4943" y="86104"/>
                    <a:pt x="4943" y="86104"/>
                  </a:cubicBezTo>
                  <a:cubicBezTo>
                    <a:pt x="5393" y="85831"/>
                    <a:pt x="5393" y="85831"/>
                    <a:pt x="5393" y="85831"/>
                  </a:cubicBezTo>
                  <a:cubicBezTo>
                    <a:pt x="5842" y="86378"/>
                    <a:pt x="5842" y="86378"/>
                    <a:pt x="5842" y="86378"/>
                  </a:cubicBezTo>
                  <a:cubicBezTo>
                    <a:pt x="5842" y="86378"/>
                    <a:pt x="6067" y="86378"/>
                    <a:pt x="6292" y="86378"/>
                  </a:cubicBezTo>
                  <a:cubicBezTo>
                    <a:pt x="6292" y="86378"/>
                    <a:pt x="6516" y="86378"/>
                    <a:pt x="6516" y="86378"/>
                  </a:cubicBezTo>
                  <a:cubicBezTo>
                    <a:pt x="6516" y="85558"/>
                    <a:pt x="6516" y="85558"/>
                    <a:pt x="6516" y="85558"/>
                  </a:cubicBezTo>
                  <a:cubicBezTo>
                    <a:pt x="7415" y="84464"/>
                    <a:pt x="7415" y="84464"/>
                    <a:pt x="7415" y="84464"/>
                  </a:cubicBezTo>
                  <a:cubicBezTo>
                    <a:pt x="7415" y="84464"/>
                    <a:pt x="7415" y="84191"/>
                    <a:pt x="7415" y="84191"/>
                  </a:cubicBezTo>
                  <a:cubicBezTo>
                    <a:pt x="7415" y="84191"/>
                    <a:pt x="7415" y="83917"/>
                    <a:pt x="7415" y="83917"/>
                  </a:cubicBezTo>
                  <a:cubicBezTo>
                    <a:pt x="7191" y="83644"/>
                    <a:pt x="6966" y="83917"/>
                    <a:pt x="6966" y="83917"/>
                  </a:cubicBezTo>
                  <a:cubicBezTo>
                    <a:pt x="6966" y="83917"/>
                    <a:pt x="6516" y="83917"/>
                    <a:pt x="6516" y="83917"/>
                  </a:cubicBezTo>
                  <a:cubicBezTo>
                    <a:pt x="6516" y="83917"/>
                    <a:pt x="6067" y="83917"/>
                    <a:pt x="5842" y="83917"/>
                  </a:cubicBezTo>
                  <a:cubicBezTo>
                    <a:pt x="5842" y="83917"/>
                    <a:pt x="5842" y="83644"/>
                    <a:pt x="5842" y="83644"/>
                  </a:cubicBezTo>
                  <a:cubicBezTo>
                    <a:pt x="5617" y="83097"/>
                    <a:pt x="5617" y="83097"/>
                    <a:pt x="5617" y="83097"/>
                  </a:cubicBezTo>
                  <a:cubicBezTo>
                    <a:pt x="5617" y="83097"/>
                    <a:pt x="5393" y="82551"/>
                    <a:pt x="5393" y="82277"/>
                  </a:cubicBezTo>
                  <a:cubicBezTo>
                    <a:pt x="5393" y="82004"/>
                    <a:pt x="5393" y="81731"/>
                    <a:pt x="5393" y="81457"/>
                  </a:cubicBezTo>
                  <a:cubicBezTo>
                    <a:pt x="5393" y="81457"/>
                    <a:pt x="5168" y="81184"/>
                    <a:pt x="5168" y="81184"/>
                  </a:cubicBezTo>
                  <a:cubicBezTo>
                    <a:pt x="5168" y="81184"/>
                    <a:pt x="4943" y="80911"/>
                    <a:pt x="4943" y="80637"/>
                  </a:cubicBezTo>
                  <a:cubicBezTo>
                    <a:pt x="4943" y="80637"/>
                    <a:pt x="4719" y="79817"/>
                    <a:pt x="4719" y="79817"/>
                  </a:cubicBezTo>
                  <a:cubicBezTo>
                    <a:pt x="4494" y="79544"/>
                    <a:pt x="4494" y="79544"/>
                    <a:pt x="4494" y="79544"/>
                  </a:cubicBezTo>
                  <a:cubicBezTo>
                    <a:pt x="4719" y="79271"/>
                    <a:pt x="4719" y="79271"/>
                    <a:pt x="4719" y="79271"/>
                  </a:cubicBezTo>
                  <a:cubicBezTo>
                    <a:pt x="4494" y="78724"/>
                    <a:pt x="4494" y="78724"/>
                    <a:pt x="4494" y="78724"/>
                  </a:cubicBezTo>
                  <a:cubicBezTo>
                    <a:pt x="4943" y="78724"/>
                    <a:pt x="4943" y="78724"/>
                    <a:pt x="4943" y="78724"/>
                  </a:cubicBezTo>
                  <a:cubicBezTo>
                    <a:pt x="4719" y="78451"/>
                    <a:pt x="4719" y="78451"/>
                    <a:pt x="4719" y="78451"/>
                  </a:cubicBezTo>
                  <a:cubicBezTo>
                    <a:pt x="4943" y="77904"/>
                    <a:pt x="4943" y="77904"/>
                    <a:pt x="4943" y="77904"/>
                  </a:cubicBezTo>
                  <a:cubicBezTo>
                    <a:pt x="4943" y="77904"/>
                    <a:pt x="5393" y="77630"/>
                    <a:pt x="5393" y="77630"/>
                  </a:cubicBezTo>
                  <a:cubicBezTo>
                    <a:pt x="5393" y="77630"/>
                    <a:pt x="5842" y="77084"/>
                    <a:pt x="5842" y="77084"/>
                  </a:cubicBezTo>
                  <a:cubicBezTo>
                    <a:pt x="5842" y="77084"/>
                    <a:pt x="5617" y="76810"/>
                    <a:pt x="5617" y="76810"/>
                  </a:cubicBezTo>
                  <a:cubicBezTo>
                    <a:pt x="5617" y="76810"/>
                    <a:pt x="5617" y="76264"/>
                    <a:pt x="5617" y="76264"/>
                  </a:cubicBezTo>
                  <a:cubicBezTo>
                    <a:pt x="6067" y="75170"/>
                    <a:pt x="6067" y="75170"/>
                    <a:pt x="6067" y="75170"/>
                  </a:cubicBezTo>
                  <a:cubicBezTo>
                    <a:pt x="6292" y="75170"/>
                    <a:pt x="6292" y="75170"/>
                    <a:pt x="6292" y="75170"/>
                  </a:cubicBezTo>
                  <a:cubicBezTo>
                    <a:pt x="6966" y="74897"/>
                    <a:pt x="6966" y="74897"/>
                    <a:pt x="6966" y="74897"/>
                  </a:cubicBezTo>
                  <a:cubicBezTo>
                    <a:pt x="7191" y="74624"/>
                    <a:pt x="7191" y="74624"/>
                    <a:pt x="7191" y="74624"/>
                  </a:cubicBezTo>
                  <a:cubicBezTo>
                    <a:pt x="7415" y="74624"/>
                    <a:pt x="7415" y="74624"/>
                    <a:pt x="7415" y="74624"/>
                  </a:cubicBezTo>
                  <a:cubicBezTo>
                    <a:pt x="7865" y="74350"/>
                    <a:pt x="7865" y="74350"/>
                    <a:pt x="7865" y="74350"/>
                  </a:cubicBezTo>
                  <a:cubicBezTo>
                    <a:pt x="8314" y="74077"/>
                    <a:pt x="8314" y="74077"/>
                    <a:pt x="8314" y="74077"/>
                  </a:cubicBezTo>
                  <a:cubicBezTo>
                    <a:pt x="8539" y="73804"/>
                    <a:pt x="8539" y="73804"/>
                    <a:pt x="8539" y="73804"/>
                  </a:cubicBezTo>
                  <a:cubicBezTo>
                    <a:pt x="8539" y="73257"/>
                    <a:pt x="8539" y="73257"/>
                    <a:pt x="8539" y="73257"/>
                  </a:cubicBezTo>
                  <a:cubicBezTo>
                    <a:pt x="8764" y="72984"/>
                    <a:pt x="8764" y="72984"/>
                    <a:pt x="8764" y="72984"/>
                  </a:cubicBezTo>
                  <a:cubicBezTo>
                    <a:pt x="9213" y="72437"/>
                    <a:pt x="9213" y="72437"/>
                    <a:pt x="9213" y="72437"/>
                  </a:cubicBezTo>
                  <a:cubicBezTo>
                    <a:pt x="9662" y="71890"/>
                    <a:pt x="9662" y="71890"/>
                    <a:pt x="9662" y="71890"/>
                  </a:cubicBezTo>
                  <a:cubicBezTo>
                    <a:pt x="9662" y="71343"/>
                    <a:pt x="9662" y="71343"/>
                    <a:pt x="9662" y="71343"/>
                  </a:cubicBezTo>
                  <a:cubicBezTo>
                    <a:pt x="9438" y="71070"/>
                    <a:pt x="9438" y="71070"/>
                    <a:pt x="9438" y="71070"/>
                  </a:cubicBezTo>
                  <a:cubicBezTo>
                    <a:pt x="9438" y="71070"/>
                    <a:pt x="9213" y="70523"/>
                    <a:pt x="9213" y="70250"/>
                  </a:cubicBezTo>
                  <a:cubicBezTo>
                    <a:pt x="9213" y="70250"/>
                    <a:pt x="8988" y="70250"/>
                    <a:pt x="8988" y="70250"/>
                  </a:cubicBezTo>
                  <a:cubicBezTo>
                    <a:pt x="8539" y="70523"/>
                    <a:pt x="8539" y="70523"/>
                    <a:pt x="8539" y="70523"/>
                  </a:cubicBezTo>
                  <a:cubicBezTo>
                    <a:pt x="8539" y="70523"/>
                    <a:pt x="8314" y="70250"/>
                    <a:pt x="8089" y="70250"/>
                  </a:cubicBezTo>
                  <a:cubicBezTo>
                    <a:pt x="8089" y="70250"/>
                    <a:pt x="8089" y="69977"/>
                    <a:pt x="8089" y="69977"/>
                  </a:cubicBezTo>
                  <a:cubicBezTo>
                    <a:pt x="8314" y="69703"/>
                    <a:pt x="8314" y="69703"/>
                    <a:pt x="8314" y="69703"/>
                  </a:cubicBezTo>
                  <a:cubicBezTo>
                    <a:pt x="8314" y="69157"/>
                    <a:pt x="8314" y="69157"/>
                    <a:pt x="8314" y="69157"/>
                  </a:cubicBezTo>
                  <a:cubicBezTo>
                    <a:pt x="7865" y="69157"/>
                    <a:pt x="7865" y="69157"/>
                    <a:pt x="7865" y="69157"/>
                  </a:cubicBezTo>
                  <a:cubicBezTo>
                    <a:pt x="7640" y="68610"/>
                    <a:pt x="7640" y="68610"/>
                    <a:pt x="7640" y="68610"/>
                  </a:cubicBezTo>
                  <a:cubicBezTo>
                    <a:pt x="7415" y="68063"/>
                    <a:pt x="7415" y="68063"/>
                    <a:pt x="7415" y="68063"/>
                  </a:cubicBezTo>
                  <a:cubicBezTo>
                    <a:pt x="7415" y="67517"/>
                    <a:pt x="7415" y="67517"/>
                    <a:pt x="7415" y="67517"/>
                  </a:cubicBezTo>
                  <a:cubicBezTo>
                    <a:pt x="7640" y="67243"/>
                    <a:pt x="7640" y="67243"/>
                    <a:pt x="7640" y="67243"/>
                  </a:cubicBezTo>
                  <a:cubicBezTo>
                    <a:pt x="7640" y="66970"/>
                    <a:pt x="7640" y="66970"/>
                    <a:pt x="7640" y="66970"/>
                  </a:cubicBezTo>
                  <a:cubicBezTo>
                    <a:pt x="7415" y="66697"/>
                    <a:pt x="7415" y="66697"/>
                    <a:pt x="7415" y="66697"/>
                  </a:cubicBezTo>
                  <a:cubicBezTo>
                    <a:pt x="7415" y="66150"/>
                    <a:pt x="7415" y="66150"/>
                    <a:pt x="7415" y="66150"/>
                  </a:cubicBezTo>
                  <a:cubicBezTo>
                    <a:pt x="7191" y="65603"/>
                    <a:pt x="7191" y="65603"/>
                    <a:pt x="7191" y="65603"/>
                  </a:cubicBezTo>
                  <a:cubicBezTo>
                    <a:pt x="7415" y="65330"/>
                    <a:pt x="7415" y="65330"/>
                    <a:pt x="7415" y="65330"/>
                  </a:cubicBezTo>
                  <a:cubicBezTo>
                    <a:pt x="7640" y="65056"/>
                    <a:pt x="7640" y="65056"/>
                    <a:pt x="7640" y="65056"/>
                  </a:cubicBezTo>
                  <a:cubicBezTo>
                    <a:pt x="7640" y="64510"/>
                    <a:pt x="7640" y="64510"/>
                    <a:pt x="7640" y="64510"/>
                  </a:cubicBezTo>
                  <a:cubicBezTo>
                    <a:pt x="7640" y="64510"/>
                    <a:pt x="7191" y="64236"/>
                    <a:pt x="7191" y="64236"/>
                  </a:cubicBezTo>
                  <a:cubicBezTo>
                    <a:pt x="7191" y="64236"/>
                    <a:pt x="6966" y="63690"/>
                    <a:pt x="6966" y="63690"/>
                  </a:cubicBezTo>
                  <a:cubicBezTo>
                    <a:pt x="6966" y="63416"/>
                    <a:pt x="6966" y="63416"/>
                    <a:pt x="6966" y="63416"/>
                  </a:cubicBezTo>
                  <a:cubicBezTo>
                    <a:pt x="6966" y="63416"/>
                    <a:pt x="6516" y="62870"/>
                    <a:pt x="6516" y="62870"/>
                  </a:cubicBezTo>
                  <a:cubicBezTo>
                    <a:pt x="6516" y="62870"/>
                    <a:pt x="6516" y="62323"/>
                    <a:pt x="6516" y="62323"/>
                  </a:cubicBezTo>
                  <a:cubicBezTo>
                    <a:pt x="6516" y="62323"/>
                    <a:pt x="6292" y="61776"/>
                    <a:pt x="6292" y="61776"/>
                  </a:cubicBezTo>
                  <a:cubicBezTo>
                    <a:pt x="6067" y="61503"/>
                    <a:pt x="6067" y="61230"/>
                    <a:pt x="6067" y="61230"/>
                  </a:cubicBezTo>
                  <a:cubicBezTo>
                    <a:pt x="6516" y="61230"/>
                    <a:pt x="6516" y="61230"/>
                    <a:pt x="6516" y="61230"/>
                  </a:cubicBezTo>
                  <a:cubicBezTo>
                    <a:pt x="6966" y="61230"/>
                    <a:pt x="6966" y="61230"/>
                    <a:pt x="6966" y="61230"/>
                  </a:cubicBezTo>
                  <a:cubicBezTo>
                    <a:pt x="7191" y="61776"/>
                    <a:pt x="7191" y="61776"/>
                    <a:pt x="7191" y="61776"/>
                  </a:cubicBezTo>
                  <a:cubicBezTo>
                    <a:pt x="7415" y="61503"/>
                    <a:pt x="7415" y="61503"/>
                    <a:pt x="7415" y="61503"/>
                  </a:cubicBezTo>
                  <a:cubicBezTo>
                    <a:pt x="7415" y="61776"/>
                    <a:pt x="7415" y="61776"/>
                    <a:pt x="7415" y="61776"/>
                  </a:cubicBezTo>
                  <a:cubicBezTo>
                    <a:pt x="7865" y="61776"/>
                    <a:pt x="7865" y="61776"/>
                    <a:pt x="7865" y="61776"/>
                  </a:cubicBezTo>
                  <a:cubicBezTo>
                    <a:pt x="8539" y="61776"/>
                    <a:pt x="8539" y="61776"/>
                    <a:pt x="8539" y="61776"/>
                  </a:cubicBezTo>
                  <a:cubicBezTo>
                    <a:pt x="8988" y="61776"/>
                    <a:pt x="8988" y="61776"/>
                    <a:pt x="8988" y="61776"/>
                  </a:cubicBezTo>
                  <a:cubicBezTo>
                    <a:pt x="9213" y="61776"/>
                    <a:pt x="9213" y="61776"/>
                    <a:pt x="9213" y="61776"/>
                  </a:cubicBezTo>
                  <a:cubicBezTo>
                    <a:pt x="9213" y="61776"/>
                    <a:pt x="9438" y="62050"/>
                    <a:pt x="9438" y="62050"/>
                  </a:cubicBezTo>
                  <a:cubicBezTo>
                    <a:pt x="9662" y="62323"/>
                    <a:pt x="9887" y="62050"/>
                    <a:pt x="9887" y="62050"/>
                  </a:cubicBezTo>
                  <a:cubicBezTo>
                    <a:pt x="9887" y="62323"/>
                    <a:pt x="10337" y="62323"/>
                    <a:pt x="10337" y="62323"/>
                  </a:cubicBezTo>
                  <a:cubicBezTo>
                    <a:pt x="10337" y="62323"/>
                    <a:pt x="10561" y="62050"/>
                    <a:pt x="10786" y="62050"/>
                  </a:cubicBezTo>
                  <a:cubicBezTo>
                    <a:pt x="10786" y="62050"/>
                    <a:pt x="11011" y="62050"/>
                    <a:pt x="11011" y="62050"/>
                  </a:cubicBezTo>
                  <a:cubicBezTo>
                    <a:pt x="11235" y="61776"/>
                    <a:pt x="11235" y="61776"/>
                    <a:pt x="11235" y="61776"/>
                  </a:cubicBezTo>
                  <a:cubicBezTo>
                    <a:pt x="11235" y="61230"/>
                    <a:pt x="11235" y="61230"/>
                    <a:pt x="11235" y="61230"/>
                  </a:cubicBezTo>
                  <a:cubicBezTo>
                    <a:pt x="11460" y="61230"/>
                    <a:pt x="11460" y="61230"/>
                    <a:pt x="11460" y="61230"/>
                  </a:cubicBezTo>
                  <a:cubicBezTo>
                    <a:pt x="11460" y="60956"/>
                    <a:pt x="11460" y="60956"/>
                    <a:pt x="11460" y="60956"/>
                  </a:cubicBezTo>
                  <a:cubicBezTo>
                    <a:pt x="11685" y="60410"/>
                    <a:pt x="11685" y="60410"/>
                    <a:pt x="11685" y="60410"/>
                  </a:cubicBezTo>
                  <a:cubicBezTo>
                    <a:pt x="11685" y="60136"/>
                    <a:pt x="11685" y="60136"/>
                    <a:pt x="11685" y="60136"/>
                  </a:cubicBezTo>
                  <a:cubicBezTo>
                    <a:pt x="12134" y="60136"/>
                    <a:pt x="12134" y="60136"/>
                    <a:pt x="12134" y="60136"/>
                  </a:cubicBezTo>
                  <a:cubicBezTo>
                    <a:pt x="12359" y="59863"/>
                    <a:pt x="12359" y="59863"/>
                    <a:pt x="12359" y="59863"/>
                  </a:cubicBezTo>
                  <a:cubicBezTo>
                    <a:pt x="12584" y="59316"/>
                    <a:pt x="12584" y="59316"/>
                    <a:pt x="12584" y="59316"/>
                  </a:cubicBezTo>
                  <a:cubicBezTo>
                    <a:pt x="12808" y="58769"/>
                    <a:pt x="12808" y="58769"/>
                    <a:pt x="12808" y="58769"/>
                  </a:cubicBezTo>
                  <a:cubicBezTo>
                    <a:pt x="12808" y="58769"/>
                    <a:pt x="13033" y="58223"/>
                    <a:pt x="13033" y="58223"/>
                  </a:cubicBezTo>
                  <a:cubicBezTo>
                    <a:pt x="13033" y="58223"/>
                    <a:pt x="13258" y="57676"/>
                    <a:pt x="13258" y="57676"/>
                  </a:cubicBezTo>
                  <a:cubicBezTo>
                    <a:pt x="13033" y="56856"/>
                    <a:pt x="13033" y="56856"/>
                    <a:pt x="13033" y="56856"/>
                  </a:cubicBezTo>
                  <a:cubicBezTo>
                    <a:pt x="12808" y="56309"/>
                    <a:pt x="12808" y="56309"/>
                    <a:pt x="12808" y="56309"/>
                  </a:cubicBezTo>
                  <a:cubicBezTo>
                    <a:pt x="12584" y="55763"/>
                    <a:pt x="12584" y="55763"/>
                    <a:pt x="12584" y="55763"/>
                  </a:cubicBezTo>
                  <a:cubicBezTo>
                    <a:pt x="12584" y="55763"/>
                    <a:pt x="12584" y="55489"/>
                    <a:pt x="12359" y="55489"/>
                  </a:cubicBezTo>
                  <a:cubicBezTo>
                    <a:pt x="12359" y="55489"/>
                    <a:pt x="12359" y="55216"/>
                    <a:pt x="12359" y="55216"/>
                  </a:cubicBezTo>
                  <a:cubicBezTo>
                    <a:pt x="12359" y="54669"/>
                    <a:pt x="12359" y="54669"/>
                    <a:pt x="12359" y="54669"/>
                  </a:cubicBezTo>
                  <a:cubicBezTo>
                    <a:pt x="12584" y="54396"/>
                    <a:pt x="12584" y="54396"/>
                    <a:pt x="12584" y="54396"/>
                  </a:cubicBezTo>
                  <a:cubicBezTo>
                    <a:pt x="12808" y="54396"/>
                    <a:pt x="12808" y="54396"/>
                    <a:pt x="12808" y="54396"/>
                  </a:cubicBezTo>
                  <a:cubicBezTo>
                    <a:pt x="13258" y="53849"/>
                    <a:pt x="13258" y="53849"/>
                    <a:pt x="13258" y="53849"/>
                  </a:cubicBezTo>
                  <a:cubicBezTo>
                    <a:pt x="13483" y="53849"/>
                    <a:pt x="13483" y="53849"/>
                    <a:pt x="13483" y="53849"/>
                  </a:cubicBezTo>
                  <a:cubicBezTo>
                    <a:pt x="13932" y="53849"/>
                    <a:pt x="13932" y="53849"/>
                    <a:pt x="13932" y="53849"/>
                  </a:cubicBezTo>
                  <a:cubicBezTo>
                    <a:pt x="14382" y="53302"/>
                    <a:pt x="14382" y="53302"/>
                    <a:pt x="14382" y="53302"/>
                  </a:cubicBezTo>
                  <a:cubicBezTo>
                    <a:pt x="14606" y="53302"/>
                    <a:pt x="14606" y="53302"/>
                    <a:pt x="14606" y="53302"/>
                  </a:cubicBezTo>
                  <a:cubicBezTo>
                    <a:pt x="14831" y="53029"/>
                    <a:pt x="14831" y="53029"/>
                    <a:pt x="14831" y="53029"/>
                  </a:cubicBezTo>
                  <a:cubicBezTo>
                    <a:pt x="15056" y="52482"/>
                    <a:pt x="15056" y="52482"/>
                    <a:pt x="15056" y="52482"/>
                  </a:cubicBezTo>
                  <a:cubicBezTo>
                    <a:pt x="14831" y="51936"/>
                    <a:pt x="14831" y="51936"/>
                    <a:pt x="14831" y="51936"/>
                  </a:cubicBezTo>
                  <a:cubicBezTo>
                    <a:pt x="14606" y="51662"/>
                    <a:pt x="14606" y="51662"/>
                    <a:pt x="14606" y="51662"/>
                  </a:cubicBezTo>
                  <a:cubicBezTo>
                    <a:pt x="14831" y="50842"/>
                    <a:pt x="14831" y="50842"/>
                    <a:pt x="14831" y="50842"/>
                  </a:cubicBezTo>
                  <a:cubicBezTo>
                    <a:pt x="15280" y="50569"/>
                    <a:pt x="15280" y="50569"/>
                    <a:pt x="15280" y="50569"/>
                  </a:cubicBezTo>
                  <a:cubicBezTo>
                    <a:pt x="15280" y="49749"/>
                    <a:pt x="15280" y="49749"/>
                    <a:pt x="15280" y="49749"/>
                  </a:cubicBezTo>
                  <a:cubicBezTo>
                    <a:pt x="15056" y="49476"/>
                    <a:pt x="15056" y="49476"/>
                    <a:pt x="15056" y="49476"/>
                  </a:cubicBezTo>
                  <a:cubicBezTo>
                    <a:pt x="15280" y="48929"/>
                    <a:pt x="15280" y="48929"/>
                    <a:pt x="15280" y="48929"/>
                  </a:cubicBezTo>
                  <a:cubicBezTo>
                    <a:pt x="15505" y="48656"/>
                    <a:pt x="15505" y="48656"/>
                    <a:pt x="15505" y="48656"/>
                  </a:cubicBezTo>
                  <a:cubicBezTo>
                    <a:pt x="15505" y="48656"/>
                    <a:pt x="15730" y="48109"/>
                    <a:pt x="15730" y="47835"/>
                  </a:cubicBezTo>
                  <a:cubicBezTo>
                    <a:pt x="15955" y="47835"/>
                    <a:pt x="15955" y="47015"/>
                    <a:pt x="15955" y="47015"/>
                  </a:cubicBezTo>
                  <a:cubicBezTo>
                    <a:pt x="15730" y="46469"/>
                    <a:pt x="15730" y="46469"/>
                    <a:pt x="15730" y="46469"/>
                  </a:cubicBezTo>
                  <a:cubicBezTo>
                    <a:pt x="15730" y="46195"/>
                    <a:pt x="15730" y="46195"/>
                    <a:pt x="15730" y="46195"/>
                  </a:cubicBezTo>
                  <a:cubicBezTo>
                    <a:pt x="15730" y="46195"/>
                    <a:pt x="16179" y="45922"/>
                    <a:pt x="16179" y="45922"/>
                  </a:cubicBezTo>
                  <a:cubicBezTo>
                    <a:pt x="16404" y="45922"/>
                    <a:pt x="16404" y="45102"/>
                    <a:pt x="16404" y="45102"/>
                  </a:cubicBezTo>
                  <a:cubicBezTo>
                    <a:pt x="15955" y="44829"/>
                    <a:pt x="15955" y="44829"/>
                    <a:pt x="15955" y="44829"/>
                  </a:cubicBezTo>
                  <a:cubicBezTo>
                    <a:pt x="15955" y="44829"/>
                    <a:pt x="15955" y="44282"/>
                    <a:pt x="15955" y="44009"/>
                  </a:cubicBezTo>
                  <a:cubicBezTo>
                    <a:pt x="15955" y="44009"/>
                    <a:pt x="15955" y="43462"/>
                    <a:pt x="15955" y="43462"/>
                  </a:cubicBezTo>
                  <a:cubicBezTo>
                    <a:pt x="15730" y="43462"/>
                    <a:pt x="15730" y="43462"/>
                    <a:pt x="15730" y="43462"/>
                  </a:cubicBezTo>
                  <a:cubicBezTo>
                    <a:pt x="15730" y="42915"/>
                    <a:pt x="15730" y="42915"/>
                    <a:pt x="15730" y="42915"/>
                  </a:cubicBezTo>
                  <a:cubicBezTo>
                    <a:pt x="15955" y="42642"/>
                    <a:pt x="15955" y="42642"/>
                    <a:pt x="15955" y="42642"/>
                  </a:cubicBezTo>
                  <a:cubicBezTo>
                    <a:pt x="16404" y="42915"/>
                    <a:pt x="16404" y="42915"/>
                    <a:pt x="16404" y="42915"/>
                  </a:cubicBezTo>
                  <a:cubicBezTo>
                    <a:pt x="16404" y="42915"/>
                    <a:pt x="16629" y="42642"/>
                    <a:pt x="16853" y="42642"/>
                  </a:cubicBezTo>
                  <a:cubicBezTo>
                    <a:pt x="16853" y="42369"/>
                    <a:pt x="17303" y="42369"/>
                    <a:pt x="17303" y="42369"/>
                  </a:cubicBezTo>
                  <a:cubicBezTo>
                    <a:pt x="17528" y="41548"/>
                    <a:pt x="17528" y="41548"/>
                    <a:pt x="17528" y="41548"/>
                  </a:cubicBezTo>
                  <a:cubicBezTo>
                    <a:pt x="18426" y="41002"/>
                    <a:pt x="18426" y="41002"/>
                    <a:pt x="18426" y="41002"/>
                  </a:cubicBezTo>
                  <a:cubicBezTo>
                    <a:pt x="18426" y="40728"/>
                    <a:pt x="18426" y="40728"/>
                    <a:pt x="18426" y="40728"/>
                  </a:cubicBezTo>
                  <a:cubicBezTo>
                    <a:pt x="19101" y="40455"/>
                    <a:pt x="19101" y="40455"/>
                    <a:pt x="19101" y="40455"/>
                  </a:cubicBezTo>
                  <a:cubicBezTo>
                    <a:pt x="19550" y="40728"/>
                    <a:pt x="19550" y="40728"/>
                    <a:pt x="19550" y="40728"/>
                  </a:cubicBezTo>
                  <a:cubicBezTo>
                    <a:pt x="20000" y="40182"/>
                    <a:pt x="20000" y="40182"/>
                    <a:pt x="20000" y="40182"/>
                  </a:cubicBezTo>
                  <a:cubicBezTo>
                    <a:pt x="20224" y="40182"/>
                    <a:pt x="20224" y="40182"/>
                    <a:pt x="20224" y="40182"/>
                  </a:cubicBezTo>
                  <a:cubicBezTo>
                    <a:pt x="20674" y="39908"/>
                    <a:pt x="20674" y="39908"/>
                    <a:pt x="20674" y="39908"/>
                  </a:cubicBezTo>
                  <a:cubicBezTo>
                    <a:pt x="21123" y="39635"/>
                    <a:pt x="21123" y="39635"/>
                    <a:pt x="21123" y="39635"/>
                  </a:cubicBezTo>
                  <a:cubicBezTo>
                    <a:pt x="21797" y="38815"/>
                    <a:pt x="21797" y="38815"/>
                    <a:pt x="21797" y="38815"/>
                  </a:cubicBezTo>
                  <a:cubicBezTo>
                    <a:pt x="22022" y="38815"/>
                    <a:pt x="22022" y="38815"/>
                    <a:pt x="22022" y="38815"/>
                  </a:cubicBezTo>
                  <a:cubicBezTo>
                    <a:pt x="22022" y="38815"/>
                    <a:pt x="22471" y="38542"/>
                    <a:pt x="22471" y="38542"/>
                  </a:cubicBezTo>
                  <a:cubicBezTo>
                    <a:pt x="22471" y="38542"/>
                    <a:pt x="22696" y="37995"/>
                    <a:pt x="22696" y="37995"/>
                  </a:cubicBezTo>
                  <a:cubicBezTo>
                    <a:pt x="23146" y="37722"/>
                    <a:pt x="23146" y="37722"/>
                    <a:pt x="23146" y="37722"/>
                  </a:cubicBezTo>
                  <a:cubicBezTo>
                    <a:pt x="23595" y="36902"/>
                    <a:pt x="23595" y="36902"/>
                    <a:pt x="23595" y="36902"/>
                  </a:cubicBezTo>
                  <a:cubicBezTo>
                    <a:pt x="24044" y="36355"/>
                    <a:pt x="24044" y="36355"/>
                    <a:pt x="24044" y="36355"/>
                  </a:cubicBezTo>
                  <a:cubicBezTo>
                    <a:pt x="23595" y="35535"/>
                    <a:pt x="23595" y="35535"/>
                    <a:pt x="23595" y="35535"/>
                  </a:cubicBezTo>
                  <a:cubicBezTo>
                    <a:pt x="23595" y="35535"/>
                    <a:pt x="23146" y="34988"/>
                    <a:pt x="22921" y="34988"/>
                  </a:cubicBezTo>
                  <a:cubicBezTo>
                    <a:pt x="22921" y="34715"/>
                    <a:pt x="22471" y="34441"/>
                    <a:pt x="22471" y="34441"/>
                  </a:cubicBezTo>
                  <a:cubicBezTo>
                    <a:pt x="22471" y="34441"/>
                    <a:pt x="21797" y="34168"/>
                    <a:pt x="21797" y="34168"/>
                  </a:cubicBezTo>
                  <a:cubicBezTo>
                    <a:pt x="21797" y="34168"/>
                    <a:pt x="21348" y="34441"/>
                    <a:pt x="21348" y="34441"/>
                  </a:cubicBezTo>
                  <a:cubicBezTo>
                    <a:pt x="21123" y="34168"/>
                    <a:pt x="21123" y="34168"/>
                    <a:pt x="21123" y="34168"/>
                  </a:cubicBezTo>
                  <a:cubicBezTo>
                    <a:pt x="21123" y="34168"/>
                    <a:pt x="20898" y="33621"/>
                    <a:pt x="21123" y="33621"/>
                  </a:cubicBezTo>
                  <a:cubicBezTo>
                    <a:pt x="21123" y="33621"/>
                    <a:pt x="21123" y="33348"/>
                    <a:pt x="21123" y="33348"/>
                  </a:cubicBezTo>
                  <a:cubicBezTo>
                    <a:pt x="21123" y="33075"/>
                    <a:pt x="21123" y="33075"/>
                    <a:pt x="21123" y="33075"/>
                  </a:cubicBezTo>
                  <a:cubicBezTo>
                    <a:pt x="21123" y="32801"/>
                    <a:pt x="21123" y="32801"/>
                    <a:pt x="21123" y="32801"/>
                  </a:cubicBezTo>
                  <a:cubicBezTo>
                    <a:pt x="21348" y="32528"/>
                    <a:pt x="21348" y="32528"/>
                    <a:pt x="21348" y="32528"/>
                  </a:cubicBezTo>
                  <a:cubicBezTo>
                    <a:pt x="21348" y="32528"/>
                    <a:pt x="21573" y="32255"/>
                    <a:pt x="21573" y="31981"/>
                  </a:cubicBezTo>
                  <a:cubicBezTo>
                    <a:pt x="21573" y="31981"/>
                    <a:pt x="21797" y="31435"/>
                    <a:pt x="21797" y="31435"/>
                  </a:cubicBezTo>
                  <a:cubicBezTo>
                    <a:pt x="21797" y="31435"/>
                    <a:pt x="21573" y="31161"/>
                    <a:pt x="21573" y="30888"/>
                  </a:cubicBezTo>
                  <a:cubicBezTo>
                    <a:pt x="21348" y="30888"/>
                    <a:pt x="21348" y="30888"/>
                    <a:pt x="21573" y="30615"/>
                  </a:cubicBezTo>
                  <a:cubicBezTo>
                    <a:pt x="21573" y="30615"/>
                    <a:pt x="21573" y="30341"/>
                    <a:pt x="21573" y="30341"/>
                  </a:cubicBezTo>
                  <a:cubicBezTo>
                    <a:pt x="21573" y="30341"/>
                    <a:pt x="21573" y="29794"/>
                    <a:pt x="21348" y="29794"/>
                  </a:cubicBezTo>
                  <a:cubicBezTo>
                    <a:pt x="21348" y="29794"/>
                    <a:pt x="20898" y="30068"/>
                    <a:pt x="20898" y="30068"/>
                  </a:cubicBezTo>
                  <a:cubicBezTo>
                    <a:pt x="20898" y="30068"/>
                    <a:pt x="20224" y="29794"/>
                    <a:pt x="20224" y="29794"/>
                  </a:cubicBezTo>
                  <a:cubicBezTo>
                    <a:pt x="20224" y="29794"/>
                    <a:pt x="20000" y="29521"/>
                    <a:pt x="20000" y="29521"/>
                  </a:cubicBezTo>
                  <a:cubicBezTo>
                    <a:pt x="20000" y="29521"/>
                    <a:pt x="20000" y="28974"/>
                    <a:pt x="19775" y="28974"/>
                  </a:cubicBezTo>
                  <a:cubicBezTo>
                    <a:pt x="19550" y="28701"/>
                    <a:pt x="19550" y="28974"/>
                    <a:pt x="19550" y="28974"/>
                  </a:cubicBezTo>
                  <a:cubicBezTo>
                    <a:pt x="19325" y="29521"/>
                    <a:pt x="19325" y="29521"/>
                    <a:pt x="19325" y="29521"/>
                  </a:cubicBezTo>
                  <a:cubicBezTo>
                    <a:pt x="19325" y="29521"/>
                    <a:pt x="18876" y="29521"/>
                    <a:pt x="18651" y="29248"/>
                  </a:cubicBezTo>
                  <a:cubicBezTo>
                    <a:pt x="18651" y="29248"/>
                    <a:pt x="18426" y="29248"/>
                    <a:pt x="18426" y="29248"/>
                  </a:cubicBezTo>
                  <a:cubicBezTo>
                    <a:pt x="18202" y="29248"/>
                    <a:pt x="18202" y="28974"/>
                    <a:pt x="18202" y="28701"/>
                  </a:cubicBezTo>
                  <a:cubicBezTo>
                    <a:pt x="17977" y="28428"/>
                    <a:pt x="17977" y="28701"/>
                    <a:pt x="17752" y="28701"/>
                  </a:cubicBezTo>
                  <a:cubicBezTo>
                    <a:pt x="17752" y="28701"/>
                    <a:pt x="17303" y="28701"/>
                    <a:pt x="17303" y="28701"/>
                  </a:cubicBezTo>
                  <a:cubicBezTo>
                    <a:pt x="17303" y="28701"/>
                    <a:pt x="16853" y="28154"/>
                    <a:pt x="16853" y="28154"/>
                  </a:cubicBezTo>
                  <a:cubicBezTo>
                    <a:pt x="16853" y="27881"/>
                    <a:pt x="16629" y="27881"/>
                    <a:pt x="16629" y="27881"/>
                  </a:cubicBezTo>
                  <a:cubicBezTo>
                    <a:pt x="16629" y="27881"/>
                    <a:pt x="16179" y="28154"/>
                    <a:pt x="16179" y="28154"/>
                  </a:cubicBezTo>
                  <a:cubicBezTo>
                    <a:pt x="16179" y="28428"/>
                    <a:pt x="16179" y="28428"/>
                    <a:pt x="16179" y="28428"/>
                  </a:cubicBezTo>
                  <a:cubicBezTo>
                    <a:pt x="15955" y="29248"/>
                    <a:pt x="15955" y="29248"/>
                    <a:pt x="15955" y="29248"/>
                  </a:cubicBezTo>
                  <a:cubicBezTo>
                    <a:pt x="15280" y="29794"/>
                    <a:pt x="15280" y="29794"/>
                    <a:pt x="15280" y="29794"/>
                  </a:cubicBezTo>
                  <a:cubicBezTo>
                    <a:pt x="15280" y="29794"/>
                    <a:pt x="14606" y="29794"/>
                    <a:pt x="14382" y="29521"/>
                  </a:cubicBezTo>
                  <a:cubicBezTo>
                    <a:pt x="14382" y="29521"/>
                    <a:pt x="14382" y="29521"/>
                    <a:pt x="14157" y="29521"/>
                  </a:cubicBezTo>
                  <a:cubicBezTo>
                    <a:pt x="13932" y="29521"/>
                    <a:pt x="13932" y="29521"/>
                    <a:pt x="13932" y="29521"/>
                  </a:cubicBezTo>
                  <a:cubicBezTo>
                    <a:pt x="13932" y="29521"/>
                    <a:pt x="13483" y="29794"/>
                    <a:pt x="13483" y="29794"/>
                  </a:cubicBezTo>
                  <a:cubicBezTo>
                    <a:pt x="13483" y="29794"/>
                    <a:pt x="13258" y="29248"/>
                    <a:pt x="13258" y="29248"/>
                  </a:cubicBezTo>
                  <a:cubicBezTo>
                    <a:pt x="13258" y="29248"/>
                    <a:pt x="12808" y="28974"/>
                    <a:pt x="12808" y="28701"/>
                  </a:cubicBezTo>
                  <a:cubicBezTo>
                    <a:pt x="12808" y="28701"/>
                    <a:pt x="12808" y="28974"/>
                    <a:pt x="12808" y="28974"/>
                  </a:cubicBezTo>
                  <a:cubicBezTo>
                    <a:pt x="12808" y="28974"/>
                    <a:pt x="12584" y="29248"/>
                    <a:pt x="12359" y="29248"/>
                  </a:cubicBezTo>
                  <a:cubicBezTo>
                    <a:pt x="12359" y="29248"/>
                    <a:pt x="12134" y="29521"/>
                    <a:pt x="12134" y="29521"/>
                  </a:cubicBezTo>
                  <a:cubicBezTo>
                    <a:pt x="11910" y="29521"/>
                    <a:pt x="12134" y="28974"/>
                    <a:pt x="12134" y="28974"/>
                  </a:cubicBezTo>
                  <a:cubicBezTo>
                    <a:pt x="12359" y="28428"/>
                    <a:pt x="12359" y="28428"/>
                    <a:pt x="12359" y="28428"/>
                  </a:cubicBezTo>
                  <a:cubicBezTo>
                    <a:pt x="12359" y="28428"/>
                    <a:pt x="11685" y="28154"/>
                    <a:pt x="11685" y="27881"/>
                  </a:cubicBezTo>
                  <a:cubicBezTo>
                    <a:pt x="11460" y="27881"/>
                    <a:pt x="11235" y="27608"/>
                    <a:pt x="11235" y="27608"/>
                  </a:cubicBezTo>
                  <a:cubicBezTo>
                    <a:pt x="11235" y="27608"/>
                    <a:pt x="10786" y="27608"/>
                    <a:pt x="10786" y="27608"/>
                  </a:cubicBezTo>
                  <a:cubicBezTo>
                    <a:pt x="10337" y="27608"/>
                    <a:pt x="10337" y="27608"/>
                    <a:pt x="10337" y="27608"/>
                  </a:cubicBezTo>
                  <a:cubicBezTo>
                    <a:pt x="10337" y="27608"/>
                    <a:pt x="10112" y="27608"/>
                    <a:pt x="9887" y="27881"/>
                  </a:cubicBezTo>
                  <a:cubicBezTo>
                    <a:pt x="9887" y="27881"/>
                    <a:pt x="9662" y="28154"/>
                    <a:pt x="9438" y="27881"/>
                  </a:cubicBezTo>
                  <a:cubicBezTo>
                    <a:pt x="9438" y="27881"/>
                    <a:pt x="9662" y="27334"/>
                    <a:pt x="9662" y="27334"/>
                  </a:cubicBezTo>
                  <a:cubicBezTo>
                    <a:pt x="9662" y="27334"/>
                    <a:pt x="9662" y="26788"/>
                    <a:pt x="9662" y="26788"/>
                  </a:cubicBezTo>
                  <a:cubicBezTo>
                    <a:pt x="9438" y="26514"/>
                    <a:pt x="9438" y="27061"/>
                    <a:pt x="9438" y="27061"/>
                  </a:cubicBezTo>
                  <a:cubicBezTo>
                    <a:pt x="9438" y="27061"/>
                    <a:pt x="8988" y="27334"/>
                    <a:pt x="8764" y="27608"/>
                  </a:cubicBezTo>
                  <a:cubicBezTo>
                    <a:pt x="8764" y="27608"/>
                    <a:pt x="8539" y="27608"/>
                    <a:pt x="8539" y="27608"/>
                  </a:cubicBezTo>
                  <a:cubicBezTo>
                    <a:pt x="8314" y="27608"/>
                    <a:pt x="8089" y="27881"/>
                    <a:pt x="7640" y="27881"/>
                  </a:cubicBezTo>
                  <a:cubicBezTo>
                    <a:pt x="7415" y="27881"/>
                    <a:pt x="7191" y="28154"/>
                    <a:pt x="7191" y="27881"/>
                  </a:cubicBezTo>
                  <a:cubicBezTo>
                    <a:pt x="6966" y="27881"/>
                    <a:pt x="6966" y="27608"/>
                    <a:pt x="6966" y="27608"/>
                  </a:cubicBezTo>
                  <a:cubicBezTo>
                    <a:pt x="6966" y="27061"/>
                    <a:pt x="6966" y="27061"/>
                    <a:pt x="6966" y="27061"/>
                  </a:cubicBezTo>
                  <a:cubicBezTo>
                    <a:pt x="6966" y="27061"/>
                    <a:pt x="6741" y="26788"/>
                    <a:pt x="6741" y="26514"/>
                  </a:cubicBezTo>
                  <a:cubicBezTo>
                    <a:pt x="6516" y="26241"/>
                    <a:pt x="6741" y="26241"/>
                    <a:pt x="6741" y="25968"/>
                  </a:cubicBezTo>
                  <a:cubicBezTo>
                    <a:pt x="6741" y="25968"/>
                    <a:pt x="7191" y="25694"/>
                    <a:pt x="7191" y="25694"/>
                  </a:cubicBezTo>
                  <a:cubicBezTo>
                    <a:pt x="7191" y="25421"/>
                    <a:pt x="7415" y="25421"/>
                    <a:pt x="7415" y="25421"/>
                  </a:cubicBezTo>
                  <a:cubicBezTo>
                    <a:pt x="8089" y="25148"/>
                    <a:pt x="8089" y="25148"/>
                    <a:pt x="8089" y="25148"/>
                  </a:cubicBezTo>
                  <a:cubicBezTo>
                    <a:pt x="8089" y="25148"/>
                    <a:pt x="8089" y="24328"/>
                    <a:pt x="8089" y="24054"/>
                  </a:cubicBezTo>
                  <a:cubicBezTo>
                    <a:pt x="8089" y="24054"/>
                    <a:pt x="8089" y="24054"/>
                    <a:pt x="7865" y="24054"/>
                  </a:cubicBezTo>
                  <a:cubicBezTo>
                    <a:pt x="7640" y="24054"/>
                    <a:pt x="7640" y="23781"/>
                    <a:pt x="7640" y="23781"/>
                  </a:cubicBezTo>
                  <a:cubicBezTo>
                    <a:pt x="7640" y="23781"/>
                    <a:pt x="7640" y="23234"/>
                    <a:pt x="7640" y="23234"/>
                  </a:cubicBezTo>
                  <a:cubicBezTo>
                    <a:pt x="7415" y="22687"/>
                    <a:pt x="7415" y="22687"/>
                    <a:pt x="7415" y="22687"/>
                  </a:cubicBezTo>
                  <a:cubicBezTo>
                    <a:pt x="6516" y="22961"/>
                    <a:pt x="6516" y="22961"/>
                    <a:pt x="6516" y="22961"/>
                  </a:cubicBezTo>
                  <a:cubicBezTo>
                    <a:pt x="6516" y="22961"/>
                    <a:pt x="6067" y="23234"/>
                    <a:pt x="5842" y="23234"/>
                  </a:cubicBezTo>
                  <a:cubicBezTo>
                    <a:pt x="5842" y="23234"/>
                    <a:pt x="5393" y="23234"/>
                    <a:pt x="5393" y="23234"/>
                  </a:cubicBezTo>
                  <a:cubicBezTo>
                    <a:pt x="5168" y="23234"/>
                    <a:pt x="4943" y="22961"/>
                    <a:pt x="4943" y="22961"/>
                  </a:cubicBezTo>
                  <a:cubicBezTo>
                    <a:pt x="4943" y="22961"/>
                    <a:pt x="4044" y="23234"/>
                    <a:pt x="4044" y="23234"/>
                  </a:cubicBezTo>
                  <a:cubicBezTo>
                    <a:pt x="4044" y="23234"/>
                    <a:pt x="3820" y="23234"/>
                    <a:pt x="3820" y="23234"/>
                  </a:cubicBezTo>
                  <a:cubicBezTo>
                    <a:pt x="3370" y="23234"/>
                    <a:pt x="3370" y="23234"/>
                    <a:pt x="3370" y="23234"/>
                  </a:cubicBezTo>
                  <a:cubicBezTo>
                    <a:pt x="2921" y="23507"/>
                    <a:pt x="2921" y="23507"/>
                    <a:pt x="2921" y="23507"/>
                  </a:cubicBezTo>
                  <a:cubicBezTo>
                    <a:pt x="2696" y="23781"/>
                    <a:pt x="2696" y="23781"/>
                    <a:pt x="2696" y="23781"/>
                  </a:cubicBezTo>
                  <a:cubicBezTo>
                    <a:pt x="2696" y="23781"/>
                    <a:pt x="2471" y="24054"/>
                    <a:pt x="2471" y="24054"/>
                  </a:cubicBezTo>
                  <a:cubicBezTo>
                    <a:pt x="2247" y="24054"/>
                    <a:pt x="2022" y="24054"/>
                    <a:pt x="1797" y="24054"/>
                  </a:cubicBezTo>
                  <a:cubicBezTo>
                    <a:pt x="1797" y="24054"/>
                    <a:pt x="1573" y="24328"/>
                    <a:pt x="1573" y="24328"/>
                  </a:cubicBezTo>
                  <a:cubicBezTo>
                    <a:pt x="1573" y="24328"/>
                    <a:pt x="1123" y="24601"/>
                    <a:pt x="898" y="24874"/>
                  </a:cubicBezTo>
                  <a:cubicBezTo>
                    <a:pt x="674" y="23507"/>
                    <a:pt x="674" y="23507"/>
                    <a:pt x="674" y="23507"/>
                  </a:cubicBezTo>
                  <a:cubicBezTo>
                    <a:pt x="1348" y="21047"/>
                    <a:pt x="1348" y="21047"/>
                    <a:pt x="1348" y="21047"/>
                  </a:cubicBezTo>
                  <a:cubicBezTo>
                    <a:pt x="2471" y="19954"/>
                    <a:pt x="2471" y="19954"/>
                    <a:pt x="2471" y="19954"/>
                  </a:cubicBezTo>
                  <a:cubicBezTo>
                    <a:pt x="2921" y="17767"/>
                    <a:pt x="2921" y="17767"/>
                    <a:pt x="2921" y="17767"/>
                  </a:cubicBezTo>
                  <a:cubicBezTo>
                    <a:pt x="2247" y="16947"/>
                    <a:pt x="2247" y="16947"/>
                    <a:pt x="2247" y="16947"/>
                  </a:cubicBezTo>
                  <a:cubicBezTo>
                    <a:pt x="2247" y="16127"/>
                    <a:pt x="4269" y="14487"/>
                    <a:pt x="4044" y="13667"/>
                  </a:cubicBezTo>
                  <a:cubicBezTo>
                    <a:pt x="3820" y="12847"/>
                    <a:pt x="1348" y="15307"/>
                    <a:pt x="1123" y="14487"/>
                  </a:cubicBezTo>
                  <a:cubicBezTo>
                    <a:pt x="898" y="12847"/>
                    <a:pt x="1573" y="13120"/>
                    <a:pt x="2696" y="11753"/>
                  </a:cubicBezTo>
                  <a:cubicBezTo>
                    <a:pt x="1348" y="11207"/>
                    <a:pt x="1348" y="11207"/>
                    <a:pt x="1348" y="11207"/>
                  </a:cubicBezTo>
                  <a:cubicBezTo>
                    <a:pt x="1348" y="9567"/>
                    <a:pt x="1348" y="9567"/>
                    <a:pt x="1348" y="9567"/>
                  </a:cubicBezTo>
                  <a:cubicBezTo>
                    <a:pt x="449" y="9020"/>
                    <a:pt x="449" y="9020"/>
                    <a:pt x="449" y="9020"/>
                  </a:cubicBezTo>
                  <a:cubicBezTo>
                    <a:pt x="449" y="9020"/>
                    <a:pt x="674" y="8200"/>
                    <a:pt x="674" y="7380"/>
                  </a:cubicBezTo>
                  <a:cubicBezTo>
                    <a:pt x="674" y="6560"/>
                    <a:pt x="1348" y="6287"/>
                    <a:pt x="1348" y="6287"/>
                  </a:cubicBezTo>
                  <a:cubicBezTo>
                    <a:pt x="2022" y="6013"/>
                    <a:pt x="2471" y="5466"/>
                    <a:pt x="3146" y="4920"/>
                  </a:cubicBezTo>
                  <a:cubicBezTo>
                    <a:pt x="3820" y="3826"/>
                    <a:pt x="4494" y="4373"/>
                    <a:pt x="4943" y="4100"/>
                  </a:cubicBezTo>
                  <a:cubicBezTo>
                    <a:pt x="5617" y="3553"/>
                    <a:pt x="5617" y="4100"/>
                    <a:pt x="7865" y="4646"/>
                  </a:cubicBezTo>
                  <a:cubicBezTo>
                    <a:pt x="8314" y="4373"/>
                    <a:pt x="9213" y="4373"/>
                    <a:pt x="9438" y="3826"/>
                  </a:cubicBezTo>
                  <a:cubicBezTo>
                    <a:pt x="9887" y="3280"/>
                    <a:pt x="10561" y="3553"/>
                    <a:pt x="10561" y="2460"/>
                  </a:cubicBezTo>
                  <a:cubicBezTo>
                    <a:pt x="10786" y="820"/>
                    <a:pt x="13258" y="1913"/>
                    <a:pt x="13258" y="1366"/>
                  </a:cubicBezTo>
                  <a:cubicBezTo>
                    <a:pt x="13707" y="1366"/>
                    <a:pt x="14157" y="0"/>
                    <a:pt x="15280" y="0"/>
                  </a:cubicBezTo>
                  <a:cubicBezTo>
                    <a:pt x="16179" y="273"/>
                    <a:pt x="16404" y="546"/>
                    <a:pt x="17078" y="820"/>
                  </a:cubicBezTo>
                  <a:cubicBezTo>
                    <a:pt x="19550" y="2733"/>
                    <a:pt x="18426" y="3826"/>
                    <a:pt x="21348" y="4920"/>
                  </a:cubicBezTo>
                  <a:cubicBezTo>
                    <a:pt x="23820" y="5740"/>
                    <a:pt x="26741" y="6560"/>
                    <a:pt x="29213" y="7107"/>
                  </a:cubicBezTo>
                  <a:cubicBezTo>
                    <a:pt x="31460" y="7380"/>
                    <a:pt x="33707" y="8473"/>
                    <a:pt x="35955" y="9567"/>
                  </a:cubicBezTo>
                  <a:cubicBezTo>
                    <a:pt x="35955" y="9567"/>
                    <a:pt x="44269" y="14214"/>
                    <a:pt x="44494" y="14487"/>
                  </a:cubicBezTo>
                  <a:cubicBezTo>
                    <a:pt x="44719" y="14487"/>
                    <a:pt x="49438" y="13394"/>
                    <a:pt x="49662" y="13394"/>
                  </a:cubicBezTo>
                  <a:cubicBezTo>
                    <a:pt x="49887" y="13394"/>
                    <a:pt x="51460" y="13667"/>
                    <a:pt x="52584" y="14487"/>
                  </a:cubicBezTo>
                  <a:cubicBezTo>
                    <a:pt x="53258" y="15307"/>
                    <a:pt x="55505" y="17220"/>
                    <a:pt x="55505" y="17220"/>
                  </a:cubicBezTo>
                  <a:cubicBezTo>
                    <a:pt x="55955" y="17494"/>
                    <a:pt x="58651" y="16947"/>
                    <a:pt x="58651" y="16947"/>
                  </a:cubicBezTo>
                  <a:cubicBezTo>
                    <a:pt x="60449" y="16947"/>
                    <a:pt x="62022" y="19407"/>
                    <a:pt x="62921" y="19681"/>
                  </a:cubicBezTo>
                  <a:cubicBezTo>
                    <a:pt x="64044" y="19954"/>
                    <a:pt x="66741" y="18314"/>
                    <a:pt x="67865" y="19681"/>
                  </a:cubicBezTo>
                  <a:cubicBezTo>
                    <a:pt x="67865" y="19681"/>
                    <a:pt x="70112" y="19954"/>
                    <a:pt x="70337" y="21321"/>
                  </a:cubicBezTo>
                  <a:cubicBezTo>
                    <a:pt x="70786" y="22687"/>
                    <a:pt x="71685" y="24874"/>
                    <a:pt x="71685" y="24874"/>
                  </a:cubicBezTo>
                  <a:cubicBezTo>
                    <a:pt x="74606" y="26241"/>
                    <a:pt x="74606" y="26241"/>
                    <a:pt x="74606" y="26241"/>
                  </a:cubicBezTo>
                  <a:cubicBezTo>
                    <a:pt x="74606" y="26241"/>
                    <a:pt x="76179" y="27881"/>
                    <a:pt x="76404" y="28428"/>
                  </a:cubicBezTo>
                  <a:cubicBezTo>
                    <a:pt x="76629" y="28701"/>
                    <a:pt x="80000" y="30068"/>
                    <a:pt x="80000" y="30068"/>
                  </a:cubicBezTo>
                  <a:cubicBezTo>
                    <a:pt x="82247" y="32528"/>
                    <a:pt x="82247" y="32528"/>
                    <a:pt x="82247" y="32528"/>
                  </a:cubicBezTo>
                  <a:cubicBezTo>
                    <a:pt x="85617" y="32528"/>
                    <a:pt x="85617" y="32528"/>
                    <a:pt x="85617" y="32528"/>
                  </a:cubicBezTo>
                  <a:cubicBezTo>
                    <a:pt x="87865" y="33075"/>
                    <a:pt x="87865" y="33075"/>
                    <a:pt x="87865" y="33075"/>
                  </a:cubicBezTo>
                  <a:cubicBezTo>
                    <a:pt x="88988" y="31435"/>
                    <a:pt x="88988" y="31435"/>
                    <a:pt x="88988" y="31435"/>
                  </a:cubicBezTo>
                  <a:cubicBezTo>
                    <a:pt x="88988" y="31435"/>
                    <a:pt x="94606" y="34715"/>
                    <a:pt x="94831" y="34715"/>
                  </a:cubicBezTo>
                  <a:cubicBezTo>
                    <a:pt x="95056" y="34715"/>
                    <a:pt x="95056" y="35535"/>
                    <a:pt x="95280" y="36355"/>
                  </a:cubicBezTo>
                  <a:cubicBezTo>
                    <a:pt x="95280" y="36628"/>
                    <a:pt x="95280" y="36628"/>
                    <a:pt x="95280" y="36628"/>
                  </a:cubicBezTo>
                  <a:cubicBezTo>
                    <a:pt x="95056" y="36628"/>
                    <a:pt x="95280" y="36628"/>
                    <a:pt x="95280" y="36628"/>
                  </a:cubicBezTo>
                  <a:cubicBezTo>
                    <a:pt x="95280" y="36628"/>
                    <a:pt x="95280" y="36628"/>
                    <a:pt x="95280" y="36628"/>
                  </a:cubicBezTo>
                  <a:cubicBezTo>
                    <a:pt x="95280" y="37175"/>
                    <a:pt x="95280" y="37175"/>
                    <a:pt x="95280" y="37175"/>
                  </a:cubicBezTo>
                  <a:cubicBezTo>
                    <a:pt x="95280" y="37448"/>
                    <a:pt x="95280" y="37448"/>
                    <a:pt x="95280" y="37448"/>
                  </a:cubicBezTo>
                  <a:cubicBezTo>
                    <a:pt x="95056" y="37448"/>
                    <a:pt x="95056" y="37448"/>
                    <a:pt x="95056" y="37448"/>
                  </a:cubicBezTo>
                  <a:cubicBezTo>
                    <a:pt x="95056" y="37448"/>
                    <a:pt x="95056" y="37448"/>
                    <a:pt x="95056" y="37448"/>
                  </a:cubicBezTo>
                  <a:cubicBezTo>
                    <a:pt x="95280" y="37722"/>
                    <a:pt x="95280" y="37722"/>
                    <a:pt x="95280" y="37722"/>
                  </a:cubicBezTo>
                  <a:cubicBezTo>
                    <a:pt x="95280" y="37722"/>
                    <a:pt x="95280" y="37722"/>
                    <a:pt x="95280" y="37722"/>
                  </a:cubicBezTo>
                  <a:cubicBezTo>
                    <a:pt x="95280" y="37722"/>
                    <a:pt x="95280" y="37722"/>
                    <a:pt x="95280" y="37995"/>
                  </a:cubicBezTo>
                  <a:cubicBezTo>
                    <a:pt x="95280" y="37995"/>
                    <a:pt x="95280" y="37995"/>
                    <a:pt x="95280" y="37995"/>
                  </a:cubicBezTo>
                  <a:cubicBezTo>
                    <a:pt x="95280" y="37995"/>
                    <a:pt x="95280" y="37995"/>
                    <a:pt x="95280" y="38268"/>
                  </a:cubicBezTo>
                  <a:cubicBezTo>
                    <a:pt x="95280" y="38268"/>
                    <a:pt x="95280" y="38268"/>
                    <a:pt x="95280" y="38268"/>
                  </a:cubicBezTo>
                  <a:cubicBezTo>
                    <a:pt x="95505" y="38268"/>
                    <a:pt x="95505" y="38268"/>
                    <a:pt x="95505" y="38268"/>
                  </a:cubicBezTo>
                  <a:cubicBezTo>
                    <a:pt x="95505" y="38268"/>
                    <a:pt x="95505" y="38268"/>
                    <a:pt x="95505" y="38268"/>
                  </a:cubicBezTo>
                  <a:cubicBezTo>
                    <a:pt x="95505" y="38268"/>
                    <a:pt x="95730" y="38542"/>
                    <a:pt x="95730" y="38542"/>
                  </a:cubicBezTo>
                  <a:cubicBezTo>
                    <a:pt x="95730" y="38542"/>
                    <a:pt x="95730" y="38542"/>
                    <a:pt x="95955" y="38542"/>
                  </a:cubicBezTo>
                  <a:cubicBezTo>
                    <a:pt x="95955" y="38542"/>
                    <a:pt x="95955" y="38542"/>
                    <a:pt x="96179" y="38542"/>
                  </a:cubicBezTo>
                  <a:cubicBezTo>
                    <a:pt x="96179" y="38542"/>
                    <a:pt x="96179" y="38542"/>
                    <a:pt x="96179" y="38542"/>
                  </a:cubicBezTo>
                  <a:cubicBezTo>
                    <a:pt x="96179" y="38542"/>
                    <a:pt x="96404" y="38542"/>
                    <a:pt x="96404" y="38268"/>
                  </a:cubicBezTo>
                  <a:cubicBezTo>
                    <a:pt x="99325" y="39088"/>
                    <a:pt x="99325" y="39088"/>
                    <a:pt x="99325" y="39088"/>
                  </a:cubicBezTo>
                  <a:cubicBezTo>
                    <a:pt x="100000" y="39362"/>
                    <a:pt x="100000" y="39908"/>
                    <a:pt x="100674" y="40455"/>
                  </a:cubicBezTo>
                  <a:cubicBezTo>
                    <a:pt x="102471" y="39635"/>
                    <a:pt x="102471" y="39635"/>
                    <a:pt x="102471" y="39635"/>
                  </a:cubicBezTo>
                  <a:cubicBezTo>
                    <a:pt x="104719" y="41548"/>
                    <a:pt x="104719" y="41548"/>
                    <a:pt x="104719" y="41548"/>
                  </a:cubicBezTo>
                  <a:cubicBezTo>
                    <a:pt x="106741" y="40728"/>
                    <a:pt x="106741" y="40728"/>
                    <a:pt x="106741" y="40728"/>
                  </a:cubicBezTo>
                  <a:cubicBezTo>
                    <a:pt x="108764" y="40728"/>
                    <a:pt x="108764" y="40728"/>
                    <a:pt x="108764" y="40728"/>
                  </a:cubicBezTo>
                  <a:cubicBezTo>
                    <a:pt x="108764" y="40182"/>
                    <a:pt x="113483" y="40728"/>
                    <a:pt x="111460" y="43462"/>
                  </a:cubicBezTo>
                  <a:close/>
                  <a:moveTo>
                    <a:pt x="113707" y="76810"/>
                  </a:moveTo>
                  <a:cubicBezTo>
                    <a:pt x="113707" y="76810"/>
                    <a:pt x="113707" y="76810"/>
                    <a:pt x="113707" y="76810"/>
                  </a:cubicBezTo>
                  <a:cubicBezTo>
                    <a:pt x="113707" y="78451"/>
                    <a:pt x="115955" y="77904"/>
                    <a:pt x="117078" y="78997"/>
                  </a:cubicBezTo>
                  <a:cubicBezTo>
                    <a:pt x="117528" y="79544"/>
                    <a:pt x="117078" y="80911"/>
                    <a:pt x="117752" y="81184"/>
                  </a:cubicBezTo>
                  <a:cubicBezTo>
                    <a:pt x="119325" y="82824"/>
                    <a:pt x="120000" y="79817"/>
                    <a:pt x="118651" y="76810"/>
                  </a:cubicBezTo>
                  <a:cubicBezTo>
                    <a:pt x="118202" y="76264"/>
                    <a:pt x="117528" y="76264"/>
                    <a:pt x="116853" y="76264"/>
                  </a:cubicBezTo>
                  <a:cubicBezTo>
                    <a:pt x="115730" y="76264"/>
                    <a:pt x="113483" y="75444"/>
                    <a:pt x="113707" y="76810"/>
                  </a:cubicBezTo>
                  <a:close/>
                  <a:moveTo>
                    <a:pt x="100674" y="82004"/>
                  </a:moveTo>
                  <a:cubicBezTo>
                    <a:pt x="100674" y="82004"/>
                    <a:pt x="100674" y="82004"/>
                    <a:pt x="100674" y="82004"/>
                  </a:cubicBezTo>
                  <a:cubicBezTo>
                    <a:pt x="101573" y="82277"/>
                    <a:pt x="102471" y="81184"/>
                    <a:pt x="103370" y="81731"/>
                  </a:cubicBezTo>
                  <a:cubicBezTo>
                    <a:pt x="103820" y="82277"/>
                    <a:pt x="103595" y="83371"/>
                    <a:pt x="103820" y="84191"/>
                  </a:cubicBezTo>
                  <a:cubicBezTo>
                    <a:pt x="102471" y="85831"/>
                    <a:pt x="106067" y="85558"/>
                    <a:pt x="106292" y="85558"/>
                  </a:cubicBezTo>
                  <a:cubicBezTo>
                    <a:pt x="106292" y="86104"/>
                    <a:pt x="106741" y="87471"/>
                    <a:pt x="107415" y="86924"/>
                  </a:cubicBezTo>
                  <a:cubicBezTo>
                    <a:pt x="111011" y="81731"/>
                    <a:pt x="111011" y="81731"/>
                    <a:pt x="111011" y="81731"/>
                  </a:cubicBezTo>
                  <a:cubicBezTo>
                    <a:pt x="111011" y="81184"/>
                    <a:pt x="110786" y="80637"/>
                    <a:pt x="110337" y="80637"/>
                  </a:cubicBezTo>
                  <a:cubicBezTo>
                    <a:pt x="109438" y="80091"/>
                    <a:pt x="108314" y="81184"/>
                    <a:pt x="107640" y="80637"/>
                  </a:cubicBezTo>
                  <a:cubicBezTo>
                    <a:pt x="106966" y="80091"/>
                    <a:pt x="108314" y="77904"/>
                    <a:pt x="107415" y="77084"/>
                  </a:cubicBezTo>
                  <a:cubicBezTo>
                    <a:pt x="105617" y="75444"/>
                    <a:pt x="104943" y="77357"/>
                    <a:pt x="103595" y="78724"/>
                  </a:cubicBezTo>
                  <a:cubicBezTo>
                    <a:pt x="102696" y="79544"/>
                    <a:pt x="101348" y="79817"/>
                    <a:pt x="100449" y="80911"/>
                  </a:cubicBezTo>
                  <a:cubicBezTo>
                    <a:pt x="100224" y="81184"/>
                    <a:pt x="100449" y="82004"/>
                    <a:pt x="100674" y="82004"/>
                  </a:cubicBezTo>
                  <a:close/>
                  <a:moveTo>
                    <a:pt x="87865" y="89931"/>
                  </a:moveTo>
                  <a:cubicBezTo>
                    <a:pt x="87865" y="89931"/>
                    <a:pt x="87865" y="89931"/>
                    <a:pt x="87865" y="89931"/>
                  </a:cubicBezTo>
                  <a:cubicBezTo>
                    <a:pt x="86966" y="90751"/>
                    <a:pt x="88764" y="92118"/>
                    <a:pt x="89213" y="92118"/>
                  </a:cubicBezTo>
                  <a:cubicBezTo>
                    <a:pt x="89662" y="92118"/>
                    <a:pt x="92359" y="89931"/>
                    <a:pt x="92359" y="89111"/>
                  </a:cubicBezTo>
                  <a:cubicBezTo>
                    <a:pt x="92134" y="88018"/>
                    <a:pt x="91011" y="87744"/>
                    <a:pt x="90337" y="87744"/>
                  </a:cubicBezTo>
                  <a:cubicBezTo>
                    <a:pt x="89438" y="88018"/>
                    <a:pt x="88539" y="89111"/>
                    <a:pt x="87865" y="89931"/>
                  </a:cubicBezTo>
                  <a:close/>
                </a:path>
              </a:pathLst>
            </a:custGeom>
            <a:solidFill>
              <a:srgbClr val="E4032D"/>
            </a:solidFill>
            <a:ln w="3175" cap="flat" cmpd="sng">
              <a:solidFill>
                <a:schemeClr val="tx1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defTabSz="457178"/>
              <a:endParaRPr kern="0" dirty="0">
                <a:solidFill>
                  <a:srgbClr val="7F7F7F"/>
                </a:solidFill>
                <a:latin typeface="Calibri" panose="020F0502020204030204" pitchFamily="34" charset="0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48" name="Shape 2055">
              <a:extLst>
                <a:ext uri="{FF2B5EF4-FFF2-40B4-BE49-F238E27FC236}">
                  <a16:creationId xmlns:a16="http://schemas.microsoft.com/office/drawing/2014/main" id="{8CD86FAA-EAEC-41C7-8279-2318D3C70952}"/>
                </a:ext>
              </a:extLst>
            </p:cNvPr>
            <p:cNvSpPr/>
            <p:nvPr/>
          </p:nvSpPr>
          <p:spPr>
            <a:xfrm>
              <a:off x="5979171" y="3676182"/>
              <a:ext cx="930118" cy="83955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65294" y="10105"/>
                  </a:moveTo>
                  <a:cubicBezTo>
                    <a:pt x="66764" y="9473"/>
                    <a:pt x="66764" y="9473"/>
                    <a:pt x="66764" y="9473"/>
                  </a:cubicBezTo>
                  <a:cubicBezTo>
                    <a:pt x="66764" y="9473"/>
                    <a:pt x="68529" y="8842"/>
                    <a:pt x="68823" y="8842"/>
                  </a:cubicBezTo>
                  <a:cubicBezTo>
                    <a:pt x="69117" y="8842"/>
                    <a:pt x="70588" y="8526"/>
                    <a:pt x="70882" y="8210"/>
                  </a:cubicBezTo>
                  <a:cubicBezTo>
                    <a:pt x="71176" y="8210"/>
                    <a:pt x="72058" y="7578"/>
                    <a:pt x="72352" y="7263"/>
                  </a:cubicBezTo>
                  <a:cubicBezTo>
                    <a:pt x="72647" y="7263"/>
                    <a:pt x="73235" y="7263"/>
                    <a:pt x="73823" y="6631"/>
                  </a:cubicBezTo>
                  <a:cubicBezTo>
                    <a:pt x="74117" y="6315"/>
                    <a:pt x="74411" y="5368"/>
                    <a:pt x="74411" y="5052"/>
                  </a:cubicBezTo>
                  <a:cubicBezTo>
                    <a:pt x="74411" y="4736"/>
                    <a:pt x="74117" y="4736"/>
                    <a:pt x="73823" y="3789"/>
                  </a:cubicBezTo>
                  <a:cubicBezTo>
                    <a:pt x="73235" y="2842"/>
                    <a:pt x="72647" y="2210"/>
                    <a:pt x="72647" y="1894"/>
                  </a:cubicBezTo>
                  <a:cubicBezTo>
                    <a:pt x="72352" y="1263"/>
                    <a:pt x="72352" y="631"/>
                    <a:pt x="72647" y="631"/>
                  </a:cubicBezTo>
                  <a:cubicBezTo>
                    <a:pt x="72941" y="315"/>
                    <a:pt x="73823" y="0"/>
                    <a:pt x="74411" y="0"/>
                  </a:cubicBezTo>
                  <a:cubicBezTo>
                    <a:pt x="75000" y="315"/>
                    <a:pt x="76470" y="631"/>
                    <a:pt x="76764" y="631"/>
                  </a:cubicBezTo>
                  <a:cubicBezTo>
                    <a:pt x="77058" y="631"/>
                    <a:pt x="78529" y="1578"/>
                    <a:pt x="78529" y="1578"/>
                  </a:cubicBezTo>
                  <a:cubicBezTo>
                    <a:pt x="78529" y="1578"/>
                    <a:pt x="79117" y="3157"/>
                    <a:pt x="79117" y="3473"/>
                  </a:cubicBezTo>
                  <a:cubicBezTo>
                    <a:pt x="79117" y="3789"/>
                    <a:pt x="80588" y="5684"/>
                    <a:pt x="80000" y="5684"/>
                  </a:cubicBezTo>
                  <a:cubicBezTo>
                    <a:pt x="79705" y="5684"/>
                    <a:pt x="78529" y="6000"/>
                    <a:pt x="78529" y="6000"/>
                  </a:cubicBezTo>
                  <a:cubicBezTo>
                    <a:pt x="77941" y="6947"/>
                    <a:pt x="77941" y="6947"/>
                    <a:pt x="77941" y="6947"/>
                  </a:cubicBezTo>
                  <a:cubicBezTo>
                    <a:pt x="77941" y="6947"/>
                    <a:pt x="77352" y="8210"/>
                    <a:pt x="77352" y="8526"/>
                  </a:cubicBezTo>
                  <a:cubicBezTo>
                    <a:pt x="77352" y="8842"/>
                    <a:pt x="77058" y="10421"/>
                    <a:pt x="77058" y="10421"/>
                  </a:cubicBezTo>
                  <a:cubicBezTo>
                    <a:pt x="78529" y="13894"/>
                    <a:pt x="78529" y="13894"/>
                    <a:pt x="78529" y="13894"/>
                  </a:cubicBezTo>
                  <a:cubicBezTo>
                    <a:pt x="77058" y="16105"/>
                    <a:pt x="77058" y="16105"/>
                    <a:pt x="77058" y="16105"/>
                  </a:cubicBezTo>
                  <a:cubicBezTo>
                    <a:pt x="75882" y="17368"/>
                    <a:pt x="75882" y="17368"/>
                    <a:pt x="75882" y="17368"/>
                  </a:cubicBezTo>
                  <a:cubicBezTo>
                    <a:pt x="75882" y="17368"/>
                    <a:pt x="74117" y="17368"/>
                    <a:pt x="74117" y="17052"/>
                  </a:cubicBezTo>
                  <a:cubicBezTo>
                    <a:pt x="74117" y="16736"/>
                    <a:pt x="72941" y="16105"/>
                    <a:pt x="72941" y="16105"/>
                  </a:cubicBezTo>
                  <a:cubicBezTo>
                    <a:pt x="72941" y="16105"/>
                    <a:pt x="71176" y="16421"/>
                    <a:pt x="70882" y="16736"/>
                  </a:cubicBezTo>
                  <a:cubicBezTo>
                    <a:pt x="70588" y="16736"/>
                    <a:pt x="66470" y="17052"/>
                    <a:pt x="66470" y="17052"/>
                  </a:cubicBezTo>
                  <a:cubicBezTo>
                    <a:pt x="66470" y="17052"/>
                    <a:pt x="65588" y="16736"/>
                    <a:pt x="65294" y="16736"/>
                  </a:cubicBezTo>
                  <a:cubicBezTo>
                    <a:pt x="65000" y="16736"/>
                    <a:pt x="63529" y="16736"/>
                    <a:pt x="63529" y="16736"/>
                  </a:cubicBezTo>
                  <a:cubicBezTo>
                    <a:pt x="63235" y="15473"/>
                    <a:pt x="63235" y="15473"/>
                    <a:pt x="63235" y="15473"/>
                  </a:cubicBezTo>
                  <a:cubicBezTo>
                    <a:pt x="62058" y="15789"/>
                    <a:pt x="62058" y="15789"/>
                    <a:pt x="62058" y="15789"/>
                  </a:cubicBezTo>
                  <a:cubicBezTo>
                    <a:pt x="61764" y="17052"/>
                    <a:pt x="61764" y="17052"/>
                    <a:pt x="61764" y="17052"/>
                  </a:cubicBezTo>
                  <a:cubicBezTo>
                    <a:pt x="60294" y="18000"/>
                    <a:pt x="60294" y="18000"/>
                    <a:pt x="60294" y="18000"/>
                  </a:cubicBezTo>
                  <a:cubicBezTo>
                    <a:pt x="58823" y="18947"/>
                    <a:pt x="58823" y="18947"/>
                    <a:pt x="58823" y="18947"/>
                  </a:cubicBezTo>
                  <a:cubicBezTo>
                    <a:pt x="55882" y="18947"/>
                    <a:pt x="55882" y="18947"/>
                    <a:pt x="55882" y="18947"/>
                  </a:cubicBezTo>
                  <a:cubicBezTo>
                    <a:pt x="54117" y="18947"/>
                    <a:pt x="54117" y="18947"/>
                    <a:pt x="54117" y="18947"/>
                  </a:cubicBezTo>
                  <a:cubicBezTo>
                    <a:pt x="54117" y="19578"/>
                    <a:pt x="54117" y="19578"/>
                    <a:pt x="54117" y="19578"/>
                  </a:cubicBezTo>
                  <a:cubicBezTo>
                    <a:pt x="53235" y="21473"/>
                    <a:pt x="53235" y="21473"/>
                    <a:pt x="53235" y="21473"/>
                  </a:cubicBezTo>
                  <a:cubicBezTo>
                    <a:pt x="52058" y="22421"/>
                    <a:pt x="52058" y="22421"/>
                    <a:pt x="52058" y="22421"/>
                  </a:cubicBezTo>
                  <a:cubicBezTo>
                    <a:pt x="52058" y="22421"/>
                    <a:pt x="50294" y="23052"/>
                    <a:pt x="50000" y="23368"/>
                  </a:cubicBezTo>
                  <a:cubicBezTo>
                    <a:pt x="50000" y="23368"/>
                    <a:pt x="48823" y="23052"/>
                    <a:pt x="48823" y="23052"/>
                  </a:cubicBezTo>
                  <a:cubicBezTo>
                    <a:pt x="47352" y="24000"/>
                    <a:pt x="47352" y="24000"/>
                    <a:pt x="47352" y="24000"/>
                  </a:cubicBezTo>
                  <a:cubicBezTo>
                    <a:pt x="47058" y="24947"/>
                    <a:pt x="47058" y="24947"/>
                    <a:pt x="47058" y="24947"/>
                  </a:cubicBezTo>
                  <a:cubicBezTo>
                    <a:pt x="47647" y="25578"/>
                    <a:pt x="47647" y="25578"/>
                    <a:pt x="47647" y="25578"/>
                  </a:cubicBezTo>
                  <a:cubicBezTo>
                    <a:pt x="48823" y="26210"/>
                    <a:pt x="48823" y="26210"/>
                    <a:pt x="48823" y="26210"/>
                  </a:cubicBezTo>
                  <a:cubicBezTo>
                    <a:pt x="48823" y="26210"/>
                    <a:pt x="49705" y="26526"/>
                    <a:pt x="49705" y="26842"/>
                  </a:cubicBezTo>
                  <a:cubicBezTo>
                    <a:pt x="49705" y="26842"/>
                    <a:pt x="49411" y="27473"/>
                    <a:pt x="49411" y="27473"/>
                  </a:cubicBezTo>
                  <a:cubicBezTo>
                    <a:pt x="49411" y="29052"/>
                    <a:pt x="49411" y="29052"/>
                    <a:pt x="49411" y="29052"/>
                  </a:cubicBezTo>
                  <a:cubicBezTo>
                    <a:pt x="49411" y="29052"/>
                    <a:pt x="50294" y="29368"/>
                    <a:pt x="50588" y="29368"/>
                  </a:cubicBezTo>
                  <a:cubicBezTo>
                    <a:pt x="50588" y="29368"/>
                    <a:pt x="51470" y="28736"/>
                    <a:pt x="51470" y="28736"/>
                  </a:cubicBezTo>
                  <a:cubicBezTo>
                    <a:pt x="51470" y="28421"/>
                    <a:pt x="51764" y="28105"/>
                    <a:pt x="51764" y="28105"/>
                  </a:cubicBezTo>
                  <a:cubicBezTo>
                    <a:pt x="52352" y="28736"/>
                    <a:pt x="52352" y="28736"/>
                    <a:pt x="52352" y="28736"/>
                  </a:cubicBezTo>
                  <a:cubicBezTo>
                    <a:pt x="52352" y="28736"/>
                    <a:pt x="52647" y="29368"/>
                    <a:pt x="52941" y="29368"/>
                  </a:cubicBezTo>
                  <a:cubicBezTo>
                    <a:pt x="52941" y="29368"/>
                    <a:pt x="53823" y="29368"/>
                    <a:pt x="53823" y="29368"/>
                  </a:cubicBezTo>
                  <a:cubicBezTo>
                    <a:pt x="55000" y="30000"/>
                    <a:pt x="55000" y="30000"/>
                    <a:pt x="55000" y="30000"/>
                  </a:cubicBezTo>
                  <a:cubicBezTo>
                    <a:pt x="56470" y="31263"/>
                    <a:pt x="56470" y="31263"/>
                    <a:pt x="56470" y="31263"/>
                  </a:cubicBezTo>
                  <a:cubicBezTo>
                    <a:pt x="56470" y="31263"/>
                    <a:pt x="57647" y="31894"/>
                    <a:pt x="57352" y="32210"/>
                  </a:cubicBezTo>
                  <a:cubicBezTo>
                    <a:pt x="56764" y="32526"/>
                    <a:pt x="56176" y="32842"/>
                    <a:pt x="55882" y="32842"/>
                  </a:cubicBezTo>
                  <a:cubicBezTo>
                    <a:pt x="55882" y="32842"/>
                    <a:pt x="55294" y="32526"/>
                    <a:pt x="55294" y="32210"/>
                  </a:cubicBezTo>
                  <a:cubicBezTo>
                    <a:pt x="55294" y="31578"/>
                    <a:pt x="55000" y="31263"/>
                    <a:pt x="54705" y="31263"/>
                  </a:cubicBezTo>
                  <a:cubicBezTo>
                    <a:pt x="54411" y="31263"/>
                    <a:pt x="53823" y="30631"/>
                    <a:pt x="53823" y="30631"/>
                  </a:cubicBezTo>
                  <a:cubicBezTo>
                    <a:pt x="53529" y="30631"/>
                    <a:pt x="52941" y="30631"/>
                    <a:pt x="52647" y="30947"/>
                  </a:cubicBezTo>
                  <a:cubicBezTo>
                    <a:pt x="52352" y="30947"/>
                    <a:pt x="51764" y="30947"/>
                    <a:pt x="51764" y="30631"/>
                  </a:cubicBezTo>
                  <a:cubicBezTo>
                    <a:pt x="51470" y="30631"/>
                    <a:pt x="51176" y="29684"/>
                    <a:pt x="51176" y="29684"/>
                  </a:cubicBezTo>
                  <a:cubicBezTo>
                    <a:pt x="49705" y="29368"/>
                    <a:pt x="49705" y="29368"/>
                    <a:pt x="49705" y="29368"/>
                  </a:cubicBezTo>
                  <a:cubicBezTo>
                    <a:pt x="49705" y="29368"/>
                    <a:pt x="49411" y="29684"/>
                    <a:pt x="49411" y="30000"/>
                  </a:cubicBezTo>
                  <a:cubicBezTo>
                    <a:pt x="49411" y="30000"/>
                    <a:pt x="48823" y="30631"/>
                    <a:pt x="48823" y="30631"/>
                  </a:cubicBezTo>
                  <a:cubicBezTo>
                    <a:pt x="48529" y="30947"/>
                    <a:pt x="48529" y="30947"/>
                    <a:pt x="48529" y="30947"/>
                  </a:cubicBezTo>
                  <a:cubicBezTo>
                    <a:pt x="48529" y="31578"/>
                    <a:pt x="48529" y="31578"/>
                    <a:pt x="48529" y="31578"/>
                  </a:cubicBezTo>
                  <a:cubicBezTo>
                    <a:pt x="49117" y="32210"/>
                    <a:pt x="49117" y="32210"/>
                    <a:pt x="49117" y="32210"/>
                  </a:cubicBezTo>
                  <a:cubicBezTo>
                    <a:pt x="50294" y="33157"/>
                    <a:pt x="50294" y="33157"/>
                    <a:pt x="50294" y="33157"/>
                  </a:cubicBezTo>
                  <a:cubicBezTo>
                    <a:pt x="50294" y="33157"/>
                    <a:pt x="51764" y="33473"/>
                    <a:pt x="51764" y="33473"/>
                  </a:cubicBezTo>
                  <a:cubicBezTo>
                    <a:pt x="52058" y="33473"/>
                    <a:pt x="52647" y="34421"/>
                    <a:pt x="52647" y="34421"/>
                  </a:cubicBezTo>
                  <a:cubicBezTo>
                    <a:pt x="52647" y="35368"/>
                    <a:pt x="52647" y="35368"/>
                    <a:pt x="52647" y="35368"/>
                  </a:cubicBezTo>
                  <a:cubicBezTo>
                    <a:pt x="52352" y="36315"/>
                    <a:pt x="52352" y="36315"/>
                    <a:pt x="52352" y="36315"/>
                  </a:cubicBezTo>
                  <a:cubicBezTo>
                    <a:pt x="52352" y="36315"/>
                    <a:pt x="52352" y="36947"/>
                    <a:pt x="51764" y="36631"/>
                  </a:cubicBezTo>
                  <a:cubicBezTo>
                    <a:pt x="51176" y="36315"/>
                    <a:pt x="50882" y="36000"/>
                    <a:pt x="50882" y="36000"/>
                  </a:cubicBezTo>
                  <a:cubicBezTo>
                    <a:pt x="50000" y="35684"/>
                    <a:pt x="50000" y="35684"/>
                    <a:pt x="50000" y="35684"/>
                  </a:cubicBezTo>
                  <a:cubicBezTo>
                    <a:pt x="49705" y="34421"/>
                    <a:pt x="49705" y="34421"/>
                    <a:pt x="49705" y="34421"/>
                  </a:cubicBezTo>
                  <a:cubicBezTo>
                    <a:pt x="49705" y="34421"/>
                    <a:pt x="49117" y="33789"/>
                    <a:pt x="49117" y="33789"/>
                  </a:cubicBezTo>
                  <a:cubicBezTo>
                    <a:pt x="48823" y="33789"/>
                    <a:pt x="47352" y="32842"/>
                    <a:pt x="47352" y="32842"/>
                  </a:cubicBezTo>
                  <a:cubicBezTo>
                    <a:pt x="45588" y="32842"/>
                    <a:pt x="45588" y="32842"/>
                    <a:pt x="45588" y="32842"/>
                  </a:cubicBezTo>
                  <a:cubicBezTo>
                    <a:pt x="44411" y="32842"/>
                    <a:pt x="44411" y="32842"/>
                    <a:pt x="44411" y="32842"/>
                  </a:cubicBezTo>
                  <a:cubicBezTo>
                    <a:pt x="44117" y="33789"/>
                    <a:pt x="44117" y="33789"/>
                    <a:pt x="44117" y="33789"/>
                  </a:cubicBezTo>
                  <a:cubicBezTo>
                    <a:pt x="44117" y="33789"/>
                    <a:pt x="44117" y="34421"/>
                    <a:pt x="44411" y="34421"/>
                  </a:cubicBezTo>
                  <a:cubicBezTo>
                    <a:pt x="44411" y="34736"/>
                    <a:pt x="45294" y="35368"/>
                    <a:pt x="45294" y="35368"/>
                  </a:cubicBezTo>
                  <a:cubicBezTo>
                    <a:pt x="45294" y="35368"/>
                    <a:pt x="45882" y="35368"/>
                    <a:pt x="45882" y="35684"/>
                  </a:cubicBezTo>
                  <a:cubicBezTo>
                    <a:pt x="46176" y="36000"/>
                    <a:pt x="46764" y="36631"/>
                    <a:pt x="46764" y="36631"/>
                  </a:cubicBezTo>
                  <a:cubicBezTo>
                    <a:pt x="46764" y="36631"/>
                    <a:pt x="47058" y="36631"/>
                    <a:pt x="47352" y="36631"/>
                  </a:cubicBezTo>
                  <a:cubicBezTo>
                    <a:pt x="47941" y="36631"/>
                    <a:pt x="48529" y="36947"/>
                    <a:pt x="48529" y="36947"/>
                  </a:cubicBezTo>
                  <a:cubicBezTo>
                    <a:pt x="49411" y="37263"/>
                    <a:pt x="49411" y="37263"/>
                    <a:pt x="49411" y="37263"/>
                  </a:cubicBezTo>
                  <a:cubicBezTo>
                    <a:pt x="49705" y="37578"/>
                    <a:pt x="49705" y="37578"/>
                    <a:pt x="49705" y="37578"/>
                  </a:cubicBezTo>
                  <a:cubicBezTo>
                    <a:pt x="49705" y="37578"/>
                    <a:pt x="48823" y="37894"/>
                    <a:pt x="48529" y="37894"/>
                  </a:cubicBezTo>
                  <a:cubicBezTo>
                    <a:pt x="48235" y="38210"/>
                    <a:pt x="47352" y="38210"/>
                    <a:pt x="47352" y="38210"/>
                  </a:cubicBezTo>
                  <a:cubicBezTo>
                    <a:pt x="47352" y="38210"/>
                    <a:pt x="46764" y="37578"/>
                    <a:pt x="46470" y="37578"/>
                  </a:cubicBezTo>
                  <a:cubicBezTo>
                    <a:pt x="46470" y="37578"/>
                    <a:pt x="45588" y="37894"/>
                    <a:pt x="45588" y="37894"/>
                  </a:cubicBezTo>
                  <a:cubicBezTo>
                    <a:pt x="45588" y="37894"/>
                    <a:pt x="45000" y="38526"/>
                    <a:pt x="44705" y="37894"/>
                  </a:cubicBezTo>
                  <a:cubicBezTo>
                    <a:pt x="44411" y="37263"/>
                    <a:pt x="44117" y="36631"/>
                    <a:pt x="44117" y="36631"/>
                  </a:cubicBezTo>
                  <a:cubicBezTo>
                    <a:pt x="44117" y="36000"/>
                    <a:pt x="44117" y="36000"/>
                    <a:pt x="44117" y="36000"/>
                  </a:cubicBezTo>
                  <a:cubicBezTo>
                    <a:pt x="44117" y="35052"/>
                    <a:pt x="44117" y="35052"/>
                    <a:pt x="44117" y="35052"/>
                  </a:cubicBezTo>
                  <a:cubicBezTo>
                    <a:pt x="43823" y="34105"/>
                    <a:pt x="43823" y="34105"/>
                    <a:pt x="43823" y="34105"/>
                  </a:cubicBezTo>
                  <a:cubicBezTo>
                    <a:pt x="42647" y="33473"/>
                    <a:pt x="42647" y="33473"/>
                    <a:pt x="42647" y="33473"/>
                  </a:cubicBezTo>
                  <a:cubicBezTo>
                    <a:pt x="41176" y="33473"/>
                    <a:pt x="41176" y="33473"/>
                    <a:pt x="41176" y="33473"/>
                  </a:cubicBezTo>
                  <a:cubicBezTo>
                    <a:pt x="39705" y="32526"/>
                    <a:pt x="39705" y="32526"/>
                    <a:pt x="39705" y="32526"/>
                  </a:cubicBezTo>
                  <a:cubicBezTo>
                    <a:pt x="37941" y="31894"/>
                    <a:pt x="37941" y="31894"/>
                    <a:pt x="37941" y="31894"/>
                  </a:cubicBezTo>
                  <a:cubicBezTo>
                    <a:pt x="37352" y="30631"/>
                    <a:pt x="37352" y="30631"/>
                    <a:pt x="37352" y="30631"/>
                  </a:cubicBezTo>
                  <a:cubicBezTo>
                    <a:pt x="38529" y="29684"/>
                    <a:pt x="38529" y="29684"/>
                    <a:pt x="38529" y="29684"/>
                  </a:cubicBezTo>
                  <a:cubicBezTo>
                    <a:pt x="38235" y="28736"/>
                    <a:pt x="38235" y="28736"/>
                    <a:pt x="38235" y="28736"/>
                  </a:cubicBezTo>
                  <a:cubicBezTo>
                    <a:pt x="37647" y="28105"/>
                    <a:pt x="37647" y="28105"/>
                    <a:pt x="37647" y="28105"/>
                  </a:cubicBezTo>
                  <a:cubicBezTo>
                    <a:pt x="36176" y="29052"/>
                    <a:pt x="36176" y="29052"/>
                    <a:pt x="36176" y="29052"/>
                  </a:cubicBezTo>
                  <a:cubicBezTo>
                    <a:pt x="36176" y="30000"/>
                    <a:pt x="36176" y="30000"/>
                    <a:pt x="36176" y="30000"/>
                  </a:cubicBezTo>
                  <a:cubicBezTo>
                    <a:pt x="34705" y="30631"/>
                    <a:pt x="34705" y="30631"/>
                    <a:pt x="34705" y="30631"/>
                  </a:cubicBezTo>
                  <a:cubicBezTo>
                    <a:pt x="34117" y="31894"/>
                    <a:pt x="34117" y="31894"/>
                    <a:pt x="34117" y="31894"/>
                  </a:cubicBezTo>
                  <a:cubicBezTo>
                    <a:pt x="35000" y="32842"/>
                    <a:pt x="35000" y="32842"/>
                    <a:pt x="35000" y="32842"/>
                  </a:cubicBezTo>
                  <a:cubicBezTo>
                    <a:pt x="35000" y="34421"/>
                    <a:pt x="35000" y="34421"/>
                    <a:pt x="35000" y="34421"/>
                  </a:cubicBezTo>
                  <a:cubicBezTo>
                    <a:pt x="35000" y="34421"/>
                    <a:pt x="34705" y="36000"/>
                    <a:pt x="35000" y="36315"/>
                  </a:cubicBezTo>
                  <a:cubicBezTo>
                    <a:pt x="35000" y="36315"/>
                    <a:pt x="34705" y="37263"/>
                    <a:pt x="34705" y="37894"/>
                  </a:cubicBezTo>
                  <a:cubicBezTo>
                    <a:pt x="35000" y="38210"/>
                    <a:pt x="35000" y="38526"/>
                    <a:pt x="35588" y="38842"/>
                  </a:cubicBezTo>
                  <a:cubicBezTo>
                    <a:pt x="35882" y="39157"/>
                    <a:pt x="35882" y="39157"/>
                    <a:pt x="36470" y="39473"/>
                  </a:cubicBezTo>
                  <a:cubicBezTo>
                    <a:pt x="37058" y="39789"/>
                    <a:pt x="37352" y="40105"/>
                    <a:pt x="37352" y="40105"/>
                  </a:cubicBezTo>
                  <a:cubicBezTo>
                    <a:pt x="37941" y="41368"/>
                    <a:pt x="37941" y="41368"/>
                    <a:pt x="37941" y="41368"/>
                  </a:cubicBezTo>
                  <a:cubicBezTo>
                    <a:pt x="37941" y="41368"/>
                    <a:pt x="38235" y="41684"/>
                    <a:pt x="38529" y="41684"/>
                  </a:cubicBezTo>
                  <a:cubicBezTo>
                    <a:pt x="38823" y="42000"/>
                    <a:pt x="39705" y="42315"/>
                    <a:pt x="39705" y="42631"/>
                  </a:cubicBezTo>
                  <a:cubicBezTo>
                    <a:pt x="39705" y="43263"/>
                    <a:pt x="40000" y="43894"/>
                    <a:pt x="40000" y="43894"/>
                  </a:cubicBezTo>
                  <a:cubicBezTo>
                    <a:pt x="40000" y="43894"/>
                    <a:pt x="40294" y="44526"/>
                    <a:pt x="40294" y="44526"/>
                  </a:cubicBezTo>
                  <a:cubicBezTo>
                    <a:pt x="40588" y="44842"/>
                    <a:pt x="40882" y="44526"/>
                    <a:pt x="40882" y="44842"/>
                  </a:cubicBezTo>
                  <a:cubicBezTo>
                    <a:pt x="41176" y="45157"/>
                    <a:pt x="40882" y="45473"/>
                    <a:pt x="41470" y="45789"/>
                  </a:cubicBezTo>
                  <a:cubicBezTo>
                    <a:pt x="41764" y="46421"/>
                    <a:pt x="42352" y="46736"/>
                    <a:pt x="42352" y="46736"/>
                  </a:cubicBezTo>
                  <a:cubicBezTo>
                    <a:pt x="42647" y="46736"/>
                    <a:pt x="43235" y="47052"/>
                    <a:pt x="43235" y="47052"/>
                  </a:cubicBezTo>
                  <a:cubicBezTo>
                    <a:pt x="45000" y="48315"/>
                    <a:pt x="45000" y="48315"/>
                    <a:pt x="45000" y="48315"/>
                  </a:cubicBezTo>
                  <a:cubicBezTo>
                    <a:pt x="46176" y="49894"/>
                    <a:pt x="46176" y="49894"/>
                    <a:pt x="46176" y="49894"/>
                  </a:cubicBezTo>
                  <a:cubicBezTo>
                    <a:pt x="47058" y="50842"/>
                    <a:pt x="47058" y="50842"/>
                    <a:pt x="47058" y="50842"/>
                  </a:cubicBezTo>
                  <a:cubicBezTo>
                    <a:pt x="46764" y="52105"/>
                    <a:pt x="46764" y="52105"/>
                    <a:pt x="46764" y="52105"/>
                  </a:cubicBezTo>
                  <a:cubicBezTo>
                    <a:pt x="46470" y="52736"/>
                    <a:pt x="46470" y="52736"/>
                    <a:pt x="46470" y="52736"/>
                  </a:cubicBezTo>
                  <a:cubicBezTo>
                    <a:pt x="46470" y="52736"/>
                    <a:pt x="45882" y="53052"/>
                    <a:pt x="45588" y="53052"/>
                  </a:cubicBezTo>
                  <a:cubicBezTo>
                    <a:pt x="45588" y="53052"/>
                    <a:pt x="45000" y="53368"/>
                    <a:pt x="45000" y="53368"/>
                  </a:cubicBezTo>
                  <a:cubicBezTo>
                    <a:pt x="45000" y="53368"/>
                    <a:pt x="44705" y="53052"/>
                    <a:pt x="44705" y="53052"/>
                  </a:cubicBezTo>
                  <a:cubicBezTo>
                    <a:pt x="45000" y="52736"/>
                    <a:pt x="45882" y="52421"/>
                    <a:pt x="45882" y="52421"/>
                  </a:cubicBezTo>
                  <a:cubicBezTo>
                    <a:pt x="45882" y="52421"/>
                    <a:pt x="45882" y="51473"/>
                    <a:pt x="45588" y="51473"/>
                  </a:cubicBezTo>
                  <a:cubicBezTo>
                    <a:pt x="45294" y="51157"/>
                    <a:pt x="44411" y="50526"/>
                    <a:pt x="44411" y="50526"/>
                  </a:cubicBezTo>
                  <a:cubicBezTo>
                    <a:pt x="43823" y="49894"/>
                    <a:pt x="43823" y="49894"/>
                    <a:pt x="43823" y="49894"/>
                  </a:cubicBezTo>
                  <a:cubicBezTo>
                    <a:pt x="42941" y="49894"/>
                    <a:pt x="42941" y="49894"/>
                    <a:pt x="42941" y="49894"/>
                  </a:cubicBezTo>
                  <a:cubicBezTo>
                    <a:pt x="42941" y="49894"/>
                    <a:pt x="42352" y="49894"/>
                    <a:pt x="42352" y="50210"/>
                  </a:cubicBezTo>
                  <a:cubicBezTo>
                    <a:pt x="42058" y="50526"/>
                    <a:pt x="41176" y="51157"/>
                    <a:pt x="41176" y="51157"/>
                  </a:cubicBezTo>
                  <a:cubicBezTo>
                    <a:pt x="40588" y="52421"/>
                    <a:pt x="40588" y="52421"/>
                    <a:pt x="40588" y="52421"/>
                  </a:cubicBezTo>
                  <a:cubicBezTo>
                    <a:pt x="42058" y="52736"/>
                    <a:pt x="42058" y="52736"/>
                    <a:pt x="42058" y="52736"/>
                  </a:cubicBezTo>
                  <a:cubicBezTo>
                    <a:pt x="42058" y="52736"/>
                    <a:pt x="42647" y="53368"/>
                    <a:pt x="42647" y="53368"/>
                  </a:cubicBezTo>
                  <a:cubicBezTo>
                    <a:pt x="42647" y="53684"/>
                    <a:pt x="43235" y="54315"/>
                    <a:pt x="43235" y="54315"/>
                  </a:cubicBezTo>
                  <a:cubicBezTo>
                    <a:pt x="43823" y="54631"/>
                    <a:pt x="43823" y="54631"/>
                    <a:pt x="43823" y="54631"/>
                  </a:cubicBezTo>
                  <a:cubicBezTo>
                    <a:pt x="43823" y="55263"/>
                    <a:pt x="43823" y="55263"/>
                    <a:pt x="43823" y="55263"/>
                  </a:cubicBezTo>
                  <a:cubicBezTo>
                    <a:pt x="43529" y="56210"/>
                    <a:pt x="43529" y="56210"/>
                    <a:pt x="43529" y="56210"/>
                  </a:cubicBezTo>
                  <a:cubicBezTo>
                    <a:pt x="42647" y="57473"/>
                    <a:pt x="42647" y="57473"/>
                    <a:pt x="42647" y="57473"/>
                  </a:cubicBezTo>
                  <a:cubicBezTo>
                    <a:pt x="42647" y="57473"/>
                    <a:pt x="42058" y="57789"/>
                    <a:pt x="42058" y="57789"/>
                  </a:cubicBezTo>
                  <a:cubicBezTo>
                    <a:pt x="41764" y="57789"/>
                    <a:pt x="41176" y="58421"/>
                    <a:pt x="41176" y="58421"/>
                  </a:cubicBezTo>
                  <a:cubicBezTo>
                    <a:pt x="41176" y="58421"/>
                    <a:pt x="40882" y="58421"/>
                    <a:pt x="40882" y="58421"/>
                  </a:cubicBezTo>
                  <a:cubicBezTo>
                    <a:pt x="40588" y="58421"/>
                    <a:pt x="40000" y="58105"/>
                    <a:pt x="39705" y="58105"/>
                  </a:cubicBezTo>
                  <a:cubicBezTo>
                    <a:pt x="39705" y="58105"/>
                    <a:pt x="39117" y="58421"/>
                    <a:pt x="39117" y="58421"/>
                  </a:cubicBezTo>
                  <a:cubicBezTo>
                    <a:pt x="39117" y="58421"/>
                    <a:pt x="38235" y="59052"/>
                    <a:pt x="39411" y="59368"/>
                  </a:cubicBezTo>
                  <a:cubicBezTo>
                    <a:pt x="40588" y="59368"/>
                    <a:pt x="40882" y="59368"/>
                    <a:pt x="41176" y="59368"/>
                  </a:cubicBezTo>
                  <a:cubicBezTo>
                    <a:pt x="41176" y="59368"/>
                    <a:pt x="42352" y="59368"/>
                    <a:pt x="42352" y="59368"/>
                  </a:cubicBezTo>
                  <a:cubicBezTo>
                    <a:pt x="42352" y="59368"/>
                    <a:pt x="42647" y="59368"/>
                    <a:pt x="42941" y="59684"/>
                  </a:cubicBezTo>
                  <a:cubicBezTo>
                    <a:pt x="43529" y="59684"/>
                    <a:pt x="43823" y="59684"/>
                    <a:pt x="44117" y="60000"/>
                  </a:cubicBezTo>
                  <a:cubicBezTo>
                    <a:pt x="44411" y="60000"/>
                    <a:pt x="44705" y="60315"/>
                    <a:pt x="44705" y="60315"/>
                  </a:cubicBezTo>
                  <a:cubicBezTo>
                    <a:pt x="44705" y="60631"/>
                    <a:pt x="44705" y="60631"/>
                    <a:pt x="45000" y="60631"/>
                  </a:cubicBezTo>
                  <a:cubicBezTo>
                    <a:pt x="45294" y="60631"/>
                    <a:pt x="45588" y="60947"/>
                    <a:pt x="45588" y="60947"/>
                  </a:cubicBezTo>
                  <a:cubicBezTo>
                    <a:pt x="45882" y="60947"/>
                    <a:pt x="45882" y="60947"/>
                    <a:pt x="45882" y="60947"/>
                  </a:cubicBezTo>
                  <a:cubicBezTo>
                    <a:pt x="45882" y="60947"/>
                    <a:pt x="46176" y="60947"/>
                    <a:pt x="46470" y="60947"/>
                  </a:cubicBezTo>
                  <a:cubicBezTo>
                    <a:pt x="46764" y="60947"/>
                    <a:pt x="46764" y="60631"/>
                    <a:pt x="47058" y="60631"/>
                  </a:cubicBezTo>
                  <a:cubicBezTo>
                    <a:pt x="47352" y="60631"/>
                    <a:pt x="48235" y="60631"/>
                    <a:pt x="48235" y="60631"/>
                  </a:cubicBezTo>
                  <a:cubicBezTo>
                    <a:pt x="48823" y="61894"/>
                    <a:pt x="48823" y="61894"/>
                    <a:pt x="48823" y="61894"/>
                  </a:cubicBezTo>
                  <a:cubicBezTo>
                    <a:pt x="48823" y="61894"/>
                    <a:pt x="48823" y="62210"/>
                    <a:pt x="49117" y="62210"/>
                  </a:cubicBezTo>
                  <a:cubicBezTo>
                    <a:pt x="49117" y="62526"/>
                    <a:pt x="49705" y="62842"/>
                    <a:pt x="50000" y="62842"/>
                  </a:cubicBezTo>
                  <a:cubicBezTo>
                    <a:pt x="50294" y="62842"/>
                    <a:pt x="52647" y="62210"/>
                    <a:pt x="52647" y="62210"/>
                  </a:cubicBezTo>
                  <a:cubicBezTo>
                    <a:pt x="51470" y="61263"/>
                    <a:pt x="51470" y="61263"/>
                    <a:pt x="51470" y="61263"/>
                  </a:cubicBezTo>
                  <a:cubicBezTo>
                    <a:pt x="51470" y="61263"/>
                    <a:pt x="50882" y="60631"/>
                    <a:pt x="50588" y="60315"/>
                  </a:cubicBezTo>
                  <a:cubicBezTo>
                    <a:pt x="50588" y="60000"/>
                    <a:pt x="49117" y="59052"/>
                    <a:pt x="49117" y="59052"/>
                  </a:cubicBezTo>
                  <a:cubicBezTo>
                    <a:pt x="47647" y="58736"/>
                    <a:pt x="47647" y="58736"/>
                    <a:pt x="47647" y="58736"/>
                  </a:cubicBezTo>
                  <a:cubicBezTo>
                    <a:pt x="45882" y="57789"/>
                    <a:pt x="45882" y="57789"/>
                    <a:pt x="45882" y="57789"/>
                  </a:cubicBezTo>
                  <a:cubicBezTo>
                    <a:pt x="44117" y="57157"/>
                    <a:pt x="44117" y="57157"/>
                    <a:pt x="44117" y="57157"/>
                  </a:cubicBezTo>
                  <a:cubicBezTo>
                    <a:pt x="44117" y="57157"/>
                    <a:pt x="44705" y="55894"/>
                    <a:pt x="45000" y="55578"/>
                  </a:cubicBezTo>
                  <a:cubicBezTo>
                    <a:pt x="45000" y="55263"/>
                    <a:pt x="45000" y="54315"/>
                    <a:pt x="45294" y="54315"/>
                  </a:cubicBezTo>
                  <a:cubicBezTo>
                    <a:pt x="45588" y="54631"/>
                    <a:pt x="46176" y="54631"/>
                    <a:pt x="46470" y="54631"/>
                  </a:cubicBezTo>
                  <a:cubicBezTo>
                    <a:pt x="46764" y="54631"/>
                    <a:pt x="47352" y="54315"/>
                    <a:pt x="47647" y="54315"/>
                  </a:cubicBezTo>
                  <a:cubicBezTo>
                    <a:pt x="47941" y="54315"/>
                    <a:pt x="48529" y="54631"/>
                    <a:pt x="48529" y="54631"/>
                  </a:cubicBezTo>
                  <a:cubicBezTo>
                    <a:pt x="48529" y="54631"/>
                    <a:pt x="48823" y="55263"/>
                    <a:pt x="48823" y="55578"/>
                  </a:cubicBezTo>
                  <a:cubicBezTo>
                    <a:pt x="49117" y="55578"/>
                    <a:pt x="49117" y="56210"/>
                    <a:pt x="49411" y="56526"/>
                  </a:cubicBezTo>
                  <a:cubicBezTo>
                    <a:pt x="49705" y="56526"/>
                    <a:pt x="51176" y="57157"/>
                    <a:pt x="51176" y="57157"/>
                  </a:cubicBezTo>
                  <a:cubicBezTo>
                    <a:pt x="51176" y="57157"/>
                    <a:pt x="52941" y="57789"/>
                    <a:pt x="52941" y="57789"/>
                  </a:cubicBezTo>
                  <a:cubicBezTo>
                    <a:pt x="53235" y="57789"/>
                    <a:pt x="53823" y="57789"/>
                    <a:pt x="53823" y="57789"/>
                  </a:cubicBezTo>
                  <a:cubicBezTo>
                    <a:pt x="54705" y="58736"/>
                    <a:pt x="54705" y="58736"/>
                    <a:pt x="54705" y="58736"/>
                  </a:cubicBezTo>
                  <a:cubicBezTo>
                    <a:pt x="56470" y="58421"/>
                    <a:pt x="56470" y="58421"/>
                    <a:pt x="56470" y="58421"/>
                  </a:cubicBezTo>
                  <a:cubicBezTo>
                    <a:pt x="58235" y="58105"/>
                    <a:pt x="58235" y="58105"/>
                    <a:pt x="58235" y="58105"/>
                  </a:cubicBezTo>
                  <a:cubicBezTo>
                    <a:pt x="58529" y="58736"/>
                    <a:pt x="58529" y="58736"/>
                    <a:pt x="58529" y="58736"/>
                  </a:cubicBezTo>
                  <a:cubicBezTo>
                    <a:pt x="58529" y="58736"/>
                    <a:pt x="59411" y="59368"/>
                    <a:pt x="59411" y="59368"/>
                  </a:cubicBezTo>
                  <a:cubicBezTo>
                    <a:pt x="59411" y="59684"/>
                    <a:pt x="60000" y="60947"/>
                    <a:pt x="60000" y="60947"/>
                  </a:cubicBezTo>
                  <a:cubicBezTo>
                    <a:pt x="60000" y="60947"/>
                    <a:pt x="60000" y="61894"/>
                    <a:pt x="60000" y="61894"/>
                  </a:cubicBezTo>
                  <a:cubicBezTo>
                    <a:pt x="60000" y="62210"/>
                    <a:pt x="60588" y="63473"/>
                    <a:pt x="60588" y="63473"/>
                  </a:cubicBezTo>
                  <a:cubicBezTo>
                    <a:pt x="60882" y="63789"/>
                    <a:pt x="62058" y="65052"/>
                    <a:pt x="62058" y="65368"/>
                  </a:cubicBezTo>
                  <a:cubicBezTo>
                    <a:pt x="62058" y="65368"/>
                    <a:pt x="62647" y="66315"/>
                    <a:pt x="62941" y="66315"/>
                  </a:cubicBezTo>
                  <a:cubicBezTo>
                    <a:pt x="62941" y="66315"/>
                    <a:pt x="63235" y="66000"/>
                    <a:pt x="63235" y="66000"/>
                  </a:cubicBezTo>
                  <a:cubicBezTo>
                    <a:pt x="63529" y="66000"/>
                    <a:pt x="64411" y="65368"/>
                    <a:pt x="64411" y="65368"/>
                  </a:cubicBezTo>
                  <a:cubicBezTo>
                    <a:pt x="64411" y="65368"/>
                    <a:pt x="65294" y="65368"/>
                    <a:pt x="65294" y="65684"/>
                  </a:cubicBezTo>
                  <a:cubicBezTo>
                    <a:pt x="65294" y="66000"/>
                    <a:pt x="66470" y="66947"/>
                    <a:pt x="66470" y="66947"/>
                  </a:cubicBezTo>
                  <a:cubicBezTo>
                    <a:pt x="66470" y="66947"/>
                    <a:pt x="66764" y="68210"/>
                    <a:pt x="66764" y="68210"/>
                  </a:cubicBezTo>
                  <a:cubicBezTo>
                    <a:pt x="66470" y="68526"/>
                    <a:pt x="65588" y="68842"/>
                    <a:pt x="65588" y="69157"/>
                  </a:cubicBezTo>
                  <a:cubicBezTo>
                    <a:pt x="65294" y="69157"/>
                    <a:pt x="64411" y="69157"/>
                    <a:pt x="64411" y="69157"/>
                  </a:cubicBezTo>
                  <a:cubicBezTo>
                    <a:pt x="64117" y="69473"/>
                    <a:pt x="62941" y="69789"/>
                    <a:pt x="62941" y="69789"/>
                  </a:cubicBezTo>
                  <a:cubicBezTo>
                    <a:pt x="62941" y="68526"/>
                    <a:pt x="62941" y="68526"/>
                    <a:pt x="62941" y="68526"/>
                  </a:cubicBezTo>
                  <a:cubicBezTo>
                    <a:pt x="62941" y="68526"/>
                    <a:pt x="62941" y="68210"/>
                    <a:pt x="62647" y="68210"/>
                  </a:cubicBezTo>
                  <a:cubicBezTo>
                    <a:pt x="62647" y="68210"/>
                    <a:pt x="60882" y="67578"/>
                    <a:pt x="60882" y="67578"/>
                  </a:cubicBezTo>
                  <a:cubicBezTo>
                    <a:pt x="60588" y="66000"/>
                    <a:pt x="60588" y="66000"/>
                    <a:pt x="60588" y="66000"/>
                  </a:cubicBezTo>
                  <a:cubicBezTo>
                    <a:pt x="59705" y="65052"/>
                    <a:pt x="59705" y="65052"/>
                    <a:pt x="59705" y="65052"/>
                  </a:cubicBezTo>
                  <a:cubicBezTo>
                    <a:pt x="58823" y="64421"/>
                    <a:pt x="58823" y="64421"/>
                    <a:pt x="58823" y="64421"/>
                  </a:cubicBezTo>
                  <a:cubicBezTo>
                    <a:pt x="58235" y="63473"/>
                    <a:pt x="58235" y="63473"/>
                    <a:pt x="58235" y="63473"/>
                  </a:cubicBezTo>
                  <a:cubicBezTo>
                    <a:pt x="57058" y="63473"/>
                    <a:pt x="57058" y="63473"/>
                    <a:pt x="57058" y="63473"/>
                  </a:cubicBezTo>
                  <a:cubicBezTo>
                    <a:pt x="57058" y="63473"/>
                    <a:pt x="56470" y="63789"/>
                    <a:pt x="56470" y="63789"/>
                  </a:cubicBezTo>
                  <a:cubicBezTo>
                    <a:pt x="56176" y="64105"/>
                    <a:pt x="55000" y="63789"/>
                    <a:pt x="55000" y="63789"/>
                  </a:cubicBezTo>
                  <a:cubicBezTo>
                    <a:pt x="54117" y="64105"/>
                    <a:pt x="54117" y="64105"/>
                    <a:pt x="54117" y="64105"/>
                  </a:cubicBezTo>
                  <a:cubicBezTo>
                    <a:pt x="54117" y="64736"/>
                    <a:pt x="54117" y="64736"/>
                    <a:pt x="54117" y="64736"/>
                  </a:cubicBezTo>
                  <a:cubicBezTo>
                    <a:pt x="55588" y="64736"/>
                    <a:pt x="55588" y="64736"/>
                    <a:pt x="55588" y="64736"/>
                  </a:cubicBezTo>
                  <a:cubicBezTo>
                    <a:pt x="56764" y="65052"/>
                    <a:pt x="56764" y="65052"/>
                    <a:pt x="56764" y="65052"/>
                  </a:cubicBezTo>
                  <a:cubicBezTo>
                    <a:pt x="58529" y="65368"/>
                    <a:pt x="58529" y="65368"/>
                    <a:pt x="58529" y="65368"/>
                  </a:cubicBezTo>
                  <a:cubicBezTo>
                    <a:pt x="58529" y="66631"/>
                    <a:pt x="58529" y="66631"/>
                    <a:pt x="58529" y="66631"/>
                  </a:cubicBezTo>
                  <a:cubicBezTo>
                    <a:pt x="58529" y="66631"/>
                    <a:pt x="58823" y="67263"/>
                    <a:pt x="58823" y="67578"/>
                  </a:cubicBezTo>
                  <a:cubicBezTo>
                    <a:pt x="58823" y="67894"/>
                    <a:pt x="59411" y="69157"/>
                    <a:pt x="59411" y="69157"/>
                  </a:cubicBezTo>
                  <a:cubicBezTo>
                    <a:pt x="60000" y="71052"/>
                    <a:pt x="60000" y="71052"/>
                    <a:pt x="60000" y="71052"/>
                  </a:cubicBezTo>
                  <a:cubicBezTo>
                    <a:pt x="60588" y="72315"/>
                    <a:pt x="60588" y="72315"/>
                    <a:pt x="60588" y="72315"/>
                  </a:cubicBezTo>
                  <a:cubicBezTo>
                    <a:pt x="61176" y="72631"/>
                    <a:pt x="61176" y="72631"/>
                    <a:pt x="61176" y="72631"/>
                  </a:cubicBezTo>
                  <a:cubicBezTo>
                    <a:pt x="61176" y="73894"/>
                    <a:pt x="61176" y="73894"/>
                    <a:pt x="61176" y="73894"/>
                  </a:cubicBezTo>
                  <a:cubicBezTo>
                    <a:pt x="61764" y="74210"/>
                    <a:pt x="61764" y="74210"/>
                    <a:pt x="61764" y="74210"/>
                  </a:cubicBezTo>
                  <a:cubicBezTo>
                    <a:pt x="61764" y="74210"/>
                    <a:pt x="61470" y="74526"/>
                    <a:pt x="61470" y="74842"/>
                  </a:cubicBezTo>
                  <a:cubicBezTo>
                    <a:pt x="61470" y="74842"/>
                    <a:pt x="60882" y="75789"/>
                    <a:pt x="60882" y="75789"/>
                  </a:cubicBezTo>
                  <a:cubicBezTo>
                    <a:pt x="60882" y="75789"/>
                    <a:pt x="60294" y="75789"/>
                    <a:pt x="60000" y="75789"/>
                  </a:cubicBezTo>
                  <a:cubicBezTo>
                    <a:pt x="60000" y="75473"/>
                    <a:pt x="59705" y="74842"/>
                    <a:pt x="59411" y="74842"/>
                  </a:cubicBezTo>
                  <a:cubicBezTo>
                    <a:pt x="58823" y="74526"/>
                    <a:pt x="58823" y="73894"/>
                    <a:pt x="58529" y="73894"/>
                  </a:cubicBezTo>
                  <a:cubicBezTo>
                    <a:pt x="58235" y="73894"/>
                    <a:pt x="57352" y="73894"/>
                    <a:pt x="57352" y="73894"/>
                  </a:cubicBezTo>
                  <a:cubicBezTo>
                    <a:pt x="57352" y="73894"/>
                    <a:pt x="56764" y="72947"/>
                    <a:pt x="56470" y="72631"/>
                  </a:cubicBezTo>
                  <a:cubicBezTo>
                    <a:pt x="56470" y="72631"/>
                    <a:pt x="56176" y="72315"/>
                    <a:pt x="55882" y="72000"/>
                  </a:cubicBezTo>
                  <a:cubicBezTo>
                    <a:pt x="55588" y="71684"/>
                    <a:pt x="55000" y="70736"/>
                    <a:pt x="55000" y="71052"/>
                  </a:cubicBezTo>
                  <a:cubicBezTo>
                    <a:pt x="55000" y="71684"/>
                    <a:pt x="55294" y="72315"/>
                    <a:pt x="55000" y="72315"/>
                  </a:cubicBezTo>
                  <a:cubicBezTo>
                    <a:pt x="54411" y="72315"/>
                    <a:pt x="54117" y="72315"/>
                    <a:pt x="54117" y="72315"/>
                  </a:cubicBezTo>
                  <a:cubicBezTo>
                    <a:pt x="54117" y="72315"/>
                    <a:pt x="53529" y="72947"/>
                    <a:pt x="53235" y="73263"/>
                  </a:cubicBezTo>
                  <a:cubicBezTo>
                    <a:pt x="53235" y="73263"/>
                    <a:pt x="53529" y="73263"/>
                    <a:pt x="52941" y="73578"/>
                  </a:cubicBezTo>
                  <a:cubicBezTo>
                    <a:pt x="52647" y="73578"/>
                    <a:pt x="52058" y="73578"/>
                    <a:pt x="52058" y="73578"/>
                  </a:cubicBezTo>
                  <a:cubicBezTo>
                    <a:pt x="52058" y="73263"/>
                    <a:pt x="52058" y="73263"/>
                    <a:pt x="52058" y="72947"/>
                  </a:cubicBezTo>
                  <a:cubicBezTo>
                    <a:pt x="52352" y="72631"/>
                    <a:pt x="54117" y="71684"/>
                    <a:pt x="54117" y="71684"/>
                  </a:cubicBezTo>
                  <a:cubicBezTo>
                    <a:pt x="54117" y="71368"/>
                    <a:pt x="53529" y="70421"/>
                    <a:pt x="53529" y="70421"/>
                  </a:cubicBezTo>
                  <a:cubicBezTo>
                    <a:pt x="53235" y="70736"/>
                    <a:pt x="53235" y="70736"/>
                    <a:pt x="53235" y="70736"/>
                  </a:cubicBezTo>
                  <a:cubicBezTo>
                    <a:pt x="52352" y="71368"/>
                    <a:pt x="52352" y="71368"/>
                    <a:pt x="52352" y="71368"/>
                  </a:cubicBezTo>
                  <a:cubicBezTo>
                    <a:pt x="51176" y="72315"/>
                    <a:pt x="51176" y="72315"/>
                    <a:pt x="51176" y="72315"/>
                  </a:cubicBezTo>
                  <a:cubicBezTo>
                    <a:pt x="50294" y="72631"/>
                    <a:pt x="50294" y="72631"/>
                    <a:pt x="50294" y="72631"/>
                  </a:cubicBezTo>
                  <a:cubicBezTo>
                    <a:pt x="49411" y="73263"/>
                    <a:pt x="49411" y="73263"/>
                    <a:pt x="49411" y="73263"/>
                  </a:cubicBezTo>
                  <a:cubicBezTo>
                    <a:pt x="48235" y="73578"/>
                    <a:pt x="48235" y="73578"/>
                    <a:pt x="48235" y="73578"/>
                  </a:cubicBezTo>
                  <a:cubicBezTo>
                    <a:pt x="47058" y="73578"/>
                    <a:pt x="47058" y="73578"/>
                    <a:pt x="47058" y="73578"/>
                  </a:cubicBezTo>
                  <a:cubicBezTo>
                    <a:pt x="46470" y="73263"/>
                    <a:pt x="46470" y="73263"/>
                    <a:pt x="46470" y="73263"/>
                  </a:cubicBezTo>
                  <a:cubicBezTo>
                    <a:pt x="45882" y="72315"/>
                    <a:pt x="45882" y="72315"/>
                    <a:pt x="45882" y="72315"/>
                  </a:cubicBezTo>
                  <a:cubicBezTo>
                    <a:pt x="45588" y="72315"/>
                    <a:pt x="45588" y="72315"/>
                    <a:pt x="45588" y="72315"/>
                  </a:cubicBezTo>
                  <a:cubicBezTo>
                    <a:pt x="45588" y="72315"/>
                    <a:pt x="45294" y="71684"/>
                    <a:pt x="45588" y="71368"/>
                  </a:cubicBezTo>
                  <a:cubicBezTo>
                    <a:pt x="45588" y="71368"/>
                    <a:pt x="45882" y="71052"/>
                    <a:pt x="46470" y="71052"/>
                  </a:cubicBezTo>
                  <a:cubicBezTo>
                    <a:pt x="47058" y="71052"/>
                    <a:pt x="47352" y="71052"/>
                    <a:pt x="47647" y="71052"/>
                  </a:cubicBezTo>
                  <a:cubicBezTo>
                    <a:pt x="47941" y="71052"/>
                    <a:pt x="48235" y="70736"/>
                    <a:pt x="48235" y="70736"/>
                  </a:cubicBezTo>
                  <a:cubicBezTo>
                    <a:pt x="48235" y="70736"/>
                    <a:pt x="48529" y="70736"/>
                    <a:pt x="48529" y="70421"/>
                  </a:cubicBezTo>
                  <a:cubicBezTo>
                    <a:pt x="48529" y="70105"/>
                    <a:pt x="47647" y="68842"/>
                    <a:pt x="47647" y="68842"/>
                  </a:cubicBezTo>
                  <a:cubicBezTo>
                    <a:pt x="47647" y="68842"/>
                    <a:pt x="46470" y="68842"/>
                    <a:pt x="46176" y="69157"/>
                  </a:cubicBezTo>
                  <a:cubicBezTo>
                    <a:pt x="45588" y="69157"/>
                    <a:pt x="45588" y="69789"/>
                    <a:pt x="45000" y="69473"/>
                  </a:cubicBezTo>
                  <a:cubicBezTo>
                    <a:pt x="44411" y="69157"/>
                    <a:pt x="42941" y="68526"/>
                    <a:pt x="42941" y="68526"/>
                  </a:cubicBezTo>
                  <a:cubicBezTo>
                    <a:pt x="41764" y="67263"/>
                    <a:pt x="41764" y="67263"/>
                    <a:pt x="41764" y="67263"/>
                  </a:cubicBezTo>
                  <a:cubicBezTo>
                    <a:pt x="41176" y="67894"/>
                    <a:pt x="41176" y="67894"/>
                    <a:pt x="41176" y="67894"/>
                  </a:cubicBezTo>
                  <a:cubicBezTo>
                    <a:pt x="40294" y="68526"/>
                    <a:pt x="40294" y="68526"/>
                    <a:pt x="40294" y="68526"/>
                  </a:cubicBezTo>
                  <a:cubicBezTo>
                    <a:pt x="40294" y="68526"/>
                    <a:pt x="40294" y="69157"/>
                    <a:pt x="39705" y="68526"/>
                  </a:cubicBezTo>
                  <a:cubicBezTo>
                    <a:pt x="39117" y="67578"/>
                    <a:pt x="39117" y="66947"/>
                    <a:pt x="39117" y="66947"/>
                  </a:cubicBezTo>
                  <a:cubicBezTo>
                    <a:pt x="38235" y="66947"/>
                    <a:pt x="38235" y="66947"/>
                    <a:pt x="38235" y="66947"/>
                  </a:cubicBezTo>
                  <a:cubicBezTo>
                    <a:pt x="37941" y="67894"/>
                    <a:pt x="37941" y="67894"/>
                    <a:pt x="37941" y="67894"/>
                  </a:cubicBezTo>
                  <a:cubicBezTo>
                    <a:pt x="37941" y="67894"/>
                    <a:pt x="37352" y="68842"/>
                    <a:pt x="37352" y="68842"/>
                  </a:cubicBezTo>
                  <a:cubicBezTo>
                    <a:pt x="37058" y="68842"/>
                    <a:pt x="36176" y="68842"/>
                    <a:pt x="35882" y="69157"/>
                  </a:cubicBezTo>
                  <a:cubicBezTo>
                    <a:pt x="35882" y="69157"/>
                    <a:pt x="34411" y="69157"/>
                    <a:pt x="34411" y="69157"/>
                  </a:cubicBezTo>
                  <a:cubicBezTo>
                    <a:pt x="32352" y="68526"/>
                    <a:pt x="32352" y="68526"/>
                    <a:pt x="32352" y="68526"/>
                  </a:cubicBezTo>
                  <a:cubicBezTo>
                    <a:pt x="32352" y="68526"/>
                    <a:pt x="31764" y="68842"/>
                    <a:pt x="31764" y="68842"/>
                  </a:cubicBezTo>
                  <a:cubicBezTo>
                    <a:pt x="31470" y="69157"/>
                    <a:pt x="28529" y="69789"/>
                    <a:pt x="28529" y="69789"/>
                  </a:cubicBezTo>
                  <a:cubicBezTo>
                    <a:pt x="27058" y="70736"/>
                    <a:pt x="27058" y="70736"/>
                    <a:pt x="27058" y="70736"/>
                  </a:cubicBezTo>
                  <a:cubicBezTo>
                    <a:pt x="26176" y="70736"/>
                    <a:pt x="26176" y="70736"/>
                    <a:pt x="26176" y="70736"/>
                  </a:cubicBezTo>
                  <a:cubicBezTo>
                    <a:pt x="25294" y="69473"/>
                    <a:pt x="25294" y="69473"/>
                    <a:pt x="25294" y="69473"/>
                  </a:cubicBezTo>
                  <a:cubicBezTo>
                    <a:pt x="24705" y="68526"/>
                    <a:pt x="24705" y="68526"/>
                    <a:pt x="24705" y="68526"/>
                  </a:cubicBezTo>
                  <a:cubicBezTo>
                    <a:pt x="24705" y="69789"/>
                    <a:pt x="24705" y="69789"/>
                    <a:pt x="24705" y="69789"/>
                  </a:cubicBezTo>
                  <a:cubicBezTo>
                    <a:pt x="24411" y="70421"/>
                    <a:pt x="24411" y="70421"/>
                    <a:pt x="24411" y="70421"/>
                  </a:cubicBezTo>
                  <a:cubicBezTo>
                    <a:pt x="24411" y="70421"/>
                    <a:pt x="23235" y="71684"/>
                    <a:pt x="22941" y="72000"/>
                  </a:cubicBezTo>
                  <a:cubicBezTo>
                    <a:pt x="22941" y="72000"/>
                    <a:pt x="21470" y="70421"/>
                    <a:pt x="21470" y="70421"/>
                  </a:cubicBezTo>
                  <a:cubicBezTo>
                    <a:pt x="21176" y="68210"/>
                    <a:pt x="21176" y="68210"/>
                    <a:pt x="21176" y="68210"/>
                  </a:cubicBezTo>
                  <a:cubicBezTo>
                    <a:pt x="19705" y="66631"/>
                    <a:pt x="19705" y="66631"/>
                    <a:pt x="19705" y="66631"/>
                  </a:cubicBezTo>
                  <a:cubicBezTo>
                    <a:pt x="18823" y="66947"/>
                    <a:pt x="18823" y="66947"/>
                    <a:pt x="18823" y="66947"/>
                  </a:cubicBezTo>
                  <a:cubicBezTo>
                    <a:pt x="18529" y="65368"/>
                    <a:pt x="18529" y="65368"/>
                    <a:pt x="18529" y="65368"/>
                  </a:cubicBezTo>
                  <a:cubicBezTo>
                    <a:pt x="17941" y="64421"/>
                    <a:pt x="17941" y="64421"/>
                    <a:pt x="17941" y="64421"/>
                  </a:cubicBezTo>
                  <a:cubicBezTo>
                    <a:pt x="16764" y="64421"/>
                    <a:pt x="16764" y="64421"/>
                    <a:pt x="16764" y="64421"/>
                  </a:cubicBezTo>
                  <a:cubicBezTo>
                    <a:pt x="16470" y="65052"/>
                    <a:pt x="16470" y="65052"/>
                    <a:pt x="16470" y="65052"/>
                  </a:cubicBezTo>
                  <a:cubicBezTo>
                    <a:pt x="16176" y="66000"/>
                    <a:pt x="16176" y="66000"/>
                    <a:pt x="16176" y="66000"/>
                  </a:cubicBezTo>
                  <a:cubicBezTo>
                    <a:pt x="16176" y="66000"/>
                    <a:pt x="16470" y="66947"/>
                    <a:pt x="16470" y="66947"/>
                  </a:cubicBezTo>
                  <a:cubicBezTo>
                    <a:pt x="16470" y="67263"/>
                    <a:pt x="16176" y="67578"/>
                    <a:pt x="15882" y="67578"/>
                  </a:cubicBezTo>
                  <a:cubicBezTo>
                    <a:pt x="15882" y="67578"/>
                    <a:pt x="14411" y="68210"/>
                    <a:pt x="14411" y="68210"/>
                  </a:cubicBezTo>
                  <a:cubicBezTo>
                    <a:pt x="14411" y="68210"/>
                    <a:pt x="14117" y="67263"/>
                    <a:pt x="14117" y="66947"/>
                  </a:cubicBezTo>
                  <a:cubicBezTo>
                    <a:pt x="14117" y="66315"/>
                    <a:pt x="14117" y="65368"/>
                    <a:pt x="14117" y="65368"/>
                  </a:cubicBezTo>
                  <a:cubicBezTo>
                    <a:pt x="14117" y="65368"/>
                    <a:pt x="15294" y="64736"/>
                    <a:pt x="15294" y="64736"/>
                  </a:cubicBezTo>
                  <a:cubicBezTo>
                    <a:pt x="15294" y="64421"/>
                    <a:pt x="16176" y="62842"/>
                    <a:pt x="16176" y="62842"/>
                  </a:cubicBezTo>
                  <a:cubicBezTo>
                    <a:pt x="16176" y="61894"/>
                    <a:pt x="16176" y="61894"/>
                    <a:pt x="16176" y="61894"/>
                  </a:cubicBezTo>
                  <a:cubicBezTo>
                    <a:pt x="16176" y="61894"/>
                    <a:pt x="17352" y="61578"/>
                    <a:pt x="17647" y="61578"/>
                  </a:cubicBezTo>
                  <a:cubicBezTo>
                    <a:pt x="17941" y="61578"/>
                    <a:pt x="18529" y="61578"/>
                    <a:pt x="18823" y="61894"/>
                  </a:cubicBezTo>
                  <a:cubicBezTo>
                    <a:pt x="19411" y="62210"/>
                    <a:pt x="19117" y="62210"/>
                    <a:pt x="19705" y="62210"/>
                  </a:cubicBezTo>
                  <a:cubicBezTo>
                    <a:pt x="20294" y="61894"/>
                    <a:pt x="20882" y="61578"/>
                    <a:pt x="20882" y="61263"/>
                  </a:cubicBezTo>
                  <a:cubicBezTo>
                    <a:pt x="20882" y="60947"/>
                    <a:pt x="21176" y="59684"/>
                    <a:pt x="20294" y="59684"/>
                  </a:cubicBezTo>
                  <a:cubicBezTo>
                    <a:pt x="19705" y="59684"/>
                    <a:pt x="18823" y="60315"/>
                    <a:pt x="18529" y="60315"/>
                  </a:cubicBezTo>
                  <a:cubicBezTo>
                    <a:pt x="18235" y="60631"/>
                    <a:pt x="17941" y="60315"/>
                    <a:pt x="17352" y="60000"/>
                  </a:cubicBezTo>
                  <a:cubicBezTo>
                    <a:pt x="17058" y="60000"/>
                    <a:pt x="16470" y="59684"/>
                    <a:pt x="16470" y="59684"/>
                  </a:cubicBezTo>
                  <a:cubicBezTo>
                    <a:pt x="15588" y="60631"/>
                    <a:pt x="15588" y="60631"/>
                    <a:pt x="15588" y="60631"/>
                  </a:cubicBezTo>
                  <a:cubicBezTo>
                    <a:pt x="15588" y="60631"/>
                    <a:pt x="16176" y="61894"/>
                    <a:pt x="15000" y="60947"/>
                  </a:cubicBezTo>
                  <a:cubicBezTo>
                    <a:pt x="13823" y="60315"/>
                    <a:pt x="13823" y="60000"/>
                    <a:pt x="13823" y="60000"/>
                  </a:cubicBezTo>
                  <a:cubicBezTo>
                    <a:pt x="12647" y="58736"/>
                    <a:pt x="12647" y="58736"/>
                    <a:pt x="12647" y="58736"/>
                  </a:cubicBezTo>
                  <a:cubicBezTo>
                    <a:pt x="12058" y="56526"/>
                    <a:pt x="12058" y="56526"/>
                    <a:pt x="12058" y="56526"/>
                  </a:cubicBezTo>
                  <a:cubicBezTo>
                    <a:pt x="11176" y="55263"/>
                    <a:pt x="11176" y="55263"/>
                    <a:pt x="11176" y="55263"/>
                  </a:cubicBezTo>
                  <a:cubicBezTo>
                    <a:pt x="11176" y="55263"/>
                    <a:pt x="10882" y="55894"/>
                    <a:pt x="10588" y="56526"/>
                  </a:cubicBezTo>
                  <a:cubicBezTo>
                    <a:pt x="10294" y="56842"/>
                    <a:pt x="9705" y="56842"/>
                    <a:pt x="9411" y="56526"/>
                  </a:cubicBezTo>
                  <a:cubicBezTo>
                    <a:pt x="9411" y="55894"/>
                    <a:pt x="8529" y="54631"/>
                    <a:pt x="8529" y="54631"/>
                  </a:cubicBezTo>
                  <a:cubicBezTo>
                    <a:pt x="8823" y="53368"/>
                    <a:pt x="8823" y="53368"/>
                    <a:pt x="8823" y="53368"/>
                  </a:cubicBezTo>
                  <a:cubicBezTo>
                    <a:pt x="7647" y="53052"/>
                    <a:pt x="7647" y="53052"/>
                    <a:pt x="7647" y="53052"/>
                  </a:cubicBezTo>
                  <a:cubicBezTo>
                    <a:pt x="7647" y="53052"/>
                    <a:pt x="7058" y="52736"/>
                    <a:pt x="7058" y="52421"/>
                  </a:cubicBezTo>
                  <a:cubicBezTo>
                    <a:pt x="7352" y="51789"/>
                    <a:pt x="7941" y="50842"/>
                    <a:pt x="7941" y="50842"/>
                  </a:cubicBezTo>
                  <a:cubicBezTo>
                    <a:pt x="8529" y="49578"/>
                    <a:pt x="8529" y="49578"/>
                    <a:pt x="8529" y="49578"/>
                  </a:cubicBezTo>
                  <a:cubicBezTo>
                    <a:pt x="8529" y="49578"/>
                    <a:pt x="8529" y="48631"/>
                    <a:pt x="8235" y="48315"/>
                  </a:cubicBezTo>
                  <a:cubicBezTo>
                    <a:pt x="8235" y="48000"/>
                    <a:pt x="7941" y="43894"/>
                    <a:pt x="7941" y="43894"/>
                  </a:cubicBezTo>
                  <a:cubicBezTo>
                    <a:pt x="10294" y="42315"/>
                    <a:pt x="10294" y="42315"/>
                    <a:pt x="10294" y="42315"/>
                  </a:cubicBezTo>
                  <a:cubicBezTo>
                    <a:pt x="11764" y="39789"/>
                    <a:pt x="11764" y="39789"/>
                    <a:pt x="11764" y="39789"/>
                  </a:cubicBezTo>
                  <a:cubicBezTo>
                    <a:pt x="12352" y="36947"/>
                    <a:pt x="12352" y="36947"/>
                    <a:pt x="12352" y="36947"/>
                  </a:cubicBezTo>
                  <a:cubicBezTo>
                    <a:pt x="13235" y="34421"/>
                    <a:pt x="13235" y="34421"/>
                    <a:pt x="13235" y="34421"/>
                  </a:cubicBezTo>
                  <a:cubicBezTo>
                    <a:pt x="13235" y="34421"/>
                    <a:pt x="14411" y="33157"/>
                    <a:pt x="14411" y="33473"/>
                  </a:cubicBezTo>
                  <a:cubicBezTo>
                    <a:pt x="14705" y="33789"/>
                    <a:pt x="14411" y="30947"/>
                    <a:pt x="14411" y="30947"/>
                  </a:cubicBezTo>
                  <a:cubicBezTo>
                    <a:pt x="13529" y="30000"/>
                    <a:pt x="13529" y="30000"/>
                    <a:pt x="13529" y="30000"/>
                  </a:cubicBezTo>
                  <a:cubicBezTo>
                    <a:pt x="13529" y="28421"/>
                    <a:pt x="13529" y="28421"/>
                    <a:pt x="13529" y="28421"/>
                  </a:cubicBezTo>
                  <a:cubicBezTo>
                    <a:pt x="13529" y="28421"/>
                    <a:pt x="15000" y="28105"/>
                    <a:pt x="15294" y="28105"/>
                  </a:cubicBezTo>
                  <a:cubicBezTo>
                    <a:pt x="15588" y="28105"/>
                    <a:pt x="16176" y="27789"/>
                    <a:pt x="17058" y="27473"/>
                  </a:cubicBezTo>
                  <a:cubicBezTo>
                    <a:pt x="17647" y="27473"/>
                    <a:pt x="18235" y="26842"/>
                    <a:pt x="18823" y="26842"/>
                  </a:cubicBezTo>
                  <a:cubicBezTo>
                    <a:pt x="19117" y="26842"/>
                    <a:pt x="20588" y="26842"/>
                    <a:pt x="20588" y="26842"/>
                  </a:cubicBezTo>
                  <a:cubicBezTo>
                    <a:pt x="20588" y="26842"/>
                    <a:pt x="22058" y="25894"/>
                    <a:pt x="22352" y="25578"/>
                  </a:cubicBezTo>
                  <a:cubicBezTo>
                    <a:pt x="22647" y="25263"/>
                    <a:pt x="23529" y="24000"/>
                    <a:pt x="23529" y="24000"/>
                  </a:cubicBezTo>
                  <a:cubicBezTo>
                    <a:pt x="23529" y="24000"/>
                    <a:pt x="23823" y="22421"/>
                    <a:pt x="24411" y="22105"/>
                  </a:cubicBezTo>
                  <a:cubicBezTo>
                    <a:pt x="24705" y="22105"/>
                    <a:pt x="25588" y="21473"/>
                    <a:pt x="26176" y="21473"/>
                  </a:cubicBezTo>
                  <a:cubicBezTo>
                    <a:pt x="26764" y="21157"/>
                    <a:pt x="28235" y="20842"/>
                    <a:pt x="28529" y="20842"/>
                  </a:cubicBezTo>
                  <a:cubicBezTo>
                    <a:pt x="28823" y="20842"/>
                    <a:pt x="32352" y="20210"/>
                    <a:pt x="32352" y="20210"/>
                  </a:cubicBezTo>
                  <a:cubicBezTo>
                    <a:pt x="33823" y="18947"/>
                    <a:pt x="33823" y="18947"/>
                    <a:pt x="33823" y="18947"/>
                  </a:cubicBezTo>
                  <a:cubicBezTo>
                    <a:pt x="33529" y="16105"/>
                    <a:pt x="33529" y="16105"/>
                    <a:pt x="33529" y="16105"/>
                  </a:cubicBezTo>
                  <a:cubicBezTo>
                    <a:pt x="37941" y="15473"/>
                    <a:pt x="37941" y="15473"/>
                    <a:pt x="37941" y="15473"/>
                  </a:cubicBezTo>
                  <a:cubicBezTo>
                    <a:pt x="39705" y="14210"/>
                    <a:pt x="39705" y="14210"/>
                    <a:pt x="39705" y="14210"/>
                  </a:cubicBezTo>
                  <a:cubicBezTo>
                    <a:pt x="39705" y="14210"/>
                    <a:pt x="40588" y="13263"/>
                    <a:pt x="40882" y="13263"/>
                  </a:cubicBezTo>
                  <a:cubicBezTo>
                    <a:pt x="41176" y="13578"/>
                    <a:pt x="41764" y="13263"/>
                    <a:pt x="41764" y="13263"/>
                  </a:cubicBezTo>
                  <a:cubicBezTo>
                    <a:pt x="43823" y="12631"/>
                    <a:pt x="43823" y="12631"/>
                    <a:pt x="43823" y="12631"/>
                  </a:cubicBezTo>
                  <a:cubicBezTo>
                    <a:pt x="43823" y="12631"/>
                    <a:pt x="46470" y="11684"/>
                    <a:pt x="46764" y="11368"/>
                  </a:cubicBezTo>
                  <a:cubicBezTo>
                    <a:pt x="46764" y="11368"/>
                    <a:pt x="48235" y="10736"/>
                    <a:pt x="48235" y="10736"/>
                  </a:cubicBezTo>
                  <a:cubicBezTo>
                    <a:pt x="48823" y="9473"/>
                    <a:pt x="48823" y="9473"/>
                    <a:pt x="48823" y="9473"/>
                  </a:cubicBezTo>
                  <a:cubicBezTo>
                    <a:pt x="48823" y="9473"/>
                    <a:pt x="49411" y="8842"/>
                    <a:pt x="50294" y="8842"/>
                  </a:cubicBezTo>
                  <a:cubicBezTo>
                    <a:pt x="50882" y="8842"/>
                    <a:pt x="51470" y="8842"/>
                    <a:pt x="51764" y="8842"/>
                  </a:cubicBezTo>
                  <a:cubicBezTo>
                    <a:pt x="51764" y="8526"/>
                    <a:pt x="52058" y="7894"/>
                    <a:pt x="52352" y="7894"/>
                  </a:cubicBezTo>
                  <a:cubicBezTo>
                    <a:pt x="52647" y="7894"/>
                    <a:pt x="54411" y="7578"/>
                    <a:pt x="54411" y="7578"/>
                  </a:cubicBezTo>
                  <a:cubicBezTo>
                    <a:pt x="55294" y="9157"/>
                    <a:pt x="55294" y="9157"/>
                    <a:pt x="55294" y="9157"/>
                  </a:cubicBezTo>
                  <a:cubicBezTo>
                    <a:pt x="55294" y="9157"/>
                    <a:pt x="57058" y="10421"/>
                    <a:pt x="57352" y="10421"/>
                  </a:cubicBezTo>
                  <a:cubicBezTo>
                    <a:pt x="57647" y="10421"/>
                    <a:pt x="59117" y="9157"/>
                    <a:pt x="59117" y="9157"/>
                  </a:cubicBezTo>
                  <a:cubicBezTo>
                    <a:pt x="62058" y="10105"/>
                    <a:pt x="62058" y="10105"/>
                    <a:pt x="62058" y="10105"/>
                  </a:cubicBezTo>
                  <a:cubicBezTo>
                    <a:pt x="64411" y="10736"/>
                    <a:pt x="64411" y="10736"/>
                    <a:pt x="64411" y="10736"/>
                  </a:cubicBezTo>
                  <a:cubicBezTo>
                    <a:pt x="65294" y="10105"/>
                    <a:pt x="65294" y="10105"/>
                    <a:pt x="65294" y="10105"/>
                  </a:cubicBezTo>
                  <a:close/>
                  <a:moveTo>
                    <a:pt x="55294" y="47052"/>
                  </a:moveTo>
                  <a:cubicBezTo>
                    <a:pt x="55294" y="47052"/>
                    <a:pt x="55294" y="47052"/>
                    <a:pt x="55294" y="47052"/>
                  </a:cubicBezTo>
                  <a:cubicBezTo>
                    <a:pt x="55588" y="47368"/>
                    <a:pt x="55588" y="47368"/>
                    <a:pt x="55588" y="47368"/>
                  </a:cubicBezTo>
                  <a:cubicBezTo>
                    <a:pt x="55588" y="47368"/>
                    <a:pt x="56176" y="47368"/>
                    <a:pt x="56470" y="47052"/>
                  </a:cubicBezTo>
                  <a:cubicBezTo>
                    <a:pt x="56764" y="47052"/>
                    <a:pt x="56176" y="46736"/>
                    <a:pt x="56176" y="46736"/>
                  </a:cubicBezTo>
                  <a:cubicBezTo>
                    <a:pt x="55588" y="46736"/>
                    <a:pt x="55588" y="46736"/>
                    <a:pt x="55588" y="46736"/>
                  </a:cubicBezTo>
                  <a:cubicBezTo>
                    <a:pt x="55588" y="46736"/>
                    <a:pt x="55294" y="47052"/>
                    <a:pt x="55294" y="47052"/>
                  </a:cubicBezTo>
                  <a:close/>
                  <a:moveTo>
                    <a:pt x="54117" y="49578"/>
                  </a:moveTo>
                  <a:cubicBezTo>
                    <a:pt x="54117" y="49578"/>
                    <a:pt x="54117" y="49578"/>
                    <a:pt x="54117" y="49578"/>
                  </a:cubicBezTo>
                  <a:cubicBezTo>
                    <a:pt x="54411" y="49894"/>
                    <a:pt x="54411" y="49894"/>
                    <a:pt x="54411" y="49894"/>
                  </a:cubicBezTo>
                  <a:cubicBezTo>
                    <a:pt x="54411" y="49894"/>
                    <a:pt x="54705" y="48947"/>
                    <a:pt x="55000" y="48631"/>
                  </a:cubicBezTo>
                  <a:cubicBezTo>
                    <a:pt x="55294" y="48000"/>
                    <a:pt x="54705" y="48315"/>
                    <a:pt x="54705" y="48315"/>
                  </a:cubicBezTo>
                  <a:cubicBezTo>
                    <a:pt x="54411" y="48631"/>
                    <a:pt x="54411" y="48631"/>
                    <a:pt x="54411" y="48631"/>
                  </a:cubicBezTo>
                  <a:cubicBezTo>
                    <a:pt x="54411" y="48631"/>
                    <a:pt x="54117" y="49578"/>
                    <a:pt x="54117" y="49578"/>
                  </a:cubicBezTo>
                  <a:close/>
                  <a:moveTo>
                    <a:pt x="93529" y="72947"/>
                  </a:moveTo>
                  <a:cubicBezTo>
                    <a:pt x="93529" y="72947"/>
                    <a:pt x="93529" y="72947"/>
                    <a:pt x="93529" y="72947"/>
                  </a:cubicBezTo>
                  <a:cubicBezTo>
                    <a:pt x="93529" y="72947"/>
                    <a:pt x="94411" y="73578"/>
                    <a:pt x="94411" y="73578"/>
                  </a:cubicBezTo>
                  <a:cubicBezTo>
                    <a:pt x="93823" y="74842"/>
                    <a:pt x="93823" y="74842"/>
                    <a:pt x="93823" y="74842"/>
                  </a:cubicBezTo>
                  <a:cubicBezTo>
                    <a:pt x="92941" y="74210"/>
                    <a:pt x="92941" y="74210"/>
                    <a:pt x="92941" y="74210"/>
                  </a:cubicBezTo>
                  <a:cubicBezTo>
                    <a:pt x="93529" y="72947"/>
                    <a:pt x="93529" y="72947"/>
                    <a:pt x="93529" y="72947"/>
                  </a:cubicBezTo>
                  <a:close/>
                  <a:moveTo>
                    <a:pt x="100588" y="78947"/>
                  </a:moveTo>
                  <a:cubicBezTo>
                    <a:pt x="100588" y="78947"/>
                    <a:pt x="100588" y="78947"/>
                    <a:pt x="100588" y="78947"/>
                  </a:cubicBezTo>
                  <a:cubicBezTo>
                    <a:pt x="100588" y="78947"/>
                    <a:pt x="102058" y="79263"/>
                    <a:pt x="102058" y="78947"/>
                  </a:cubicBezTo>
                  <a:cubicBezTo>
                    <a:pt x="102058" y="78631"/>
                    <a:pt x="102352" y="78000"/>
                    <a:pt x="102352" y="78000"/>
                  </a:cubicBezTo>
                  <a:cubicBezTo>
                    <a:pt x="102058" y="77684"/>
                    <a:pt x="101176" y="77368"/>
                    <a:pt x="101176" y="77368"/>
                  </a:cubicBezTo>
                  <a:cubicBezTo>
                    <a:pt x="100882" y="77368"/>
                    <a:pt x="100588" y="77368"/>
                    <a:pt x="100294" y="77052"/>
                  </a:cubicBezTo>
                  <a:cubicBezTo>
                    <a:pt x="98529" y="74842"/>
                    <a:pt x="99705" y="77684"/>
                    <a:pt x="100588" y="78000"/>
                  </a:cubicBezTo>
                  <a:cubicBezTo>
                    <a:pt x="100588" y="78315"/>
                    <a:pt x="100588" y="78315"/>
                    <a:pt x="100588" y="78315"/>
                  </a:cubicBezTo>
                  <a:cubicBezTo>
                    <a:pt x="100588" y="78947"/>
                    <a:pt x="100588" y="78947"/>
                    <a:pt x="100588" y="78947"/>
                  </a:cubicBezTo>
                  <a:close/>
                  <a:moveTo>
                    <a:pt x="102647" y="81157"/>
                  </a:moveTo>
                  <a:cubicBezTo>
                    <a:pt x="102647" y="81157"/>
                    <a:pt x="102647" y="81157"/>
                    <a:pt x="102647" y="81157"/>
                  </a:cubicBezTo>
                  <a:cubicBezTo>
                    <a:pt x="103823" y="79578"/>
                    <a:pt x="103823" y="79578"/>
                    <a:pt x="103823" y="79578"/>
                  </a:cubicBezTo>
                  <a:cubicBezTo>
                    <a:pt x="103823" y="79578"/>
                    <a:pt x="104411" y="78947"/>
                    <a:pt x="104705" y="78947"/>
                  </a:cubicBezTo>
                  <a:cubicBezTo>
                    <a:pt x="105000" y="78947"/>
                    <a:pt x="106176" y="78631"/>
                    <a:pt x="106176" y="78631"/>
                  </a:cubicBezTo>
                  <a:cubicBezTo>
                    <a:pt x="106176" y="78631"/>
                    <a:pt x="107058" y="78947"/>
                    <a:pt x="106470" y="79263"/>
                  </a:cubicBezTo>
                  <a:cubicBezTo>
                    <a:pt x="106176" y="79578"/>
                    <a:pt x="105294" y="80210"/>
                    <a:pt x="105000" y="80210"/>
                  </a:cubicBezTo>
                  <a:cubicBezTo>
                    <a:pt x="104705" y="80526"/>
                    <a:pt x="104117" y="81473"/>
                    <a:pt x="104117" y="81473"/>
                  </a:cubicBezTo>
                  <a:cubicBezTo>
                    <a:pt x="102941" y="81789"/>
                    <a:pt x="102941" y="81789"/>
                    <a:pt x="102941" y="81789"/>
                  </a:cubicBezTo>
                  <a:cubicBezTo>
                    <a:pt x="101764" y="82421"/>
                    <a:pt x="101764" y="82421"/>
                    <a:pt x="101764" y="82421"/>
                  </a:cubicBezTo>
                  <a:cubicBezTo>
                    <a:pt x="102058" y="83684"/>
                    <a:pt x="102058" y="83684"/>
                    <a:pt x="102058" y="83684"/>
                  </a:cubicBezTo>
                  <a:cubicBezTo>
                    <a:pt x="102058" y="83684"/>
                    <a:pt x="101764" y="84000"/>
                    <a:pt x="101470" y="84000"/>
                  </a:cubicBezTo>
                  <a:cubicBezTo>
                    <a:pt x="101470" y="83684"/>
                    <a:pt x="100588" y="83052"/>
                    <a:pt x="100588" y="83052"/>
                  </a:cubicBezTo>
                  <a:cubicBezTo>
                    <a:pt x="100882" y="81473"/>
                    <a:pt x="100882" y="81473"/>
                    <a:pt x="100882" y="81473"/>
                  </a:cubicBezTo>
                  <a:cubicBezTo>
                    <a:pt x="102058" y="81473"/>
                    <a:pt x="102058" y="81473"/>
                    <a:pt x="102058" y="81473"/>
                  </a:cubicBezTo>
                  <a:cubicBezTo>
                    <a:pt x="102647" y="81157"/>
                    <a:pt x="102647" y="81157"/>
                    <a:pt x="102647" y="81157"/>
                  </a:cubicBezTo>
                  <a:close/>
                  <a:moveTo>
                    <a:pt x="114117" y="90315"/>
                  </a:moveTo>
                  <a:cubicBezTo>
                    <a:pt x="114117" y="90315"/>
                    <a:pt x="114117" y="90315"/>
                    <a:pt x="114117" y="90315"/>
                  </a:cubicBezTo>
                  <a:cubicBezTo>
                    <a:pt x="114117" y="90315"/>
                    <a:pt x="115294" y="91578"/>
                    <a:pt x="115294" y="91578"/>
                  </a:cubicBezTo>
                  <a:cubicBezTo>
                    <a:pt x="115000" y="93157"/>
                    <a:pt x="115000" y="93157"/>
                    <a:pt x="115000" y="93157"/>
                  </a:cubicBezTo>
                  <a:cubicBezTo>
                    <a:pt x="115000" y="93157"/>
                    <a:pt x="115000" y="93789"/>
                    <a:pt x="115588" y="93789"/>
                  </a:cubicBezTo>
                  <a:cubicBezTo>
                    <a:pt x="116176" y="94105"/>
                    <a:pt x="117058" y="94105"/>
                    <a:pt x="117058" y="93473"/>
                  </a:cubicBezTo>
                  <a:cubicBezTo>
                    <a:pt x="117058" y="92842"/>
                    <a:pt x="117352" y="92210"/>
                    <a:pt x="117647" y="91894"/>
                  </a:cubicBezTo>
                  <a:cubicBezTo>
                    <a:pt x="117941" y="91263"/>
                    <a:pt x="118529" y="90315"/>
                    <a:pt x="118529" y="90315"/>
                  </a:cubicBezTo>
                  <a:cubicBezTo>
                    <a:pt x="118529" y="90315"/>
                    <a:pt x="118823" y="90315"/>
                    <a:pt x="119117" y="90000"/>
                  </a:cubicBezTo>
                  <a:cubicBezTo>
                    <a:pt x="119411" y="90000"/>
                    <a:pt x="118823" y="89052"/>
                    <a:pt x="118823" y="89052"/>
                  </a:cubicBezTo>
                  <a:cubicBezTo>
                    <a:pt x="118823" y="89052"/>
                    <a:pt x="118529" y="89052"/>
                    <a:pt x="119117" y="87789"/>
                  </a:cubicBezTo>
                  <a:cubicBezTo>
                    <a:pt x="119705" y="86842"/>
                    <a:pt x="119705" y="86842"/>
                    <a:pt x="119705" y="86842"/>
                  </a:cubicBezTo>
                  <a:cubicBezTo>
                    <a:pt x="119705" y="86526"/>
                    <a:pt x="120000" y="85578"/>
                    <a:pt x="120000" y="85263"/>
                  </a:cubicBezTo>
                  <a:cubicBezTo>
                    <a:pt x="119705" y="84631"/>
                    <a:pt x="119411" y="83052"/>
                    <a:pt x="119411" y="83052"/>
                  </a:cubicBezTo>
                  <a:cubicBezTo>
                    <a:pt x="118823" y="83684"/>
                    <a:pt x="118823" y="83684"/>
                    <a:pt x="118823" y="83684"/>
                  </a:cubicBezTo>
                  <a:cubicBezTo>
                    <a:pt x="118823" y="83684"/>
                    <a:pt x="118235" y="84315"/>
                    <a:pt x="117647" y="84315"/>
                  </a:cubicBezTo>
                  <a:cubicBezTo>
                    <a:pt x="117058" y="84631"/>
                    <a:pt x="116470" y="84947"/>
                    <a:pt x="116470" y="85263"/>
                  </a:cubicBezTo>
                  <a:cubicBezTo>
                    <a:pt x="116470" y="85263"/>
                    <a:pt x="116470" y="86210"/>
                    <a:pt x="116176" y="86526"/>
                  </a:cubicBezTo>
                  <a:cubicBezTo>
                    <a:pt x="115882" y="86842"/>
                    <a:pt x="115000" y="87789"/>
                    <a:pt x="115000" y="87789"/>
                  </a:cubicBezTo>
                  <a:cubicBezTo>
                    <a:pt x="114411" y="89368"/>
                    <a:pt x="114411" y="89368"/>
                    <a:pt x="114411" y="89368"/>
                  </a:cubicBezTo>
                  <a:cubicBezTo>
                    <a:pt x="114411" y="89368"/>
                    <a:pt x="114117" y="90315"/>
                    <a:pt x="114117" y="90315"/>
                  </a:cubicBezTo>
                  <a:close/>
                  <a:moveTo>
                    <a:pt x="109705" y="104526"/>
                  </a:moveTo>
                  <a:cubicBezTo>
                    <a:pt x="109705" y="104526"/>
                    <a:pt x="109705" y="104526"/>
                    <a:pt x="109705" y="104526"/>
                  </a:cubicBezTo>
                  <a:cubicBezTo>
                    <a:pt x="109117" y="104210"/>
                    <a:pt x="108529" y="103578"/>
                    <a:pt x="108529" y="102947"/>
                  </a:cubicBezTo>
                  <a:cubicBezTo>
                    <a:pt x="108529" y="102631"/>
                    <a:pt x="108823" y="102000"/>
                    <a:pt x="108823" y="102000"/>
                  </a:cubicBezTo>
                  <a:cubicBezTo>
                    <a:pt x="108823" y="102000"/>
                    <a:pt x="108235" y="101684"/>
                    <a:pt x="108235" y="101368"/>
                  </a:cubicBezTo>
                  <a:cubicBezTo>
                    <a:pt x="108235" y="101368"/>
                    <a:pt x="108823" y="100105"/>
                    <a:pt x="108823" y="99473"/>
                  </a:cubicBezTo>
                  <a:cubicBezTo>
                    <a:pt x="108529" y="99157"/>
                    <a:pt x="108823" y="97263"/>
                    <a:pt x="108823" y="97263"/>
                  </a:cubicBezTo>
                  <a:cubicBezTo>
                    <a:pt x="108823" y="97263"/>
                    <a:pt x="109705" y="96947"/>
                    <a:pt x="109705" y="97263"/>
                  </a:cubicBezTo>
                  <a:cubicBezTo>
                    <a:pt x="109705" y="97578"/>
                    <a:pt x="109411" y="98526"/>
                    <a:pt x="109411" y="98842"/>
                  </a:cubicBezTo>
                  <a:cubicBezTo>
                    <a:pt x="109411" y="99157"/>
                    <a:pt x="109117" y="100421"/>
                    <a:pt x="109117" y="100736"/>
                  </a:cubicBezTo>
                  <a:cubicBezTo>
                    <a:pt x="109117" y="100736"/>
                    <a:pt x="109411" y="100421"/>
                    <a:pt x="110000" y="101052"/>
                  </a:cubicBezTo>
                  <a:cubicBezTo>
                    <a:pt x="110588" y="101684"/>
                    <a:pt x="110588" y="102631"/>
                    <a:pt x="110588" y="102631"/>
                  </a:cubicBezTo>
                  <a:cubicBezTo>
                    <a:pt x="110000" y="103263"/>
                    <a:pt x="110000" y="103263"/>
                    <a:pt x="110000" y="103263"/>
                  </a:cubicBezTo>
                  <a:cubicBezTo>
                    <a:pt x="109705" y="104526"/>
                    <a:pt x="109705" y="104526"/>
                    <a:pt x="109705" y="104526"/>
                  </a:cubicBezTo>
                  <a:close/>
                  <a:moveTo>
                    <a:pt x="106176" y="105157"/>
                  </a:moveTo>
                  <a:cubicBezTo>
                    <a:pt x="106176" y="105157"/>
                    <a:pt x="106176" y="105157"/>
                    <a:pt x="106176" y="105157"/>
                  </a:cubicBezTo>
                  <a:cubicBezTo>
                    <a:pt x="106176" y="105157"/>
                    <a:pt x="105882" y="106421"/>
                    <a:pt x="105882" y="106736"/>
                  </a:cubicBezTo>
                  <a:cubicBezTo>
                    <a:pt x="105882" y="106736"/>
                    <a:pt x="106176" y="106736"/>
                    <a:pt x="106470" y="106736"/>
                  </a:cubicBezTo>
                  <a:cubicBezTo>
                    <a:pt x="106764" y="106421"/>
                    <a:pt x="107058" y="106421"/>
                    <a:pt x="107352" y="106105"/>
                  </a:cubicBezTo>
                  <a:cubicBezTo>
                    <a:pt x="107647" y="105789"/>
                    <a:pt x="108529" y="105157"/>
                    <a:pt x="108823" y="105157"/>
                  </a:cubicBezTo>
                  <a:cubicBezTo>
                    <a:pt x="109117" y="104842"/>
                    <a:pt x="107647" y="104210"/>
                    <a:pt x="107647" y="104210"/>
                  </a:cubicBezTo>
                  <a:cubicBezTo>
                    <a:pt x="106176" y="105157"/>
                    <a:pt x="106176" y="105157"/>
                    <a:pt x="106176" y="105157"/>
                  </a:cubicBezTo>
                  <a:close/>
                  <a:moveTo>
                    <a:pt x="66176" y="41684"/>
                  </a:moveTo>
                  <a:cubicBezTo>
                    <a:pt x="66176" y="41684"/>
                    <a:pt x="66176" y="41684"/>
                    <a:pt x="66176" y="41684"/>
                  </a:cubicBezTo>
                  <a:cubicBezTo>
                    <a:pt x="66764" y="42000"/>
                    <a:pt x="66764" y="42000"/>
                    <a:pt x="66764" y="42000"/>
                  </a:cubicBezTo>
                  <a:cubicBezTo>
                    <a:pt x="66764" y="42000"/>
                    <a:pt x="67058" y="41684"/>
                    <a:pt x="67352" y="41368"/>
                  </a:cubicBezTo>
                  <a:cubicBezTo>
                    <a:pt x="67647" y="41052"/>
                    <a:pt x="67058" y="40736"/>
                    <a:pt x="67058" y="40736"/>
                  </a:cubicBezTo>
                  <a:cubicBezTo>
                    <a:pt x="66764" y="41052"/>
                    <a:pt x="66764" y="41052"/>
                    <a:pt x="66764" y="41052"/>
                  </a:cubicBezTo>
                  <a:cubicBezTo>
                    <a:pt x="66764" y="41052"/>
                    <a:pt x="66176" y="41684"/>
                    <a:pt x="66176" y="41684"/>
                  </a:cubicBezTo>
                  <a:close/>
                  <a:moveTo>
                    <a:pt x="48235" y="51789"/>
                  </a:moveTo>
                  <a:cubicBezTo>
                    <a:pt x="48235" y="51789"/>
                    <a:pt x="48235" y="51789"/>
                    <a:pt x="48235" y="51789"/>
                  </a:cubicBezTo>
                  <a:cubicBezTo>
                    <a:pt x="48529" y="52105"/>
                    <a:pt x="48529" y="52105"/>
                    <a:pt x="48529" y="52105"/>
                  </a:cubicBezTo>
                  <a:cubicBezTo>
                    <a:pt x="48529" y="52105"/>
                    <a:pt x="48823" y="51473"/>
                    <a:pt x="49411" y="51157"/>
                  </a:cubicBezTo>
                  <a:cubicBezTo>
                    <a:pt x="49705" y="50842"/>
                    <a:pt x="49117" y="50842"/>
                    <a:pt x="49117" y="50842"/>
                  </a:cubicBezTo>
                  <a:cubicBezTo>
                    <a:pt x="48529" y="51157"/>
                    <a:pt x="48529" y="51157"/>
                    <a:pt x="48529" y="51157"/>
                  </a:cubicBezTo>
                  <a:cubicBezTo>
                    <a:pt x="48529" y="51157"/>
                    <a:pt x="48235" y="51473"/>
                    <a:pt x="48235" y="51789"/>
                  </a:cubicBezTo>
                  <a:close/>
                  <a:moveTo>
                    <a:pt x="51176" y="51157"/>
                  </a:moveTo>
                  <a:cubicBezTo>
                    <a:pt x="51176" y="51157"/>
                    <a:pt x="51176" y="51157"/>
                    <a:pt x="51176" y="51157"/>
                  </a:cubicBezTo>
                  <a:cubicBezTo>
                    <a:pt x="51176" y="51789"/>
                    <a:pt x="51176" y="51789"/>
                    <a:pt x="51176" y="51789"/>
                  </a:cubicBezTo>
                  <a:cubicBezTo>
                    <a:pt x="51176" y="51789"/>
                    <a:pt x="52058" y="52105"/>
                    <a:pt x="52647" y="52421"/>
                  </a:cubicBezTo>
                  <a:cubicBezTo>
                    <a:pt x="53529" y="52736"/>
                    <a:pt x="52941" y="51789"/>
                    <a:pt x="52941" y="51789"/>
                  </a:cubicBezTo>
                  <a:cubicBezTo>
                    <a:pt x="52352" y="51157"/>
                    <a:pt x="52352" y="51157"/>
                    <a:pt x="52352" y="51157"/>
                  </a:cubicBezTo>
                  <a:cubicBezTo>
                    <a:pt x="52352" y="51157"/>
                    <a:pt x="51470" y="50842"/>
                    <a:pt x="51176" y="51157"/>
                  </a:cubicBezTo>
                  <a:close/>
                  <a:moveTo>
                    <a:pt x="62058" y="51789"/>
                  </a:moveTo>
                  <a:cubicBezTo>
                    <a:pt x="62058" y="51789"/>
                    <a:pt x="62058" y="51789"/>
                    <a:pt x="62058" y="51789"/>
                  </a:cubicBezTo>
                  <a:cubicBezTo>
                    <a:pt x="61764" y="52421"/>
                    <a:pt x="61764" y="52421"/>
                    <a:pt x="61764" y="52421"/>
                  </a:cubicBezTo>
                  <a:cubicBezTo>
                    <a:pt x="61764" y="52421"/>
                    <a:pt x="62352" y="53052"/>
                    <a:pt x="62647" y="53684"/>
                  </a:cubicBezTo>
                  <a:cubicBezTo>
                    <a:pt x="62941" y="53684"/>
                    <a:pt x="64117" y="54947"/>
                    <a:pt x="64705" y="54947"/>
                  </a:cubicBezTo>
                  <a:cubicBezTo>
                    <a:pt x="67058" y="55894"/>
                    <a:pt x="63235" y="52736"/>
                    <a:pt x="62941" y="52421"/>
                  </a:cubicBezTo>
                  <a:cubicBezTo>
                    <a:pt x="62941" y="52421"/>
                    <a:pt x="62058" y="51473"/>
                    <a:pt x="62058" y="51789"/>
                  </a:cubicBezTo>
                  <a:close/>
                  <a:moveTo>
                    <a:pt x="75882" y="56210"/>
                  </a:moveTo>
                  <a:cubicBezTo>
                    <a:pt x="75882" y="56210"/>
                    <a:pt x="75882" y="56210"/>
                    <a:pt x="75882" y="56210"/>
                  </a:cubicBezTo>
                  <a:cubicBezTo>
                    <a:pt x="76470" y="56842"/>
                    <a:pt x="76470" y="56842"/>
                    <a:pt x="76470" y="56842"/>
                  </a:cubicBezTo>
                  <a:cubicBezTo>
                    <a:pt x="76470" y="56842"/>
                    <a:pt x="77352" y="56526"/>
                    <a:pt x="77941" y="56210"/>
                  </a:cubicBezTo>
                  <a:cubicBezTo>
                    <a:pt x="78529" y="56210"/>
                    <a:pt x="77941" y="55578"/>
                    <a:pt x="77941" y="55578"/>
                  </a:cubicBezTo>
                  <a:cubicBezTo>
                    <a:pt x="77058" y="55578"/>
                    <a:pt x="77058" y="55578"/>
                    <a:pt x="77058" y="55578"/>
                  </a:cubicBezTo>
                  <a:cubicBezTo>
                    <a:pt x="77058" y="55578"/>
                    <a:pt x="75882" y="55894"/>
                    <a:pt x="75882" y="56210"/>
                  </a:cubicBezTo>
                  <a:close/>
                  <a:moveTo>
                    <a:pt x="70000" y="23052"/>
                  </a:moveTo>
                  <a:cubicBezTo>
                    <a:pt x="70000" y="23052"/>
                    <a:pt x="70000" y="23052"/>
                    <a:pt x="70000" y="23052"/>
                  </a:cubicBezTo>
                  <a:cubicBezTo>
                    <a:pt x="70000" y="23052"/>
                    <a:pt x="68823" y="23684"/>
                    <a:pt x="68823" y="23684"/>
                  </a:cubicBezTo>
                  <a:cubicBezTo>
                    <a:pt x="68529" y="23684"/>
                    <a:pt x="68823" y="24315"/>
                    <a:pt x="69117" y="24315"/>
                  </a:cubicBezTo>
                  <a:cubicBezTo>
                    <a:pt x="69411" y="24631"/>
                    <a:pt x="70294" y="24947"/>
                    <a:pt x="70294" y="24947"/>
                  </a:cubicBezTo>
                  <a:cubicBezTo>
                    <a:pt x="70588" y="24947"/>
                    <a:pt x="71470" y="24315"/>
                    <a:pt x="72058" y="23684"/>
                  </a:cubicBezTo>
                  <a:cubicBezTo>
                    <a:pt x="72647" y="23368"/>
                    <a:pt x="71470" y="23052"/>
                    <a:pt x="71470" y="23052"/>
                  </a:cubicBezTo>
                  <a:cubicBezTo>
                    <a:pt x="70000" y="23052"/>
                    <a:pt x="70000" y="23052"/>
                    <a:pt x="70000" y="23052"/>
                  </a:cubicBezTo>
                  <a:close/>
                  <a:moveTo>
                    <a:pt x="59411" y="20842"/>
                  </a:moveTo>
                  <a:cubicBezTo>
                    <a:pt x="59411" y="20842"/>
                    <a:pt x="59411" y="20842"/>
                    <a:pt x="59411" y="20842"/>
                  </a:cubicBezTo>
                  <a:cubicBezTo>
                    <a:pt x="59411" y="20842"/>
                    <a:pt x="58235" y="20842"/>
                    <a:pt x="57941" y="20842"/>
                  </a:cubicBezTo>
                  <a:cubicBezTo>
                    <a:pt x="57941" y="20842"/>
                    <a:pt x="57647" y="21157"/>
                    <a:pt x="57352" y="21473"/>
                  </a:cubicBezTo>
                  <a:cubicBezTo>
                    <a:pt x="57058" y="21789"/>
                    <a:pt x="57058" y="22421"/>
                    <a:pt x="56764" y="23052"/>
                  </a:cubicBezTo>
                  <a:cubicBezTo>
                    <a:pt x="56764" y="23684"/>
                    <a:pt x="57058" y="23684"/>
                    <a:pt x="57058" y="23684"/>
                  </a:cubicBezTo>
                  <a:cubicBezTo>
                    <a:pt x="57352" y="24000"/>
                    <a:pt x="57352" y="24000"/>
                    <a:pt x="57941" y="24631"/>
                  </a:cubicBezTo>
                  <a:cubicBezTo>
                    <a:pt x="58529" y="24947"/>
                    <a:pt x="59117" y="24315"/>
                    <a:pt x="59705" y="24000"/>
                  </a:cubicBezTo>
                  <a:cubicBezTo>
                    <a:pt x="60588" y="23684"/>
                    <a:pt x="60000" y="23368"/>
                    <a:pt x="60294" y="22736"/>
                  </a:cubicBezTo>
                  <a:cubicBezTo>
                    <a:pt x="60294" y="22421"/>
                    <a:pt x="60000" y="21473"/>
                    <a:pt x="60000" y="21473"/>
                  </a:cubicBezTo>
                  <a:cubicBezTo>
                    <a:pt x="60000" y="21157"/>
                    <a:pt x="59411" y="20842"/>
                    <a:pt x="59411" y="20842"/>
                  </a:cubicBezTo>
                  <a:close/>
                  <a:moveTo>
                    <a:pt x="69411" y="32526"/>
                  </a:moveTo>
                  <a:cubicBezTo>
                    <a:pt x="69411" y="32526"/>
                    <a:pt x="69411" y="32526"/>
                    <a:pt x="69411" y="32526"/>
                  </a:cubicBezTo>
                  <a:cubicBezTo>
                    <a:pt x="69411" y="32526"/>
                    <a:pt x="69117" y="33157"/>
                    <a:pt x="69117" y="33157"/>
                  </a:cubicBezTo>
                  <a:cubicBezTo>
                    <a:pt x="69117" y="33157"/>
                    <a:pt x="69117" y="33789"/>
                    <a:pt x="69117" y="33789"/>
                  </a:cubicBezTo>
                  <a:cubicBezTo>
                    <a:pt x="69117" y="33789"/>
                    <a:pt x="68823" y="34105"/>
                    <a:pt x="68529" y="34421"/>
                  </a:cubicBezTo>
                  <a:cubicBezTo>
                    <a:pt x="67941" y="35052"/>
                    <a:pt x="68529" y="35052"/>
                    <a:pt x="68823" y="35368"/>
                  </a:cubicBezTo>
                  <a:cubicBezTo>
                    <a:pt x="69117" y="36000"/>
                    <a:pt x="68823" y="35684"/>
                    <a:pt x="69117" y="35684"/>
                  </a:cubicBezTo>
                  <a:cubicBezTo>
                    <a:pt x="69117" y="36000"/>
                    <a:pt x="69411" y="35684"/>
                    <a:pt x="70000" y="35368"/>
                  </a:cubicBezTo>
                  <a:cubicBezTo>
                    <a:pt x="70588" y="35052"/>
                    <a:pt x="70294" y="35052"/>
                    <a:pt x="70294" y="35052"/>
                  </a:cubicBezTo>
                  <a:cubicBezTo>
                    <a:pt x="70294" y="35052"/>
                    <a:pt x="69705" y="34105"/>
                    <a:pt x="69705" y="34105"/>
                  </a:cubicBezTo>
                  <a:cubicBezTo>
                    <a:pt x="69705" y="34105"/>
                    <a:pt x="69705" y="33789"/>
                    <a:pt x="69705" y="33789"/>
                  </a:cubicBezTo>
                  <a:cubicBezTo>
                    <a:pt x="69705" y="33473"/>
                    <a:pt x="70000" y="33473"/>
                    <a:pt x="70294" y="33157"/>
                  </a:cubicBezTo>
                  <a:cubicBezTo>
                    <a:pt x="70588" y="32526"/>
                    <a:pt x="70588" y="32210"/>
                    <a:pt x="70588" y="32210"/>
                  </a:cubicBezTo>
                  <a:cubicBezTo>
                    <a:pt x="70588" y="31894"/>
                    <a:pt x="70000" y="31894"/>
                    <a:pt x="70000" y="31894"/>
                  </a:cubicBezTo>
                  <a:cubicBezTo>
                    <a:pt x="70000" y="31894"/>
                    <a:pt x="69411" y="32210"/>
                    <a:pt x="69411" y="32526"/>
                  </a:cubicBezTo>
                  <a:close/>
                  <a:moveTo>
                    <a:pt x="68529" y="33157"/>
                  </a:moveTo>
                  <a:cubicBezTo>
                    <a:pt x="68529" y="33157"/>
                    <a:pt x="68529" y="33157"/>
                    <a:pt x="68529" y="33157"/>
                  </a:cubicBezTo>
                  <a:cubicBezTo>
                    <a:pt x="68235" y="32526"/>
                    <a:pt x="68235" y="32526"/>
                    <a:pt x="68235" y="32526"/>
                  </a:cubicBezTo>
                  <a:cubicBezTo>
                    <a:pt x="68235" y="32526"/>
                    <a:pt x="67941" y="32210"/>
                    <a:pt x="67058" y="32210"/>
                  </a:cubicBezTo>
                  <a:cubicBezTo>
                    <a:pt x="66470" y="32210"/>
                    <a:pt x="66470" y="32526"/>
                    <a:pt x="65882" y="32526"/>
                  </a:cubicBezTo>
                  <a:cubicBezTo>
                    <a:pt x="65294" y="32526"/>
                    <a:pt x="65294" y="33157"/>
                    <a:pt x="65294" y="33473"/>
                  </a:cubicBezTo>
                  <a:cubicBezTo>
                    <a:pt x="65000" y="34105"/>
                    <a:pt x="65294" y="33789"/>
                    <a:pt x="65588" y="34105"/>
                  </a:cubicBezTo>
                  <a:cubicBezTo>
                    <a:pt x="65882" y="34421"/>
                    <a:pt x="65588" y="34421"/>
                    <a:pt x="65882" y="35368"/>
                  </a:cubicBezTo>
                  <a:cubicBezTo>
                    <a:pt x="65882" y="36000"/>
                    <a:pt x="66176" y="35684"/>
                    <a:pt x="66176" y="35684"/>
                  </a:cubicBezTo>
                  <a:cubicBezTo>
                    <a:pt x="66470" y="36000"/>
                    <a:pt x="66764" y="35684"/>
                    <a:pt x="67352" y="35368"/>
                  </a:cubicBezTo>
                  <a:cubicBezTo>
                    <a:pt x="67941" y="34736"/>
                    <a:pt x="67352" y="34736"/>
                    <a:pt x="67352" y="34736"/>
                  </a:cubicBezTo>
                  <a:cubicBezTo>
                    <a:pt x="67352" y="34736"/>
                    <a:pt x="67941" y="34421"/>
                    <a:pt x="68529" y="33789"/>
                  </a:cubicBezTo>
                  <a:cubicBezTo>
                    <a:pt x="68823" y="33157"/>
                    <a:pt x="68529" y="33157"/>
                    <a:pt x="68529" y="33157"/>
                  </a:cubicBezTo>
                  <a:close/>
                  <a:moveTo>
                    <a:pt x="83529" y="43894"/>
                  </a:moveTo>
                  <a:cubicBezTo>
                    <a:pt x="83529" y="43894"/>
                    <a:pt x="83529" y="43894"/>
                    <a:pt x="83529" y="43894"/>
                  </a:cubicBezTo>
                  <a:cubicBezTo>
                    <a:pt x="83235" y="43894"/>
                    <a:pt x="82941" y="44526"/>
                    <a:pt x="82941" y="44526"/>
                  </a:cubicBezTo>
                  <a:cubicBezTo>
                    <a:pt x="82941" y="44526"/>
                    <a:pt x="82647" y="44842"/>
                    <a:pt x="82647" y="45157"/>
                  </a:cubicBezTo>
                  <a:cubicBezTo>
                    <a:pt x="82352" y="45157"/>
                    <a:pt x="82058" y="45789"/>
                    <a:pt x="82058" y="45789"/>
                  </a:cubicBezTo>
                  <a:cubicBezTo>
                    <a:pt x="82058" y="45789"/>
                    <a:pt x="82352" y="46105"/>
                    <a:pt x="82647" y="46105"/>
                  </a:cubicBezTo>
                  <a:cubicBezTo>
                    <a:pt x="82941" y="46421"/>
                    <a:pt x="82941" y="46421"/>
                    <a:pt x="83235" y="46421"/>
                  </a:cubicBezTo>
                  <a:cubicBezTo>
                    <a:pt x="83529" y="46421"/>
                    <a:pt x="83529" y="46421"/>
                    <a:pt x="84411" y="46421"/>
                  </a:cubicBezTo>
                  <a:cubicBezTo>
                    <a:pt x="85588" y="46421"/>
                    <a:pt x="86470" y="46421"/>
                    <a:pt x="86764" y="46421"/>
                  </a:cubicBezTo>
                  <a:cubicBezTo>
                    <a:pt x="86764" y="46421"/>
                    <a:pt x="87352" y="46105"/>
                    <a:pt x="87352" y="46105"/>
                  </a:cubicBezTo>
                  <a:cubicBezTo>
                    <a:pt x="87352" y="45789"/>
                    <a:pt x="87352" y="45789"/>
                    <a:pt x="87058" y="45473"/>
                  </a:cubicBezTo>
                  <a:cubicBezTo>
                    <a:pt x="86764" y="44842"/>
                    <a:pt x="86176" y="44526"/>
                    <a:pt x="86176" y="44526"/>
                  </a:cubicBezTo>
                  <a:cubicBezTo>
                    <a:pt x="85882" y="44526"/>
                    <a:pt x="86176" y="43894"/>
                    <a:pt x="86470" y="44210"/>
                  </a:cubicBezTo>
                  <a:cubicBezTo>
                    <a:pt x="86470" y="44210"/>
                    <a:pt x="87352" y="45157"/>
                    <a:pt x="87352" y="45157"/>
                  </a:cubicBezTo>
                  <a:cubicBezTo>
                    <a:pt x="87647" y="45157"/>
                    <a:pt x="88235" y="45157"/>
                    <a:pt x="88235" y="44526"/>
                  </a:cubicBezTo>
                  <a:cubicBezTo>
                    <a:pt x="87941" y="44210"/>
                    <a:pt x="88529" y="43578"/>
                    <a:pt x="87647" y="43263"/>
                  </a:cubicBezTo>
                  <a:cubicBezTo>
                    <a:pt x="87058" y="42947"/>
                    <a:pt x="86764" y="42631"/>
                    <a:pt x="86470" y="42631"/>
                  </a:cubicBezTo>
                  <a:cubicBezTo>
                    <a:pt x="85882" y="42631"/>
                    <a:pt x="86764" y="42947"/>
                    <a:pt x="85588" y="42000"/>
                  </a:cubicBezTo>
                  <a:cubicBezTo>
                    <a:pt x="84411" y="41052"/>
                    <a:pt x="84411" y="41368"/>
                    <a:pt x="84411" y="41368"/>
                  </a:cubicBezTo>
                  <a:cubicBezTo>
                    <a:pt x="84411" y="41368"/>
                    <a:pt x="85000" y="40421"/>
                    <a:pt x="84705" y="40105"/>
                  </a:cubicBezTo>
                  <a:cubicBezTo>
                    <a:pt x="84705" y="40105"/>
                    <a:pt x="83529" y="39789"/>
                    <a:pt x="83529" y="39789"/>
                  </a:cubicBezTo>
                  <a:cubicBezTo>
                    <a:pt x="83529" y="39789"/>
                    <a:pt x="82058" y="40105"/>
                    <a:pt x="82058" y="40105"/>
                  </a:cubicBezTo>
                  <a:cubicBezTo>
                    <a:pt x="81764" y="40421"/>
                    <a:pt x="81470" y="40736"/>
                    <a:pt x="81470" y="40736"/>
                  </a:cubicBezTo>
                  <a:cubicBezTo>
                    <a:pt x="81470" y="41368"/>
                    <a:pt x="81470" y="41368"/>
                    <a:pt x="81470" y="41368"/>
                  </a:cubicBezTo>
                  <a:cubicBezTo>
                    <a:pt x="80882" y="41684"/>
                    <a:pt x="80882" y="41684"/>
                    <a:pt x="80882" y="41684"/>
                  </a:cubicBezTo>
                  <a:cubicBezTo>
                    <a:pt x="80882" y="41684"/>
                    <a:pt x="80588" y="42315"/>
                    <a:pt x="80588" y="42315"/>
                  </a:cubicBezTo>
                  <a:cubicBezTo>
                    <a:pt x="80294" y="42315"/>
                    <a:pt x="79705" y="42631"/>
                    <a:pt x="79705" y="42631"/>
                  </a:cubicBezTo>
                  <a:cubicBezTo>
                    <a:pt x="79411" y="42631"/>
                    <a:pt x="78823" y="42631"/>
                    <a:pt x="78823" y="42947"/>
                  </a:cubicBezTo>
                  <a:cubicBezTo>
                    <a:pt x="78529" y="43263"/>
                    <a:pt x="77647" y="43578"/>
                    <a:pt x="77647" y="43578"/>
                  </a:cubicBezTo>
                  <a:cubicBezTo>
                    <a:pt x="77647" y="43578"/>
                    <a:pt x="77352" y="43894"/>
                    <a:pt x="77941" y="44526"/>
                  </a:cubicBezTo>
                  <a:cubicBezTo>
                    <a:pt x="78529" y="44842"/>
                    <a:pt x="79117" y="44842"/>
                    <a:pt x="79117" y="45157"/>
                  </a:cubicBezTo>
                  <a:cubicBezTo>
                    <a:pt x="79411" y="45157"/>
                    <a:pt x="79411" y="45157"/>
                    <a:pt x="79705" y="45157"/>
                  </a:cubicBezTo>
                  <a:cubicBezTo>
                    <a:pt x="80000" y="45473"/>
                    <a:pt x="80000" y="45473"/>
                    <a:pt x="80588" y="45473"/>
                  </a:cubicBezTo>
                  <a:cubicBezTo>
                    <a:pt x="80882" y="45157"/>
                    <a:pt x="81470" y="45157"/>
                    <a:pt x="81470" y="44842"/>
                  </a:cubicBezTo>
                  <a:cubicBezTo>
                    <a:pt x="81764" y="44526"/>
                    <a:pt x="81764" y="44210"/>
                    <a:pt x="82058" y="43894"/>
                  </a:cubicBezTo>
                  <a:cubicBezTo>
                    <a:pt x="82058" y="43578"/>
                    <a:pt x="82058" y="43263"/>
                    <a:pt x="82647" y="43263"/>
                  </a:cubicBezTo>
                  <a:cubicBezTo>
                    <a:pt x="82941" y="43263"/>
                    <a:pt x="83529" y="42947"/>
                    <a:pt x="83529" y="42947"/>
                  </a:cubicBezTo>
                  <a:cubicBezTo>
                    <a:pt x="83529" y="42947"/>
                    <a:pt x="83529" y="43894"/>
                    <a:pt x="83529" y="43894"/>
                  </a:cubicBezTo>
                  <a:close/>
                  <a:moveTo>
                    <a:pt x="85000" y="57473"/>
                  </a:moveTo>
                  <a:cubicBezTo>
                    <a:pt x="85000" y="57473"/>
                    <a:pt x="85000" y="57473"/>
                    <a:pt x="85000" y="57473"/>
                  </a:cubicBezTo>
                  <a:cubicBezTo>
                    <a:pt x="84705" y="57157"/>
                    <a:pt x="84705" y="57157"/>
                    <a:pt x="84705" y="57157"/>
                  </a:cubicBezTo>
                  <a:cubicBezTo>
                    <a:pt x="84705" y="56842"/>
                    <a:pt x="84705" y="56842"/>
                    <a:pt x="84705" y="56842"/>
                  </a:cubicBezTo>
                  <a:cubicBezTo>
                    <a:pt x="83823" y="55894"/>
                    <a:pt x="83823" y="55894"/>
                    <a:pt x="83823" y="55894"/>
                  </a:cubicBezTo>
                  <a:cubicBezTo>
                    <a:pt x="83823" y="55894"/>
                    <a:pt x="85000" y="55578"/>
                    <a:pt x="85588" y="55263"/>
                  </a:cubicBezTo>
                  <a:cubicBezTo>
                    <a:pt x="86470" y="54947"/>
                    <a:pt x="85588" y="54631"/>
                    <a:pt x="85588" y="54315"/>
                  </a:cubicBezTo>
                  <a:cubicBezTo>
                    <a:pt x="85588" y="54315"/>
                    <a:pt x="85294" y="54315"/>
                    <a:pt x="84705" y="54315"/>
                  </a:cubicBezTo>
                  <a:cubicBezTo>
                    <a:pt x="84411" y="54315"/>
                    <a:pt x="84117" y="54315"/>
                    <a:pt x="83529" y="54631"/>
                  </a:cubicBezTo>
                  <a:cubicBezTo>
                    <a:pt x="83235" y="54631"/>
                    <a:pt x="82941" y="54000"/>
                    <a:pt x="82941" y="54000"/>
                  </a:cubicBezTo>
                  <a:cubicBezTo>
                    <a:pt x="82647" y="54000"/>
                    <a:pt x="81470" y="54000"/>
                    <a:pt x="81176" y="54000"/>
                  </a:cubicBezTo>
                  <a:cubicBezTo>
                    <a:pt x="81176" y="54000"/>
                    <a:pt x="80882" y="54631"/>
                    <a:pt x="80588" y="54947"/>
                  </a:cubicBezTo>
                  <a:cubicBezTo>
                    <a:pt x="80294" y="55263"/>
                    <a:pt x="80000" y="55578"/>
                    <a:pt x="79705" y="55578"/>
                  </a:cubicBezTo>
                  <a:cubicBezTo>
                    <a:pt x="79411" y="55894"/>
                    <a:pt x="80588" y="56526"/>
                    <a:pt x="80882" y="56526"/>
                  </a:cubicBezTo>
                  <a:cubicBezTo>
                    <a:pt x="80882" y="56842"/>
                    <a:pt x="81764" y="56842"/>
                    <a:pt x="81764" y="57157"/>
                  </a:cubicBezTo>
                  <a:cubicBezTo>
                    <a:pt x="82058" y="57157"/>
                    <a:pt x="82941" y="57789"/>
                    <a:pt x="83235" y="57789"/>
                  </a:cubicBezTo>
                  <a:cubicBezTo>
                    <a:pt x="83529" y="58105"/>
                    <a:pt x="82941" y="58421"/>
                    <a:pt x="82647" y="59052"/>
                  </a:cubicBezTo>
                  <a:cubicBezTo>
                    <a:pt x="82352" y="59684"/>
                    <a:pt x="82058" y="59684"/>
                    <a:pt x="81764" y="60000"/>
                  </a:cubicBezTo>
                  <a:cubicBezTo>
                    <a:pt x="81470" y="60315"/>
                    <a:pt x="82058" y="60631"/>
                    <a:pt x="82352" y="60947"/>
                  </a:cubicBezTo>
                  <a:cubicBezTo>
                    <a:pt x="82647" y="61263"/>
                    <a:pt x="83235" y="61578"/>
                    <a:pt x="83235" y="61578"/>
                  </a:cubicBezTo>
                  <a:cubicBezTo>
                    <a:pt x="83529" y="61578"/>
                    <a:pt x="84411" y="60947"/>
                    <a:pt x="84411" y="60947"/>
                  </a:cubicBezTo>
                  <a:cubicBezTo>
                    <a:pt x="84411" y="60947"/>
                    <a:pt x="84705" y="60000"/>
                    <a:pt x="84705" y="60000"/>
                  </a:cubicBezTo>
                  <a:cubicBezTo>
                    <a:pt x="84705" y="59684"/>
                    <a:pt x="85000" y="59052"/>
                    <a:pt x="85000" y="59052"/>
                  </a:cubicBezTo>
                  <a:cubicBezTo>
                    <a:pt x="85294" y="58736"/>
                    <a:pt x="85294" y="58736"/>
                    <a:pt x="85294" y="58736"/>
                  </a:cubicBezTo>
                  <a:cubicBezTo>
                    <a:pt x="85000" y="57473"/>
                    <a:pt x="85000" y="57473"/>
                    <a:pt x="85000" y="57473"/>
                  </a:cubicBezTo>
                  <a:close/>
                  <a:moveTo>
                    <a:pt x="92941" y="66000"/>
                  </a:moveTo>
                  <a:cubicBezTo>
                    <a:pt x="92941" y="66000"/>
                    <a:pt x="92941" y="66000"/>
                    <a:pt x="92941" y="66000"/>
                  </a:cubicBezTo>
                  <a:cubicBezTo>
                    <a:pt x="93235" y="65684"/>
                    <a:pt x="93823" y="65052"/>
                    <a:pt x="93823" y="64736"/>
                  </a:cubicBezTo>
                  <a:cubicBezTo>
                    <a:pt x="93823" y="64736"/>
                    <a:pt x="94411" y="64736"/>
                    <a:pt x="94705" y="64736"/>
                  </a:cubicBezTo>
                  <a:cubicBezTo>
                    <a:pt x="94705" y="64736"/>
                    <a:pt x="95882" y="65052"/>
                    <a:pt x="95882" y="65052"/>
                  </a:cubicBezTo>
                  <a:cubicBezTo>
                    <a:pt x="95882" y="65052"/>
                    <a:pt x="96764" y="65052"/>
                    <a:pt x="96764" y="65052"/>
                  </a:cubicBezTo>
                  <a:cubicBezTo>
                    <a:pt x="96764" y="65052"/>
                    <a:pt x="97647" y="64421"/>
                    <a:pt x="97647" y="64421"/>
                  </a:cubicBezTo>
                  <a:cubicBezTo>
                    <a:pt x="97941" y="64421"/>
                    <a:pt x="98823" y="65368"/>
                    <a:pt x="98823" y="65368"/>
                  </a:cubicBezTo>
                  <a:cubicBezTo>
                    <a:pt x="98823" y="65368"/>
                    <a:pt x="98235" y="66315"/>
                    <a:pt x="97941" y="66315"/>
                  </a:cubicBezTo>
                  <a:cubicBezTo>
                    <a:pt x="97647" y="66631"/>
                    <a:pt x="97352" y="66631"/>
                    <a:pt x="97058" y="66947"/>
                  </a:cubicBezTo>
                  <a:cubicBezTo>
                    <a:pt x="96764" y="67578"/>
                    <a:pt x="96764" y="67578"/>
                    <a:pt x="96764" y="67894"/>
                  </a:cubicBezTo>
                  <a:cubicBezTo>
                    <a:pt x="96470" y="67894"/>
                    <a:pt x="96176" y="68526"/>
                    <a:pt x="95588" y="67894"/>
                  </a:cubicBezTo>
                  <a:cubicBezTo>
                    <a:pt x="95000" y="67578"/>
                    <a:pt x="94411" y="66947"/>
                    <a:pt x="94411" y="66947"/>
                  </a:cubicBezTo>
                  <a:cubicBezTo>
                    <a:pt x="94411" y="66947"/>
                    <a:pt x="93823" y="67263"/>
                    <a:pt x="93529" y="67263"/>
                  </a:cubicBezTo>
                  <a:cubicBezTo>
                    <a:pt x="93235" y="67578"/>
                    <a:pt x="92647" y="67263"/>
                    <a:pt x="92647" y="67263"/>
                  </a:cubicBezTo>
                  <a:cubicBezTo>
                    <a:pt x="92941" y="66947"/>
                    <a:pt x="92647" y="66315"/>
                    <a:pt x="92941" y="66000"/>
                  </a:cubicBezTo>
                  <a:close/>
                  <a:moveTo>
                    <a:pt x="86764" y="72315"/>
                  </a:moveTo>
                  <a:cubicBezTo>
                    <a:pt x="86764" y="72315"/>
                    <a:pt x="86764" y="72315"/>
                    <a:pt x="86764" y="72315"/>
                  </a:cubicBezTo>
                  <a:cubicBezTo>
                    <a:pt x="86764" y="72315"/>
                    <a:pt x="85588" y="71684"/>
                    <a:pt x="85882" y="71368"/>
                  </a:cubicBezTo>
                  <a:cubicBezTo>
                    <a:pt x="86176" y="70736"/>
                    <a:pt x="87352" y="69473"/>
                    <a:pt x="87647" y="69157"/>
                  </a:cubicBezTo>
                  <a:cubicBezTo>
                    <a:pt x="87647" y="69157"/>
                    <a:pt x="88529" y="69473"/>
                    <a:pt x="88529" y="69473"/>
                  </a:cubicBezTo>
                  <a:cubicBezTo>
                    <a:pt x="88823" y="69473"/>
                    <a:pt x="89117" y="68526"/>
                    <a:pt x="89411" y="68526"/>
                  </a:cubicBezTo>
                  <a:cubicBezTo>
                    <a:pt x="89411" y="68526"/>
                    <a:pt x="90588" y="68526"/>
                    <a:pt x="90588" y="68526"/>
                  </a:cubicBezTo>
                  <a:cubicBezTo>
                    <a:pt x="90588" y="68526"/>
                    <a:pt x="90000" y="69789"/>
                    <a:pt x="89411" y="70105"/>
                  </a:cubicBezTo>
                  <a:cubicBezTo>
                    <a:pt x="88823" y="70421"/>
                    <a:pt x="88529" y="70421"/>
                    <a:pt x="88529" y="70736"/>
                  </a:cubicBezTo>
                  <a:cubicBezTo>
                    <a:pt x="88235" y="71052"/>
                    <a:pt x="87941" y="71368"/>
                    <a:pt x="87941" y="71684"/>
                  </a:cubicBezTo>
                  <a:cubicBezTo>
                    <a:pt x="87647" y="71684"/>
                    <a:pt x="86764" y="72315"/>
                    <a:pt x="86764" y="72315"/>
                  </a:cubicBezTo>
                  <a:close/>
                  <a:moveTo>
                    <a:pt x="82941" y="84631"/>
                  </a:moveTo>
                  <a:cubicBezTo>
                    <a:pt x="82941" y="84631"/>
                    <a:pt x="82941" y="84631"/>
                    <a:pt x="82941" y="84631"/>
                  </a:cubicBezTo>
                  <a:cubicBezTo>
                    <a:pt x="83235" y="84947"/>
                    <a:pt x="82647" y="86210"/>
                    <a:pt x="81764" y="85578"/>
                  </a:cubicBezTo>
                  <a:cubicBezTo>
                    <a:pt x="81764" y="85578"/>
                    <a:pt x="81470" y="84947"/>
                    <a:pt x="82058" y="84631"/>
                  </a:cubicBezTo>
                  <a:cubicBezTo>
                    <a:pt x="82352" y="84631"/>
                    <a:pt x="82941" y="84631"/>
                    <a:pt x="82941" y="84631"/>
                  </a:cubicBezTo>
                  <a:close/>
                  <a:moveTo>
                    <a:pt x="82058" y="92210"/>
                  </a:moveTo>
                  <a:cubicBezTo>
                    <a:pt x="82058" y="92210"/>
                    <a:pt x="82058" y="92210"/>
                    <a:pt x="82058" y="92210"/>
                  </a:cubicBezTo>
                  <a:cubicBezTo>
                    <a:pt x="82058" y="92210"/>
                    <a:pt x="82647" y="91578"/>
                    <a:pt x="82647" y="91578"/>
                  </a:cubicBezTo>
                  <a:cubicBezTo>
                    <a:pt x="82941" y="91578"/>
                    <a:pt x="83235" y="91894"/>
                    <a:pt x="83235" y="91894"/>
                  </a:cubicBezTo>
                  <a:cubicBezTo>
                    <a:pt x="83235" y="91894"/>
                    <a:pt x="84117" y="92526"/>
                    <a:pt x="84117" y="92526"/>
                  </a:cubicBezTo>
                  <a:cubicBezTo>
                    <a:pt x="84117" y="92842"/>
                    <a:pt x="84411" y="93473"/>
                    <a:pt x="84117" y="93473"/>
                  </a:cubicBezTo>
                  <a:cubicBezTo>
                    <a:pt x="83823" y="93789"/>
                    <a:pt x="83529" y="94105"/>
                    <a:pt x="83235" y="93789"/>
                  </a:cubicBezTo>
                  <a:cubicBezTo>
                    <a:pt x="82941" y="93789"/>
                    <a:pt x="82647" y="93789"/>
                    <a:pt x="82647" y="93473"/>
                  </a:cubicBezTo>
                  <a:cubicBezTo>
                    <a:pt x="82647" y="93157"/>
                    <a:pt x="82647" y="93157"/>
                    <a:pt x="82647" y="92842"/>
                  </a:cubicBezTo>
                  <a:cubicBezTo>
                    <a:pt x="82647" y="92842"/>
                    <a:pt x="82058" y="92842"/>
                    <a:pt x="82058" y="92842"/>
                  </a:cubicBezTo>
                  <a:cubicBezTo>
                    <a:pt x="82058" y="92210"/>
                    <a:pt x="82058" y="92210"/>
                    <a:pt x="82058" y="92210"/>
                  </a:cubicBezTo>
                  <a:close/>
                  <a:moveTo>
                    <a:pt x="70000" y="88105"/>
                  </a:moveTo>
                  <a:cubicBezTo>
                    <a:pt x="70000" y="88105"/>
                    <a:pt x="70000" y="88105"/>
                    <a:pt x="70000" y="88105"/>
                  </a:cubicBezTo>
                  <a:cubicBezTo>
                    <a:pt x="70294" y="88105"/>
                    <a:pt x="70882" y="87789"/>
                    <a:pt x="70882" y="88105"/>
                  </a:cubicBezTo>
                  <a:cubicBezTo>
                    <a:pt x="71176" y="88421"/>
                    <a:pt x="71470" y="88421"/>
                    <a:pt x="71470" y="88736"/>
                  </a:cubicBezTo>
                  <a:cubicBezTo>
                    <a:pt x="71470" y="88736"/>
                    <a:pt x="71764" y="89052"/>
                    <a:pt x="71176" y="89368"/>
                  </a:cubicBezTo>
                  <a:cubicBezTo>
                    <a:pt x="70588" y="89368"/>
                    <a:pt x="70294" y="89368"/>
                    <a:pt x="70294" y="89368"/>
                  </a:cubicBezTo>
                  <a:cubicBezTo>
                    <a:pt x="70588" y="90315"/>
                    <a:pt x="70588" y="90315"/>
                    <a:pt x="70588" y="90315"/>
                  </a:cubicBezTo>
                  <a:cubicBezTo>
                    <a:pt x="70588" y="90315"/>
                    <a:pt x="71176" y="90315"/>
                    <a:pt x="70294" y="90947"/>
                  </a:cubicBezTo>
                  <a:cubicBezTo>
                    <a:pt x="69705" y="91578"/>
                    <a:pt x="69117" y="91578"/>
                    <a:pt x="69117" y="91578"/>
                  </a:cubicBezTo>
                  <a:cubicBezTo>
                    <a:pt x="69117" y="91263"/>
                    <a:pt x="69117" y="91263"/>
                    <a:pt x="69117" y="91263"/>
                  </a:cubicBezTo>
                  <a:cubicBezTo>
                    <a:pt x="68235" y="91578"/>
                    <a:pt x="68235" y="91578"/>
                    <a:pt x="68235" y="91578"/>
                  </a:cubicBezTo>
                  <a:cubicBezTo>
                    <a:pt x="68235" y="91578"/>
                    <a:pt x="67941" y="91894"/>
                    <a:pt x="67941" y="91578"/>
                  </a:cubicBezTo>
                  <a:cubicBezTo>
                    <a:pt x="67647" y="90947"/>
                    <a:pt x="67352" y="90315"/>
                    <a:pt x="67941" y="90315"/>
                  </a:cubicBezTo>
                  <a:cubicBezTo>
                    <a:pt x="68529" y="90000"/>
                    <a:pt x="68529" y="89684"/>
                    <a:pt x="68823" y="90000"/>
                  </a:cubicBezTo>
                  <a:cubicBezTo>
                    <a:pt x="69117" y="90315"/>
                    <a:pt x="69117" y="90631"/>
                    <a:pt x="69117" y="90631"/>
                  </a:cubicBezTo>
                  <a:cubicBezTo>
                    <a:pt x="69411" y="89684"/>
                    <a:pt x="69411" y="89684"/>
                    <a:pt x="69411" y="89684"/>
                  </a:cubicBezTo>
                  <a:cubicBezTo>
                    <a:pt x="69411" y="89684"/>
                    <a:pt x="69117" y="89684"/>
                    <a:pt x="69117" y="89368"/>
                  </a:cubicBezTo>
                  <a:cubicBezTo>
                    <a:pt x="69411" y="89052"/>
                    <a:pt x="69411" y="89052"/>
                    <a:pt x="69705" y="88736"/>
                  </a:cubicBezTo>
                  <a:cubicBezTo>
                    <a:pt x="70000" y="88736"/>
                    <a:pt x="70294" y="89052"/>
                    <a:pt x="70294" y="89052"/>
                  </a:cubicBezTo>
                  <a:cubicBezTo>
                    <a:pt x="70000" y="88105"/>
                    <a:pt x="70000" y="88105"/>
                    <a:pt x="70000" y="88105"/>
                  </a:cubicBezTo>
                  <a:close/>
                  <a:moveTo>
                    <a:pt x="75882" y="90315"/>
                  </a:moveTo>
                  <a:cubicBezTo>
                    <a:pt x="75882" y="90315"/>
                    <a:pt x="75882" y="90315"/>
                    <a:pt x="75882" y="90315"/>
                  </a:cubicBezTo>
                  <a:cubicBezTo>
                    <a:pt x="75882" y="90315"/>
                    <a:pt x="76176" y="90315"/>
                    <a:pt x="76176" y="90631"/>
                  </a:cubicBezTo>
                  <a:cubicBezTo>
                    <a:pt x="76470" y="90947"/>
                    <a:pt x="76470" y="90947"/>
                    <a:pt x="76176" y="90947"/>
                  </a:cubicBezTo>
                  <a:cubicBezTo>
                    <a:pt x="76176" y="90947"/>
                    <a:pt x="75294" y="90947"/>
                    <a:pt x="75294" y="90947"/>
                  </a:cubicBezTo>
                  <a:cubicBezTo>
                    <a:pt x="75294" y="90947"/>
                    <a:pt x="75000" y="91263"/>
                    <a:pt x="75000" y="90631"/>
                  </a:cubicBezTo>
                  <a:cubicBezTo>
                    <a:pt x="75000" y="90315"/>
                    <a:pt x="75000" y="90000"/>
                    <a:pt x="75000" y="90000"/>
                  </a:cubicBezTo>
                  <a:cubicBezTo>
                    <a:pt x="75882" y="90315"/>
                    <a:pt x="75882" y="90315"/>
                    <a:pt x="75882" y="90315"/>
                  </a:cubicBezTo>
                  <a:close/>
                  <a:moveTo>
                    <a:pt x="77941" y="89052"/>
                  </a:moveTo>
                  <a:cubicBezTo>
                    <a:pt x="77941" y="89052"/>
                    <a:pt x="77941" y="89052"/>
                    <a:pt x="77941" y="89052"/>
                  </a:cubicBezTo>
                  <a:cubicBezTo>
                    <a:pt x="79117" y="88105"/>
                    <a:pt x="79117" y="88105"/>
                    <a:pt x="79117" y="88105"/>
                  </a:cubicBezTo>
                  <a:cubicBezTo>
                    <a:pt x="79117" y="88105"/>
                    <a:pt x="79411" y="89052"/>
                    <a:pt x="78823" y="89368"/>
                  </a:cubicBezTo>
                  <a:cubicBezTo>
                    <a:pt x="78529" y="89684"/>
                    <a:pt x="78235" y="89684"/>
                    <a:pt x="78235" y="89684"/>
                  </a:cubicBezTo>
                  <a:cubicBezTo>
                    <a:pt x="77647" y="89368"/>
                    <a:pt x="77647" y="89368"/>
                    <a:pt x="77647" y="89368"/>
                  </a:cubicBezTo>
                  <a:cubicBezTo>
                    <a:pt x="77941" y="89052"/>
                    <a:pt x="77941" y="89052"/>
                    <a:pt x="77941" y="89052"/>
                  </a:cubicBezTo>
                  <a:close/>
                  <a:moveTo>
                    <a:pt x="80294" y="86842"/>
                  </a:moveTo>
                  <a:cubicBezTo>
                    <a:pt x="80294" y="86842"/>
                    <a:pt x="80294" y="86842"/>
                    <a:pt x="80294" y="86842"/>
                  </a:cubicBezTo>
                  <a:cubicBezTo>
                    <a:pt x="80294" y="86842"/>
                    <a:pt x="80000" y="87789"/>
                    <a:pt x="80294" y="88421"/>
                  </a:cubicBezTo>
                  <a:cubicBezTo>
                    <a:pt x="80294" y="88736"/>
                    <a:pt x="80294" y="88736"/>
                    <a:pt x="80588" y="88736"/>
                  </a:cubicBezTo>
                  <a:cubicBezTo>
                    <a:pt x="80882" y="89052"/>
                    <a:pt x="81176" y="89052"/>
                    <a:pt x="81470" y="88736"/>
                  </a:cubicBezTo>
                  <a:cubicBezTo>
                    <a:pt x="81764" y="88736"/>
                    <a:pt x="81764" y="87789"/>
                    <a:pt x="81764" y="87789"/>
                  </a:cubicBezTo>
                  <a:cubicBezTo>
                    <a:pt x="81764" y="87789"/>
                    <a:pt x="81764" y="87473"/>
                    <a:pt x="81470" y="86842"/>
                  </a:cubicBezTo>
                  <a:cubicBezTo>
                    <a:pt x="81176" y="85894"/>
                    <a:pt x="80588" y="86842"/>
                    <a:pt x="80294" y="86842"/>
                  </a:cubicBezTo>
                  <a:close/>
                  <a:moveTo>
                    <a:pt x="80588" y="81789"/>
                  </a:moveTo>
                  <a:cubicBezTo>
                    <a:pt x="80588" y="81789"/>
                    <a:pt x="80588" y="81789"/>
                    <a:pt x="80588" y="81789"/>
                  </a:cubicBezTo>
                  <a:cubicBezTo>
                    <a:pt x="80588" y="81473"/>
                    <a:pt x="80588" y="80526"/>
                    <a:pt x="80882" y="80210"/>
                  </a:cubicBezTo>
                  <a:cubicBezTo>
                    <a:pt x="81176" y="80210"/>
                    <a:pt x="81176" y="79894"/>
                    <a:pt x="81470" y="79578"/>
                  </a:cubicBezTo>
                  <a:cubicBezTo>
                    <a:pt x="81470" y="79263"/>
                    <a:pt x="82647" y="79263"/>
                    <a:pt x="82647" y="79263"/>
                  </a:cubicBezTo>
                  <a:cubicBezTo>
                    <a:pt x="82941" y="79894"/>
                    <a:pt x="82941" y="79894"/>
                    <a:pt x="82941" y="79894"/>
                  </a:cubicBezTo>
                  <a:cubicBezTo>
                    <a:pt x="82941" y="79894"/>
                    <a:pt x="82941" y="80526"/>
                    <a:pt x="82941" y="80842"/>
                  </a:cubicBezTo>
                  <a:cubicBezTo>
                    <a:pt x="82941" y="81157"/>
                    <a:pt x="82941" y="81157"/>
                    <a:pt x="83235" y="81789"/>
                  </a:cubicBezTo>
                  <a:cubicBezTo>
                    <a:pt x="83235" y="82105"/>
                    <a:pt x="82941" y="82736"/>
                    <a:pt x="82941" y="83052"/>
                  </a:cubicBezTo>
                  <a:cubicBezTo>
                    <a:pt x="82647" y="83368"/>
                    <a:pt x="82647" y="83684"/>
                    <a:pt x="82352" y="83684"/>
                  </a:cubicBezTo>
                  <a:cubicBezTo>
                    <a:pt x="82058" y="84000"/>
                    <a:pt x="82058" y="84315"/>
                    <a:pt x="81764" y="84000"/>
                  </a:cubicBezTo>
                  <a:cubicBezTo>
                    <a:pt x="81470" y="83684"/>
                    <a:pt x="80588" y="83368"/>
                    <a:pt x="80588" y="83052"/>
                  </a:cubicBezTo>
                  <a:cubicBezTo>
                    <a:pt x="80588" y="83052"/>
                    <a:pt x="80588" y="82421"/>
                    <a:pt x="80588" y="82421"/>
                  </a:cubicBezTo>
                  <a:cubicBezTo>
                    <a:pt x="80588" y="81789"/>
                    <a:pt x="80588" y="81789"/>
                    <a:pt x="80588" y="81789"/>
                  </a:cubicBezTo>
                  <a:close/>
                  <a:moveTo>
                    <a:pt x="77058" y="83368"/>
                  </a:moveTo>
                  <a:cubicBezTo>
                    <a:pt x="77058" y="83368"/>
                    <a:pt x="77058" y="83368"/>
                    <a:pt x="77058" y="83368"/>
                  </a:cubicBezTo>
                  <a:cubicBezTo>
                    <a:pt x="77058" y="83052"/>
                    <a:pt x="77352" y="81789"/>
                    <a:pt x="77352" y="81789"/>
                  </a:cubicBezTo>
                  <a:cubicBezTo>
                    <a:pt x="77352" y="81789"/>
                    <a:pt x="77352" y="81157"/>
                    <a:pt x="77941" y="80842"/>
                  </a:cubicBezTo>
                  <a:cubicBezTo>
                    <a:pt x="78235" y="80842"/>
                    <a:pt x="78235" y="80526"/>
                    <a:pt x="78529" y="80842"/>
                  </a:cubicBezTo>
                  <a:cubicBezTo>
                    <a:pt x="78823" y="81157"/>
                    <a:pt x="79117" y="81473"/>
                    <a:pt x="79117" y="81473"/>
                  </a:cubicBezTo>
                  <a:cubicBezTo>
                    <a:pt x="79117" y="81473"/>
                    <a:pt x="78823" y="81473"/>
                    <a:pt x="78823" y="81789"/>
                  </a:cubicBezTo>
                  <a:cubicBezTo>
                    <a:pt x="78823" y="81789"/>
                    <a:pt x="79117" y="82421"/>
                    <a:pt x="79117" y="82421"/>
                  </a:cubicBezTo>
                  <a:cubicBezTo>
                    <a:pt x="78823" y="82736"/>
                    <a:pt x="78529" y="83052"/>
                    <a:pt x="78235" y="83368"/>
                  </a:cubicBezTo>
                  <a:cubicBezTo>
                    <a:pt x="78235" y="83684"/>
                    <a:pt x="77647" y="84000"/>
                    <a:pt x="77647" y="84000"/>
                  </a:cubicBezTo>
                  <a:cubicBezTo>
                    <a:pt x="76764" y="84631"/>
                    <a:pt x="76764" y="84631"/>
                    <a:pt x="76764" y="84631"/>
                  </a:cubicBezTo>
                  <a:cubicBezTo>
                    <a:pt x="76764" y="84947"/>
                    <a:pt x="76764" y="84947"/>
                    <a:pt x="76764" y="84947"/>
                  </a:cubicBezTo>
                  <a:cubicBezTo>
                    <a:pt x="76470" y="84947"/>
                    <a:pt x="76470" y="84947"/>
                    <a:pt x="76470" y="84947"/>
                  </a:cubicBezTo>
                  <a:cubicBezTo>
                    <a:pt x="75882" y="84000"/>
                    <a:pt x="75882" y="84000"/>
                    <a:pt x="75882" y="84000"/>
                  </a:cubicBezTo>
                  <a:cubicBezTo>
                    <a:pt x="76764" y="83368"/>
                    <a:pt x="76764" y="83368"/>
                    <a:pt x="76764" y="83368"/>
                  </a:cubicBezTo>
                  <a:cubicBezTo>
                    <a:pt x="77058" y="83368"/>
                    <a:pt x="77058" y="83368"/>
                    <a:pt x="77058" y="83368"/>
                  </a:cubicBezTo>
                  <a:close/>
                  <a:moveTo>
                    <a:pt x="71176" y="84631"/>
                  </a:moveTo>
                  <a:cubicBezTo>
                    <a:pt x="71176" y="84631"/>
                    <a:pt x="71176" y="84631"/>
                    <a:pt x="71176" y="84631"/>
                  </a:cubicBezTo>
                  <a:cubicBezTo>
                    <a:pt x="72058" y="84315"/>
                    <a:pt x="72058" y="84315"/>
                    <a:pt x="72058" y="84315"/>
                  </a:cubicBezTo>
                  <a:cubicBezTo>
                    <a:pt x="72941" y="84947"/>
                    <a:pt x="72941" y="84947"/>
                    <a:pt x="72941" y="84947"/>
                  </a:cubicBezTo>
                  <a:cubicBezTo>
                    <a:pt x="72941" y="85894"/>
                    <a:pt x="72941" y="85894"/>
                    <a:pt x="72941" y="85894"/>
                  </a:cubicBezTo>
                  <a:cubicBezTo>
                    <a:pt x="72941" y="85894"/>
                    <a:pt x="72352" y="87157"/>
                    <a:pt x="72058" y="86842"/>
                  </a:cubicBezTo>
                  <a:cubicBezTo>
                    <a:pt x="71764" y="86210"/>
                    <a:pt x="71764" y="85578"/>
                    <a:pt x="71764" y="85578"/>
                  </a:cubicBezTo>
                  <a:cubicBezTo>
                    <a:pt x="71176" y="84631"/>
                    <a:pt x="71176" y="84631"/>
                    <a:pt x="71176" y="84631"/>
                  </a:cubicBezTo>
                  <a:close/>
                  <a:moveTo>
                    <a:pt x="67352" y="82105"/>
                  </a:moveTo>
                  <a:cubicBezTo>
                    <a:pt x="67352" y="82105"/>
                    <a:pt x="67352" y="82105"/>
                    <a:pt x="67352" y="82105"/>
                  </a:cubicBezTo>
                  <a:cubicBezTo>
                    <a:pt x="67352" y="82105"/>
                    <a:pt x="68823" y="81789"/>
                    <a:pt x="68823" y="82105"/>
                  </a:cubicBezTo>
                  <a:cubicBezTo>
                    <a:pt x="68823" y="82105"/>
                    <a:pt x="68823" y="82736"/>
                    <a:pt x="69117" y="82736"/>
                  </a:cubicBezTo>
                  <a:cubicBezTo>
                    <a:pt x="69117" y="83052"/>
                    <a:pt x="68235" y="84000"/>
                    <a:pt x="67941" y="84000"/>
                  </a:cubicBezTo>
                  <a:cubicBezTo>
                    <a:pt x="67941" y="84000"/>
                    <a:pt x="67647" y="83684"/>
                    <a:pt x="67647" y="83684"/>
                  </a:cubicBezTo>
                  <a:cubicBezTo>
                    <a:pt x="67352" y="82105"/>
                    <a:pt x="67352" y="82105"/>
                    <a:pt x="67352" y="82105"/>
                  </a:cubicBezTo>
                  <a:close/>
                  <a:moveTo>
                    <a:pt x="66176" y="78000"/>
                  </a:moveTo>
                  <a:cubicBezTo>
                    <a:pt x="66176" y="78000"/>
                    <a:pt x="66176" y="78000"/>
                    <a:pt x="66176" y="78000"/>
                  </a:cubicBezTo>
                  <a:cubicBezTo>
                    <a:pt x="66176" y="78000"/>
                    <a:pt x="66470" y="77684"/>
                    <a:pt x="66764" y="77684"/>
                  </a:cubicBezTo>
                  <a:cubicBezTo>
                    <a:pt x="67058" y="78000"/>
                    <a:pt x="67058" y="78947"/>
                    <a:pt x="67058" y="78947"/>
                  </a:cubicBezTo>
                  <a:cubicBezTo>
                    <a:pt x="66764" y="79894"/>
                    <a:pt x="66764" y="79894"/>
                    <a:pt x="66764" y="79894"/>
                  </a:cubicBezTo>
                  <a:cubicBezTo>
                    <a:pt x="66764" y="79894"/>
                    <a:pt x="66176" y="80842"/>
                    <a:pt x="66176" y="80842"/>
                  </a:cubicBezTo>
                  <a:cubicBezTo>
                    <a:pt x="66176" y="80526"/>
                    <a:pt x="65882" y="78947"/>
                    <a:pt x="65882" y="78947"/>
                  </a:cubicBezTo>
                  <a:cubicBezTo>
                    <a:pt x="66176" y="78000"/>
                    <a:pt x="66176" y="78000"/>
                    <a:pt x="66176" y="78000"/>
                  </a:cubicBezTo>
                  <a:close/>
                  <a:moveTo>
                    <a:pt x="64411" y="75473"/>
                  </a:moveTo>
                  <a:cubicBezTo>
                    <a:pt x="64411" y="75473"/>
                    <a:pt x="64411" y="75473"/>
                    <a:pt x="64411" y="75473"/>
                  </a:cubicBezTo>
                  <a:cubicBezTo>
                    <a:pt x="64411" y="75473"/>
                    <a:pt x="64117" y="76421"/>
                    <a:pt x="64117" y="76736"/>
                  </a:cubicBezTo>
                  <a:cubicBezTo>
                    <a:pt x="64117" y="76736"/>
                    <a:pt x="64411" y="77368"/>
                    <a:pt x="64411" y="77368"/>
                  </a:cubicBezTo>
                  <a:cubicBezTo>
                    <a:pt x="64411" y="77684"/>
                    <a:pt x="64411" y="77368"/>
                    <a:pt x="64705" y="77052"/>
                  </a:cubicBezTo>
                  <a:cubicBezTo>
                    <a:pt x="65000" y="76736"/>
                    <a:pt x="65000" y="76421"/>
                    <a:pt x="65000" y="76421"/>
                  </a:cubicBezTo>
                  <a:cubicBezTo>
                    <a:pt x="65000" y="76421"/>
                    <a:pt x="65588" y="76105"/>
                    <a:pt x="65588" y="75789"/>
                  </a:cubicBezTo>
                  <a:cubicBezTo>
                    <a:pt x="65882" y="75789"/>
                    <a:pt x="65882" y="74842"/>
                    <a:pt x="65882" y="74842"/>
                  </a:cubicBezTo>
                  <a:cubicBezTo>
                    <a:pt x="65882" y="74842"/>
                    <a:pt x="65000" y="74210"/>
                    <a:pt x="65000" y="74526"/>
                  </a:cubicBezTo>
                  <a:cubicBezTo>
                    <a:pt x="64705" y="74526"/>
                    <a:pt x="64411" y="75473"/>
                    <a:pt x="64411" y="75473"/>
                  </a:cubicBezTo>
                  <a:close/>
                  <a:moveTo>
                    <a:pt x="68529" y="74842"/>
                  </a:moveTo>
                  <a:cubicBezTo>
                    <a:pt x="68529" y="74842"/>
                    <a:pt x="68529" y="74842"/>
                    <a:pt x="68529" y="74842"/>
                  </a:cubicBezTo>
                  <a:cubicBezTo>
                    <a:pt x="68823" y="74842"/>
                    <a:pt x="68823" y="74842"/>
                    <a:pt x="68823" y="74842"/>
                  </a:cubicBezTo>
                  <a:cubicBezTo>
                    <a:pt x="68823" y="75157"/>
                    <a:pt x="68823" y="75157"/>
                    <a:pt x="68823" y="75157"/>
                  </a:cubicBezTo>
                  <a:cubicBezTo>
                    <a:pt x="68823" y="75157"/>
                    <a:pt x="69705" y="74842"/>
                    <a:pt x="70000" y="74842"/>
                  </a:cubicBezTo>
                  <a:cubicBezTo>
                    <a:pt x="70294" y="74526"/>
                    <a:pt x="70000" y="74210"/>
                    <a:pt x="70000" y="73894"/>
                  </a:cubicBezTo>
                  <a:cubicBezTo>
                    <a:pt x="69705" y="73578"/>
                    <a:pt x="68529" y="74842"/>
                    <a:pt x="68529" y="74842"/>
                  </a:cubicBezTo>
                  <a:close/>
                  <a:moveTo>
                    <a:pt x="72647" y="76105"/>
                  </a:moveTo>
                  <a:cubicBezTo>
                    <a:pt x="72647" y="76105"/>
                    <a:pt x="72647" y="76105"/>
                    <a:pt x="72647" y="76105"/>
                  </a:cubicBezTo>
                  <a:cubicBezTo>
                    <a:pt x="72058" y="75789"/>
                    <a:pt x="72058" y="75789"/>
                    <a:pt x="72058" y="75789"/>
                  </a:cubicBezTo>
                  <a:cubicBezTo>
                    <a:pt x="72058" y="76421"/>
                    <a:pt x="72058" y="76421"/>
                    <a:pt x="72058" y="76421"/>
                  </a:cubicBezTo>
                  <a:cubicBezTo>
                    <a:pt x="72058" y="76421"/>
                    <a:pt x="72352" y="77052"/>
                    <a:pt x="72647" y="77368"/>
                  </a:cubicBezTo>
                  <a:cubicBezTo>
                    <a:pt x="72647" y="77368"/>
                    <a:pt x="72058" y="78000"/>
                    <a:pt x="72058" y="78000"/>
                  </a:cubicBezTo>
                  <a:cubicBezTo>
                    <a:pt x="72647" y="78947"/>
                    <a:pt x="72647" y="78947"/>
                    <a:pt x="72647" y="78947"/>
                  </a:cubicBezTo>
                  <a:cubicBezTo>
                    <a:pt x="73529" y="77368"/>
                    <a:pt x="73529" y="77368"/>
                    <a:pt x="73529" y="77368"/>
                  </a:cubicBezTo>
                  <a:cubicBezTo>
                    <a:pt x="73529" y="77368"/>
                    <a:pt x="73235" y="76736"/>
                    <a:pt x="73235" y="76736"/>
                  </a:cubicBezTo>
                  <a:cubicBezTo>
                    <a:pt x="73235" y="76421"/>
                    <a:pt x="72647" y="76105"/>
                    <a:pt x="72647" y="76105"/>
                  </a:cubicBezTo>
                  <a:close/>
                  <a:moveTo>
                    <a:pt x="76764" y="76105"/>
                  </a:moveTo>
                  <a:cubicBezTo>
                    <a:pt x="76764" y="76105"/>
                    <a:pt x="76764" y="76105"/>
                    <a:pt x="76764" y="76105"/>
                  </a:cubicBezTo>
                  <a:cubicBezTo>
                    <a:pt x="77058" y="76736"/>
                    <a:pt x="77058" y="76736"/>
                    <a:pt x="77058" y="76736"/>
                  </a:cubicBezTo>
                  <a:cubicBezTo>
                    <a:pt x="77058" y="76736"/>
                    <a:pt x="76764" y="77368"/>
                    <a:pt x="76470" y="77368"/>
                  </a:cubicBezTo>
                  <a:cubicBezTo>
                    <a:pt x="76470" y="77368"/>
                    <a:pt x="76176" y="77052"/>
                    <a:pt x="76176" y="77052"/>
                  </a:cubicBezTo>
                  <a:cubicBezTo>
                    <a:pt x="76764" y="76105"/>
                    <a:pt x="76764" y="76105"/>
                    <a:pt x="76764" y="76105"/>
                  </a:cubicBezTo>
                  <a:close/>
                  <a:moveTo>
                    <a:pt x="77647" y="75157"/>
                  </a:moveTo>
                  <a:cubicBezTo>
                    <a:pt x="77647" y="75157"/>
                    <a:pt x="77647" y="75157"/>
                    <a:pt x="77647" y="75157"/>
                  </a:cubicBezTo>
                  <a:cubicBezTo>
                    <a:pt x="77941" y="75789"/>
                    <a:pt x="77941" y="75789"/>
                    <a:pt x="77941" y="75789"/>
                  </a:cubicBezTo>
                  <a:cubicBezTo>
                    <a:pt x="77941" y="75789"/>
                    <a:pt x="78823" y="75473"/>
                    <a:pt x="79411" y="75157"/>
                  </a:cubicBezTo>
                  <a:cubicBezTo>
                    <a:pt x="80294" y="74842"/>
                    <a:pt x="79411" y="74526"/>
                    <a:pt x="79411" y="74526"/>
                  </a:cubicBezTo>
                  <a:cubicBezTo>
                    <a:pt x="78529" y="74526"/>
                    <a:pt x="78529" y="74526"/>
                    <a:pt x="78529" y="74526"/>
                  </a:cubicBezTo>
                  <a:cubicBezTo>
                    <a:pt x="78529" y="74526"/>
                    <a:pt x="77647" y="74842"/>
                    <a:pt x="77647" y="75157"/>
                  </a:cubicBezTo>
                  <a:close/>
                  <a:moveTo>
                    <a:pt x="72647" y="72631"/>
                  </a:moveTo>
                  <a:cubicBezTo>
                    <a:pt x="72647" y="72631"/>
                    <a:pt x="72647" y="72631"/>
                    <a:pt x="72647" y="72631"/>
                  </a:cubicBezTo>
                  <a:cubicBezTo>
                    <a:pt x="73529" y="73578"/>
                    <a:pt x="73529" y="73578"/>
                    <a:pt x="73529" y="73578"/>
                  </a:cubicBezTo>
                  <a:cubicBezTo>
                    <a:pt x="73529" y="73578"/>
                    <a:pt x="74705" y="74210"/>
                    <a:pt x="75000" y="74210"/>
                  </a:cubicBezTo>
                  <a:cubicBezTo>
                    <a:pt x="75000" y="74526"/>
                    <a:pt x="75588" y="74210"/>
                    <a:pt x="76176" y="74210"/>
                  </a:cubicBezTo>
                  <a:cubicBezTo>
                    <a:pt x="76470" y="73894"/>
                    <a:pt x="76470" y="73894"/>
                    <a:pt x="76470" y="73578"/>
                  </a:cubicBezTo>
                  <a:cubicBezTo>
                    <a:pt x="76470" y="73578"/>
                    <a:pt x="76176" y="73263"/>
                    <a:pt x="76176" y="73263"/>
                  </a:cubicBezTo>
                  <a:cubicBezTo>
                    <a:pt x="76176" y="73263"/>
                    <a:pt x="75882" y="72631"/>
                    <a:pt x="75000" y="72631"/>
                  </a:cubicBezTo>
                  <a:cubicBezTo>
                    <a:pt x="74411" y="72947"/>
                    <a:pt x="74411" y="72631"/>
                    <a:pt x="74411" y="72631"/>
                  </a:cubicBezTo>
                  <a:cubicBezTo>
                    <a:pt x="74411" y="72631"/>
                    <a:pt x="74117" y="72631"/>
                    <a:pt x="73235" y="72315"/>
                  </a:cubicBezTo>
                  <a:cubicBezTo>
                    <a:pt x="72647" y="72315"/>
                    <a:pt x="72941" y="72631"/>
                    <a:pt x="72647" y="72631"/>
                  </a:cubicBezTo>
                  <a:close/>
                  <a:moveTo>
                    <a:pt x="72058" y="72315"/>
                  </a:moveTo>
                  <a:cubicBezTo>
                    <a:pt x="72058" y="72315"/>
                    <a:pt x="72058" y="72315"/>
                    <a:pt x="72058" y="72315"/>
                  </a:cubicBezTo>
                  <a:cubicBezTo>
                    <a:pt x="72352" y="72000"/>
                    <a:pt x="72352" y="72000"/>
                    <a:pt x="72352" y="72000"/>
                  </a:cubicBezTo>
                  <a:cubicBezTo>
                    <a:pt x="72352" y="72000"/>
                    <a:pt x="72352" y="71368"/>
                    <a:pt x="72352" y="70421"/>
                  </a:cubicBezTo>
                  <a:cubicBezTo>
                    <a:pt x="72352" y="69789"/>
                    <a:pt x="72058" y="70105"/>
                    <a:pt x="72058" y="70105"/>
                  </a:cubicBezTo>
                  <a:cubicBezTo>
                    <a:pt x="72058" y="69789"/>
                    <a:pt x="72058" y="69473"/>
                    <a:pt x="71764" y="68842"/>
                  </a:cubicBezTo>
                  <a:cubicBezTo>
                    <a:pt x="71470" y="68526"/>
                    <a:pt x="71470" y="68842"/>
                    <a:pt x="71176" y="68842"/>
                  </a:cubicBezTo>
                  <a:cubicBezTo>
                    <a:pt x="71176" y="68842"/>
                    <a:pt x="70882" y="69157"/>
                    <a:pt x="70294" y="69157"/>
                  </a:cubicBezTo>
                  <a:cubicBezTo>
                    <a:pt x="69705" y="69157"/>
                    <a:pt x="70000" y="68526"/>
                    <a:pt x="69705" y="68210"/>
                  </a:cubicBezTo>
                  <a:cubicBezTo>
                    <a:pt x="69411" y="67894"/>
                    <a:pt x="68823" y="67894"/>
                    <a:pt x="68823" y="67894"/>
                  </a:cubicBezTo>
                  <a:cubicBezTo>
                    <a:pt x="68529" y="67894"/>
                    <a:pt x="67941" y="68842"/>
                    <a:pt x="67941" y="69157"/>
                  </a:cubicBezTo>
                  <a:cubicBezTo>
                    <a:pt x="67941" y="69473"/>
                    <a:pt x="68235" y="69473"/>
                    <a:pt x="69117" y="70421"/>
                  </a:cubicBezTo>
                  <a:cubicBezTo>
                    <a:pt x="70000" y="71052"/>
                    <a:pt x="70294" y="71052"/>
                    <a:pt x="70588" y="71052"/>
                  </a:cubicBezTo>
                  <a:cubicBezTo>
                    <a:pt x="70882" y="71368"/>
                    <a:pt x="71764" y="72000"/>
                    <a:pt x="72058" y="72315"/>
                  </a:cubicBezTo>
                  <a:close/>
                  <a:moveTo>
                    <a:pt x="63529" y="113684"/>
                  </a:moveTo>
                  <a:cubicBezTo>
                    <a:pt x="63529" y="113684"/>
                    <a:pt x="63529" y="113684"/>
                    <a:pt x="63529" y="113684"/>
                  </a:cubicBezTo>
                  <a:cubicBezTo>
                    <a:pt x="63823" y="112736"/>
                    <a:pt x="63823" y="112736"/>
                    <a:pt x="63823" y="112736"/>
                  </a:cubicBezTo>
                  <a:cubicBezTo>
                    <a:pt x="63235" y="111789"/>
                    <a:pt x="63235" y="111789"/>
                    <a:pt x="63235" y="111789"/>
                  </a:cubicBezTo>
                  <a:cubicBezTo>
                    <a:pt x="63235" y="110526"/>
                    <a:pt x="63235" y="110526"/>
                    <a:pt x="63235" y="110526"/>
                  </a:cubicBezTo>
                  <a:cubicBezTo>
                    <a:pt x="63529" y="110210"/>
                    <a:pt x="63529" y="110210"/>
                    <a:pt x="63529" y="110210"/>
                  </a:cubicBezTo>
                  <a:cubicBezTo>
                    <a:pt x="63529" y="110210"/>
                    <a:pt x="64117" y="110842"/>
                    <a:pt x="64117" y="111157"/>
                  </a:cubicBezTo>
                  <a:cubicBezTo>
                    <a:pt x="64117" y="111473"/>
                    <a:pt x="64117" y="112105"/>
                    <a:pt x="64117" y="112105"/>
                  </a:cubicBezTo>
                  <a:cubicBezTo>
                    <a:pt x="64117" y="112105"/>
                    <a:pt x="65000" y="112736"/>
                    <a:pt x="65000" y="112736"/>
                  </a:cubicBezTo>
                  <a:cubicBezTo>
                    <a:pt x="65294" y="112736"/>
                    <a:pt x="67058" y="112421"/>
                    <a:pt x="67058" y="112421"/>
                  </a:cubicBezTo>
                  <a:cubicBezTo>
                    <a:pt x="67058" y="112421"/>
                    <a:pt x="67647" y="111473"/>
                    <a:pt x="67647" y="111473"/>
                  </a:cubicBezTo>
                  <a:cubicBezTo>
                    <a:pt x="67941" y="111157"/>
                    <a:pt x="68823" y="110526"/>
                    <a:pt x="68823" y="110526"/>
                  </a:cubicBezTo>
                  <a:cubicBezTo>
                    <a:pt x="68823" y="110526"/>
                    <a:pt x="68823" y="110210"/>
                    <a:pt x="69411" y="110842"/>
                  </a:cubicBezTo>
                  <a:cubicBezTo>
                    <a:pt x="70000" y="111157"/>
                    <a:pt x="69411" y="112105"/>
                    <a:pt x="69411" y="112105"/>
                  </a:cubicBezTo>
                  <a:cubicBezTo>
                    <a:pt x="69117" y="112105"/>
                    <a:pt x="69117" y="112421"/>
                    <a:pt x="69117" y="112421"/>
                  </a:cubicBezTo>
                  <a:cubicBezTo>
                    <a:pt x="69705" y="113052"/>
                    <a:pt x="69705" y="113052"/>
                    <a:pt x="69705" y="113052"/>
                  </a:cubicBezTo>
                  <a:cubicBezTo>
                    <a:pt x="69705" y="113052"/>
                    <a:pt x="69705" y="112421"/>
                    <a:pt x="70000" y="112421"/>
                  </a:cubicBezTo>
                  <a:cubicBezTo>
                    <a:pt x="70294" y="112421"/>
                    <a:pt x="70294" y="112105"/>
                    <a:pt x="70588" y="112105"/>
                  </a:cubicBezTo>
                  <a:cubicBezTo>
                    <a:pt x="70588" y="112421"/>
                    <a:pt x="71176" y="113052"/>
                    <a:pt x="71176" y="113052"/>
                  </a:cubicBezTo>
                  <a:cubicBezTo>
                    <a:pt x="71176" y="113052"/>
                    <a:pt x="71176" y="114000"/>
                    <a:pt x="71470" y="114000"/>
                  </a:cubicBezTo>
                  <a:cubicBezTo>
                    <a:pt x="71764" y="113684"/>
                    <a:pt x="72352" y="114000"/>
                    <a:pt x="72647" y="113684"/>
                  </a:cubicBezTo>
                  <a:cubicBezTo>
                    <a:pt x="72941" y="113684"/>
                    <a:pt x="75882" y="112736"/>
                    <a:pt x="75882" y="112736"/>
                  </a:cubicBezTo>
                  <a:cubicBezTo>
                    <a:pt x="76764" y="112105"/>
                    <a:pt x="76764" y="112105"/>
                    <a:pt x="76764" y="112105"/>
                  </a:cubicBezTo>
                  <a:cubicBezTo>
                    <a:pt x="76764" y="112105"/>
                    <a:pt x="77352" y="111789"/>
                    <a:pt x="77941" y="111789"/>
                  </a:cubicBezTo>
                  <a:cubicBezTo>
                    <a:pt x="78235" y="111789"/>
                    <a:pt x="80000" y="111157"/>
                    <a:pt x="80000" y="111157"/>
                  </a:cubicBezTo>
                  <a:cubicBezTo>
                    <a:pt x="80000" y="111157"/>
                    <a:pt x="80882" y="110526"/>
                    <a:pt x="81470" y="110842"/>
                  </a:cubicBezTo>
                  <a:cubicBezTo>
                    <a:pt x="81764" y="111473"/>
                    <a:pt x="82941" y="112421"/>
                    <a:pt x="82941" y="112421"/>
                  </a:cubicBezTo>
                  <a:cubicBezTo>
                    <a:pt x="84705" y="112105"/>
                    <a:pt x="84705" y="112105"/>
                    <a:pt x="84705" y="112105"/>
                  </a:cubicBezTo>
                  <a:cubicBezTo>
                    <a:pt x="84705" y="112105"/>
                    <a:pt x="85294" y="111789"/>
                    <a:pt x="85294" y="111789"/>
                  </a:cubicBezTo>
                  <a:cubicBezTo>
                    <a:pt x="85588" y="112105"/>
                    <a:pt x="87352" y="111789"/>
                    <a:pt x="87352" y="111789"/>
                  </a:cubicBezTo>
                  <a:cubicBezTo>
                    <a:pt x="87352" y="111789"/>
                    <a:pt x="88235" y="110842"/>
                    <a:pt x="88529" y="110842"/>
                  </a:cubicBezTo>
                  <a:cubicBezTo>
                    <a:pt x="88529" y="110842"/>
                    <a:pt x="90588" y="110210"/>
                    <a:pt x="90588" y="110210"/>
                  </a:cubicBezTo>
                  <a:cubicBezTo>
                    <a:pt x="90588" y="110210"/>
                    <a:pt x="90882" y="110210"/>
                    <a:pt x="90882" y="110842"/>
                  </a:cubicBezTo>
                  <a:cubicBezTo>
                    <a:pt x="90882" y="111473"/>
                    <a:pt x="90882" y="112421"/>
                    <a:pt x="90882" y="112736"/>
                  </a:cubicBezTo>
                  <a:cubicBezTo>
                    <a:pt x="91176" y="113052"/>
                    <a:pt x="90882" y="113684"/>
                    <a:pt x="91470" y="113684"/>
                  </a:cubicBezTo>
                  <a:cubicBezTo>
                    <a:pt x="92058" y="113368"/>
                    <a:pt x="92647" y="113052"/>
                    <a:pt x="92647" y="113052"/>
                  </a:cubicBezTo>
                  <a:cubicBezTo>
                    <a:pt x="92647" y="113052"/>
                    <a:pt x="92058" y="113052"/>
                    <a:pt x="93235" y="112421"/>
                  </a:cubicBezTo>
                  <a:cubicBezTo>
                    <a:pt x="94117" y="111789"/>
                    <a:pt x="94411" y="111473"/>
                    <a:pt x="94705" y="111473"/>
                  </a:cubicBezTo>
                  <a:cubicBezTo>
                    <a:pt x="95000" y="111473"/>
                    <a:pt x="95000" y="111157"/>
                    <a:pt x="95294" y="111157"/>
                  </a:cubicBezTo>
                  <a:cubicBezTo>
                    <a:pt x="95882" y="111157"/>
                    <a:pt x="95882" y="111157"/>
                    <a:pt x="96176" y="111157"/>
                  </a:cubicBezTo>
                  <a:cubicBezTo>
                    <a:pt x="96470" y="110842"/>
                    <a:pt x="97058" y="109894"/>
                    <a:pt x="97058" y="109894"/>
                  </a:cubicBezTo>
                  <a:cubicBezTo>
                    <a:pt x="97058" y="109894"/>
                    <a:pt x="97352" y="109263"/>
                    <a:pt x="97647" y="109263"/>
                  </a:cubicBezTo>
                  <a:cubicBezTo>
                    <a:pt x="97647" y="109263"/>
                    <a:pt x="98235" y="108947"/>
                    <a:pt x="98235" y="108947"/>
                  </a:cubicBezTo>
                  <a:cubicBezTo>
                    <a:pt x="97941" y="109894"/>
                    <a:pt x="97941" y="109894"/>
                    <a:pt x="97941" y="109894"/>
                  </a:cubicBezTo>
                  <a:cubicBezTo>
                    <a:pt x="97941" y="109894"/>
                    <a:pt x="98529" y="111157"/>
                    <a:pt x="98529" y="111473"/>
                  </a:cubicBezTo>
                  <a:cubicBezTo>
                    <a:pt x="98529" y="111473"/>
                    <a:pt x="98529" y="111789"/>
                    <a:pt x="98235" y="112105"/>
                  </a:cubicBezTo>
                  <a:cubicBezTo>
                    <a:pt x="98235" y="112736"/>
                    <a:pt x="98235" y="113052"/>
                    <a:pt x="98235" y="113052"/>
                  </a:cubicBezTo>
                  <a:cubicBezTo>
                    <a:pt x="97941" y="113368"/>
                    <a:pt x="97941" y="113684"/>
                    <a:pt x="97941" y="114000"/>
                  </a:cubicBezTo>
                  <a:cubicBezTo>
                    <a:pt x="97647" y="114000"/>
                    <a:pt x="96764" y="114631"/>
                    <a:pt x="96764" y="114631"/>
                  </a:cubicBezTo>
                  <a:cubicBezTo>
                    <a:pt x="95294" y="114315"/>
                    <a:pt x="95294" y="114315"/>
                    <a:pt x="95294" y="114315"/>
                  </a:cubicBezTo>
                  <a:cubicBezTo>
                    <a:pt x="95294" y="114315"/>
                    <a:pt x="94705" y="114631"/>
                    <a:pt x="94411" y="114947"/>
                  </a:cubicBezTo>
                  <a:cubicBezTo>
                    <a:pt x="93823" y="114947"/>
                    <a:pt x="92941" y="115894"/>
                    <a:pt x="92647" y="115894"/>
                  </a:cubicBezTo>
                  <a:cubicBezTo>
                    <a:pt x="92352" y="115894"/>
                    <a:pt x="91470" y="115894"/>
                    <a:pt x="90588" y="115894"/>
                  </a:cubicBezTo>
                  <a:cubicBezTo>
                    <a:pt x="89705" y="116210"/>
                    <a:pt x="87352" y="116842"/>
                    <a:pt x="87352" y="116842"/>
                  </a:cubicBezTo>
                  <a:cubicBezTo>
                    <a:pt x="87352" y="116842"/>
                    <a:pt x="87058" y="117157"/>
                    <a:pt x="86764" y="117473"/>
                  </a:cubicBezTo>
                  <a:cubicBezTo>
                    <a:pt x="86176" y="117473"/>
                    <a:pt x="85000" y="118105"/>
                    <a:pt x="84705" y="118105"/>
                  </a:cubicBezTo>
                  <a:cubicBezTo>
                    <a:pt x="84411" y="118421"/>
                    <a:pt x="83529" y="119052"/>
                    <a:pt x="83235" y="119052"/>
                  </a:cubicBezTo>
                  <a:cubicBezTo>
                    <a:pt x="82941" y="119052"/>
                    <a:pt x="82647" y="119368"/>
                    <a:pt x="81470" y="119368"/>
                  </a:cubicBezTo>
                  <a:cubicBezTo>
                    <a:pt x="80000" y="119684"/>
                    <a:pt x="79705" y="120000"/>
                    <a:pt x="79705" y="120000"/>
                  </a:cubicBezTo>
                  <a:cubicBezTo>
                    <a:pt x="78823" y="120000"/>
                    <a:pt x="78823" y="120000"/>
                    <a:pt x="78823" y="120000"/>
                  </a:cubicBezTo>
                  <a:cubicBezTo>
                    <a:pt x="78823" y="117789"/>
                    <a:pt x="78823" y="117789"/>
                    <a:pt x="78823" y="117789"/>
                  </a:cubicBezTo>
                  <a:cubicBezTo>
                    <a:pt x="78823" y="117789"/>
                    <a:pt x="78823" y="116842"/>
                    <a:pt x="77941" y="117157"/>
                  </a:cubicBezTo>
                  <a:cubicBezTo>
                    <a:pt x="77058" y="117473"/>
                    <a:pt x="78235" y="117157"/>
                    <a:pt x="76470" y="117473"/>
                  </a:cubicBezTo>
                  <a:cubicBezTo>
                    <a:pt x="75000" y="117789"/>
                    <a:pt x="74117" y="116842"/>
                    <a:pt x="74117" y="116842"/>
                  </a:cubicBezTo>
                  <a:cubicBezTo>
                    <a:pt x="74117" y="116842"/>
                    <a:pt x="72647" y="116842"/>
                    <a:pt x="72058" y="117157"/>
                  </a:cubicBezTo>
                  <a:cubicBezTo>
                    <a:pt x="71470" y="117157"/>
                    <a:pt x="70588" y="117157"/>
                    <a:pt x="70294" y="117157"/>
                  </a:cubicBezTo>
                  <a:cubicBezTo>
                    <a:pt x="70000" y="117473"/>
                    <a:pt x="70000" y="117157"/>
                    <a:pt x="69117" y="117473"/>
                  </a:cubicBezTo>
                  <a:cubicBezTo>
                    <a:pt x="68235" y="117473"/>
                    <a:pt x="67352" y="117789"/>
                    <a:pt x="67352" y="117789"/>
                  </a:cubicBezTo>
                  <a:cubicBezTo>
                    <a:pt x="66470" y="117157"/>
                    <a:pt x="66470" y="117157"/>
                    <a:pt x="66470" y="117157"/>
                  </a:cubicBezTo>
                  <a:cubicBezTo>
                    <a:pt x="66470" y="117157"/>
                    <a:pt x="65588" y="117157"/>
                    <a:pt x="65294" y="117473"/>
                  </a:cubicBezTo>
                  <a:cubicBezTo>
                    <a:pt x="64705" y="117789"/>
                    <a:pt x="65000" y="118105"/>
                    <a:pt x="64411" y="118105"/>
                  </a:cubicBezTo>
                  <a:cubicBezTo>
                    <a:pt x="63823" y="118105"/>
                    <a:pt x="64117" y="118421"/>
                    <a:pt x="63529" y="118105"/>
                  </a:cubicBezTo>
                  <a:cubicBezTo>
                    <a:pt x="62647" y="117789"/>
                    <a:pt x="62058" y="117473"/>
                    <a:pt x="62058" y="117473"/>
                  </a:cubicBezTo>
                  <a:cubicBezTo>
                    <a:pt x="61764" y="115578"/>
                    <a:pt x="61764" y="115578"/>
                    <a:pt x="61764" y="115578"/>
                  </a:cubicBezTo>
                  <a:cubicBezTo>
                    <a:pt x="61764" y="115578"/>
                    <a:pt x="61764" y="115578"/>
                    <a:pt x="61764" y="114631"/>
                  </a:cubicBezTo>
                  <a:cubicBezTo>
                    <a:pt x="61470" y="114000"/>
                    <a:pt x="61176" y="112736"/>
                    <a:pt x="61176" y="112736"/>
                  </a:cubicBezTo>
                  <a:cubicBezTo>
                    <a:pt x="61764" y="111789"/>
                    <a:pt x="61764" y="111789"/>
                    <a:pt x="61764" y="111789"/>
                  </a:cubicBezTo>
                  <a:cubicBezTo>
                    <a:pt x="61764" y="111789"/>
                    <a:pt x="62058" y="112421"/>
                    <a:pt x="62058" y="112736"/>
                  </a:cubicBezTo>
                  <a:cubicBezTo>
                    <a:pt x="62058" y="112736"/>
                    <a:pt x="62058" y="113684"/>
                    <a:pt x="62352" y="113684"/>
                  </a:cubicBezTo>
                  <a:cubicBezTo>
                    <a:pt x="62941" y="113684"/>
                    <a:pt x="63529" y="113684"/>
                    <a:pt x="63529" y="113684"/>
                  </a:cubicBezTo>
                  <a:close/>
                  <a:moveTo>
                    <a:pt x="50588" y="100736"/>
                  </a:moveTo>
                  <a:cubicBezTo>
                    <a:pt x="50588" y="100736"/>
                    <a:pt x="50588" y="100736"/>
                    <a:pt x="50588" y="100736"/>
                  </a:cubicBezTo>
                  <a:cubicBezTo>
                    <a:pt x="51470" y="100421"/>
                    <a:pt x="51470" y="100421"/>
                    <a:pt x="51470" y="100421"/>
                  </a:cubicBezTo>
                  <a:cubicBezTo>
                    <a:pt x="51764" y="101368"/>
                    <a:pt x="51764" y="101368"/>
                    <a:pt x="51764" y="101368"/>
                  </a:cubicBezTo>
                  <a:cubicBezTo>
                    <a:pt x="52647" y="101684"/>
                    <a:pt x="52647" y="101684"/>
                    <a:pt x="52647" y="101684"/>
                  </a:cubicBezTo>
                  <a:cubicBezTo>
                    <a:pt x="52647" y="101684"/>
                    <a:pt x="53823" y="102315"/>
                    <a:pt x="53823" y="102631"/>
                  </a:cubicBezTo>
                  <a:cubicBezTo>
                    <a:pt x="53823" y="102631"/>
                    <a:pt x="53235" y="103578"/>
                    <a:pt x="53235" y="103578"/>
                  </a:cubicBezTo>
                  <a:cubicBezTo>
                    <a:pt x="53235" y="103578"/>
                    <a:pt x="53235" y="104210"/>
                    <a:pt x="53235" y="104526"/>
                  </a:cubicBezTo>
                  <a:cubicBezTo>
                    <a:pt x="53235" y="104526"/>
                    <a:pt x="52647" y="104526"/>
                    <a:pt x="52352" y="104526"/>
                  </a:cubicBezTo>
                  <a:cubicBezTo>
                    <a:pt x="52058" y="104210"/>
                    <a:pt x="51176" y="103894"/>
                    <a:pt x="51176" y="103894"/>
                  </a:cubicBezTo>
                  <a:cubicBezTo>
                    <a:pt x="51176" y="102631"/>
                    <a:pt x="51176" y="102631"/>
                    <a:pt x="51176" y="102631"/>
                  </a:cubicBezTo>
                  <a:cubicBezTo>
                    <a:pt x="50294" y="101684"/>
                    <a:pt x="50294" y="101684"/>
                    <a:pt x="50294" y="101684"/>
                  </a:cubicBezTo>
                  <a:cubicBezTo>
                    <a:pt x="50588" y="100736"/>
                    <a:pt x="50588" y="100736"/>
                    <a:pt x="50588" y="100736"/>
                  </a:cubicBezTo>
                  <a:close/>
                  <a:moveTo>
                    <a:pt x="27058" y="73263"/>
                  </a:moveTo>
                  <a:cubicBezTo>
                    <a:pt x="27058" y="73263"/>
                    <a:pt x="27058" y="73263"/>
                    <a:pt x="27058" y="73263"/>
                  </a:cubicBezTo>
                  <a:cubicBezTo>
                    <a:pt x="27058" y="73263"/>
                    <a:pt x="26470" y="73263"/>
                    <a:pt x="26470" y="73263"/>
                  </a:cubicBezTo>
                  <a:cubicBezTo>
                    <a:pt x="26176" y="73263"/>
                    <a:pt x="25882" y="73263"/>
                    <a:pt x="25588" y="73263"/>
                  </a:cubicBezTo>
                  <a:cubicBezTo>
                    <a:pt x="25294" y="73263"/>
                    <a:pt x="25588" y="73894"/>
                    <a:pt x="25588" y="74210"/>
                  </a:cubicBezTo>
                  <a:cubicBezTo>
                    <a:pt x="25588" y="74210"/>
                    <a:pt x="25588" y="74842"/>
                    <a:pt x="25588" y="75157"/>
                  </a:cubicBezTo>
                  <a:cubicBezTo>
                    <a:pt x="25294" y="75473"/>
                    <a:pt x="25000" y="75789"/>
                    <a:pt x="25000" y="76105"/>
                  </a:cubicBezTo>
                  <a:cubicBezTo>
                    <a:pt x="25000" y="76105"/>
                    <a:pt x="25000" y="76736"/>
                    <a:pt x="25000" y="77052"/>
                  </a:cubicBezTo>
                  <a:cubicBezTo>
                    <a:pt x="24705" y="77052"/>
                    <a:pt x="24117" y="77684"/>
                    <a:pt x="23823" y="77684"/>
                  </a:cubicBezTo>
                  <a:cubicBezTo>
                    <a:pt x="23529" y="78000"/>
                    <a:pt x="22941" y="78315"/>
                    <a:pt x="22941" y="78315"/>
                  </a:cubicBezTo>
                  <a:cubicBezTo>
                    <a:pt x="23529" y="79894"/>
                    <a:pt x="23529" y="79894"/>
                    <a:pt x="23529" y="79894"/>
                  </a:cubicBezTo>
                  <a:cubicBezTo>
                    <a:pt x="23529" y="79894"/>
                    <a:pt x="24117" y="79578"/>
                    <a:pt x="24411" y="79894"/>
                  </a:cubicBezTo>
                  <a:cubicBezTo>
                    <a:pt x="24705" y="80210"/>
                    <a:pt x="25588" y="80842"/>
                    <a:pt x="25882" y="80842"/>
                  </a:cubicBezTo>
                  <a:cubicBezTo>
                    <a:pt x="25882" y="80842"/>
                    <a:pt x="26470" y="82736"/>
                    <a:pt x="26470" y="82736"/>
                  </a:cubicBezTo>
                  <a:cubicBezTo>
                    <a:pt x="26764" y="83052"/>
                    <a:pt x="27058" y="82736"/>
                    <a:pt x="27058" y="82736"/>
                  </a:cubicBezTo>
                  <a:cubicBezTo>
                    <a:pt x="27058" y="82736"/>
                    <a:pt x="27647" y="83052"/>
                    <a:pt x="27941" y="83368"/>
                  </a:cubicBezTo>
                  <a:cubicBezTo>
                    <a:pt x="28235" y="83368"/>
                    <a:pt x="28823" y="83684"/>
                    <a:pt x="29117" y="84000"/>
                  </a:cubicBezTo>
                  <a:cubicBezTo>
                    <a:pt x="29411" y="84000"/>
                    <a:pt x="30000" y="84947"/>
                    <a:pt x="30294" y="84947"/>
                  </a:cubicBezTo>
                  <a:cubicBezTo>
                    <a:pt x="30588" y="85263"/>
                    <a:pt x="31176" y="85894"/>
                    <a:pt x="31176" y="85894"/>
                  </a:cubicBezTo>
                  <a:cubicBezTo>
                    <a:pt x="31176" y="85894"/>
                    <a:pt x="31764" y="86842"/>
                    <a:pt x="32058" y="87473"/>
                  </a:cubicBezTo>
                  <a:cubicBezTo>
                    <a:pt x="32058" y="87789"/>
                    <a:pt x="32058" y="87789"/>
                    <a:pt x="31764" y="88105"/>
                  </a:cubicBezTo>
                  <a:cubicBezTo>
                    <a:pt x="31470" y="88421"/>
                    <a:pt x="31470" y="88736"/>
                    <a:pt x="31176" y="89368"/>
                  </a:cubicBezTo>
                  <a:cubicBezTo>
                    <a:pt x="30882" y="90000"/>
                    <a:pt x="31470" y="90631"/>
                    <a:pt x="31470" y="90631"/>
                  </a:cubicBezTo>
                  <a:cubicBezTo>
                    <a:pt x="31470" y="92210"/>
                    <a:pt x="31470" y="92210"/>
                    <a:pt x="31470" y="92210"/>
                  </a:cubicBezTo>
                  <a:cubicBezTo>
                    <a:pt x="31764" y="92842"/>
                    <a:pt x="31764" y="92842"/>
                    <a:pt x="31764" y="92842"/>
                  </a:cubicBezTo>
                  <a:cubicBezTo>
                    <a:pt x="31764" y="92842"/>
                    <a:pt x="32058" y="93157"/>
                    <a:pt x="32352" y="93157"/>
                  </a:cubicBezTo>
                  <a:cubicBezTo>
                    <a:pt x="32647" y="93473"/>
                    <a:pt x="32647" y="93473"/>
                    <a:pt x="32647" y="93473"/>
                  </a:cubicBezTo>
                  <a:cubicBezTo>
                    <a:pt x="32647" y="93473"/>
                    <a:pt x="33235" y="94105"/>
                    <a:pt x="33529" y="94421"/>
                  </a:cubicBezTo>
                  <a:cubicBezTo>
                    <a:pt x="33529" y="94736"/>
                    <a:pt x="33235" y="95052"/>
                    <a:pt x="33235" y="95368"/>
                  </a:cubicBezTo>
                  <a:cubicBezTo>
                    <a:pt x="33235" y="95684"/>
                    <a:pt x="33529" y="96947"/>
                    <a:pt x="33529" y="96947"/>
                  </a:cubicBezTo>
                  <a:cubicBezTo>
                    <a:pt x="33529" y="96947"/>
                    <a:pt x="34117" y="96631"/>
                    <a:pt x="34705" y="96315"/>
                  </a:cubicBezTo>
                  <a:cubicBezTo>
                    <a:pt x="35000" y="96315"/>
                    <a:pt x="35294" y="96631"/>
                    <a:pt x="35588" y="96631"/>
                  </a:cubicBezTo>
                  <a:cubicBezTo>
                    <a:pt x="35882" y="96947"/>
                    <a:pt x="35882" y="97263"/>
                    <a:pt x="35882" y="97263"/>
                  </a:cubicBezTo>
                  <a:cubicBezTo>
                    <a:pt x="35882" y="97263"/>
                    <a:pt x="36764" y="96631"/>
                    <a:pt x="36764" y="96315"/>
                  </a:cubicBezTo>
                  <a:cubicBezTo>
                    <a:pt x="36764" y="96315"/>
                    <a:pt x="36764" y="95684"/>
                    <a:pt x="36764" y="95684"/>
                  </a:cubicBezTo>
                  <a:cubicBezTo>
                    <a:pt x="36764" y="95684"/>
                    <a:pt x="36764" y="94421"/>
                    <a:pt x="36764" y="94105"/>
                  </a:cubicBezTo>
                  <a:cubicBezTo>
                    <a:pt x="36764" y="93789"/>
                    <a:pt x="36470" y="92842"/>
                    <a:pt x="36470" y="92526"/>
                  </a:cubicBezTo>
                  <a:cubicBezTo>
                    <a:pt x="36470" y="92526"/>
                    <a:pt x="36764" y="91894"/>
                    <a:pt x="36764" y="91894"/>
                  </a:cubicBezTo>
                  <a:cubicBezTo>
                    <a:pt x="36764" y="91894"/>
                    <a:pt x="37647" y="91578"/>
                    <a:pt x="37941" y="91578"/>
                  </a:cubicBezTo>
                  <a:cubicBezTo>
                    <a:pt x="38235" y="91578"/>
                    <a:pt x="38529" y="91894"/>
                    <a:pt x="38823" y="92210"/>
                  </a:cubicBezTo>
                  <a:cubicBezTo>
                    <a:pt x="38823" y="92526"/>
                    <a:pt x="38823" y="93789"/>
                    <a:pt x="38823" y="93789"/>
                  </a:cubicBezTo>
                  <a:cubicBezTo>
                    <a:pt x="40588" y="94105"/>
                    <a:pt x="40588" y="94105"/>
                    <a:pt x="40588" y="94105"/>
                  </a:cubicBezTo>
                  <a:cubicBezTo>
                    <a:pt x="40588" y="94105"/>
                    <a:pt x="41176" y="94421"/>
                    <a:pt x="41176" y="94421"/>
                  </a:cubicBezTo>
                  <a:cubicBezTo>
                    <a:pt x="41176" y="94736"/>
                    <a:pt x="41470" y="95368"/>
                    <a:pt x="41764" y="95684"/>
                  </a:cubicBezTo>
                  <a:cubicBezTo>
                    <a:pt x="42058" y="96000"/>
                    <a:pt x="42352" y="96315"/>
                    <a:pt x="42352" y="96315"/>
                  </a:cubicBezTo>
                  <a:cubicBezTo>
                    <a:pt x="42352" y="96315"/>
                    <a:pt x="42941" y="97894"/>
                    <a:pt x="43235" y="98210"/>
                  </a:cubicBezTo>
                  <a:cubicBezTo>
                    <a:pt x="43235" y="98526"/>
                    <a:pt x="43235" y="99157"/>
                    <a:pt x="43235" y="99789"/>
                  </a:cubicBezTo>
                  <a:cubicBezTo>
                    <a:pt x="43235" y="100421"/>
                    <a:pt x="43235" y="100421"/>
                    <a:pt x="43235" y="100421"/>
                  </a:cubicBezTo>
                  <a:cubicBezTo>
                    <a:pt x="43235" y="100421"/>
                    <a:pt x="44117" y="100736"/>
                    <a:pt x="44411" y="101052"/>
                  </a:cubicBezTo>
                  <a:cubicBezTo>
                    <a:pt x="45000" y="101368"/>
                    <a:pt x="44705" y="101052"/>
                    <a:pt x="45000" y="100736"/>
                  </a:cubicBezTo>
                  <a:cubicBezTo>
                    <a:pt x="45294" y="100421"/>
                    <a:pt x="45000" y="100105"/>
                    <a:pt x="45000" y="99789"/>
                  </a:cubicBezTo>
                  <a:cubicBezTo>
                    <a:pt x="45000" y="99473"/>
                    <a:pt x="45000" y="98842"/>
                    <a:pt x="44705" y="98210"/>
                  </a:cubicBezTo>
                  <a:cubicBezTo>
                    <a:pt x="44705" y="97894"/>
                    <a:pt x="44705" y="97578"/>
                    <a:pt x="44705" y="97578"/>
                  </a:cubicBezTo>
                  <a:cubicBezTo>
                    <a:pt x="44705" y="97578"/>
                    <a:pt x="45000" y="96947"/>
                    <a:pt x="45000" y="96631"/>
                  </a:cubicBezTo>
                  <a:cubicBezTo>
                    <a:pt x="45000" y="96631"/>
                    <a:pt x="45000" y="96000"/>
                    <a:pt x="45000" y="95684"/>
                  </a:cubicBezTo>
                  <a:cubicBezTo>
                    <a:pt x="45000" y="95368"/>
                    <a:pt x="45588" y="95052"/>
                    <a:pt x="45588" y="95052"/>
                  </a:cubicBezTo>
                  <a:cubicBezTo>
                    <a:pt x="45588" y="95052"/>
                    <a:pt x="45588" y="94736"/>
                    <a:pt x="45882" y="94105"/>
                  </a:cubicBezTo>
                  <a:cubicBezTo>
                    <a:pt x="46176" y="93789"/>
                    <a:pt x="45882" y="94105"/>
                    <a:pt x="46176" y="94105"/>
                  </a:cubicBezTo>
                  <a:cubicBezTo>
                    <a:pt x="46470" y="93789"/>
                    <a:pt x="46764" y="93789"/>
                    <a:pt x="47352" y="93789"/>
                  </a:cubicBezTo>
                  <a:cubicBezTo>
                    <a:pt x="47647" y="93789"/>
                    <a:pt x="47941" y="94105"/>
                    <a:pt x="47941" y="94105"/>
                  </a:cubicBezTo>
                  <a:cubicBezTo>
                    <a:pt x="48529" y="95052"/>
                    <a:pt x="48529" y="95052"/>
                    <a:pt x="48529" y="95052"/>
                  </a:cubicBezTo>
                  <a:cubicBezTo>
                    <a:pt x="48529" y="95052"/>
                    <a:pt x="48529" y="95052"/>
                    <a:pt x="48529" y="95368"/>
                  </a:cubicBezTo>
                  <a:cubicBezTo>
                    <a:pt x="48529" y="95684"/>
                    <a:pt x="49117" y="96315"/>
                    <a:pt x="49117" y="96315"/>
                  </a:cubicBezTo>
                  <a:cubicBezTo>
                    <a:pt x="50294" y="97263"/>
                    <a:pt x="50294" y="97263"/>
                    <a:pt x="50294" y="97263"/>
                  </a:cubicBezTo>
                  <a:cubicBezTo>
                    <a:pt x="50294" y="97263"/>
                    <a:pt x="50294" y="97578"/>
                    <a:pt x="50294" y="97578"/>
                  </a:cubicBezTo>
                  <a:cubicBezTo>
                    <a:pt x="50294" y="97894"/>
                    <a:pt x="50588" y="98526"/>
                    <a:pt x="50882" y="98842"/>
                  </a:cubicBezTo>
                  <a:cubicBezTo>
                    <a:pt x="51176" y="99473"/>
                    <a:pt x="50882" y="98526"/>
                    <a:pt x="51176" y="98526"/>
                  </a:cubicBezTo>
                  <a:cubicBezTo>
                    <a:pt x="51176" y="98210"/>
                    <a:pt x="51470" y="97894"/>
                    <a:pt x="51470" y="97894"/>
                  </a:cubicBezTo>
                  <a:cubicBezTo>
                    <a:pt x="52058" y="98842"/>
                    <a:pt x="52058" y="98842"/>
                    <a:pt x="52058" y="98842"/>
                  </a:cubicBezTo>
                  <a:cubicBezTo>
                    <a:pt x="52058" y="98842"/>
                    <a:pt x="53235" y="99157"/>
                    <a:pt x="53529" y="99157"/>
                  </a:cubicBezTo>
                  <a:cubicBezTo>
                    <a:pt x="53823" y="98842"/>
                    <a:pt x="54117" y="98526"/>
                    <a:pt x="54117" y="98526"/>
                  </a:cubicBezTo>
                  <a:cubicBezTo>
                    <a:pt x="53529" y="97894"/>
                    <a:pt x="53529" y="97894"/>
                    <a:pt x="53529" y="97894"/>
                  </a:cubicBezTo>
                  <a:cubicBezTo>
                    <a:pt x="52941" y="96947"/>
                    <a:pt x="52941" y="96947"/>
                    <a:pt x="52941" y="96947"/>
                  </a:cubicBezTo>
                  <a:cubicBezTo>
                    <a:pt x="52941" y="96947"/>
                    <a:pt x="52058" y="96000"/>
                    <a:pt x="51764" y="96000"/>
                  </a:cubicBezTo>
                  <a:cubicBezTo>
                    <a:pt x="51470" y="95684"/>
                    <a:pt x="51176" y="95368"/>
                    <a:pt x="51176" y="95052"/>
                  </a:cubicBezTo>
                  <a:cubicBezTo>
                    <a:pt x="50882" y="94736"/>
                    <a:pt x="50882" y="94105"/>
                    <a:pt x="50882" y="94105"/>
                  </a:cubicBezTo>
                  <a:cubicBezTo>
                    <a:pt x="51176" y="93789"/>
                    <a:pt x="51176" y="93157"/>
                    <a:pt x="51470" y="92526"/>
                  </a:cubicBezTo>
                  <a:cubicBezTo>
                    <a:pt x="51764" y="91894"/>
                    <a:pt x="51176" y="92526"/>
                    <a:pt x="51176" y="92526"/>
                  </a:cubicBezTo>
                  <a:cubicBezTo>
                    <a:pt x="51176" y="92526"/>
                    <a:pt x="50588" y="91578"/>
                    <a:pt x="50882" y="91263"/>
                  </a:cubicBezTo>
                  <a:cubicBezTo>
                    <a:pt x="50882" y="91263"/>
                    <a:pt x="49705" y="89368"/>
                    <a:pt x="49705" y="89368"/>
                  </a:cubicBezTo>
                  <a:cubicBezTo>
                    <a:pt x="49705" y="89368"/>
                    <a:pt x="49411" y="88736"/>
                    <a:pt x="49411" y="88736"/>
                  </a:cubicBezTo>
                  <a:cubicBezTo>
                    <a:pt x="49411" y="88736"/>
                    <a:pt x="48529" y="88105"/>
                    <a:pt x="48235" y="88105"/>
                  </a:cubicBezTo>
                  <a:cubicBezTo>
                    <a:pt x="47941" y="87789"/>
                    <a:pt x="47647" y="87473"/>
                    <a:pt x="47647" y="87473"/>
                  </a:cubicBezTo>
                  <a:cubicBezTo>
                    <a:pt x="47647" y="87157"/>
                    <a:pt x="47647" y="86526"/>
                    <a:pt x="47647" y="86210"/>
                  </a:cubicBezTo>
                  <a:cubicBezTo>
                    <a:pt x="47352" y="85894"/>
                    <a:pt x="47058" y="85263"/>
                    <a:pt x="46764" y="84947"/>
                  </a:cubicBezTo>
                  <a:cubicBezTo>
                    <a:pt x="46470" y="84631"/>
                    <a:pt x="46176" y="84000"/>
                    <a:pt x="45882" y="83368"/>
                  </a:cubicBezTo>
                  <a:cubicBezTo>
                    <a:pt x="45588" y="83052"/>
                    <a:pt x="45294" y="82421"/>
                    <a:pt x="45294" y="82421"/>
                  </a:cubicBezTo>
                  <a:cubicBezTo>
                    <a:pt x="45000" y="81157"/>
                    <a:pt x="45000" y="81157"/>
                    <a:pt x="45000" y="81157"/>
                  </a:cubicBezTo>
                  <a:cubicBezTo>
                    <a:pt x="45000" y="80526"/>
                    <a:pt x="45000" y="80526"/>
                    <a:pt x="45000" y="80526"/>
                  </a:cubicBezTo>
                  <a:cubicBezTo>
                    <a:pt x="45882" y="81157"/>
                    <a:pt x="45882" y="81157"/>
                    <a:pt x="45882" y="81157"/>
                  </a:cubicBezTo>
                  <a:cubicBezTo>
                    <a:pt x="45882" y="81157"/>
                    <a:pt x="46470" y="80842"/>
                    <a:pt x="46764" y="80842"/>
                  </a:cubicBezTo>
                  <a:cubicBezTo>
                    <a:pt x="47058" y="80842"/>
                    <a:pt x="47941" y="81157"/>
                    <a:pt x="47941" y="81157"/>
                  </a:cubicBezTo>
                  <a:cubicBezTo>
                    <a:pt x="47941" y="81157"/>
                    <a:pt x="48529" y="81473"/>
                    <a:pt x="48823" y="81473"/>
                  </a:cubicBezTo>
                  <a:cubicBezTo>
                    <a:pt x="48823" y="81473"/>
                    <a:pt x="49117" y="81789"/>
                    <a:pt x="49411" y="81473"/>
                  </a:cubicBezTo>
                  <a:cubicBezTo>
                    <a:pt x="49705" y="81473"/>
                    <a:pt x="50000" y="82105"/>
                    <a:pt x="50000" y="82421"/>
                  </a:cubicBezTo>
                  <a:cubicBezTo>
                    <a:pt x="50000" y="82736"/>
                    <a:pt x="49705" y="83052"/>
                    <a:pt x="49705" y="83052"/>
                  </a:cubicBezTo>
                  <a:cubicBezTo>
                    <a:pt x="49705" y="83368"/>
                    <a:pt x="49705" y="83684"/>
                    <a:pt x="49705" y="83684"/>
                  </a:cubicBezTo>
                  <a:cubicBezTo>
                    <a:pt x="49705" y="83684"/>
                    <a:pt x="50294" y="84000"/>
                    <a:pt x="50588" y="84000"/>
                  </a:cubicBezTo>
                  <a:cubicBezTo>
                    <a:pt x="50588" y="84315"/>
                    <a:pt x="50294" y="84631"/>
                    <a:pt x="50294" y="84631"/>
                  </a:cubicBezTo>
                  <a:cubicBezTo>
                    <a:pt x="50294" y="84631"/>
                    <a:pt x="50294" y="85263"/>
                    <a:pt x="50294" y="85578"/>
                  </a:cubicBezTo>
                  <a:cubicBezTo>
                    <a:pt x="50588" y="85578"/>
                    <a:pt x="50882" y="84947"/>
                    <a:pt x="50882" y="84947"/>
                  </a:cubicBezTo>
                  <a:cubicBezTo>
                    <a:pt x="50882" y="84947"/>
                    <a:pt x="51176" y="84315"/>
                    <a:pt x="51176" y="84000"/>
                  </a:cubicBezTo>
                  <a:cubicBezTo>
                    <a:pt x="51176" y="83684"/>
                    <a:pt x="51764" y="83368"/>
                    <a:pt x="51764" y="83368"/>
                  </a:cubicBezTo>
                  <a:cubicBezTo>
                    <a:pt x="52352" y="82105"/>
                    <a:pt x="52352" y="82105"/>
                    <a:pt x="52352" y="82105"/>
                  </a:cubicBezTo>
                  <a:cubicBezTo>
                    <a:pt x="52941" y="81473"/>
                    <a:pt x="52941" y="81473"/>
                    <a:pt x="52941" y="81473"/>
                  </a:cubicBezTo>
                  <a:cubicBezTo>
                    <a:pt x="52941" y="81473"/>
                    <a:pt x="54117" y="81157"/>
                    <a:pt x="54411" y="80842"/>
                  </a:cubicBezTo>
                  <a:cubicBezTo>
                    <a:pt x="54705" y="80526"/>
                    <a:pt x="54705" y="80842"/>
                    <a:pt x="54705" y="80526"/>
                  </a:cubicBezTo>
                  <a:cubicBezTo>
                    <a:pt x="55000" y="80526"/>
                    <a:pt x="55000" y="79894"/>
                    <a:pt x="55000" y="79894"/>
                  </a:cubicBezTo>
                  <a:cubicBezTo>
                    <a:pt x="54411" y="79263"/>
                    <a:pt x="54411" y="79263"/>
                    <a:pt x="54411" y="79263"/>
                  </a:cubicBezTo>
                  <a:cubicBezTo>
                    <a:pt x="53235" y="79578"/>
                    <a:pt x="53235" y="79578"/>
                    <a:pt x="53235" y="79578"/>
                  </a:cubicBezTo>
                  <a:cubicBezTo>
                    <a:pt x="52941" y="78947"/>
                    <a:pt x="52941" y="78947"/>
                    <a:pt x="52941" y="78947"/>
                  </a:cubicBezTo>
                  <a:cubicBezTo>
                    <a:pt x="52941" y="78947"/>
                    <a:pt x="52941" y="78947"/>
                    <a:pt x="53235" y="78947"/>
                  </a:cubicBezTo>
                  <a:cubicBezTo>
                    <a:pt x="53235" y="78947"/>
                    <a:pt x="53235" y="77684"/>
                    <a:pt x="53235" y="77684"/>
                  </a:cubicBezTo>
                  <a:cubicBezTo>
                    <a:pt x="53235" y="77684"/>
                    <a:pt x="52647" y="78000"/>
                    <a:pt x="52352" y="78000"/>
                  </a:cubicBezTo>
                  <a:cubicBezTo>
                    <a:pt x="52058" y="78000"/>
                    <a:pt x="52352" y="78947"/>
                    <a:pt x="52352" y="78947"/>
                  </a:cubicBezTo>
                  <a:cubicBezTo>
                    <a:pt x="52352" y="78947"/>
                    <a:pt x="50882" y="78631"/>
                    <a:pt x="50588" y="78631"/>
                  </a:cubicBezTo>
                  <a:cubicBezTo>
                    <a:pt x="50294" y="78315"/>
                    <a:pt x="50294" y="78000"/>
                    <a:pt x="50294" y="78000"/>
                  </a:cubicBezTo>
                  <a:cubicBezTo>
                    <a:pt x="50000" y="77684"/>
                    <a:pt x="50588" y="76736"/>
                    <a:pt x="50588" y="76736"/>
                  </a:cubicBezTo>
                  <a:cubicBezTo>
                    <a:pt x="50882" y="75473"/>
                    <a:pt x="50882" y="75473"/>
                    <a:pt x="50882" y="75473"/>
                  </a:cubicBezTo>
                  <a:cubicBezTo>
                    <a:pt x="50882" y="75473"/>
                    <a:pt x="49411" y="75157"/>
                    <a:pt x="49411" y="74842"/>
                  </a:cubicBezTo>
                  <a:cubicBezTo>
                    <a:pt x="49411" y="74526"/>
                    <a:pt x="47941" y="75473"/>
                    <a:pt x="47352" y="74842"/>
                  </a:cubicBezTo>
                  <a:cubicBezTo>
                    <a:pt x="47058" y="74210"/>
                    <a:pt x="47058" y="74210"/>
                    <a:pt x="47058" y="74210"/>
                  </a:cubicBezTo>
                  <a:cubicBezTo>
                    <a:pt x="46470" y="73578"/>
                    <a:pt x="46470" y="73578"/>
                    <a:pt x="46470" y="73578"/>
                  </a:cubicBezTo>
                  <a:cubicBezTo>
                    <a:pt x="45882" y="73578"/>
                    <a:pt x="45882" y="73578"/>
                    <a:pt x="45882" y="73578"/>
                  </a:cubicBezTo>
                  <a:cubicBezTo>
                    <a:pt x="45882" y="73578"/>
                    <a:pt x="45000" y="73894"/>
                    <a:pt x="44705" y="73894"/>
                  </a:cubicBezTo>
                  <a:cubicBezTo>
                    <a:pt x="44411" y="73894"/>
                    <a:pt x="44411" y="73263"/>
                    <a:pt x="44411" y="73263"/>
                  </a:cubicBezTo>
                  <a:cubicBezTo>
                    <a:pt x="42941" y="72631"/>
                    <a:pt x="42941" y="72631"/>
                    <a:pt x="42941" y="72631"/>
                  </a:cubicBezTo>
                  <a:cubicBezTo>
                    <a:pt x="41470" y="72315"/>
                    <a:pt x="41470" y="72315"/>
                    <a:pt x="41470" y="72315"/>
                  </a:cubicBezTo>
                  <a:cubicBezTo>
                    <a:pt x="41470" y="72315"/>
                    <a:pt x="39705" y="72000"/>
                    <a:pt x="39117" y="71684"/>
                  </a:cubicBezTo>
                  <a:cubicBezTo>
                    <a:pt x="38823" y="71684"/>
                    <a:pt x="37352" y="71368"/>
                    <a:pt x="36764" y="71368"/>
                  </a:cubicBezTo>
                  <a:cubicBezTo>
                    <a:pt x="36176" y="71368"/>
                    <a:pt x="35588" y="71368"/>
                    <a:pt x="35000" y="71052"/>
                  </a:cubicBezTo>
                  <a:cubicBezTo>
                    <a:pt x="34705" y="70736"/>
                    <a:pt x="33823" y="70421"/>
                    <a:pt x="33823" y="70421"/>
                  </a:cubicBezTo>
                  <a:cubicBezTo>
                    <a:pt x="33823" y="70421"/>
                    <a:pt x="32058" y="69789"/>
                    <a:pt x="32058" y="69789"/>
                  </a:cubicBezTo>
                  <a:cubicBezTo>
                    <a:pt x="31764" y="69789"/>
                    <a:pt x="31470" y="69789"/>
                    <a:pt x="31470" y="69789"/>
                  </a:cubicBezTo>
                  <a:cubicBezTo>
                    <a:pt x="31176" y="69789"/>
                    <a:pt x="30588" y="70736"/>
                    <a:pt x="30000" y="71052"/>
                  </a:cubicBezTo>
                  <a:cubicBezTo>
                    <a:pt x="29705" y="71052"/>
                    <a:pt x="29705" y="72000"/>
                    <a:pt x="29411" y="72315"/>
                  </a:cubicBezTo>
                  <a:cubicBezTo>
                    <a:pt x="29411" y="72947"/>
                    <a:pt x="29117" y="73263"/>
                    <a:pt x="28823" y="73263"/>
                  </a:cubicBezTo>
                  <a:cubicBezTo>
                    <a:pt x="28823" y="73578"/>
                    <a:pt x="27058" y="72947"/>
                    <a:pt x="27058" y="73263"/>
                  </a:cubicBezTo>
                  <a:close/>
                  <a:moveTo>
                    <a:pt x="17647" y="79578"/>
                  </a:moveTo>
                  <a:cubicBezTo>
                    <a:pt x="17647" y="79578"/>
                    <a:pt x="17647" y="79578"/>
                    <a:pt x="17647" y="79578"/>
                  </a:cubicBezTo>
                  <a:cubicBezTo>
                    <a:pt x="17647" y="79578"/>
                    <a:pt x="18235" y="79263"/>
                    <a:pt x="18235" y="79578"/>
                  </a:cubicBezTo>
                  <a:cubicBezTo>
                    <a:pt x="18235" y="79578"/>
                    <a:pt x="18529" y="79894"/>
                    <a:pt x="18529" y="80210"/>
                  </a:cubicBezTo>
                  <a:cubicBezTo>
                    <a:pt x="18823" y="80210"/>
                    <a:pt x="19411" y="80842"/>
                    <a:pt x="19705" y="80842"/>
                  </a:cubicBezTo>
                  <a:cubicBezTo>
                    <a:pt x="20000" y="80842"/>
                    <a:pt x="20882" y="80842"/>
                    <a:pt x="20882" y="80842"/>
                  </a:cubicBezTo>
                  <a:cubicBezTo>
                    <a:pt x="21764" y="81789"/>
                    <a:pt x="21764" y="81789"/>
                    <a:pt x="21764" y="81789"/>
                  </a:cubicBezTo>
                  <a:cubicBezTo>
                    <a:pt x="21764" y="81789"/>
                    <a:pt x="22647" y="82105"/>
                    <a:pt x="22647" y="82421"/>
                  </a:cubicBezTo>
                  <a:cubicBezTo>
                    <a:pt x="22647" y="82421"/>
                    <a:pt x="21176" y="83368"/>
                    <a:pt x="21176" y="83368"/>
                  </a:cubicBezTo>
                  <a:cubicBezTo>
                    <a:pt x="20882" y="83684"/>
                    <a:pt x="20882" y="83684"/>
                    <a:pt x="20882" y="83684"/>
                  </a:cubicBezTo>
                  <a:cubicBezTo>
                    <a:pt x="20882" y="83684"/>
                    <a:pt x="20882" y="84315"/>
                    <a:pt x="20294" y="84000"/>
                  </a:cubicBezTo>
                  <a:cubicBezTo>
                    <a:pt x="20000" y="84000"/>
                    <a:pt x="19705" y="84000"/>
                    <a:pt x="19411" y="83684"/>
                  </a:cubicBezTo>
                  <a:cubicBezTo>
                    <a:pt x="19411" y="83368"/>
                    <a:pt x="19411" y="83368"/>
                    <a:pt x="19117" y="83052"/>
                  </a:cubicBezTo>
                  <a:cubicBezTo>
                    <a:pt x="18529" y="82736"/>
                    <a:pt x="17352" y="81789"/>
                    <a:pt x="17352" y="81789"/>
                  </a:cubicBezTo>
                  <a:cubicBezTo>
                    <a:pt x="17352" y="80842"/>
                    <a:pt x="17352" y="80842"/>
                    <a:pt x="17352" y="80842"/>
                  </a:cubicBezTo>
                  <a:cubicBezTo>
                    <a:pt x="17352" y="80210"/>
                    <a:pt x="17352" y="80210"/>
                    <a:pt x="17352" y="80210"/>
                  </a:cubicBezTo>
                  <a:cubicBezTo>
                    <a:pt x="17647" y="79578"/>
                    <a:pt x="17647" y="79578"/>
                    <a:pt x="17647" y="79578"/>
                  </a:cubicBezTo>
                  <a:close/>
                  <a:moveTo>
                    <a:pt x="14117" y="73894"/>
                  </a:moveTo>
                  <a:cubicBezTo>
                    <a:pt x="14117" y="73894"/>
                    <a:pt x="14117" y="73894"/>
                    <a:pt x="14117" y="73894"/>
                  </a:cubicBezTo>
                  <a:cubicBezTo>
                    <a:pt x="13235" y="72631"/>
                    <a:pt x="13235" y="72631"/>
                    <a:pt x="13235" y="72631"/>
                  </a:cubicBezTo>
                  <a:cubicBezTo>
                    <a:pt x="12647" y="73894"/>
                    <a:pt x="12647" y="73894"/>
                    <a:pt x="12647" y="73894"/>
                  </a:cubicBezTo>
                  <a:cubicBezTo>
                    <a:pt x="12352" y="75157"/>
                    <a:pt x="12352" y="75157"/>
                    <a:pt x="12352" y="75157"/>
                  </a:cubicBezTo>
                  <a:cubicBezTo>
                    <a:pt x="13235" y="75789"/>
                    <a:pt x="13235" y="75789"/>
                    <a:pt x="13235" y="75789"/>
                  </a:cubicBezTo>
                  <a:cubicBezTo>
                    <a:pt x="13529" y="75789"/>
                    <a:pt x="13529" y="75789"/>
                    <a:pt x="13529" y="75789"/>
                  </a:cubicBezTo>
                  <a:cubicBezTo>
                    <a:pt x="14117" y="74842"/>
                    <a:pt x="14117" y="74842"/>
                    <a:pt x="14117" y="74842"/>
                  </a:cubicBezTo>
                  <a:cubicBezTo>
                    <a:pt x="14705" y="75789"/>
                    <a:pt x="14705" y="75789"/>
                    <a:pt x="14705" y="75789"/>
                  </a:cubicBezTo>
                  <a:cubicBezTo>
                    <a:pt x="15294" y="77052"/>
                    <a:pt x="15294" y="77052"/>
                    <a:pt x="15294" y="77052"/>
                  </a:cubicBezTo>
                  <a:cubicBezTo>
                    <a:pt x="15294" y="77052"/>
                    <a:pt x="15882" y="76421"/>
                    <a:pt x="16176" y="76105"/>
                  </a:cubicBezTo>
                  <a:cubicBezTo>
                    <a:pt x="16470" y="76105"/>
                    <a:pt x="17647" y="77052"/>
                    <a:pt x="17647" y="77052"/>
                  </a:cubicBezTo>
                  <a:cubicBezTo>
                    <a:pt x="17647" y="77052"/>
                    <a:pt x="18823" y="76421"/>
                    <a:pt x="19117" y="76421"/>
                  </a:cubicBezTo>
                  <a:cubicBezTo>
                    <a:pt x="19411" y="76421"/>
                    <a:pt x="18529" y="75473"/>
                    <a:pt x="18529" y="75473"/>
                  </a:cubicBezTo>
                  <a:cubicBezTo>
                    <a:pt x="17647" y="74526"/>
                    <a:pt x="17647" y="74526"/>
                    <a:pt x="17647" y="74526"/>
                  </a:cubicBezTo>
                  <a:cubicBezTo>
                    <a:pt x="17058" y="73894"/>
                    <a:pt x="17058" y="73894"/>
                    <a:pt x="17058" y="73894"/>
                  </a:cubicBezTo>
                  <a:cubicBezTo>
                    <a:pt x="15882" y="73263"/>
                    <a:pt x="15882" y="73263"/>
                    <a:pt x="15882" y="73263"/>
                  </a:cubicBezTo>
                  <a:cubicBezTo>
                    <a:pt x="15882" y="72947"/>
                    <a:pt x="15882" y="72947"/>
                    <a:pt x="15882" y="72947"/>
                  </a:cubicBezTo>
                  <a:cubicBezTo>
                    <a:pt x="16176" y="72315"/>
                    <a:pt x="16176" y="72315"/>
                    <a:pt x="16176" y="72315"/>
                  </a:cubicBezTo>
                  <a:cubicBezTo>
                    <a:pt x="16176" y="72315"/>
                    <a:pt x="16176" y="72947"/>
                    <a:pt x="16764" y="72631"/>
                  </a:cubicBezTo>
                  <a:cubicBezTo>
                    <a:pt x="17352" y="72631"/>
                    <a:pt x="17352" y="72631"/>
                    <a:pt x="17352" y="72315"/>
                  </a:cubicBezTo>
                  <a:cubicBezTo>
                    <a:pt x="17647" y="72315"/>
                    <a:pt x="17352" y="72000"/>
                    <a:pt x="17352" y="72000"/>
                  </a:cubicBezTo>
                  <a:cubicBezTo>
                    <a:pt x="16470" y="71368"/>
                    <a:pt x="16470" y="71368"/>
                    <a:pt x="16470" y="71368"/>
                  </a:cubicBezTo>
                  <a:cubicBezTo>
                    <a:pt x="16764" y="70421"/>
                    <a:pt x="16764" y="70421"/>
                    <a:pt x="16764" y="70421"/>
                  </a:cubicBezTo>
                  <a:cubicBezTo>
                    <a:pt x="15882" y="69789"/>
                    <a:pt x="15882" y="69789"/>
                    <a:pt x="15882" y="69789"/>
                  </a:cubicBezTo>
                  <a:cubicBezTo>
                    <a:pt x="15588" y="70736"/>
                    <a:pt x="15588" y="70736"/>
                    <a:pt x="15588" y="70736"/>
                  </a:cubicBezTo>
                  <a:cubicBezTo>
                    <a:pt x="14705" y="70421"/>
                    <a:pt x="14705" y="70421"/>
                    <a:pt x="14705" y="70421"/>
                  </a:cubicBezTo>
                  <a:cubicBezTo>
                    <a:pt x="14705" y="70421"/>
                    <a:pt x="14411" y="71052"/>
                    <a:pt x="14411" y="71052"/>
                  </a:cubicBezTo>
                  <a:cubicBezTo>
                    <a:pt x="14411" y="71368"/>
                    <a:pt x="14705" y="72315"/>
                    <a:pt x="14705" y="72315"/>
                  </a:cubicBezTo>
                  <a:cubicBezTo>
                    <a:pt x="14117" y="73894"/>
                    <a:pt x="14117" y="73894"/>
                    <a:pt x="14117" y="73894"/>
                  </a:cubicBezTo>
                  <a:close/>
                  <a:moveTo>
                    <a:pt x="3235" y="50842"/>
                  </a:moveTo>
                  <a:cubicBezTo>
                    <a:pt x="3235" y="50842"/>
                    <a:pt x="3235" y="50842"/>
                    <a:pt x="3235" y="50842"/>
                  </a:cubicBezTo>
                  <a:cubicBezTo>
                    <a:pt x="2647" y="50842"/>
                    <a:pt x="2647" y="50842"/>
                    <a:pt x="2647" y="50842"/>
                  </a:cubicBezTo>
                  <a:cubicBezTo>
                    <a:pt x="2647" y="50842"/>
                    <a:pt x="2647" y="51157"/>
                    <a:pt x="2941" y="51473"/>
                  </a:cubicBezTo>
                  <a:cubicBezTo>
                    <a:pt x="3235" y="51789"/>
                    <a:pt x="3823" y="53684"/>
                    <a:pt x="3823" y="53684"/>
                  </a:cubicBezTo>
                  <a:cubicBezTo>
                    <a:pt x="4411" y="54000"/>
                    <a:pt x="4411" y="54000"/>
                    <a:pt x="4411" y="54000"/>
                  </a:cubicBezTo>
                  <a:cubicBezTo>
                    <a:pt x="5588" y="54631"/>
                    <a:pt x="5588" y="54631"/>
                    <a:pt x="5588" y="54631"/>
                  </a:cubicBezTo>
                  <a:cubicBezTo>
                    <a:pt x="6470" y="55578"/>
                    <a:pt x="6470" y="55578"/>
                    <a:pt x="6470" y="55578"/>
                  </a:cubicBezTo>
                  <a:cubicBezTo>
                    <a:pt x="6470" y="55578"/>
                    <a:pt x="7058" y="56526"/>
                    <a:pt x="6176" y="56210"/>
                  </a:cubicBezTo>
                  <a:cubicBezTo>
                    <a:pt x="5294" y="55894"/>
                    <a:pt x="4411" y="55263"/>
                    <a:pt x="4117" y="54947"/>
                  </a:cubicBezTo>
                  <a:cubicBezTo>
                    <a:pt x="3529" y="54947"/>
                    <a:pt x="2941" y="54631"/>
                    <a:pt x="2941" y="54631"/>
                  </a:cubicBezTo>
                  <a:cubicBezTo>
                    <a:pt x="2941" y="54631"/>
                    <a:pt x="2647" y="53052"/>
                    <a:pt x="2647" y="52736"/>
                  </a:cubicBezTo>
                  <a:cubicBezTo>
                    <a:pt x="2352" y="52736"/>
                    <a:pt x="1764" y="52421"/>
                    <a:pt x="1764" y="52421"/>
                  </a:cubicBezTo>
                  <a:cubicBezTo>
                    <a:pt x="0" y="51473"/>
                    <a:pt x="0" y="51473"/>
                    <a:pt x="0" y="51473"/>
                  </a:cubicBezTo>
                  <a:cubicBezTo>
                    <a:pt x="0" y="51473"/>
                    <a:pt x="0" y="50210"/>
                    <a:pt x="294" y="49894"/>
                  </a:cubicBezTo>
                  <a:cubicBezTo>
                    <a:pt x="294" y="49894"/>
                    <a:pt x="294" y="49263"/>
                    <a:pt x="882" y="49263"/>
                  </a:cubicBezTo>
                  <a:cubicBezTo>
                    <a:pt x="1176" y="48947"/>
                    <a:pt x="2058" y="48947"/>
                    <a:pt x="2058" y="48947"/>
                  </a:cubicBezTo>
                  <a:cubicBezTo>
                    <a:pt x="2058" y="48947"/>
                    <a:pt x="2058" y="48000"/>
                    <a:pt x="2352" y="48315"/>
                  </a:cubicBezTo>
                  <a:cubicBezTo>
                    <a:pt x="2647" y="48631"/>
                    <a:pt x="3235" y="49578"/>
                    <a:pt x="3235" y="49578"/>
                  </a:cubicBezTo>
                  <a:lnTo>
                    <a:pt x="3235" y="50842"/>
                  </a:lnTo>
                  <a:close/>
                </a:path>
              </a:pathLst>
            </a:custGeom>
            <a:grpFill/>
            <a:ln w="3175" cap="flat" cmpd="sng">
              <a:solidFill>
                <a:schemeClr val="tx1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defTabSz="457178"/>
              <a:endParaRPr kern="0">
                <a:solidFill>
                  <a:srgbClr val="7F7F7F"/>
                </a:solidFill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49" name="Shape 2056">
              <a:extLst>
                <a:ext uri="{FF2B5EF4-FFF2-40B4-BE49-F238E27FC236}">
                  <a16:creationId xmlns:a16="http://schemas.microsoft.com/office/drawing/2014/main" id="{6946941F-54DA-4073-9DFC-F4F7B09FA683}"/>
                </a:ext>
              </a:extLst>
            </p:cNvPr>
            <p:cNvSpPr/>
            <p:nvPr/>
          </p:nvSpPr>
          <p:spPr>
            <a:xfrm>
              <a:off x="6551975" y="3312876"/>
              <a:ext cx="1810761" cy="94396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9874" y="22482"/>
                  </a:moveTo>
                  <a:cubicBezTo>
                    <a:pt x="108362" y="23606"/>
                    <a:pt x="108362" y="23606"/>
                    <a:pt x="108362" y="23606"/>
                  </a:cubicBezTo>
                  <a:cubicBezTo>
                    <a:pt x="108362" y="24168"/>
                    <a:pt x="108362" y="24168"/>
                    <a:pt x="108362" y="24168"/>
                  </a:cubicBezTo>
                  <a:cubicBezTo>
                    <a:pt x="109269" y="26135"/>
                    <a:pt x="109269" y="26135"/>
                    <a:pt x="109269" y="26135"/>
                  </a:cubicBezTo>
                  <a:cubicBezTo>
                    <a:pt x="110176" y="26697"/>
                    <a:pt x="110176" y="26697"/>
                    <a:pt x="110176" y="26697"/>
                  </a:cubicBezTo>
                  <a:cubicBezTo>
                    <a:pt x="110780" y="29508"/>
                    <a:pt x="110780" y="29508"/>
                    <a:pt x="110780" y="29508"/>
                  </a:cubicBezTo>
                  <a:cubicBezTo>
                    <a:pt x="112141" y="32599"/>
                    <a:pt x="112141" y="32599"/>
                    <a:pt x="112141" y="32599"/>
                  </a:cubicBezTo>
                  <a:cubicBezTo>
                    <a:pt x="113047" y="36252"/>
                    <a:pt x="113047" y="36252"/>
                    <a:pt x="113047" y="36252"/>
                  </a:cubicBezTo>
                  <a:cubicBezTo>
                    <a:pt x="114256" y="36533"/>
                    <a:pt x="114256" y="36533"/>
                    <a:pt x="114256" y="36533"/>
                  </a:cubicBezTo>
                  <a:cubicBezTo>
                    <a:pt x="114559" y="37939"/>
                    <a:pt x="114256" y="35971"/>
                    <a:pt x="114256" y="38220"/>
                  </a:cubicBezTo>
                  <a:cubicBezTo>
                    <a:pt x="113954" y="41592"/>
                    <a:pt x="113803" y="39344"/>
                    <a:pt x="114256" y="43278"/>
                  </a:cubicBezTo>
                  <a:cubicBezTo>
                    <a:pt x="114256" y="44402"/>
                    <a:pt x="116523" y="43840"/>
                    <a:pt x="116675" y="43840"/>
                  </a:cubicBezTo>
                  <a:cubicBezTo>
                    <a:pt x="116523" y="44121"/>
                    <a:pt x="117430" y="44964"/>
                    <a:pt x="117128" y="46370"/>
                  </a:cubicBezTo>
                  <a:cubicBezTo>
                    <a:pt x="116826" y="47494"/>
                    <a:pt x="118337" y="46932"/>
                    <a:pt x="117884" y="48618"/>
                  </a:cubicBezTo>
                  <a:cubicBezTo>
                    <a:pt x="117732" y="49180"/>
                    <a:pt x="118942" y="48618"/>
                    <a:pt x="119546" y="49180"/>
                  </a:cubicBezTo>
                  <a:cubicBezTo>
                    <a:pt x="120000" y="49461"/>
                    <a:pt x="120000" y="50866"/>
                    <a:pt x="119848" y="51147"/>
                  </a:cubicBezTo>
                  <a:cubicBezTo>
                    <a:pt x="119546" y="51990"/>
                    <a:pt x="119395" y="51428"/>
                    <a:pt x="118790" y="52552"/>
                  </a:cubicBezTo>
                  <a:cubicBezTo>
                    <a:pt x="117884" y="53676"/>
                    <a:pt x="118337" y="54519"/>
                    <a:pt x="118337" y="54800"/>
                  </a:cubicBezTo>
                  <a:cubicBezTo>
                    <a:pt x="118186" y="55644"/>
                    <a:pt x="117884" y="55925"/>
                    <a:pt x="117732" y="56206"/>
                  </a:cubicBezTo>
                  <a:cubicBezTo>
                    <a:pt x="116675" y="55081"/>
                    <a:pt x="116675" y="55081"/>
                    <a:pt x="116675" y="55081"/>
                  </a:cubicBezTo>
                  <a:cubicBezTo>
                    <a:pt x="116372" y="52833"/>
                    <a:pt x="116372" y="52833"/>
                    <a:pt x="116372" y="52833"/>
                  </a:cubicBezTo>
                  <a:cubicBezTo>
                    <a:pt x="115012" y="52833"/>
                    <a:pt x="115012" y="52833"/>
                    <a:pt x="115012" y="52833"/>
                  </a:cubicBezTo>
                  <a:cubicBezTo>
                    <a:pt x="114408" y="55081"/>
                    <a:pt x="114408" y="55081"/>
                    <a:pt x="114408" y="55081"/>
                  </a:cubicBezTo>
                  <a:cubicBezTo>
                    <a:pt x="111385" y="55644"/>
                    <a:pt x="111385" y="55644"/>
                    <a:pt x="111385" y="55644"/>
                  </a:cubicBezTo>
                  <a:cubicBezTo>
                    <a:pt x="110327" y="57049"/>
                    <a:pt x="109722" y="54519"/>
                    <a:pt x="109118" y="56768"/>
                  </a:cubicBezTo>
                  <a:cubicBezTo>
                    <a:pt x="107758" y="57049"/>
                    <a:pt x="108967" y="57611"/>
                    <a:pt x="107607" y="57330"/>
                  </a:cubicBezTo>
                  <a:cubicBezTo>
                    <a:pt x="107304" y="57330"/>
                    <a:pt x="107455" y="60702"/>
                    <a:pt x="106700" y="61545"/>
                  </a:cubicBezTo>
                  <a:cubicBezTo>
                    <a:pt x="106246" y="61826"/>
                    <a:pt x="106246" y="62388"/>
                    <a:pt x="105642" y="62388"/>
                  </a:cubicBezTo>
                  <a:cubicBezTo>
                    <a:pt x="104735" y="62107"/>
                    <a:pt x="105340" y="60983"/>
                    <a:pt x="105188" y="60983"/>
                  </a:cubicBezTo>
                  <a:cubicBezTo>
                    <a:pt x="104282" y="60702"/>
                    <a:pt x="104282" y="60702"/>
                    <a:pt x="104282" y="60702"/>
                  </a:cubicBezTo>
                  <a:cubicBezTo>
                    <a:pt x="103526" y="64074"/>
                    <a:pt x="103526" y="64074"/>
                    <a:pt x="103526" y="64074"/>
                  </a:cubicBezTo>
                  <a:cubicBezTo>
                    <a:pt x="101259" y="65761"/>
                    <a:pt x="101259" y="65761"/>
                    <a:pt x="101259" y="65761"/>
                  </a:cubicBezTo>
                  <a:cubicBezTo>
                    <a:pt x="99596" y="67447"/>
                    <a:pt x="99596" y="67447"/>
                    <a:pt x="99596" y="67447"/>
                  </a:cubicBezTo>
                  <a:cubicBezTo>
                    <a:pt x="96423" y="69133"/>
                    <a:pt x="96423" y="69133"/>
                    <a:pt x="96423" y="69133"/>
                  </a:cubicBezTo>
                  <a:cubicBezTo>
                    <a:pt x="94760" y="71943"/>
                    <a:pt x="94760" y="71943"/>
                    <a:pt x="94760" y="71943"/>
                  </a:cubicBezTo>
                  <a:cubicBezTo>
                    <a:pt x="92191" y="73348"/>
                    <a:pt x="94458" y="73348"/>
                    <a:pt x="92040" y="77564"/>
                  </a:cubicBezTo>
                  <a:cubicBezTo>
                    <a:pt x="90377" y="80655"/>
                    <a:pt x="87657" y="81498"/>
                    <a:pt x="85239" y="82903"/>
                  </a:cubicBezTo>
                  <a:cubicBezTo>
                    <a:pt x="83274" y="80936"/>
                    <a:pt x="83274" y="80936"/>
                    <a:pt x="83274" y="80936"/>
                  </a:cubicBezTo>
                  <a:cubicBezTo>
                    <a:pt x="83274" y="80936"/>
                    <a:pt x="82367" y="81498"/>
                    <a:pt x="81914" y="81498"/>
                  </a:cubicBezTo>
                  <a:cubicBezTo>
                    <a:pt x="81460" y="81779"/>
                    <a:pt x="79949" y="84871"/>
                    <a:pt x="79949" y="84871"/>
                  </a:cubicBezTo>
                  <a:cubicBezTo>
                    <a:pt x="77984" y="88243"/>
                    <a:pt x="77984" y="88243"/>
                    <a:pt x="77984" y="88243"/>
                  </a:cubicBezTo>
                  <a:cubicBezTo>
                    <a:pt x="77229" y="89086"/>
                    <a:pt x="76322" y="89929"/>
                    <a:pt x="75264" y="89929"/>
                  </a:cubicBezTo>
                  <a:cubicBezTo>
                    <a:pt x="73904" y="88243"/>
                    <a:pt x="73904" y="88243"/>
                    <a:pt x="73904" y="88243"/>
                  </a:cubicBezTo>
                  <a:cubicBezTo>
                    <a:pt x="72544" y="88243"/>
                    <a:pt x="71939" y="89648"/>
                    <a:pt x="72695" y="91615"/>
                  </a:cubicBezTo>
                  <a:cubicBezTo>
                    <a:pt x="72997" y="92459"/>
                    <a:pt x="72695" y="93021"/>
                    <a:pt x="72846" y="93864"/>
                  </a:cubicBezTo>
                  <a:cubicBezTo>
                    <a:pt x="72846" y="95269"/>
                    <a:pt x="74206" y="95831"/>
                    <a:pt x="74055" y="96955"/>
                  </a:cubicBezTo>
                  <a:cubicBezTo>
                    <a:pt x="73904" y="97517"/>
                    <a:pt x="73148" y="97517"/>
                    <a:pt x="72544" y="98360"/>
                  </a:cubicBezTo>
                  <a:cubicBezTo>
                    <a:pt x="72090" y="98922"/>
                    <a:pt x="72997" y="102014"/>
                    <a:pt x="72695" y="102014"/>
                  </a:cubicBezTo>
                  <a:cubicBezTo>
                    <a:pt x="72695" y="102014"/>
                    <a:pt x="71939" y="105386"/>
                    <a:pt x="71335" y="104824"/>
                  </a:cubicBezTo>
                  <a:cubicBezTo>
                    <a:pt x="71032" y="104262"/>
                    <a:pt x="70579" y="103419"/>
                    <a:pt x="70277" y="102295"/>
                  </a:cubicBezTo>
                  <a:cubicBezTo>
                    <a:pt x="69974" y="101451"/>
                    <a:pt x="68916" y="100608"/>
                    <a:pt x="68765" y="99484"/>
                  </a:cubicBezTo>
                  <a:cubicBezTo>
                    <a:pt x="68312" y="98360"/>
                    <a:pt x="70277" y="93864"/>
                    <a:pt x="70125" y="93583"/>
                  </a:cubicBezTo>
                  <a:cubicBezTo>
                    <a:pt x="70277" y="92740"/>
                    <a:pt x="70277" y="92740"/>
                    <a:pt x="69974" y="91053"/>
                  </a:cubicBezTo>
                  <a:cubicBezTo>
                    <a:pt x="69974" y="90210"/>
                    <a:pt x="68614" y="89929"/>
                    <a:pt x="68312" y="89086"/>
                  </a:cubicBezTo>
                  <a:cubicBezTo>
                    <a:pt x="67405" y="92177"/>
                    <a:pt x="67405" y="92177"/>
                    <a:pt x="67405" y="92177"/>
                  </a:cubicBezTo>
                  <a:cubicBezTo>
                    <a:pt x="66196" y="93583"/>
                    <a:pt x="66196" y="93583"/>
                    <a:pt x="66196" y="93583"/>
                  </a:cubicBezTo>
                  <a:cubicBezTo>
                    <a:pt x="64987" y="93864"/>
                    <a:pt x="66952" y="96393"/>
                    <a:pt x="66045" y="96112"/>
                  </a:cubicBezTo>
                  <a:cubicBezTo>
                    <a:pt x="65894" y="95831"/>
                    <a:pt x="64836" y="97517"/>
                    <a:pt x="63929" y="96674"/>
                  </a:cubicBezTo>
                  <a:cubicBezTo>
                    <a:pt x="62871" y="95550"/>
                    <a:pt x="61511" y="95269"/>
                    <a:pt x="61057" y="95269"/>
                  </a:cubicBezTo>
                  <a:cubicBezTo>
                    <a:pt x="59697" y="96393"/>
                    <a:pt x="59697" y="96393"/>
                    <a:pt x="59697" y="96393"/>
                  </a:cubicBezTo>
                  <a:cubicBezTo>
                    <a:pt x="59244" y="97798"/>
                    <a:pt x="59093" y="99484"/>
                    <a:pt x="58790" y="100327"/>
                  </a:cubicBezTo>
                  <a:cubicBezTo>
                    <a:pt x="57581" y="103419"/>
                    <a:pt x="57581" y="103419"/>
                    <a:pt x="57581" y="103419"/>
                  </a:cubicBezTo>
                  <a:cubicBezTo>
                    <a:pt x="55919" y="104543"/>
                    <a:pt x="57279" y="105386"/>
                    <a:pt x="56523" y="105948"/>
                  </a:cubicBezTo>
                  <a:cubicBezTo>
                    <a:pt x="56221" y="106229"/>
                    <a:pt x="55768" y="108196"/>
                    <a:pt x="54710" y="108758"/>
                  </a:cubicBezTo>
                  <a:cubicBezTo>
                    <a:pt x="54105" y="109039"/>
                    <a:pt x="53198" y="110444"/>
                    <a:pt x="52443" y="110444"/>
                  </a:cubicBezTo>
                  <a:cubicBezTo>
                    <a:pt x="52141" y="110444"/>
                    <a:pt x="50478" y="112693"/>
                    <a:pt x="50327" y="113255"/>
                  </a:cubicBezTo>
                  <a:cubicBezTo>
                    <a:pt x="49118" y="112693"/>
                    <a:pt x="45793" y="111007"/>
                    <a:pt x="45491" y="108758"/>
                  </a:cubicBezTo>
                  <a:cubicBezTo>
                    <a:pt x="45188" y="106791"/>
                    <a:pt x="44130" y="109601"/>
                    <a:pt x="43224" y="107634"/>
                  </a:cubicBezTo>
                  <a:cubicBezTo>
                    <a:pt x="40957" y="106229"/>
                    <a:pt x="40957" y="106229"/>
                    <a:pt x="40957" y="106229"/>
                  </a:cubicBezTo>
                  <a:cubicBezTo>
                    <a:pt x="39445" y="106229"/>
                    <a:pt x="39445" y="106229"/>
                    <a:pt x="39445" y="106229"/>
                  </a:cubicBezTo>
                  <a:cubicBezTo>
                    <a:pt x="38841" y="106229"/>
                    <a:pt x="36120" y="106791"/>
                    <a:pt x="35516" y="107353"/>
                  </a:cubicBezTo>
                  <a:cubicBezTo>
                    <a:pt x="35969" y="110444"/>
                    <a:pt x="35818" y="108196"/>
                    <a:pt x="35818" y="111850"/>
                  </a:cubicBezTo>
                  <a:cubicBezTo>
                    <a:pt x="34911" y="112131"/>
                    <a:pt x="35969" y="115784"/>
                    <a:pt x="35214" y="116908"/>
                  </a:cubicBezTo>
                  <a:cubicBezTo>
                    <a:pt x="32644" y="118032"/>
                    <a:pt x="32644" y="118032"/>
                    <a:pt x="32644" y="118032"/>
                  </a:cubicBezTo>
                  <a:cubicBezTo>
                    <a:pt x="31133" y="119718"/>
                    <a:pt x="31133" y="119718"/>
                    <a:pt x="31133" y="119718"/>
                  </a:cubicBezTo>
                  <a:cubicBezTo>
                    <a:pt x="28413" y="119718"/>
                    <a:pt x="28413" y="119718"/>
                    <a:pt x="28413" y="119718"/>
                  </a:cubicBezTo>
                  <a:cubicBezTo>
                    <a:pt x="28413" y="120000"/>
                    <a:pt x="27052" y="118313"/>
                    <a:pt x="26901" y="117189"/>
                  </a:cubicBezTo>
                  <a:cubicBezTo>
                    <a:pt x="26146" y="113536"/>
                    <a:pt x="26599" y="114098"/>
                    <a:pt x="25994" y="113536"/>
                  </a:cubicBezTo>
                  <a:cubicBezTo>
                    <a:pt x="24937" y="112974"/>
                    <a:pt x="24937" y="113817"/>
                    <a:pt x="24634" y="113536"/>
                  </a:cubicBezTo>
                  <a:cubicBezTo>
                    <a:pt x="24634" y="113255"/>
                    <a:pt x="24030" y="113536"/>
                    <a:pt x="23123" y="114941"/>
                  </a:cubicBezTo>
                  <a:cubicBezTo>
                    <a:pt x="22821" y="115784"/>
                    <a:pt x="22216" y="118032"/>
                    <a:pt x="21914" y="118313"/>
                  </a:cubicBezTo>
                  <a:cubicBezTo>
                    <a:pt x="21612" y="118875"/>
                    <a:pt x="21612" y="116908"/>
                    <a:pt x="21309" y="117189"/>
                  </a:cubicBezTo>
                  <a:cubicBezTo>
                    <a:pt x="20705" y="117751"/>
                    <a:pt x="20856" y="116065"/>
                    <a:pt x="19647" y="117470"/>
                  </a:cubicBezTo>
                  <a:cubicBezTo>
                    <a:pt x="19193" y="118032"/>
                    <a:pt x="17682" y="117189"/>
                    <a:pt x="19496" y="116065"/>
                  </a:cubicBezTo>
                  <a:cubicBezTo>
                    <a:pt x="19798" y="116065"/>
                    <a:pt x="22216" y="112693"/>
                    <a:pt x="22216" y="112412"/>
                  </a:cubicBezTo>
                  <a:cubicBezTo>
                    <a:pt x="22367" y="111850"/>
                    <a:pt x="20705" y="110444"/>
                    <a:pt x="20554" y="110444"/>
                  </a:cubicBezTo>
                  <a:cubicBezTo>
                    <a:pt x="20403" y="110444"/>
                    <a:pt x="19647" y="112693"/>
                    <a:pt x="18891" y="113255"/>
                  </a:cubicBezTo>
                  <a:cubicBezTo>
                    <a:pt x="17682" y="113817"/>
                    <a:pt x="17682" y="114098"/>
                    <a:pt x="17078" y="114379"/>
                  </a:cubicBezTo>
                  <a:cubicBezTo>
                    <a:pt x="16624" y="114660"/>
                    <a:pt x="16473" y="113536"/>
                    <a:pt x="16171" y="113817"/>
                  </a:cubicBezTo>
                  <a:cubicBezTo>
                    <a:pt x="15717" y="114098"/>
                    <a:pt x="15717" y="114660"/>
                    <a:pt x="15415" y="114660"/>
                  </a:cubicBezTo>
                  <a:cubicBezTo>
                    <a:pt x="14659" y="114660"/>
                    <a:pt x="15113" y="112693"/>
                    <a:pt x="15113" y="112693"/>
                  </a:cubicBezTo>
                  <a:cubicBezTo>
                    <a:pt x="15717" y="112131"/>
                    <a:pt x="15566" y="112693"/>
                    <a:pt x="16473" y="112131"/>
                  </a:cubicBezTo>
                  <a:cubicBezTo>
                    <a:pt x="16775" y="111850"/>
                    <a:pt x="17682" y="111288"/>
                    <a:pt x="17682" y="110444"/>
                  </a:cubicBezTo>
                  <a:cubicBezTo>
                    <a:pt x="17229" y="107353"/>
                    <a:pt x="16473" y="110163"/>
                    <a:pt x="16171" y="109039"/>
                  </a:cubicBezTo>
                  <a:cubicBezTo>
                    <a:pt x="15869" y="107915"/>
                    <a:pt x="15415" y="108477"/>
                    <a:pt x="15264" y="107915"/>
                  </a:cubicBezTo>
                  <a:cubicBezTo>
                    <a:pt x="14962" y="106510"/>
                    <a:pt x="14962" y="111850"/>
                    <a:pt x="14357" y="107915"/>
                  </a:cubicBezTo>
                  <a:cubicBezTo>
                    <a:pt x="14055" y="105948"/>
                    <a:pt x="14811" y="105948"/>
                    <a:pt x="13148" y="105105"/>
                  </a:cubicBezTo>
                  <a:cubicBezTo>
                    <a:pt x="13148" y="105105"/>
                    <a:pt x="12846" y="104824"/>
                    <a:pt x="12695" y="104824"/>
                  </a:cubicBezTo>
                  <a:cubicBezTo>
                    <a:pt x="12695" y="104543"/>
                    <a:pt x="12846" y="104262"/>
                    <a:pt x="12846" y="104262"/>
                  </a:cubicBezTo>
                  <a:cubicBezTo>
                    <a:pt x="12846" y="104262"/>
                    <a:pt x="12392" y="103419"/>
                    <a:pt x="12241" y="103419"/>
                  </a:cubicBezTo>
                  <a:cubicBezTo>
                    <a:pt x="12241" y="103419"/>
                    <a:pt x="11788" y="103981"/>
                    <a:pt x="11788" y="103981"/>
                  </a:cubicBezTo>
                  <a:cubicBezTo>
                    <a:pt x="11788" y="103981"/>
                    <a:pt x="11637" y="103981"/>
                    <a:pt x="11486" y="103981"/>
                  </a:cubicBezTo>
                  <a:cubicBezTo>
                    <a:pt x="11486" y="103700"/>
                    <a:pt x="11939" y="103700"/>
                    <a:pt x="12544" y="103138"/>
                  </a:cubicBezTo>
                  <a:cubicBezTo>
                    <a:pt x="12846" y="103138"/>
                    <a:pt x="12997" y="103981"/>
                    <a:pt x="13299" y="103981"/>
                  </a:cubicBezTo>
                  <a:cubicBezTo>
                    <a:pt x="13602" y="104262"/>
                    <a:pt x="14206" y="103981"/>
                    <a:pt x="14206" y="103700"/>
                  </a:cubicBezTo>
                  <a:cubicBezTo>
                    <a:pt x="14357" y="103419"/>
                    <a:pt x="13602" y="102576"/>
                    <a:pt x="13753" y="101170"/>
                  </a:cubicBezTo>
                  <a:cubicBezTo>
                    <a:pt x="13753" y="100608"/>
                    <a:pt x="14055" y="100608"/>
                    <a:pt x="13753" y="100327"/>
                  </a:cubicBezTo>
                  <a:cubicBezTo>
                    <a:pt x="13450" y="100046"/>
                    <a:pt x="13450" y="99765"/>
                    <a:pt x="13450" y="99765"/>
                  </a:cubicBezTo>
                  <a:cubicBezTo>
                    <a:pt x="11486" y="99484"/>
                    <a:pt x="11486" y="99484"/>
                    <a:pt x="11486" y="99484"/>
                  </a:cubicBezTo>
                  <a:cubicBezTo>
                    <a:pt x="11486" y="99484"/>
                    <a:pt x="11486" y="99484"/>
                    <a:pt x="11183" y="99203"/>
                  </a:cubicBezTo>
                  <a:cubicBezTo>
                    <a:pt x="10881" y="98922"/>
                    <a:pt x="10579" y="98641"/>
                    <a:pt x="10579" y="98641"/>
                  </a:cubicBezTo>
                  <a:cubicBezTo>
                    <a:pt x="9974" y="97798"/>
                    <a:pt x="9974" y="97798"/>
                    <a:pt x="9974" y="97798"/>
                  </a:cubicBezTo>
                  <a:cubicBezTo>
                    <a:pt x="9974" y="97798"/>
                    <a:pt x="9370" y="98079"/>
                    <a:pt x="9219" y="98079"/>
                  </a:cubicBezTo>
                  <a:cubicBezTo>
                    <a:pt x="9219" y="98079"/>
                    <a:pt x="9370" y="99203"/>
                    <a:pt x="9370" y="99203"/>
                  </a:cubicBezTo>
                  <a:cubicBezTo>
                    <a:pt x="9219" y="99484"/>
                    <a:pt x="9219" y="100608"/>
                    <a:pt x="8614" y="99765"/>
                  </a:cubicBezTo>
                  <a:cubicBezTo>
                    <a:pt x="8463" y="99484"/>
                    <a:pt x="8010" y="98641"/>
                    <a:pt x="7858" y="98641"/>
                  </a:cubicBezTo>
                  <a:cubicBezTo>
                    <a:pt x="7707" y="98922"/>
                    <a:pt x="7103" y="98641"/>
                    <a:pt x="7103" y="98360"/>
                  </a:cubicBezTo>
                  <a:cubicBezTo>
                    <a:pt x="6952" y="98079"/>
                    <a:pt x="6498" y="97798"/>
                    <a:pt x="6498" y="97798"/>
                  </a:cubicBezTo>
                  <a:cubicBezTo>
                    <a:pt x="6498" y="97798"/>
                    <a:pt x="6952" y="96674"/>
                    <a:pt x="6801" y="96393"/>
                  </a:cubicBezTo>
                  <a:cubicBezTo>
                    <a:pt x="6649" y="96393"/>
                    <a:pt x="7556" y="96955"/>
                    <a:pt x="7556" y="96955"/>
                  </a:cubicBezTo>
                  <a:cubicBezTo>
                    <a:pt x="7556" y="96955"/>
                    <a:pt x="7556" y="95550"/>
                    <a:pt x="7707" y="95550"/>
                  </a:cubicBezTo>
                  <a:cubicBezTo>
                    <a:pt x="7858" y="95269"/>
                    <a:pt x="7405" y="95269"/>
                    <a:pt x="7254" y="94988"/>
                  </a:cubicBezTo>
                  <a:cubicBezTo>
                    <a:pt x="7103" y="94707"/>
                    <a:pt x="6952" y="93864"/>
                    <a:pt x="6952" y="93864"/>
                  </a:cubicBezTo>
                  <a:cubicBezTo>
                    <a:pt x="6952" y="93864"/>
                    <a:pt x="6649" y="93583"/>
                    <a:pt x="6649" y="93302"/>
                  </a:cubicBezTo>
                  <a:cubicBezTo>
                    <a:pt x="6498" y="92177"/>
                    <a:pt x="6952" y="91334"/>
                    <a:pt x="7103" y="91334"/>
                  </a:cubicBezTo>
                  <a:cubicBezTo>
                    <a:pt x="7254" y="91615"/>
                    <a:pt x="7254" y="91615"/>
                    <a:pt x="7405" y="91615"/>
                  </a:cubicBezTo>
                  <a:cubicBezTo>
                    <a:pt x="7707" y="91896"/>
                    <a:pt x="7707" y="91896"/>
                    <a:pt x="7707" y="91896"/>
                  </a:cubicBezTo>
                  <a:cubicBezTo>
                    <a:pt x="7707" y="91896"/>
                    <a:pt x="8010" y="92740"/>
                    <a:pt x="8010" y="92740"/>
                  </a:cubicBezTo>
                  <a:cubicBezTo>
                    <a:pt x="8161" y="92740"/>
                    <a:pt x="8614" y="93583"/>
                    <a:pt x="8614" y="93583"/>
                  </a:cubicBezTo>
                  <a:cubicBezTo>
                    <a:pt x="8614" y="93583"/>
                    <a:pt x="8916" y="94707"/>
                    <a:pt x="9068" y="94988"/>
                  </a:cubicBezTo>
                  <a:cubicBezTo>
                    <a:pt x="9219" y="94988"/>
                    <a:pt x="9219" y="94426"/>
                    <a:pt x="9521" y="94426"/>
                  </a:cubicBezTo>
                  <a:cubicBezTo>
                    <a:pt x="9823" y="94707"/>
                    <a:pt x="10125" y="95269"/>
                    <a:pt x="10277" y="94988"/>
                  </a:cubicBezTo>
                  <a:cubicBezTo>
                    <a:pt x="10428" y="94988"/>
                    <a:pt x="10579" y="93583"/>
                    <a:pt x="10579" y="93583"/>
                  </a:cubicBezTo>
                  <a:cubicBezTo>
                    <a:pt x="10579" y="93583"/>
                    <a:pt x="9672" y="92459"/>
                    <a:pt x="9521" y="92459"/>
                  </a:cubicBezTo>
                  <a:cubicBezTo>
                    <a:pt x="9521" y="92177"/>
                    <a:pt x="9219" y="91896"/>
                    <a:pt x="9219" y="91615"/>
                  </a:cubicBezTo>
                  <a:cubicBezTo>
                    <a:pt x="9068" y="91615"/>
                    <a:pt x="8765" y="91334"/>
                    <a:pt x="8765" y="91334"/>
                  </a:cubicBezTo>
                  <a:cubicBezTo>
                    <a:pt x="8765" y="91334"/>
                    <a:pt x="8614" y="90491"/>
                    <a:pt x="8614" y="90491"/>
                  </a:cubicBezTo>
                  <a:cubicBezTo>
                    <a:pt x="8463" y="90210"/>
                    <a:pt x="8614" y="89648"/>
                    <a:pt x="8614" y="89648"/>
                  </a:cubicBezTo>
                  <a:cubicBezTo>
                    <a:pt x="8765" y="89367"/>
                    <a:pt x="9068" y="89086"/>
                    <a:pt x="9219" y="89086"/>
                  </a:cubicBezTo>
                  <a:cubicBezTo>
                    <a:pt x="9370" y="89086"/>
                    <a:pt x="9823" y="88805"/>
                    <a:pt x="9823" y="88805"/>
                  </a:cubicBezTo>
                  <a:cubicBezTo>
                    <a:pt x="9974" y="87400"/>
                    <a:pt x="9974" y="87400"/>
                    <a:pt x="9974" y="87400"/>
                  </a:cubicBezTo>
                  <a:cubicBezTo>
                    <a:pt x="9974" y="87400"/>
                    <a:pt x="10277" y="86276"/>
                    <a:pt x="10277" y="86276"/>
                  </a:cubicBezTo>
                  <a:cubicBezTo>
                    <a:pt x="10125" y="86276"/>
                    <a:pt x="9068" y="87119"/>
                    <a:pt x="9068" y="86838"/>
                  </a:cubicBezTo>
                  <a:cubicBezTo>
                    <a:pt x="8916" y="86838"/>
                    <a:pt x="8614" y="86838"/>
                    <a:pt x="8614" y="86557"/>
                  </a:cubicBezTo>
                  <a:cubicBezTo>
                    <a:pt x="8463" y="86276"/>
                    <a:pt x="8463" y="85714"/>
                    <a:pt x="8463" y="85433"/>
                  </a:cubicBezTo>
                  <a:cubicBezTo>
                    <a:pt x="8463" y="85152"/>
                    <a:pt x="8614" y="84590"/>
                    <a:pt x="8614" y="84590"/>
                  </a:cubicBezTo>
                  <a:cubicBezTo>
                    <a:pt x="8614" y="84590"/>
                    <a:pt x="8463" y="84028"/>
                    <a:pt x="8312" y="84028"/>
                  </a:cubicBezTo>
                  <a:cubicBezTo>
                    <a:pt x="8312" y="83747"/>
                    <a:pt x="8161" y="83185"/>
                    <a:pt x="8161" y="83185"/>
                  </a:cubicBezTo>
                  <a:cubicBezTo>
                    <a:pt x="8161" y="83185"/>
                    <a:pt x="7103" y="82060"/>
                    <a:pt x="7103" y="82060"/>
                  </a:cubicBezTo>
                  <a:cubicBezTo>
                    <a:pt x="7103" y="81779"/>
                    <a:pt x="7103" y="80936"/>
                    <a:pt x="7254" y="80936"/>
                  </a:cubicBezTo>
                  <a:cubicBezTo>
                    <a:pt x="7254" y="80655"/>
                    <a:pt x="7103" y="80093"/>
                    <a:pt x="7405" y="79531"/>
                  </a:cubicBezTo>
                  <a:cubicBezTo>
                    <a:pt x="7858" y="78969"/>
                    <a:pt x="8161" y="77283"/>
                    <a:pt x="8161" y="77283"/>
                  </a:cubicBezTo>
                  <a:cubicBezTo>
                    <a:pt x="8161" y="77283"/>
                    <a:pt x="7103" y="77002"/>
                    <a:pt x="7103" y="77002"/>
                  </a:cubicBezTo>
                  <a:cubicBezTo>
                    <a:pt x="6952" y="77002"/>
                    <a:pt x="6498" y="78126"/>
                    <a:pt x="6498" y="78126"/>
                  </a:cubicBezTo>
                  <a:cubicBezTo>
                    <a:pt x="6498" y="78126"/>
                    <a:pt x="5894" y="78407"/>
                    <a:pt x="5894" y="78688"/>
                  </a:cubicBezTo>
                  <a:cubicBezTo>
                    <a:pt x="5743" y="78688"/>
                    <a:pt x="4987" y="78969"/>
                    <a:pt x="4987" y="79250"/>
                  </a:cubicBezTo>
                  <a:cubicBezTo>
                    <a:pt x="4836" y="79250"/>
                    <a:pt x="4534" y="79812"/>
                    <a:pt x="4382" y="79812"/>
                  </a:cubicBezTo>
                  <a:cubicBezTo>
                    <a:pt x="4231" y="80093"/>
                    <a:pt x="3627" y="80655"/>
                    <a:pt x="3627" y="80655"/>
                  </a:cubicBezTo>
                  <a:cubicBezTo>
                    <a:pt x="3627" y="80655"/>
                    <a:pt x="3022" y="80655"/>
                    <a:pt x="3022" y="80655"/>
                  </a:cubicBezTo>
                  <a:cubicBezTo>
                    <a:pt x="3022" y="80374"/>
                    <a:pt x="3022" y="78407"/>
                    <a:pt x="3022" y="78407"/>
                  </a:cubicBezTo>
                  <a:cubicBezTo>
                    <a:pt x="3022" y="78407"/>
                    <a:pt x="3324" y="78126"/>
                    <a:pt x="3324" y="77845"/>
                  </a:cubicBezTo>
                  <a:cubicBezTo>
                    <a:pt x="3324" y="77845"/>
                    <a:pt x="3173" y="76721"/>
                    <a:pt x="3022" y="76440"/>
                  </a:cubicBezTo>
                  <a:cubicBezTo>
                    <a:pt x="3022" y="76440"/>
                    <a:pt x="3022" y="75035"/>
                    <a:pt x="3022" y="74754"/>
                  </a:cubicBezTo>
                  <a:cubicBezTo>
                    <a:pt x="3022" y="74192"/>
                    <a:pt x="2871" y="73348"/>
                    <a:pt x="2871" y="73348"/>
                  </a:cubicBezTo>
                  <a:cubicBezTo>
                    <a:pt x="2720" y="71943"/>
                    <a:pt x="2720" y="71943"/>
                    <a:pt x="2720" y="71943"/>
                  </a:cubicBezTo>
                  <a:cubicBezTo>
                    <a:pt x="2871" y="70819"/>
                    <a:pt x="2871" y="70819"/>
                    <a:pt x="2871" y="70819"/>
                  </a:cubicBezTo>
                  <a:cubicBezTo>
                    <a:pt x="3022" y="70257"/>
                    <a:pt x="3022" y="70257"/>
                    <a:pt x="3022" y="70257"/>
                  </a:cubicBezTo>
                  <a:cubicBezTo>
                    <a:pt x="3022" y="70257"/>
                    <a:pt x="3324" y="69133"/>
                    <a:pt x="3324" y="69133"/>
                  </a:cubicBezTo>
                  <a:cubicBezTo>
                    <a:pt x="3324" y="68852"/>
                    <a:pt x="3627" y="67728"/>
                    <a:pt x="3627" y="67728"/>
                  </a:cubicBezTo>
                  <a:cubicBezTo>
                    <a:pt x="3778" y="67447"/>
                    <a:pt x="4685" y="65761"/>
                    <a:pt x="4685" y="65761"/>
                  </a:cubicBezTo>
                  <a:cubicBezTo>
                    <a:pt x="5138" y="64637"/>
                    <a:pt x="5138" y="64637"/>
                    <a:pt x="5138" y="64637"/>
                  </a:cubicBezTo>
                  <a:cubicBezTo>
                    <a:pt x="5138" y="64637"/>
                    <a:pt x="5743" y="64637"/>
                    <a:pt x="5894" y="64637"/>
                  </a:cubicBezTo>
                  <a:cubicBezTo>
                    <a:pt x="5894" y="64637"/>
                    <a:pt x="6498" y="63793"/>
                    <a:pt x="6498" y="63793"/>
                  </a:cubicBezTo>
                  <a:cubicBezTo>
                    <a:pt x="6649" y="63231"/>
                    <a:pt x="6649" y="63231"/>
                    <a:pt x="6649" y="63231"/>
                  </a:cubicBezTo>
                  <a:cubicBezTo>
                    <a:pt x="7103" y="63231"/>
                    <a:pt x="7103" y="63231"/>
                    <a:pt x="7103" y="63231"/>
                  </a:cubicBezTo>
                  <a:cubicBezTo>
                    <a:pt x="7103" y="63231"/>
                    <a:pt x="7405" y="62669"/>
                    <a:pt x="7556" y="62669"/>
                  </a:cubicBezTo>
                  <a:cubicBezTo>
                    <a:pt x="7556" y="62669"/>
                    <a:pt x="7858" y="62669"/>
                    <a:pt x="8161" y="62669"/>
                  </a:cubicBezTo>
                  <a:cubicBezTo>
                    <a:pt x="8463" y="62669"/>
                    <a:pt x="8614" y="62388"/>
                    <a:pt x="8765" y="62388"/>
                  </a:cubicBezTo>
                  <a:cubicBezTo>
                    <a:pt x="8765" y="62669"/>
                    <a:pt x="9370" y="63793"/>
                    <a:pt x="9370" y="63793"/>
                  </a:cubicBezTo>
                  <a:cubicBezTo>
                    <a:pt x="11183" y="63231"/>
                    <a:pt x="11183" y="63231"/>
                    <a:pt x="11183" y="63231"/>
                  </a:cubicBezTo>
                  <a:cubicBezTo>
                    <a:pt x="11939" y="62669"/>
                    <a:pt x="11939" y="62669"/>
                    <a:pt x="11939" y="62669"/>
                  </a:cubicBezTo>
                  <a:cubicBezTo>
                    <a:pt x="11939" y="62669"/>
                    <a:pt x="11939" y="61826"/>
                    <a:pt x="11939" y="61826"/>
                  </a:cubicBezTo>
                  <a:cubicBezTo>
                    <a:pt x="11788" y="61545"/>
                    <a:pt x="11032" y="61264"/>
                    <a:pt x="11032" y="61264"/>
                  </a:cubicBezTo>
                  <a:cubicBezTo>
                    <a:pt x="11032" y="61264"/>
                    <a:pt x="10881" y="61264"/>
                    <a:pt x="11032" y="61264"/>
                  </a:cubicBezTo>
                  <a:cubicBezTo>
                    <a:pt x="11032" y="60983"/>
                    <a:pt x="11335" y="59859"/>
                    <a:pt x="11335" y="59859"/>
                  </a:cubicBezTo>
                  <a:cubicBezTo>
                    <a:pt x="11486" y="59859"/>
                    <a:pt x="11637" y="59859"/>
                    <a:pt x="11939" y="59859"/>
                  </a:cubicBezTo>
                  <a:cubicBezTo>
                    <a:pt x="12241" y="59859"/>
                    <a:pt x="12846" y="59859"/>
                    <a:pt x="12846" y="59859"/>
                  </a:cubicBezTo>
                  <a:cubicBezTo>
                    <a:pt x="12846" y="59859"/>
                    <a:pt x="13148" y="60421"/>
                    <a:pt x="12846" y="60702"/>
                  </a:cubicBezTo>
                  <a:cubicBezTo>
                    <a:pt x="12695" y="60983"/>
                    <a:pt x="12544" y="60983"/>
                    <a:pt x="12544" y="61264"/>
                  </a:cubicBezTo>
                  <a:cubicBezTo>
                    <a:pt x="12544" y="61264"/>
                    <a:pt x="12544" y="61826"/>
                    <a:pt x="12695" y="61826"/>
                  </a:cubicBezTo>
                  <a:cubicBezTo>
                    <a:pt x="12695" y="61826"/>
                    <a:pt x="13450" y="61545"/>
                    <a:pt x="13450" y="61545"/>
                  </a:cubicBezTo>
                  <a:cubicBezTo>
                    <a:pt x="13450" y="61545"/>
                    <a:pt x="13602" y="60983"/>
                    <a:pt x="13904" y="60983"/>
                  </a:cubicBezTo>
                  <a:cubicBezTo>
                    <a:pt x="14055" y="60702"/>
                    <a:pt x="14508" y="60421"/>
                    <a:pt x="14508" y="60421"/>
                  </a:cubicBezTo>
                  <a:cubicBezTo>
                    <a:pt x="16020" y="60140"/>
                    <a:pt x="16020" y="60140"/>
                    <a:pt x="16020" y="60140"/>
                  </a:cubicBezTo>
                  <a:cubicBezTo>
                    <a:pt x="17078" y="59578"/>
                    <a:pt x="17078" y="59578"/>
                    <a:pt x="17078" y="59578"/>
                  </a:cubicBezTo>
                  <a:cubicBezTo>
                    <a:pt x="17078" y="59578"/>
                    <a:pt x="18287" y="58173"/>
                    <a:pt x="18589" y="58173"/>
                  </a:cubicBezTo>
                  <a:cubicBezTo>
                    <a:pt x="19042" y="58454"/>
                    <a:pt x="19345" y="58454"/>
                    <a:pt x="19496" y="58173"/>
                  </a:cubicBezTo>
                  <a:cubicBezTo>
                    <a:pt x="19647" y="57892"/>
                    <a:pt x="19949" y="57049"/>
                    <a:pt x="19949" y="57049"/>
                  </a:cubicBezTo>
                  <a:cubicBezTo>
                    <a:pt x="19647" y="56768"/>
                    <a:pt x="19647" y="56768"/>
                    <a:pt x="19647" y="56768"/>
                  </a:cubicBezTo>
                  <a:cubicBezTo>
                    <a:pt x="18891" y="56768"/>
                    <a:pt x="18891" y="56768"/>
                    <a:pt x="18891" y="56768"/>
                  </a:cubicBezTo>
                  <a:cubicBezTo>
                    <a:pt x="18891" y="56768"/>
                    <a:pt x="18136" y="57049"/>
                    <a:pt x="18136" y="57049"/>
                  </a:cubicBezTo>
                  <a:cubicBezTo>
                    <a:pt x="17984" y="56768"/>
                    <a:pt x="17531" y="56768"/>
                    <a:pt x="17682" y="56487"/>
                  </a:cubicBezTo>
                  <a:cubicBezTo>
                    <a:pt x="17833" y="55925"/>
                    <a:pt x="17833" y="55925"/>
                    <a:pt x="18136" y="55362"/>
                  </a:cubicBezTo>
                  <a:cubicBezTo>
                    <a:pt x="18287" y="55081"/>
                    <a:pt x="18438" y="54800"/>
                    <a:pt x="18589" y="54519"/>
                  </a:cubicBezTo>
                  <a:cubicBezTo>
                    <a:pt x="18891" y="54519"/>
                    <a:pt x="18891" y="54238"/>
                    <a:pt x="19193" y="53957"/>
                  </a:cubicBezTo>
                  <a:cubicBezTo>
                    <a:pt x="19496" y="53676"/>
                    <a:pt x="19496" y="53676"/>
                    <a:pt x="20100" y="53114"/>
                  </a:cubicBezTo>
                  <a:cubicBezTo>
                    <a:pt x="20705" y="52833"/>
                    <a:pt x="21914" y="51147"/>
                    <a:pt x="22065" y="51147"/>
                  </a:cubicBezTo>
                  <a:cubicBezTo>
                    <a:pt x="22216" y="51147"/>
                    <a:pt x="22367" y="51428"/>
                    <a:pt x="22972" y="50866"/>
                  </a:cubicBezTo>
                  <a:cubicBezTo>
                    <a:pt x="23727" y="50585"/>
                    <a:pt x="24181" y="49742"/>
                    <a:pt x="24030" y="49742"/>
                  </a:cubicBezTo>
                  <a:cubicBezTo>
                    <a:pt x="23879" y="49742"/>
                    <a:pt x="23576" y="49461"/>
                    <a:pt x="23274" y="49742"/>
                  </a:cubicBezTo>
                  <a:cubicBezTo>
                    <a:pt x="22821" y="50023"/>
                    <a:pt x="23123" y="49461"/>
                    <a:pt x="22518" y="50023"/>
                  </a:cubicBezTo>
                  <a:cubicBezTo>
                    <a:pt x="21763" y="50866"/>
                    <a:pt x="20705" y="51428"/>
                    <a:pt x="20403" y="51428"/>
                  </a:cubicBezTo>
                  <a:cubicBezTo>
                    <a:pt x="20100" y="51147"/>
                    <a:pt x="19798" y="50866"/>
                    <a:pt x="19496" y="50304"/>
                  </a:cubicBezTo>
                  <a:cubicBezTo>
                    <a:pt x="19042" y="49742"/>
                    <a:pt x="18136" y="49742"/>
                    <a:pt x="18136" y="49461"/>
                  </a:cubicBezTo>
                  <a:cubicBezTo>
                    <a:pt x="17984" y="49461"/>
                    <a:pt x="16775" y="50304"/>
                    <a:pt x="16775" y="50304"/>
                  </a:cubicBezTo>
                  <a:cubicBezTo>
                    <a:pt x="16775" y="50304"/>
                    <a:pt x="15113" y="50585"/>
                    <a:pt x="14659" y="50585"/>
                  </a:cubicBezTo>
                  <a:cubicBezTo>
                    <a:pt x="14357" y="50585"/>
                    <a:pt x="13450" y="50304"/>
                    <a:pt x="13299" y="50304"/>
                  </a:cubicBezTo>
                  <a:cubicBezTo>
                    <a:pt x="13299" y="50304"/>
                    <a:pt x="12392" y="50866"/>
                    <a:pt x="12392" y="50866"/>
                  </a:cubicBezTo>
                  <a:cubicBezTo>
                    <a:pt x="12241" y="50866"/>
                    <a:pt x="11637" y="52552"/>
                    <a:pt x="11335" y="52833"/>
                  </a:cubicBezTo>
                  <a:cubicBezTo>
                    <a:pt x="11032" y="53114"/>
                    <a:pt x="10277" y="52833"/>
                    <a:pt x="10277" y="52833"/>
                  </a:cubicBezTo>
                  <a:cubicBezTo>
                    <a:pt x="10277" y="52833"/>
                    <a:pt x="9974" y="53395"/>
                    <a:pt x="9672" y="53676"/>
                  </a:cubicBezTo>
                  <a:cubicBezTo>
                    <a:pt x="9370" y="53957"/>
                    <a:pt x="8916" y="54519"/>
                    <a:pt x="8614" y="54800"/>
                  </a:cubicBezTo>
                  <a:cubicBezTo>
                    <a:pt x="8312" y="55081"/>
                    <a:pt x="8161" y="57330"/>
                    <a:pt x="8161" y="57611"/>
                  </a:cubicBezTo>
                  <a:cubicBezTo>
                    <a:pt x="8010" y="58173"/>
                    <a:pt x="7254" y="60140"/>
                    <a:pt x="7254" y="60140"/>
                  </a:cubicBezTo>
                  <a:cubicBezTo>
                    <a:pt x="6498" y="61545"/>
                    <a:pt x="6498" y="61545"/>
                    <a:pt x="6498" y="61545"/>
                  </a:cubicBezTo>
                  <a:cubicBezTo>
                    <a:pt x="6498" y="61545"/>
                    <a:pt x="5894" y="62669"/>
                    <a:pt x="5743" y="62669"/>
                  </a:cubicBezTo>
                  <a:cubicBezTo>
                    <a:pt x="5591" y="62950"/>
                    <a:pt x="4685" y="64637"/>
                    <a:pt x="4685" y="64637"/>
                  </a:cubicBezTo>
                  <a:cubicBezTo>
                    <a:pt x="4685" y="64637"/>
                    <a:pt x="4382" y="64355"/>
                    <a:pt x="4382" y="64355"/>
                  </a:cubicBezTo>
                  <a:cubicBezTo>
                    <a:pt x="4382" y="64355"/>
                    <a:pt x="3778" y="66042"/>
                    <a:pt x="3778" y="66042"/>
                  </a:cubicBezTo>
                  <a:cubicBezTo>
                    <a:pt x="3778" y="66042"/>
                    <a:pt x="3476" y="67447"/>
                    <a:pt x="3324" y="67728"/>
                  </a:cubicBezTo>
                  <a:cubicBezTo>
                    <a:pt x="3324" y="68009"/>
                    <a:pt x="2720" y="69695"/>
                    <a:pt x="2720" y="69695"/>
                  </a:cubicBezTo>
                  <a:cubicBezTo>
                    <a:pt x="2569" y="70257"/>
                    <a:pt x="2569" y="70257"/>
                    <a:pt x="2569" y="70257"/>
                  </a:cubicBezTo>
                  <a:cubicBezTo>
                    <a:pt x="2418" y="71381"/>
                    <a:pt x="2418" y="71381"/>
                    <a:pt x="2418" y="71381"/>
                  </a:cubicBezTo>
                  <a:cubicBezTo>
                    <a:pt x="2418" y="71381"/>
                    <a:pt x="2115" y="71943"/>
                    <a:pt x="2115" y="71662"/>
                  </a:cubicBezTo>
                  <a:cubicBezTo>
                    <a:pt x="2115" y="71381"/>
                    <a:pt x="2115" y="70257"/>
                    <a:pt x="2267" y="69976"/>
                  </a:cubicBezTo>
                  <a:cubicBezTo>
                    <a:pt x="2418" y="69695"/>
                    <a:pt x="2418" y="69133"/>
                    <a:pt x="2418" y="69133"/>
                  </a:cubicBezTo>
                  <a:cubicBezTo>
                    <a:pt x="2267" y="67728"/>
                    <a:pt x="2267" y="67728"/>
                    <a:pt x="2267" y="67728"/>
                  </a:cubicBezTo>
                  <a:cubicBezTo>
                    <a:pt x="2267" y="67728"/>
                    <a:pt x="2115" y="68290"/>
                    <a:pt x="2267" y="67447"/>
                  </a:cubicBezTo>
                  <a:cubicBezTo>
                    <a:pt x="2418" y="66604"/>
                    <a:pt x="2267" y="66604"/>
                    <a:pt x="2418" y="66323"/>
                  </a:cubicBezTo>
                  <a:cubicBezTo>
                    <a:pt x="2720" y="66042"/>
                    <a:pt x="2569" y="66042"/>
                    <a:pt x="3022" y="65480"/>
                  </a:cubicBezTo>
                  <a:cubicBezTo>
                    <a:pt x="3324" y="64918"/>
                    <a:pt x="3173" y="64637"/>
                    <a:pt x="3324" y="64637"/>
                  </a:cubicBezTo>
                  <a:cubicBezTo>
                    <a:pt x="3627" y="64355"/>
                    <a:pt x="3627" y="64355"/>
                    <a:pt x="3929" y="64074"/>
                  </a:cubicBezTo>
                  <a:cubicBezTo>
                    <a:pt x="4382" y="63512"/>
                    <a:pt x="4534" y="63231"/>
                    <a:pt x="4685" y="62950"/>
                  </a:cubicBezTo>
                  <a:cubicBezTo>
                    <a:pt x="4685" y="62669"/>
                    <a:pt x="5440" y="62107"/>
                    <a:pt x="5289" y="61826"/>
                  </a:cubicBezTo>
                  <a:cubicBezTo>
                    <a:pt x="5289" y="61545"/>
                    <a:pt x="5440" y="60983"/>
                    <a:pt x="4987" y="60983"/>
                  </a:cubicBezTo>
                  <a:cubicBezTo>
                    <a:pt x="4685" y="60983"/>
                    <a:pt x="4080" y="61545"/>
                    <a:pt x="3778" y="61826"/>
                  </a:cubicBezTo>
                  <a:cubicBezTo>
                    <a:pt x="3324" y="62107"/>
                    <a:pt x="2871" y="62669"/>
                    <a:pt x="2871" y="62669"/>
                  </a:cubicBezTo>
                  <a:cubicBezTo>
                    <a:pt x="2871" y="62669"/>
                    <a:pt x="1813" y="63231"/>
                    <a:pt x="1662" y="63231"/>
                  </a:cubicBezTo>
                  <a:cubicBezTo>
                    <a:pt x="1511" y="62950"/>
                    <a:pt x="1209" y="63231"/>
                    <a:pt x="1057" y="63231"/>
                  </a:cubicBezTo>
                  <a:cubicBezTo>
                    <a:pt x="755" y="63512"/>
                    <a:pt x="151" y="62950"/>
                    <a:pt x="151" y="62950"/>
                  </a:cubicBezTo>
                  <a:cubicBezTo>
                    <a:pt x="0" y="60983"/>
                    <a:pt x="0" y="60983"/>
                    <a:pt x="0" y="60983"/>
                  </a:cubicBezTo>
                  <a:cubicBezTo>
                    <a:pt x="0" y="60983"/>
                    <a:pt x="0" y="60983"/>
                    <a:pt x="0" y="60983"/>
                  </a:cubicBezTo>
                  <a:cubicBezTo>
                    <a:pt x="151" y="60983"/>
                    <a:pt x="151" y="61264"/>
                    <a:pt x="151" y="61264"/>
                  </a:cubicBezTo>
                  <a:cubicBezTo>
                    <a:pt x="151" y="61264"/>
                    <a:pt x="151" y="61264"/>
                    <a:pt x="151" y="61264"/>
                  </a:cubicBezTo>
                  <a:cubicBezTo>
                    <a:pt x="302" y="61545"/>
                    <a:pt x="1057" y="61545"/>
                    <a:pt x="1057" y="61545"/>
                  </a:cubicBezTo>
                  <a:cubicBezTo>
                    <a:pt x="1662" y="60421"/>
                    <a:pt x="1662" y="60421"/>
                    <a:pt x="1662" y="60421"/>
                  </a:cubicBezTo>
                  <a:cubicBezTo>
                    <a:pt x="2418" y="58454"/>
                    <a:pt x="2418" y="58454"/>
                    <a:pt x="2418" y="58454"/>
                  </a:cubicBezTo>
                  <a:cubicBezTo>
                    <a:pt x="1662" y="55362"/>
                    <a:pt x="1662" y="55362"/>
                    <a:pt x="1662" y="55362"/>
                  </a:cubicBezTo>
                  <a:cubicBezTo>
                    <a:pt x="1662" y="55362"/>
                    <a:pt x="1662" y="55362"/>
                    <a:pt x="1662" y="55362"/>
                  </a:cubicBezTo>
                  <a:cubicBezTo>
                    <a:pt x="1662" y="55362"/>
                    <a:pt x="1662" y="55362"/>
                    <a:pt x="1662" y="55362"/>
                  </a:cubicBezTo>
                  <a:cubicBezTo>
                    <a:pt x="1662" y="55362"/>
                    <a:pt x="1662" y="55362"/>
                    <a:pt x="1662" y="55362"/>
                  </a:cubicBezTo>
                  <a:cubicBezTo>
                    <a:pt x="1662" y="55081"/>
                    <a:pt x="1813" y="53957"/>
                    <a:pt x="1813" y="53676"/>
                  </a:cubicBezTo>
                  <a:cubicBezTo>
                    <a:pt x="1813" y="53395"/>
                    <a:pt x="2115" y="52271"/>
                    <a:pt x="2115" y="52271"/>
                  </a:cubicBezTo>
                  <a:cubicBezTo>
                    <a:pt x="2418" y="51428"/>
                    <a:pt x="2418" y="51428"/>
                    <a:pt x="2418" y="51428"/>
                  </a:cubicBezTo>
                  <a:cubicBezTo>
                    <a:pt x="2418" y="51428"/>
                    <a:pt x="3022" y="51147"/>
                    <a:pt x="3173" y="51147"/>
                  </a:cubicBezTo>
                  <a:cubicBezTo>
                    <a:pt x="3476" y="51147"/>
                    <a:pt x="2720" y="49461"/>
                    <a:pt x="2720" y="49180"/>
                  </a:cubicBezTo>
                  <a:cubicBezTo>
                    <a:pt x="2720" y="48899"/>
                    <a:pt x="2418" y="47494"/>
                    <a:pt x="2418" y="47494"/>
                  </a:cubicBezTo>
                  <a:cubicBezTo>
                    <a:pt x="2418" y="47494"/>
                    <a:pt x="1662" y="46651"/>
                    <a:pt x="1511" y="46651"/>
                  </a:cubicBezTo>
                  <a:cubicBezTo>
                    <a:pt x="1360" y="46651"/>
                    <a:pt x="604" y="46370"/>
                    <a:pt x="302" y="46088"/>
                  </a:cubicBezTo>
                  <a:cubicBezTo>
                    <a:pt x="302" y="46088"/>
                    <a:pt x="302" y="46088"/>
                    <a:pt x="302" y="46088"/>
                  </a:cubicBezTo>
                  <a:cubicBezTo>
                    <a:pt x="302" y="46088"/>
                    <a:pt x="302" y="46088"/>
                    <a:pt x="302" y="46088"/>
                  </a:cubicBezTo>
                  <a:cubicBezTo>
                    <a:pt x="302" y="46088"/>
                    <a:pt x="151" y="45807"/>
                    <a:pt x="151" y="45526"/>
                  </a:cubicBezTo>
                  <a:cubicBezTo>
                    <a:pt x="151" y="45526"/>
                    <a:pt x="151" y="45526"/>
                    <a:pt x="151" y="45526"/>
                  </a:cubicBezTo>
                  <a:cubicBezTo>
                    <a:pt x="151" y="45526"/>
                    <a:pt x="151" y="45526"/>
                    <a:pt x="151" y="45526"/>
                  </a:cubicBezTo>
                  <a:cubicBezTo>
                    <a:pt x="151" y="45245"/>
                    <a:pt x="151" y="45245"/>
                    <a:pt x="151" y="45245"/>
                  </a:cubicBezTo>
                  <a:cubicBezTo>
                    <a:pt x="151" y="45245"/>
                    <a:pt x="151" y="45245"/>
                    <a:pt x="151" y="45245"/>
                  </a:cubicBezTo>
                  <a:cubicBezTo>
                    <a:pt x="151" y="45245"/>
                    <a:pt x="151" y="45245"/>
                    <a:pt x="151" y="45245"/>
                  </a:cubicBezTo>
                  <a:cubicBezTo>
                    <a:pt x="151" y="45245"/>
                    <a:pt x="151" y="45245"/>
                    <a:pt x="151" y="45245"/>
                  </a:cubicBezTo>
                  <a:cubicBezTo>
                    <a:pt x="151" y="45245"/>
                    <a:pt x="151" y="45245"/>
                    <a:pt x="151" y="45245"/>
                  </a:cubicBezTo>
                  <a:cubicBezTo>
                    <a:pt x="302" y="44683"/>
                    <a:pt x="755" y="44402"/>
                    <a:pt x="755" y="44402"/>
                  </a:cubicBezTo>
                  <a:cubicBezTo>
                    <a:pt x="1360" y="43559"/>
                    <a:pt x="1360" y="43559"/>
                    <a:pt x="1360" y="43559"/>
                  </a:cubicBezTo>
                  <a:cubicBezTo>
                    <a:pt x="1209" y="42435"/>
                    <a:pt x="1209" y="42435"/>
                    <a:pt x="1209" y="42435"/>
                  </a:cubicBezTo>
                  <a:cubicBezTo>
                    <a:pt x="1209" y="42435"/>
                    <a:pt x="1813" y="41592"/>
                    <a:pt x="1964" y="41311"/>
                  </a:cubicBezTo>
                  <a:cubicBezTo>
                    <a:pt x="2267" y="41030"/>
                    <a:pt x="3324" y="40468"/>
                    <a:pt x="3324" y="40468"/>
                  </a:cubicBezTo>
                  <a:cubicBezTo>
                    <a:pt x="3778" y="39063"/>
                    <a:pt x="3778" y="39063"/>
                    <a:pt x="3778" y="39063"/>
                  </a:cubicBezTo>
                  <a:cubicBezTo>
                    <a:pt x="4534" y="38782"/>
                    <a:pt x="4534" y="38782"/>
                    <a:pt x="4534" y="38782"/>
                  </a:cubicBezTo>
                  <a:cubicBezTo>
                    <a:pt x="4836" y="37939"/>
                    <a:pt x="4836" y="37939"/>
                    <a:pt x="4836" y="37939"/>
                  </a:cubicBezTo>
                  <a:cubicBezTo>
                    <a:pt x="5591" y="38220"/>
                    <a:pt x="5591" y="38220"/>
                    <a:pt x="5591" y="38220"/>
                  </a:cubicBezTo>
                  <a:cubicBezTo>
                    <a:pt x="6801" y="39625"/>
                    <a:pt x="6801" y="39625"/>
                    <a:pt x="6801" y="39625"/>
                  </a:cubicBezTo>
                  <a:cubicBezTo>
                    <a:pt x="6801" y="39625"/>
                    <a:pt x="7707" y="38782"/>
                    <a:pt x="7858" y="38501"/>
                  </a:cubicBezTo>
                  <a:cubicBezTo>
                    <a:pt x="8161" y="38220"/>
                    <a:pt x="8463" y="38220"/>
                    <a:pt x="8463" y="38220"/>
                  </a:cubicBezTo>
                  <a:cubicBezTo>
                    <a:pt x="8916" y="37658"/>
                    <a:pt x="8916" y="37658"/>
                    <a:pt x="8916" y="37658"/>
                  </a:cubicBezTo>
                  <a:cubicBezTo>
                    <a:pt x="8916" y="37658"/>
                    <a:pt x="9672" y="37096"/>
                    <a:pt x="9823" y="36814"/>
                  </a:cubicBezTo>
                  <a:cubicBezTo>
                    <a:pt x="9823" y="36814"/>
                    <a:pt x="9823" y="36814"/>
                    <a:pt x="9823" y="36814"/>
                  </a:cubicBezTo>
                  <a:cubicBezTo>
                    <a:pt x="9823" y="36814"/>
                    <a:pt x="9823" y="36814"/>
                    <a:pt x="9823" y="36814"/>
                  </a:cubicBezTo>
                  <a:cubicBezTo>
                    <a:pt x="10125" y="42154"/>
                    <a:pt x="9370" y="39344"/>
                    <a:pt x="10881" y="41311"/>
                  </a:cubicBezTo>
                  <a:cubicBezTo>
                    <a:pt x="11032" y="41592"/>
                    <a:pt x="10881" y="41873"/>
                    <a:pt x="11032" y="42154"/>
                  </a:cubicBezTo>
                  <a:cubicBezTo>
                    <a:pt x="11032" y="42716"/>
                    <a:pt x="12090" y="43559"/>
                    <a:pt x="12090" y="43559"/>
                  </a:cubicBezTo>
                  <a:cubicBezTo>
                    <a:pt x="12090" y="43559"/>
                    <a:pt x="12997" y="43559"/>
                    <a:pt x="12997" y="43840"/>
                  </a:cubicBezTo>
                  <a:cubicBezTo>
                    <a:pt x="13148" y="44121"/>
                    <a:pt x="14055" y="44964"/>
                    <a:pt x="14055" y="44964"/>
                  </a:cubicBezTo>
                  <a:cubicBezTo>
                    <a:pt x="16020" y="44121"/>
                    <a:pt x="16020" y="44121"/>
                    <a:pt x="16020" y="44121"/>
                  </a:cubicBezTo>
                  <a:cubicBezTo>
                    <a:pt x="16926" y="45807"/>
                    <a:pt x="16926" y="45807"/>
                    <a:pt x="16926" y="45807"/>
                  </a:cubicBezTo>
                  <a:cubicBezTo>
                    <a:pt x="17984" y="45245"/>
                    <a:pt x="17984" y="45245"/>
                    <a:pt x="17984" y="45245"/>
                  </a:cubicBezTo>
                  <a:cubicBezTo>
                    <a:pt x="17984" y="45245"/>
                    <a:pt x="18438" y="45526"/>
                    <a:pt x="18740" y="45807"/>
                  </a:cubicBezTo>
                  <a:cubicBezTo>
                    <a:pt x="19042" y="46088"/>
                    <a:pt x="19949" y="45807"/>
                    <a:pt x="20251" y="45526"/>
                  </a:cubicBezTo>
                  <a:cubicBezTo>
                    <a:pt x="20554" y="45526"/>
                    <a:pt x="21309" y="44683"/>
                    <a:pt x="21612" y="44964"/>
                  </a:cubicBezTo>
                  <a:cubicBezTo>
                    <a:pt x="21914" y="44964"/>
                    <a:pt x="23274" y="44402"/>
                    <a:pt x="23274" y="44402"/>
                  </a:cubicBezTo>
                  <a:cubicBezTo>
                    <a:pt x="24030" y="43278"/>
                    <a:pt x="24030" y="43278"/>
                    <a:pt x="24030" y="43278"/>
                  </a:cubicBezTo>
                  <a:cubicBezTo>
                    <a:pt x="25541" y="41873"/>
                    <a:pt x="25541" y="41873"/>
                    <a:pt x="25541" y="41873"/>
                  </a:cubicBezTo>
                  <a:cubicBezTo>
                    <a:pt x="27204" y="45245"/>
                    <a:pt x="27204" y="45245"/>
                    <a:pt x="27204" y="45245"/>
                  </a:cubicBezTo>
                  <a:cubicBezTo>
                    <a:pt x="27204" y="45245"/>
                    <a:pt x="28866" y="44683"/>
                    <a:pt x="29017" y="44683"/>
                  </a:cubicBezTo>
                  <a:cubicBezTo>
                    <a:pt x="29319" y="44683"/>
                    <a:pt x="30528" y="43840"/>
                    <a:pt x="30528" y="43840"/>
                  </a:cubicBezTo>
                  <a:cubicBezTo>
                    <a:pt x="30528" y="43840"/>
                    <a:pt x="30831" y="42997"/>
                    <a:pt x="30680" y="42154"/>
                  </a:cubicBezTo>
                  <a:cubicBezTo>
                    <a:pt x="30680" y="41592"/>
                    <a:pt x="30528" y="41030"/>
                    <a:pt x="30528" y="41030"/>
                  </a:cubicBezTo>
                  <a:cubicBezTo>
                    <a:pt x="30528" y="41030"/>
                    <a:pt x="30226" y="40468"/>
                    <a:pt x="30680" y="40187"/>
                  </a:cubicBezTo>
                  <a:cubicBezTo>
                    <a:pt x="31133" y="39906"/>
                    <a:pt x="31284" y="39344"/>
                    <a:pt x="31586" y="39063"/>
                  </a:cubicBezTo>
                  <a:cubicBezTo>
                    <a:pt x="32040" y="38501"/>
                    <a:pt x="32342" y="37658"/>
                    <a:pt x="32493" y="37377"/>
                  </a:cubicBezTo>
                  <a:cubicBezTo>
                    <a:pt x="32644" y="37377"/>
                    <a:pt x="32947" y="36252"/>
                    <a:pt x="33098" y="36252"/>
                  </a:cubicBezTo>
                  <a:cubicBezTo>
                    <a:pt x="33098" y="35971"/>
                    <a:pt x="33400" y="35128"/>
                    <a:pt x="33400" y="34847"/>
                  </a:cubicBezTo>
                  <a:cubicBezTo>
                    <a:pt x="33551" y="34847"/>
                    <a:pt x="34307" y="33442"/>
                    <a:pt x="34307" y="33442"/>
                  </a:cubicBezTo>
                  <a:cubicBezTo>
                    <a:pt x="34609" y="32599"/>
                    <a:pt x="34609" y="32599"/>
                    <a:pt x="34609" y="32599"/>
                  </a:cubicBezTo>
                  <a:cubicBezTo>
                    <a:pt x="34609" y="32599"/>
                    <a:pt x="35214" y="30351"/>
                    <a:pt x="35516" y="30070"/>
                  </a:cubicBezTo>
                  <a:cubicBezTo>
                    <a:pt x="35818" y="30070"/>
                    <a:pt x="37481" y="27540"/>
                    <a:pt x="37783" y="27822"/>
                  </a:cubicBezTo>
                  <a:cubicBezTo>
                    <a:pt x="38085" y="27822"/>
                    <a:pt x="39143" y="26135"/>
                    <a:pt x="39445" y="25573"/>
                  </a:cubicBezTo>
                  <a:cubicBezTo>
                    <a:pt x="39748" y="25292"/>
                    <a:pt x="39748" y="24730"/>
                    <a:pt x="40503" y="24449"/>
                  </a:cubicBezTo>
                  <a:cubicBezTo>
                    <a:pt x="41108" y="24449"/>
                    <a:pt x="45340" y="23325"/>
                    <a:pt x="45340" y="23325"/>
                  </a:cubicBezTo>
                  <a:cubicBezTo>
                    <a:pt x="47758" y="21920"/>
                    <a:pt x="47758" y="21920"/>
                    <a:pt x="47758" y="21920"/>
                  </a:cubicBezTo>
                  <a:cubicBezTo>
                    <a:pt x="48967" y="20234"/>
                    <a:pt x="48967" y="20234"/>
                    <a:pt x="48967" y="20234"/>
                  </a:cubicBezTo>
                  <a:cubicBezTo>
                    <a:pt x="49118" y="19391"/>
                    <a:pt x="49118" y="19391"/>
                    <a:pt x="49118" y="19391"/>
                  </a:cubicBezTo>
                  <a:cubicBezTo>
                    <a:pt x="50478" y="19391"/>
                    <a:pt x="50478" y="19391"/>
                    <a:pt x="50478" y="19391"/>
                  </a:cubicBezTo>
                  <a:cubicBezTo>
                    <a:pt x="50478" y="19391"/>
                    <a:pt x="50327" y="20515"/>
                    <a:pt x="50327" y="20515"/>
                  </a:cubicBezTo>
                  <a:cubicBezTo>
                    <a:pt x="50327" y="20796"/>
                    <a:pt x="50176" y="21077"/>
                    <a:pt x="50629" y="21358"/>
                  </a:cubicBezTo>
                  <a:cubicBezTo>
                    <a:pt x="51083" y="21920"/>
                    <a:pt x="51536" y="22482"/>
                    <a:pt x="51687" y="22482"/>
                  </a:cubicBezTo>
                  <a:cubicBezTo>
                    <a:pt x="51838" y="22482"/>
                    <a:pt x="52141" y="22763"/>
                    <a:pt x="52292" y="22763"/>
                  </a:cubicBezTo>
                  <a:cubicBezTo>
                    <a:pt x="52443" y="23044"/>
                    <a:pt x="53198" y="23325"/>
                    <a:pt x="53198" y="23325"/>
                  </a:cubicBezTo>
                  <a:cubicBezTo>
                    <a:pt x="53198" y="23325"/>
                    <a:pt x="54105" y="22763"/>
                    <a:pt x="54105" y="22763"/>
                  </a:cubicBezTo>
                  <a:cubicBezTo>
                    <a:pt x="54105" y="22482"/>
                    <a:pt x="54559" y="22201"/>
                    <a:pt x="54861" y="21920"/>
                  </a:cubicBezTo>
                  <a:cubicBezTo>
                    <a:pt x="55163" y="21639"/>
                    <a:pt x="56372" y="21077"/>
                    <a:pt x="56372" y="21077"/>
                  </a:cubicBezTo>
                  <a:cubicBezTo>
                    <a:pt x="56372" y="21077"/>
                    <a:pt x="56675" y="21920"/>
                    <a:pt x="56826" y="21920"/>
                  </a:cubicBezTo>
                  <a:cubicBezTo>
                    <a:pt x="56826" y="22201"/>
                    <a:pt x="57430" y="22763"/>
                    <a:pt x="57279" y="23325"/>
                  </a:cubicBezTo>
                  <a:cubicBezTo>
                    <a:pt x="57279" y="23606"/>
                    <a:pt x="57279" y="24449"/>
                    <a:pt x="57279" y="24449"/>
                  </a:cubicBezTo>
                  <a:cubicBezTo>
                    <a:pt x="58186" y="25292"/>
                    <a:pt x="58186" y="25292"/>
                    <a:pt x="58186" y="25292"/>
                  </a:cubicBezTo>
                  <a:cubicBezTo>
                    <a:pt x="58186" y="25292"/>
                    <a:pt x="58790" y="25854"/>
                    <a:pt x="58942" y="26135"/>
                  </a:cubicBezTo>
                  <a:cubicBezTo>
                    <a:pt x="59093" y="26135"/>
                    <a:pt x="60000" y="26416"/>
                    <a:pt x="60000" y="26416"/>
                  </a:cubicBezTo>
                  <a:cubicBezTo>
                    <a:pt x="60151" y="24449"/>
                    <a:pt x="60151" y="24449"/>
                    <a:pt x="60151" y="24449"/>
                  </a:cubicBezTo>
                  <a:cubicBezTo>
                    <a:pt x="60151" y="24449"/>
                    <a:pt x="60453" y="23887"/>
                    <a:pt x="60906" y="23887"/>
                  </a:cubicBezTo>
                  <a:cubicBezTo>
                    <a:pt x="61360" y="23887"/>
                    <a:pt x="62115" y="23887"/>
                    <a:pt x="62115" y="23887"/>
                  </a:cubicBezTo>
                  <a:cubicBezTo>
                    <a:pt x="62115" y="23887"/>
                    <a:pt x="62720" y="24168"/>
                    <a:pt x="62720" y="24449"/>
                  </a:cubicBezTo>
                  <a:cubicBezTo>
                    <a:pt x="62720" y="24730"/>
                    <a:pt x="63476" y="25573"/>
                    <a:pt x="63476" y="25573"/>
                  </a:cubicBezTo>
                  <a:cubicBezTo>
                    <a:pt x="64534" y="25011"/>
                    <a:pt x="64534" y="25011"/>
                    <a:pt x="64534" y="25011"/>
                  </a:cubicBezTo>
                  <a:cubicBezTo>
                    <a:pt x="64987" y="25292"/>
                    <a:pt x="64987" y="25292"/>
                    <a:pt x="64987" y="25292"/>
                  </a:cubicBezTo>
                  <a:cubicBezTo>
                    <a:pt x="66347" y="25573"/>
                    <a:pt x="66347" y="25573"/>
                    <a:pt x="66347" y="25573"/>
                  </a:cubicBezTo>
                  <a:cubicBezTo>
                    <a:pt x="66347" y="25573"/>
                    <a:pt x="66649" y="25573"/>
                    <a:pt x="66649" y="25292"/>
                  </a:cubicBezTo>
                  <a:cubicBezTo>
                    <a:pt x="66801" y="25011"/>
                    <a:pt x="66801" y="24168"/>
                    <a:pt x="66801" y="24168"/>
                  </a:cubicBezTo>
                  <a:cubicBezTo>
                    <a:pt x="66801" y="24168"/>
                    <a:pt x="66649" y="24168"/>
                    <a:pt x="67103" y="23887"/>
                  </a:cubicBezTo>
                  <a:cubicBezTo>
                    <a:pt x="67556" y="23887"/>
                    <a:pt x="67405" y="23606"/>
                    <a:pt x="67556" y="23887"/>
                  </a:cubicBezTo>
                  <a:cubicBezTo>
                    <a:pt x="67707" y="24168"/>
                    <a:pt x="68312" y="24168"/>
                    <a:pt x="68614" y="24449"/>
                  </a:cubicBezTo>
                  <a:cubicBezTo>
                    <a:pt x="68765" y="24449"/>
                    <a:pt x="69370" y="24730"/>
                    <a:pt x="69521" y="24730"/>
                  </a:cubicBezTo>
                  <a:cubicBezTo>
                    <a:pt x="69672" y="24730"/>
                    <a:pt x="71183" y="24449"/>
                    <a:pt x="71183" y="24449"/>
                  </a:cubicBezTo>
                  <a:cubicBezTo>
                    <a:pt x="71183" y="24449"/>
                    <a:pt x="70881" y="24730"/>
                    <a:pt x="71486" y="24168"/>
                  </a:cubicBezTo>
                  <a:cubicBezTo>
                    <a:pt x="72090" y="23606"/>
                    <a:pt x="72846" y="22763"/>
                    <a:pt x="72846" y="22763"/>
                  </a:cubicBezTo>
                  <a:cubicBezTo>
                    <a:pt x="72846" y="22763"/>
                    <a:pt x="72846" y="22763"/>
                    <a:pt x="73299" y="22482"/>
                  </a:cubicBezTo>
                  <a:cubicBezTo>
                    <a:pt x="73753" y="22201"/>
                    <a:pt x="73753" y="21077"/>
                    <a:pt x="73753" y="21077"/>
                  </a:cubicBezTo>
                  <a:cubicBezTo>
                    <a:pt x="73753" y="21077"/>
                    <a:pt x="73753" y="21077"/>
                    <a:pt x="74055" y="21077"/>
                  </a:cubicBezTo>
                  <a:cubicBezTo>
                    <a:pt x="74206" y="20796"/>
                    <a:pt x="75113" y="20515"/>
                    <a:pt x="75113" y="20515"/>
                  </a:cubicBezTo>
                  <a:cubicBezTo>
                    <a:pt x="75113" y="20515"/>
                    <a:pt x="75264" y="19953"/>
                    <a:pt x="75415" y="19672"/>
                  </a:cubicBezTo>
                  <a:cubicBezTo>
                    <a:pt x="75566" y="19672"/>
                    <a:pt x="75869" y="19110"/>
                    <a:pt x="75869" y="19110"/>
                  </a:cubicBezTo>
                  <a:cubicBezTo>
                    <a:pt x="76020" y="19110"/>
                    <a:pt x="76020" y="19110"/>
                    <a:pt x="76020" y="19110"/>
                  </a:cubicBezTo>
                  <a:cubicBezTo>
                    <a:pt x="76624" y="18829"/>
                    <a:pt x="76624" y="18829"/>
                    <a:pt x="76624" y="18829"/>
                  </a:cubicBezTo>
                  <a:cubicBezTo>
                    <a:pt x="76775" y="18266"/>
                    <a:pt x="76775" y="18266"/>
                    <a:pt x="76775" y="18266"/>
                  </a:cubicBezTo>
                  <a:cubicBezTo>
                    <a:pt x="77984" y="18829"/>
                    <a:pt x="77984" y="18829"/>
                    <a:pt x="77984" y="18829"/>
                  </a:cubicBezTo>
                  <a:cubicBezTo>
                    <a:pt x="77984" y="18829"/>
                    <a:pt x="79042" y="19110"/>
                    <a:pt x="79193" y="18829"/>
                  </a:cubicBezTo>
                  <a:cubicBezTo>
                    <a:pt x="79496" y="18829"/>
                    <a:pt x="79949" y="17423"/>
                    <a:pt x="80251" y="17704"/>
                  </a:cubicBezTo>
                  <a:cubicBezTo>
                    <a:pt x="80403" y="17704"/>
                    <a:pt x="80705" y="18266"/>
                    <a:pt x="80856" y="17985"/>
                  </a:cubicBezTo>
                  <a:cubicBezTo>
                    <a:pt x="81007" y="17985"/>
                    <a:pt x="81158" y="18548"/>
                    <a:pt x="81612" y="17985"/>
                  </a:cubicBezTo>
                  <a:cubicBezTo>
                    <a:pt x="82216" y="17142"/>
                    <a:pt x="82670" y="16018"/>
                    <a:pt x="82670" y="16018"/>
                  </a:cubicBezTo>
                  <a:cubicBezTo>
                    <a:pt x="82670" y="16018"/>
                    <a:pt x="82518" y="15456"/>
                    <a:pt x="82972" y="15175"/>
                  </a:cubicBezTo>
                  <a:cubicBezTo>
                    <a:pt x="83425" y="14613"/>
                    <a:pt x="83425" y="14332"/>
                    <a:pt x="83727" y="14332"/>
                  </a:cubicBezTo>
                  <a:cubicBezTo>
                    <a:pt x="84030" y="14051"/>
                    <a:pt x="84030" y="14332"/>
                    <a:pt x="84181" y="13770"/>
                  </a:cubicBezTo>
                  <a:cubicBezTo>
                    <a:pt x="84181" y="13208"/>
                    <a:pt x="84181" y="12646"/>
                    <a:pt x="84332" y="12365"/>
                  </a:cubicBezTo>
                  <a:cubicBezTo>
                    <a:pt x="84483" y="12365"/>
                    <a:pt x="84634" y="11803"/>
                    <a:pt x="84937" y="11803"/>
                  </a:cubicBezTo>
                  <a:cubicBezTo>
                    <a:pt x="85088" y="11522"/>
                    <a:pt x="85390" y="11241"/>
                    <a:pt x="85390" y="10679"/>
                  </a:cubicBezTo>
                  <a:cubicBezTo>
                    <a:pt x="85541" y="10117"/>
                    <a:pt x="85239" y="10398"/>
                    <a:pt x="85541" y="10117"/>
                  </a:cubicBezTo>
                  <a:cubicBezTo>
                    <a:pt x="85843" y="9555"/>
                    <a:pt x="85994" y="9274"/>
                    <a:pt x="86297" y="8711"/>
                  </a:cubicBezTo>
                  <a:cubicBezTo>
                    <a:pt x="86599" y="8430"/>
                    <a:pt x="86750" y="8149"/>
                    <a:pt x="86901" y="7587"/>
                  </a:cubicBezTo>
                  <a:cubicBezTo>
                    <a:pt x="86901" y="7025"/>
                    <a:pt x="86901" y="6744"/>
                    <a:pt x="87052" y="5901"/>
                  </a:cubicBezTo>
                  <a:cubicBezTo>
                    <a:pt x="87355" y="5058"/>
                    <a:pt x="87052" y="4496"/>
                    <a:pt x="87506" y="4496"/>
                  </a:cubicBezTo>
                  <a:cubicBezTo>
                    <a:pt x="87657" y="4496"/>
                    <a:pt x="87657" y="4496"/>
                    <a:pt x="87808" y="4496"/>
                  </a:cubicBezTo>
                  <a:cubicBezTo>
                    <a:pt x="87808" y="5058"/>
                    <a:pt x="88110" y="5339"/>
                    <a:pt x="88413" y="5620"/>
                  </a:cubicBezTo>
                  <a:cubicBezTo>
                    <a:pt x="88866" y="5901"/>
                    <a:pt x="90075" y="4777"/>
                    <a:pt x="90075" y="4777"/>
                  </a:cubicBezTo>
                  <a:cubicBezTo>
                    <a:pt x="90831" y="4215"/>
                    <a:pt x="90831" y="4215"/>
                    <a:pt x="90831" y="4215"/>
                  </a:cubicBezTo>
                  <a:cubicBezTo>
                    <a:pt x="91586" y="3934"/>
                    <a:pt x="91586" y="3934"/>
                    <a:pt x="91586" y="3934"/>
                  </a:cubicBezTo>
                  <a:cubicBezTo>
                    <a:pt x="91586" y="3934"/>
                    <a:pt x="93400" y="3653"/>
                    <a:pt x="93702" y="3372"/>
                  </a:cubicBezTo>
                  <a:cubicBezTo>
                    <a:pt x="94156" y="2810"/>
                    <a:pt x="94156" y="2248"/>
                    <a:pt x="94156" y="2248"/>
                  </a:cubicBezTo>
                  <a:cubicBezTo>
                    <a:pt x="94005" y="1405"/>
                    <a:pt x="94005" y="1405"/>
                    <a:pt x="94005" y="1405"/>
                  </a:cubicBezTo>
                  <a:cubicBezTo>
                    <a:pt x="94005" y="1405"/>
                    <a:pt x="94911" y="562"/>
                    <a:pt x="95365" y="281"/>
                  </a:cubicBezTo>
                  <a:cubicBezTo>
                    <a:pt x="95667" y="0"/>
                    <a:pt x="95969" y="562"/>
                    <a:pt x="95969" y="562"/>
                  </a:cubicBezTo>
                  <a:cubicBezTo>
                    <a:pt x="96423" y="1405"/>
                    <a:pt x="96423" y="1405"/>
                    <a:pt x="96423" y="1405"/>
                  </a:cubicBezTo>
                  <a:cubicBezTo>
                    <a:pt x="97027" y="2529"/>
                    <a:pt x="97027" y="2529"/>
                    <a:pt x="97027" y="2529"/>
                  </a:cubicBezTo>
                  <a:cubicBezTo>
                    <a:pt x="97783" y="2810"/>
                    <a:pt x="97783" y="2810"/>
                    <a:pt x="97783" y="2810"/>
                  </a:cubicBezTo>
                  <a:cubicBezTo>
                    <a:pt x="97783" y="2810"/>
                    <a:pt x="98236" y="3653"/>
                    <a:pt x="98387" y="3934"/>
                  </a:cubicBezTo>
                  <a:cubicBezTo>
                    <a:pt x="98387" y="4496"/>
                    <a:pt x="98387" y="4496"/>
                    <a:pt x="98387" y="4496"/>
                  </a:cubicBezTo>
                  <a:cubicBezTo>
                    <a:pt x="99294" y="4496"/>
                    <a:pt x="99294" y="4496"/>
                    <a:pt x="99294" y="4496"/>
                  </a:cubicBezTo>
                  <a:cubicBezTo>
                    <a:pt x="100050" y="3934"/>
                    <a:pt x="100050" y="3934"/>
                    <a:pt x="100050" y="3934"/>
                  </a:cubicBezTo>
                  <a:cubicBezTo>
                    <a:pt x="100806" y="4777"/>
                    <a:pt x="100806" y="4777"/>
                    <a:pt x="100806" y="4777"/>
                  </a:cubicBezTo>
                  <a:cubicBezTo>
                    <a:pt x="101410" y="4496"/>
                    <a:pt x="101410" y="4496"/>
                    <a:pt x="101410" y="4496"/>
                  </a:cubicBezTo>
                  <a:cubicBezTo>
                    <a:pt x="101561" y="4496"/>
                    <a:pt x="101561" y="4777"/>
                    <a:pt x="101712" y="4777"/>
                  </a:cubicBezTo>
                  <a:cubicBezTo>
                    <a:pt x="101712" y="5058"/>
                    <a:pt x="101712" y="5339"/>
                    <a:pt x="101712" y="5620"/>
                  </a:cubicBezTo>
                  <a:cubicBezTo>
                    <a:pt x="101863" y="6182"/>
                    <a:pt x="102015" y="6182"/>
                    <a:pt x="102015" y="6182"/>
                  </a:cubicBezTo>
                  <a:cubicBezTo>
                    <a:pt x="102317" y="7025"/>
                    <a:pt x="102317" y="7025"/>
                    <a:pt x="102317" y="7025"/>
                  </a:cubicBezTo>
                  <a:cubicBezTo>
                    <a:pt x="102468" y="7868"/>
                    <a:pt x="102468" y="7868"/>
                    <a:pt x="102468" y="7868"/>
                  </a:cubicBezTo>
                  <a:cubicBezTo>
                    <a:pt x="102317" y="9274"/>
                    <a:pt x="102317" y="9274"/>
                    <a:pt x="102317" y="9274"/>
                  </a:cubicBezTo>
                  <a:cubicBezTo>
                    <a:pt x="102317" y="9274"/>
                    <a:pt x="102015" y="10679"/>
                    <a:pt x="101863" y="11241"/>
                  </a:cubicBezTo>
                  <a:cubicBezTo>
                    <a:pt x="101712" y="11803"/>
                    <a:pt x="102166" y="12365"/>
                    <a:pt x="102166" y="12365"/>
                  </a:cubicBezTo>
                  <a:cubicBezTo>
                    <a:pt x="102317" y="12927"/>
                    <a:pt x="102317" y="12927"/>
                    <a:pt x="102317" y="12927"/>
                  </a:cubicBezTo>
                  <a:cubicBezTo>
                    <a:pt x="102317" y="12927"/>
                    <a:pt x="102468" y="13770"/>
                    <a:pt x="102619" y="14051"/>
                  </a:cubicBezTo>
                  <a:cubicBezTo>
                    <a:pt x="102619" y="14332"/>
                    <a:pt x="102619" y="14332"/>
                    <a:pt x="102619" y="14332"/>
                  </a:cubicBezTo>
                  <a:cubicBezTo>
                    <a:pt x="102619" y="14332"/>
                    <a:pt x="103073" y="14894"/>
                    <a:pt x="103224" y="15175"/>
                  </a:cubicBezTo>
                  <a:cubicBezTo>
                    <a:pt x="103375" y="15175"/>
                    <a:pt x="103375" y="15456"/>
                    <a:pt x="103526" y="15737"/>
                  </a:cubicBezTo>
                  <a:cubicBezTo>
                    <a:pt x="103677" y="16018"/>
                    <a:pt x="103526" y="16580"/>
                    <a:pt x="103526" y="16580"/>
                  </a:cubicBezTo>
                  <a:cubicBezTo>
                    <a:pt x="103073" y="17423"/>
                    <a:pt x="103073" y="17423"/>
                    <a:pt x="103073" y="17423"/>
                  </a:cubicBezTo>
                  <a:cubicBezTo>
                    <a:pt x="103073" y="17423"/>
                    <a:pt x="103828" y="17423"/>
                    <a:pt x="104130" y="17423"/>
                  </a:cubicBezTo>
                  <a:cubicBezTo>
                    <a:pt x="104433" y="17423"/>
                    <a:pt x="104433" y="17423"/>
                    <a:pt x="104584" y="17423"/>
                  </a:cubicBezTo>
                  <a:cubicBezTo>
                    <a:pt x="104735" y="17423"/>
                    <a:pt x="105340" y="17704"/>
                    <a:pt x="105340" y="17704"/>
                  </a:cubicBezTo>
                  <a:cubicBezTo>
                    <a:pt x="105340" y="17704"/>
                    <a:pt x="105642" y="17423"/>
                    <a:pt x="105793" y="17423"/>
                  </a:cubicBezTo>
                  <a:cubicBezTo>
                    <a:pt x="106095" y="17142"/>
                    <a:pt x="106397" y="17142"/>
                    <a:pt x="106397" y="17142"/>
                  </a:cubicBezTo>
                  <a:cubicBezTo>
                    <a:pt x="107002" y="16299"/>
                    <a:pt x="107002" y="16299"/>
                    <a:pt x="107002" y="16299"/>
                  </a:cubicBezTo>
                  <a:cubicBezTo>
                    <a:pt x="107002" y="16299"/>
                    <a:pt x="107758" y="16580"/>
                    <a:pt x="108060" y="16580"/>
                  </a:cubicBezTo>
                  <a:cubicBezTo>
                    <a:pt x="108211" y="16580"/>
                    <a:pt x="108664" y="16580"/>
                    <a:pt x="108816" y="16299"/>
                  </a:cubicBezTo>
                  <a:cubicBezTo>
                    <a:pt x="108967" y="16299"/>
                    <a:pt x="109571" y="16861"/>
                    <a:pt x="109571" y="16861"/>
                  </a:cubicBezTo>
                  <a:cubicBezTo>
                    <a:pt x="109571" y="16861"/>
                    <a:pt x="109874" y="17423"/>
                    <a:pt x="110025" y="17704"/>
                  </a:cubicBezTo>
                  <a:cubicBezTo>
                    <a:pt x="109874" y="18548"/>
                    <a:pt x="109722" y="19110"/>
                    <a:pt x="109722" y="19391"/>
                  </a:cubicBezTo>
                  <a:cubicBezTo>
                    <a:pt x="109874" y="19672"/>
                    <a:pt x="110327" y="20234"/>
                    <a:pt x="110478" y="20796"/>
                  </a:cubicBezTo>
                  <a:cubicBezTo>
                    <a:pt x="110478" y="21077"/>
                    <a:pt x="109874" y="22482"/>
                    <a:pt x="109874" y="22482"/>
                  </a:cubicBezTo>
                  <a:close/>
                  <a:moveTo>
                    <a:pt x="0" y="46088"/>
                  </a:moveTo>
                  <a:cubicBezTo>
                    <a:pt x="0" y="46088"/>
                    <a:pt x="0" y="46088"/>
                    <a:pt x="0" y="46088"/>
                  </a:cubicBezTo>
                  <a:cubicBezTo>
                    <a:pt x="0" y="46088"/>
                    <a:pt x="0" y="46088"/>
                    <a:pt x="0" y="46088"/>
                  </a:cubicBezTo>
                  <a:cubicBezTo>
                    <a:pt x="0" y="46088"/>
                    <a:pt x="0" y="46088"/>
                    <a:pt x="0" y="46088"/>
                  </a:cubicBezTo>
                  <a:cubicBezTo>
                    <a:pt x="0" y="46088"/>
                    <a:pt x="0" y="46088"/>
                    <a:pt x="0" y="46088"/>
                  </a:cubicBezTo>
                  <a:cubicBezTo>
                    <a:pt x="0" y="46088"/>
                    <a:pt x="0" y="46088"/>
                    <a:pt x="0" y="46088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tx1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defTabSz="457178"/>
              <a:endParaRPr kern="0">
                <a:solidFill>
                  <a:srgbClr val="7F7F7F"/>
                </a:solidFill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50" name="Shape 2057">
              <a:extLst>
                <a:ext uri="{FF2B5EF4-FFF2-40B4-BE49-F238E27FC236}">
                  <a16:creationId xmlns:a16="http://schemas.microsoft.com/office/drawing/2014/main" id="{932FF5B3-8424-4D90-AADE-CE28D182236E}"/>
                </a:ext>
              </a:extLst>
            </p:cNvPr>
            <p:cNvSpPr/>
            <p:nvPr/>
          </p:nvSpPr>
          <p:spPr>
            <a:xfrm>
              <a:off x="5477832" y="363797"/>
              <a:ext cx="722325" cy="1278502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7570" y="20761"/>
                  </a:moveTo>
                  <a:cubicBezTo>
                    <a:pt x="6435" y="19723"/>
                    <a:pt x="6435" y="19723"/>
                    <a:pt x="6435" y="19723"/>
                  </a:cubicBezTo>
                  <a:cubicBezTo>
                    <a:pt x="4921" y="19307"/>
                    <a:pt x="4921" y="19307"/>
                    <a:pt x="4921" y="19307"/>
                  </a:cubicBezTo>
                  <a:cubicBezTo>
                    <a:pt x="3028" y="18892"/>
                    <a:pt x="3028" y="18892"/>
                    <a:pt x="3028" y="18892"/>
                  </a:cubicBezTo>
                  <a:cubicBezTo>
                    <a:pt x="3028" y="18062"/>
                    <a:pt x="3028" y="18062"/>
                    <a:pt x="3028" y="18062"/>
                  </a:cubicBezTo>
                  <a:cubicBezTo>
                    <a:pt x="378" y="17231"/>
                    <a:pt x="378" y="17231"/>
                    <a:pt x="378" y="17231"/>
                  </a:cubicBezTo>
                  <a:cubicBezTo>
                    <a:pt x="378" y="17231"/>
                    <a:pt x="0" y="16816"/>
                    <a:pt x="378" y="16816"/>
                  </a:cubicBezTo>
                  <a:cubicBezTo>
                    <a:pt x="757" y="16608"/>
                    <a:pt x="2271" y="16608"/>
                    <a:pt x="2649" y="16608"/>
                  </a:cubicBezTo>
                  <a:cubicBezTo>
                    <a:pt x="2649" y="16401"/>
                    <a:pt x="2649" y="16401"/>
                    <a:pt x="2649" y="16401"/>
                  </a:cubicBezTo>
                  <a:cubicBezTo>
                    <a:pt x="3028" y="16401"/>
                    <a:pt x="3028" y="16401"/>
                    <a:pt x="3028" y="16401"/>
                  </a:cubicBezTo>
                  <a:cubicBezTo>
                    <a:pt x="3406" y="16401"/>
                    <a:pt x="3406" y="16193"/>
                    <a:pt x="3406" y="16193"/>
                  </a:cubicBezTo>
                  <a:cubicBezTo>
                    <a:pt x="3406" y="16193"/>
                    <a:pt x="2271" y="14948"/>
                    <a:pt x="3028" y="14325"/>
                  </a:cubicBezTo>
                  <a:cubicBezTo>
                    <a:pt x="3028" y="14117"/>
                    <a:pt x="3028" y="14117"/>
                    <a:pt x="3028" y="14117"/>
                  </a:cubicBezTo>
                  <a:cubicBezTo>
                    <a:pt x="3028" y="14117"/>
                    <a:pt x="3028" y="14117"/>
                    <a:pt x="3028" y="14117"/>
                  </a:cubicBezTo>
                  <a:cubicBezTo>
                    <a:pt x="3785" y="13702"/>
                    <a:pt x="5299" y="13702"/>
                    <a:pt x="6056" y="14117"/>
                  </a:cubicBezTo>
                  <a:cubicBezTo>
                    <a:pt x="7570" y="14325"/>
                    <a:pt x="7570" y="14325"/>
                    <a:pt x="7570" y="14325"/>
                  </a:cubicBezTo>
                  <a:cubicBezTo>
                    <a:pt x="10220" y="15986"/>
                    <a:pt x="10220" y="15986"/>
                    <a:pt x="10220" y="15986"/>
                  </a:cubicBezTo>
                  <a:cubicBezTo>
                    <a:pt x="12492" y="17439"/>
                    <a:pt x="12492" y="17439"/>
                    <a:pt x="12492" y="17439"/>
                  </a:cubicBezTo>
                  <a:cubicBezTo>
                    <a:pt x="12492" y="17439"/>
                    <a:pt x="15899" y="18892"/>
                    <a:pt x="16656" y="19100"/>
                  </a:cubicBezTo>
                  <a:cubicBezTo>
                    <a:pt x="17413" y="19307"/>
                    <a:pt x="21577" y="19723"/>
                    <a:pt x="21955" y="19930"/>
                  </a:cubicBezTo>
                  <a:cubicBezTo>
                    <a:pt x="23091" y="19100"/>
                    <a:pt x="23091" y="19100"/>
                    <a:pt x="23091" y="19100"/>
                  </a:cubicBezTo>
                  <a:cubicBezTo>
                    <a:pt x="24605" y="18477"/>
                    <a:pt x="24605" y="18477"/>
                    <a:pt x="24605" y="18477"/>
                  </a:cubicBezTo>
                  <a:cubicBezTo>
                    <a:pt x="24227" y="18062"/>
                    <a:pt x="24227" y="18062"/>
                    <a:pt x="24227" y="18062"/>
                  </a:cubicBezTo>
                  <a:cubicBezTo>
                    <a:pt x="26119" y="17439"/>
                    <a:pt x="26119" y="17439"/>
                    <a:pt x="26119" y="17439"/>
                  </a:cubicBezTo>
                  <a:cubicBezTo>
                    <a:pt x="27634" y="18062"/>
                    <a:pt x="27634" y="18062"/>
                    <a:pt x="27634" y="18062"/>
                  </a:cubicBezTo>
                  <a:cubicBezTo>
                    <a:pt x="31419" y="18477"/>
                    <a:pt x="31419" y="18477"/>
                    <a:pt x="31419" y="18477"/>
                  </a:cubicBezTo>
                  <a:cubicBezTo>
                    <a:pt x="32933" y="19100"/>
                    <a:pt x="32933" y="19100"/>
                    <a:pt x="32933" y="19100"/>
                  </a:cubicBezTo>
                  <a:cubicBezTo>
                    <a:pt x="32933" y="19100"/>
                    <a:pt x="33312" y="19100"/>
                    <a:pt x="33690" y="18892"/>
                  </a:cubicBezTo>
                  <a:cubicBezTo>
                    <a:pt x="33690" y="18892"/>
                    <a:pt x="33690" y="18892"/>
                    <a:pt x="33690" y="18892"/>
                  </a:cubicBezTo>
                  <a:cubicBezTo>
                    <a:pt x="34069" y="18892"/>
                    <a:pt x="34069" y="18892"/>
                    <a:pt x="34447" y="18685"/>
                  </a:cubicBezTo>
                  <a:cubicBezTo>
                    <a:pt x="34447" y="18685"/>
                    <a:pt x="34447" y="18685"/>
                    <a:pt x="34447" y="18685"/>
                  </a:cubicBezTo>
                  <a:cubicBezTo>
                    <a:pt x="34447" y="18685"/>
                    <a:pt x="34447" y="18685"/>
                    <a:pt x="34447" y="18685"/>
                  </a:cubicBezTo>
                  <a:cubicBezTo>
                    <a:pt x="34447" y="18685"/>
                    <a:pt x="34447" y="18685"/>
                    <a:pt x="34447" y="18685"/>
                  </a:cubicBezTo>
                  <a:cubicBezTo>
                    <a:pt x="34447" y="18685"/>
                    <a:pt x="34447" y="18685"/>
                    <a:pt x="34447" y="18685"/>
                  </a:cubicBezTo>
                  <a:cubicBezTo>
                    <a:pt x="34447" y="18685"/>
                    <a:pt x="34447" y="18685"/>
                    <a:pt x="34447" y="18685"/>
                  </a:cubicBezTo>
                  <a:cubicBezTo>
                    <a:pt x="34447" y="18477"/>
                    <a:pt x="34447" y="18477"/>
                    <a:pt x="34447" y="18477"/>
                  </a:cubicBezTo>
                  <a:cubicBezTo>
                    <a:pt x="34447" y="18269"/>
                    <a:pt x="34447" y="17024"/>
                    <a:pt x="34447" y="17024"/>
                  </a:cubicBezTo>
                  <a:cubicBezTo>
                    <a:pt x="34447" y="17024"/>
                    <a:pt x="33312" y="16608"/>
                    <a:pt x="34447" y="16193"/>
                  </a:cubicBezTo>
                  <a:cubicBezTo>
                    <a:pt x="35583" y="15570"/>
                    <a:pt x="37097" y="14948"/>
                    <a:pt x="37097" y="14948"/>
                  </a:cubicBezTo>
                  <a:cubicBezTo>
                    <a:pt x="37097" y="14948"/>
                    <a:pt x="37854" y="14740"/>
                    <a:pt x="37854" y="14117"/>
                  </a:cubicBezTo>
                  <a:cubicBezTo>
                    <a:pt x="37854" y="13494"/>
                    <a:pt x="37097" y="11833"/>
                    <a:pt x="37097" y="11833"/>
                  </a:cubicBezTo>
                  <a:cubicBezTo>
                    <a:pt x="37097" y="11833"/>
                    <a:pt x="36340" y="10795"/>
                    <a:pt x="36340" y="10380"/>
                  </a:cubicBezTo>
                  <a:cubicBezTo>
                    <a:pt x="37097" y="7889"/>
                    <a:pt x="35205" y="6020"/>
                    <a:pt x="36340" y="5813"/>
                  </a:cubicBezTo>
                  <a:cubicBezTo>
                    <a:pt x="36340" y="5813"/>
                    <a:pt x="36340" y="5813"/>
                    <a:pt x="36340" y="5813"/>
                  </a:cubicBezTo>
                  <a:cubicBezTo>
                    <a:pt x="37097" y="5605"/>
                    <a:pt x="37097" y="5605"/>
                    <a:pt x="37097" y="5605"/>
                  </a:cubicBezTo>
                  <a:cubicBezTo>
                    <a:pt x="38233" y="5190"/>
                    <a:pt x="38233" y="5190"/>
                    <a:pt x="38233" y="5190"/>
                  </a:cubicBezTo>
                  <a:cubicBezTo>
                    <a:pt x="38233" y="5190"/>
                    <a:pt x="38233" y="4982"/>
                    <a:pt x="38233" y="4982"/>
                  </a:cubicBezTo>
                  <a:cubicBezTo>
                    <a:pt x="38233" y="3944"/>
                    <a:pt x="35962" y="2906"/>
                    <a:pt x="38611" y="2698"/>
                  </a:cubicBezTo>
                  <a:cubicBezTo>
                    <a:pt x="39747" y="2283"/>
                    <a:pt x="39747" y="2283"/>
                    <a:pt x="39747" y="2283"/>
                  </a:cubicBezTo>
                  <a:cubicBezTo>
                    <a:pt x="43154" y="2283"/>
                    <a:pt x="43154" y="2283"/>
                    <a:pt x="43154" y="2283"/>
                  </a:cubicBezTo>
                  <a:cubicBezTo>
                    <a:pt x="43911" y="1038"/>
                    <a:pt x="43911" y="1038"/>
                    <a:pt x="43911" y="1038"/>
                  </a:cubicBezTo>
                  <a:cubicBezTo>
                    <a:pt x="45425" y="207"/>
                    <a:pt x="45425" y="207"/>
                    <a:pt x="45425" y="207"/>
                  </a:cubicBezTo>
                  <a:cubicBezTo>
                    <a:pt x="46561" y="207"/>
                    <a:pt x="48075" y="0"/>
                    <a:pt x="48832" y="207"/>
                  </a:cubicBezTo>
                  <a:cubicBezTo>
                    <a:pt x="49589" y="830"/>
                    <a:pt x="49589" y="1245"/>
                    <a:pt x="51104" y="1453"/>
                  </a:cubicBezTo>
                  <a:cubicBezTo>
                    <a:pt x="55646" y="2283"/>
                    <a:pt x="55646" y="2283"/>
                    <a:pt x="55646" y="2283"/>
                  </a:cubicBezTo>
                  <a:cubicBezTo>
                    <a:pt x="58296" y="2491"/>
                    <a:pt x="58296" y="2491"/>
                    <a:pt x="58296" y="2491"/>
                  </a:cubicBezTo>
                  <a:cubicBezTo>
                    <a:pt x="59053" y="2906"/>
                    <a:pt x="59053" y="2906"/>
                    <a:pt x="59053" y="2906"/>
                  </a:cubicBezTo>
                  <a:cubicBezTo>
                    <a:pt x="59053" y="2906"/>
                    <a:pt x="59053" y="2906"/>
                    <a:pt x="59053" y="2906"/>
                  </a:cubicBezTo>
                  <a:cubicBezTo>
                    <a:pt x="59053" y="3321"/>
                    <a:pt x="59053" y="3737"/>
                    <a:pt x="59432" y="3944"/>
                  </a:cubicBezTo>
                  <a:cubicBezTo>
                    <a:pt x="59432" y="4359"/>
                    <a:pt x="59810" y="4982"/>
                    <a:pt x="59810" y="4982"/>
                  </a:cubicBezTo>
                  <a:cubicBezTo>
                    <a:pt x="59810" y="4982"/>
                    <a:pt x="59432" y="5605"/>
                    <a:pt x="59432" y="6020"/>
                  </a:cubicBezTo>
                  <a:cubicBezTo>
                    <a:pt x="59053" y="6228"/>
                    <a:pt x="59053" y="6851"/>
                    <a:pt x="59053" y="7058"/>
                  </a:cubicBezTo>
                  <a:cubicBezTo>
                    <a:pt x="59053" y="7266"/>
                    <a:pt x="59053" y="7474"/>
                    <a:pt x="59053" y="7681"/>
                  </a:cubicBezTo>
                  <a:cubicBezTo>
                    <a:pt x="59053" y="8096"/>
                    <a:pt x="59432" y="8719"/>
                    <a:pt x="59810" y="8927"/>
                  </a:cubicBezTo>
                  <a:cubicBezTo>
                    <a:pt x="59810" y="9134"/>
                    <a:pt x="61703" y="9757"/>
                    <a:pt x="61703" y="9757"/>
                  </a:cubicBezTo>
                  <a:cubicBezTo>
                    <a:pt x="61703" y="9757"/>
                    <a:pt x="61703" y="9965"/>
                    <a:pt x="59810" y="10795"/>
                  </a:cubicBezTo>
                  <a:cubicBezTo>
                    <a:pt x="58296" y="11833"/>
                    <a:pt x="58296" y="11833"/>
                    <a:pt x="58296" y="11833"/>
                  </a:cubicBezTo>
                  <a:cubicBezTo>
                    <a:pt x="60946" y="12249"/>
                    <a:pt x="60946" y="12249"/>
                    <a:pt x="60946" y="12249"/>
                  </a:cubicBezTo>
                  <a:cubicBezTo>
                    <a:pt x="60946" y="13287"/>
                    <a:pt x="60946" y="13287"/>
                    <a:pt x="60946" y="13287"/>
                  </a:cubicBezTo>
                  <a:cubicBezTo>
                    <a:pt x="60946" y="14117"/>
                    <a:pt x="60946" y="14117"/>
                    <a:pt x="60946" y="14117"/>
                  </a:cubicBezTo>
                  <a:cubicBezTo>
                    <a:pt x="60567" y="15363"/>
                    <a:pt x="60567" y="15363"/>
                    <a:pt x="60567" y="15363"/>
                  </a:cubicBezTo>
                  <a:cubicBezTo>
                    <a:pt x="59432" y="16193"/>
                    <a:pt x="59432" y="16193"/>
                    <a:pt x="59432" y="16193"/>
                  </a:cubicBezTo>
                  <a:cubicBezTo>
                    <a:pt x="60946" y="17439"/>
                    <a:pt x="60946" y="17439"/>
                    <a:pt x="60946" y="17439"/>
                  </a:cubicBezTo>
                  <a:cubicBezTo>
                    <a:pt x="62839" y="19100"/>
                    <a:pt x="62839" y="19100"/>
                    <a:pt x="62839" y="19100"/>
                  </a:cubicBezTo>
                  <a:cubicBezTo>
                    <a:pt x="65488" y="19930"/>
                    <a:pt x="65488" y="19930"/>
                    <a:pt x="65488" y="19930"/>
                  </a:cubicBezTo>
                  <a:cubicBezTo>
                    <a:pt x="65488" y="19930"/>
                    <a:pt x="65867" y="19723"/>
                    <a:pt x="68517" y="19930"/>
                  </a:cubicBezTo>
                  <a:cubicBezTo>
                    <a:pt x="71167" y="20346"/>
                    <a:pt x="71924" y="21591"/>
                    <a:pt x="71924" y="21591"/>
                  </a:cubicBezTo>
                  <a:cubicBezTo>
                    <a:pt x="73438" y="22629"/>
                    <a:pt x="73438" y="22629"/>
                    <a:pt x="73438" y="22629"/>
                  </a:cubicBezTo>
                  <a:cubicBezTo>
                    <a:pt x="75709" y="23460"/>
                    <a:pt x="75709" y="23460"/>
                    <a:pt x="75709" y="23460"/>
                  </a:cubicBezTo>
                  <a:cubicBezTo>
                    <a:pt x="76845" y="24083"/>
                    <a:pt x="76845" y="24083"/>
                    <a:pt x="76845" y="24083"/>
                  </a:cubicBezTo>
                  <a:cubicBezTo>
                    <a:pt x="76466" y="25951"/>
                    <a:pt x="76466" y="25951"/>
                    <a:pt x="76466" y="25951"/>
                  </a:cubicBezTo>
                  <a:cubicBezTo>
                    <a:pt x="76466" y="25951"/>
                    <a:pt x="75331" y="26989"/>
                    <a:pt x="75709" y="27820"/>
                  </a:cubicBezTo>
                  <a:cubicBezTo>
                    <a:pt x="75709" y="28858"/>
                    <a:pt x="74574" y="30311"/>
                    <a:pt x="74574" y="30726"/>
                  </a:cubicBezTo>
                  <a:cubicBezTo>
                    <a:pt x="74574" y="30934"/>
                    <a:pt x="73817" y="32595"/>
                    <a:pt x="73817" y="32595"/>
                  </a:cubicBezTo>
                  <a:cubicBezTo>
                    <a:pt x="74952" y="34048"/>
                    <a:pt x="74952" y="34048"/>
                    <a:pt x="74952" y="34048"/>
                  </a:cubicBezTo>
                  <a:cubicBezTo>
                    <a:pt x="76466" y="34878"/>
                    <a:pt x="76466" y="34878"/>
                    <a:pt x="76466" y="34878"/>
                  </a:cubicBezTo>
                  <a:cubicBezTo>
                    <a:pt x="78738" y="36332"/>
                    <a:pt x="78738" y="36332"/>
                    <a:pt x="78738" y="36332"/>
                  </a:cubicBezTo>
                  <a:cubicBezTo>
                    <a:pt x="81766" y="38200"/>
                    <a:pt x="81766" y="38200"/>
                    <a:pt x="81766" y="38200"/>
                  </a:cubicBezTo>
                  <a:cubicBezTo>
                    <a:pt x="82902" y="39653"/>
                    <a:pt x="82902" y="39653"/>
                    <a:pt x="82902" y="39653"/>
                  </a:cubicBezTo>
                  <a:cubicBezTo>
                    <a:pt x="82902" y="39653"/>
                    <a:pt x="85930" y="40692"/>
                    <a:pt x="85930" y="40899"/>
                  </a:cubicBezTo>
                  <a:cubicBezTo>
                    <a:pt x="85930" y="41107"/>
                    <a:pt x="87066" y="42145"/>
                    <a:pt x="87066" y="42145"/>
                  </a:cubicBezTo>
                  <a:cubicBezTo>
                    <a:pt x="88580" y="43598"/>
                    <a:pt x="88580" y="43598"/>
                    <a:pt x="88580" y="43598"/>
                  </a:cubicBezTo>
                  <a:cubicBezTo>
                    <a:pt x="88201" y="44636"/>
                    <a:pt x="88201" y="44636"/>
                    <a:pt x="88201" y="44636"/>
                  </a:cubicBezTo>
                  <a:cubicBezTo>
                    <a:pt x="87066" y="45674"/>
                    <a:pt x="87066" y="45674"/>
                    <a:pt x="87066" y="45674"/>
                  </a:cubicBezTo>
                  <a:cubicBezTo>
                    <a:pt x="87066" y="46297"/>
                    <a:pt x="87066" y="46297"/>
                    <a:pt x="87066" y="46297"/>
                  </a:cubicBezTo>
                  <a:cubicBezTo>
                    <a:pt x="88201" y="47128"/>
                    <a:pt x="88201" y="47128"/>
                    <a:pt x="88201" y="47128"/>
                  </a:cubicBezTo>
                  <a:cubicBezTo>
                    <a:pt x="87823" y="47958"/>
                    <a:pt x="87823" y="47958"/>
                    <a:pt x="87823" y="47958"/>
                  </a:cubicBezTo>
                  <a:cubicBezTo>
                    <a:pt x="88958" y="49204"/>
                    <a:pt x="88958" y="49204"/>
                    <a:pt x="88958" y="49204"/>
                  </a:cubicBezTo>
                  <a:cubicBezTo>
                    <a:pt x="88201" y="50034"/>
                    <a:pt x="88201" y="50034"/>
                    <a:pt x="88201" y="50034"/>
                  </a:cubicBezTo>
                  <a:cubicBezTo>
                    <a:pt x="90094" y="50449"/>
                    <a:pt x="90094" y="50449"/>
                    <a:pt x="90094" y="50449"/>
                  </a:cubicBezTo>
                  <a:cubicBezTo>
                    <a:pt x="90094" y="50449"/>
                    <a:pt x="90473" y="50657"/>
                    <a:pt x="90094" y="51072"/>
                  </a:cubicBezTo>
                  <a:cubicBezTo>
                    <a:pt x="89716" y="51280"/>
                    <a:pt x="89337" y="52733"/>
                    <a:pt x="89337" y="52733"/>
                  </a:cubicBezTo>
                  <a:cubicBezTo>
                    <a:pt x="91230" y="54394"/>
                    <a:pt x="91230" y="54394"/>
                    <a:pt x="91230" y="54394"/>
                  </a:cubicBezTo>
                  <a:cubicBezTo>
                    <a:pt x="93880" y="54602"/>
                    <a:pt x="93880" y="54602"/>
                    <a:pt x="93880" y="54602"/>
                  </a:cubicBezTo>
                  <a:cubicBezTo>
                    <a:pt x="93880" y="54602"/>
                    <a:pt x="95394" y="54602"/>
                    <a:pt x="95394" y="54809"/>
                  </a:cubicBezTo>
                  <a:cubicBezTo>
                    <a:pt x="95772" y="55017"/>
                    <a:pt x="96151" y="55640"/>
                    <a:pt x="96151" y="55640"/>
                  </a:cubicBezTo>
                  <a:cubicBezTo>
                    <a:pt x="95015" y="56885"/>
                    <a:pt x="95015" y="56885"/>
                    <a:pt x="95015" y="56885"/>
                  </a:cubicBezTo>
                  <a:cubicBezTo>
                    <a:pt x="95015" y="56885"/>
                    <a:pt x="95394" y="57508"/>
                    <a:pt x="96529" y="57923"/>
                  </a:cubicBezTo>
                  <a:cubicBezTo>
                    <a:pt x="97287" y="58131"/>
                    <a:pt x="98044" y="58131"/>
                    <a:pt x="98044" y="58546"/>
                  </a:cubicBezTo>
                  <a:cubicBezTo>
                    <a:pt x="98422" y="58961"/>
                    <a:pt x="98422" y="59584"/>
                    <a:pt x="98801" y="59377"/>
                  </a:cubicBezTo>
                  <a:cubicBezTo>
                    <a:pt x="99558" y="59377"/>
                    <a:pt x="101072" y="59584"/>
                    <a:pt x="101072" y="59584"/>
                  </a:cubicBezTo>
                  <a:cubicBezTo>
                    <a:pt x="102208" y="60622"/>
                    <a:pt x="102208" y="60622"/>
                    <a:pt x="102208" y="60622"/>
                  </a:cubicBezTo>
                  <a:cubicBezTo>
                    <a:pt x="102965" y="61453"/>
                    <a:pt x="102965" y="61453"/>
                    <a:pt x="102965" y="61453"/>
                  </a:cubicBezTo>
                  <a:cubicBezTo>
                    <a:pt x="102965" y="61453"/>
                    <a:pt x="102965" y="62076"/>
                    <a:pt x="102965" y="62283"/>
                  </a:cubicBezTo>
                  <a:cubicBezTo>
                    <a:pt x="102965" y="62698"/>
                    <a:pt x="102586" y="63944"/>
                    <a:pt x="102586" y="63944"/>
                  </a:cubicBezTo>
                  <a:cubicBezTo>
                    <a:pt x="100694" y="65605"/>
                    <a:pt x="100694" y="65605"/>
                    <a:pt x="100694" y="65605"/>
                  </a:cubicBezTo>
                  <a:cubicBezTo>
                    <a:pt x="100694" y="65605"/>
                    <a:pt x="102208" y="66643"/>
                    <a:pt x="103343" y="67058"/>
                  </a:cubicBezTo>
                  <a:cubicBezTo>
                    <a:pt x="104479" y="67474"/>
                    <a:pt x="105993" y="68096"/>
                    <a:pt x="106372" y="68096"/>
                  </a:cubicBezTo>
                  <a:cubicBezTo>
                    <a:pt x="106750" y="68096"/>
                    <a:pt x="108643" y="68304"/>
                    <a:pt x="109400" y="68512"/>
                  </a:cubicBezTo>
                  <a:cubicBezTo>
                    <a:pt x="109779" y="68512"/>
                    <a:pt x="111293" y="68927"/>
                    <a:pt x="111671" y="69134"/>
                  </a:cubicBezTo>
                  <a:cubicBezTo>
                    <a:pt x="112050" y="69342"/>
                    <a:pt x="114700" y="70173"/>
                    <a:pt x="114700" y="70173"/>
                  </a:cubicBezTo>
                  <a:cubicBezTo>
                    <a:pt x="116971" y="70795"/>
                    <a:pt x="116971" y="70795"/>
                    <a:pt x="116971" y="70795"/>
                  </a:cubicBezTo>
                  <a:cubicBezTo>
                    <a:pt x="119242" y="71833"/>
                    <a:pt x="119242" y="71833"/>
                    <a:pt x="119242" y="71833"/>
                  </a:cubicBezTo>
                  <a:cubicBezTo>
                    <a:pt x="120000" y="74325"/>
                    <a:pt x="120000" y="74325"/>
                    <a:pt x="120000" y="74325"/>
                  </a:cubicBezTo>
                  <a:cubicBezTo>
                    <a:pt x="120000" y="74325"/>
                    <a:pt x="119242" y="78062"/>
                    <a:pt x="118864" y="78477"/>
                  </a:cubicBezTo>
                  <a:cubicBezTo>
                    <a:pt x="118864" y="78892"/>
                    <a:pt x="117728" y="80761"/>
                    <a:pt x="117350" y="80968"/>
                  </a:cubicBezTo>
                  <a:cubicBezTo>
                    <a:pt x="116593" y="81176"/>
                    <a:pt x="115835" y="81384"/>
                    <a:pt x="115835" y="81799"/>
                  </a:cubicBezTo>
                  <a:cubicBezTo>
                    <a:pt x="115835" y="82214"/>
                    <a:pt x="114700" y="84498"/>
                    <a:pt x="114700" y="84498"/>
                  </a:cubicBezTo>
                  <a:cubicBezTo>
                    <a:pt x="114700" y="84498"/>
                    <a:pt x="113564" y="85951"/>
                    <a:pt x="113564" y="86366"/>
                  </a:cubicBezTo>
                  <a:cubicBezTo>
                    <a:pt x="113564" y="86782"/>
                    <a:pt x="112429" y="88027"/>
                    <a:pt x="112429" y="88442"/>
                  </a:cubicBezTo>
                  <a:cubicBezTo>
                    <a:pt x="112050" y="88650"/>
                    <a:pt x="111293" y="90311"/>
                    <a:pt x="111293" y="90311"/>
                  </a:cubicBezTo>
                  <a:cubicBezTo>
                    <a:pt x="106372" y="95709"/>
                    <a:pt x="106372" y="95709"/>
                    <a:pt x="106372" y="95709"/>
                  </a:cubicBezTo>
                  <a:cubicBezTo>
                    <a:pt x="105236" y="97785"/>
                    <a:pt x="105236" y="97785"/>
                    <a:pt x="105236" y="97785"/>
                  </a:cubicBezTo>
                  <a:cubicBezTo>
                    <a:pt x="105236" y="97785"/>
                    <a:pt x="104100" y="97993"/>
                    <a:pt x="103722" y="98408"/>
                  </a:cubicBezTo>
                  <a:cubicBezTo>
                    <a:pt x="103343" y="99031"/>
                    <a:pt x="102965" y="99446"/>
                    <a:pt x="102586" y="100069"/>
                  </a:cubicBezTo>
                  <a:cubicBezTo>
                    <a:pt x="102586" y="100484"/>
                    <a:pt x="100694" y="102352"/>
                    <a:pt x="100694" y="102352"/>
                  </a:cubicBezTo>
                  <a:cubicBezTo>
                    <a:pt x="99936" y="103391"/>
                    <a:pt x="99936" y="103391"/>
                    <a:pt x="99936" y="103391"/>
                  </a:cubicBezTo>
                  <a:cubicBezTo>
                    <a:pt x="98422" y="104429"/>
                    <a:pt x="98422" y="104429"/>
                    <a:pt x="98422" y="104429"/>
                  </a:cubicBezTo>
                  <a:cubicBezTo>
                    <a:pt x="98422" y="104429"/>
                    <a:pt x="97287" y="104844"/>
                    <a:pt x="97287" y="104844"/>
                  </a:cubicBezTo>
                  <a:cubicBezTo>
                    <a:pt x="97287" y="104844"/>
                    <a:pt x="96529" y="104844"/>
                    <a:pt x="96529" y="104844"/>
                  </a:cubicBezTo>
                  <a:cubicBezTo>
                    <a:pt x="94637" y="104844"/>
                    <a:pt x="94637" y="104844"/>
                    <a:pt x="94637" y="104844"/>
                  </a:cubicBezTo>
                  <a:cubicBezTo>
                    <a:pt x="93501" y="104429"/>
                    <a:pt x="93501" y="104429"/>
                    <a:pt x="93501" y="104429"/>
                  </a:cubicBezTo>
                  <a:cubicBezTo>
                    <a:pt x="93501" y="104429"/>
                    <a:pt x="92365" y="104844"/>
                    <a:pt x="92365" y="104844"/>
                  </a:cubicBezTo>
                  <a:cubicBezTo>
                    <a:pt x="92365" y="105051"/>
                    <a:pt x="91608" y="105259"/>
                    <a:pt x="91608" y="105467"/>
                  </a:cubicBezTo>
                  <a:cubicBezTo>
                    <a:pt x="91608" y="105467"/>
                    <a:pt x="91230" y="105882"/>
                    <a:pt x="90851" y="105882"/>
                  </a:cubicBezTo>
                  <a:cubicBezTo>
                    <a:pt x="90473" y="106089"/>
                    <a:pt x="90094" y="106297"/>
                    <a:pt x="89716" y="106297"/>
                  </a:cubicBezTo>
                  <a:cubicBezTo>
                    <a:pt x="89716" y="106505"/>
                    <a:pt x="88958" y="106505"/>
                    <a:pt x="88958" y="106505"/>
                  </a:cubicBezTo>
                  <a:cubicBezTo>
                    <a:pt x="88958" y="106505"/>
                    <a:pt x="88958" y="106712"/>
                    <a:pt x="88580" y="106920"/>
                  </a:cubicBezTo>
                  <a:cubicBezTo>
                    <a:pt x="88580" y="106920"/>
                    <a:pt x="87444" y="106920"/>
                    <a:pt x="87066" y="106712"/>
                  </a:cubicBezTo>
                  <a:cubicBezTo>
                    <a:pt x="86687" y="106505"/>
                    <a:pt x="85930" y="106297"/>
                    <a:pt x="86309" y="106297"/>
                  </a:cubicBezTo>
                  <a:cubicBezTo>
                    <a:pt x="86309" y="106505"/>
                    <a:pt x="85930" y="106920"/>
                    <a:pt x="85930" y="106920"/>
                  </a:cubicBezTo>
                  <a:cubicBezTo>
                    <a:pt x="85930" y="107128"/>
                    <a:pt x="85173" y="107750"/>
                    <a:pt x="84794" y="107750"/>
                  </a:cubicBezTo>
                  <a:cubicBezTo>
                    <a:pt x="84416" y="107750"/>
                    <a:pt x="83659" y="107543"/>
                    <a:pt x="83280" y="107335"/>
                  </a:cubicBezTo>
                  <a:cubicBezTo>
                    <a:pt x="82902" y="107335"/>
                    <a:pt x="82523" y="107335"/>
                    <a:pt x="82523" y="107335"/>
                  </a:cubicBezTo>
                  <a:cubicBezTo>
                    <a:pt x="82523" y="107543"/>
                    <a:pt x="82523" y="108166"/>
                    <a:pt x="82523" y="108373"/>
                  </a:cubicBezTo>
                  <a:cubicBezTo>
                    <a:pt x="82523" y="108373"/>
                    <a:pt x="82523" y="108581"/>
                    <a:pt x="82523" y="108788"/>
                  </a:cubicBezTo>
                  <a:cubicBezTo>
                    <a:pt x="82145" y="108788"/>
                    <a:pt x="81388" y="108996"/>
                    <a:pt x="81388" y="108996"/>
                  </a:cubicBezTo>
                  <a:cubicBezTo>
                    <a:pt x="81388" y="108996"/>
                    <a:pt x="81766" y="109411"/>
                    <a:pt x="81388" y="109411"/>
                  </a:cubicBezTo>
                  <a:cubicBezTo>
                    <a:pt x="81009" y="109619"/>
                    <a:pt x="80630" y="109826"/>
                    <a:pt x="80252" y="109826"/>
                  </a:cubicBezTo>
                  <a:cubicBezTo>
                    <a:pt x="80252" y="109619"/>
                    <a:pt x="79495" y="109411"/>
                    <a:pt x="79495" y="109411"/>
                  </a:cubicBezTo>
                  <a:cubicBezTo>
                    <a:pt x="79116" y="109619"/>
                    <a:pt x="78738" y="110034"/>
                    <a:pt x="78738" y="110034"/>
                  </a:cubicBezTo>
                  <a:cubicBezTo>
                    <a:pt x="78738" y="110242"/>
                    <a:pt x="78359" y="110449"/>
                    <a:pt x="78359" y="110449"/>
                  </a:cubicBezTo>
                  <a:cubicBezTo>
                    <a:pt x="78359" y="110449"/>
                    <a:pt x="75709" y="112110"/>
                    <a:pt x="75709" y="112110"/>
                  </a:cubicBezTo>
                  <a:cubicBezTo>
                    <a:pt x="75331" y="112110"/>
                    <a:pt x="74574" y="111487"/>
                    <a:pt x="74574" y="111487"/>
                  </a:cubicBezTo>
                  <a:cubicBezTo>
                    <a:pt x="74574" y="111695"/>
                    <a:pt x="74574" y="112110"/>
                    <a:pt x="74574" y="112110"/>
                  </a:cubicBezTo>
                  <a:cubicBezTo>
                    <a:pt x="74195" y="112318"/>
                    <a:pt x="73438" y="112525"/>
                    <a:pt x="73438" y="112525"/>
                  </a:cubicBezTo>
                  <a:cubicBezTo>
                    <a:pt x="73438" y="112733"/>
                    <a:pt x="73059" y="112525"/>
                    <a:pt x="72681" y="112525"/>
                  </a:cubicBezTo>
                  <a:cubicBezTo>
                    <a:pt x="72681" y="112733"/>
                    <a:pt x="72302" y="112733"/>
                    <a:pt x="72302" y="112941"/>
                  </a:cubicBezTo>
                  <a:cubicBezTo>
                    <a:pt x="72302" y="113148"/>
                    <a:pt x="71924" y="113356"/>
                    <a:pt x="71924" y="113356"/>
                  </a:cubicBezTo>
                  <a:cubicBezTo>
                    <a:pt x="71924" y="113356"/>
                    <a:pt x="71167" y="113564"/>
                    <a:pt x="71167" y="113771"/>
                  </a:cubicBezTo>
                  <a:cubicBezTo>
                    <a:pt x="70788" y="113979"/>
                    <a:pt x="70031" y="114186"/>
                    <a:pt x="70031" y="114186"/>
                  </a:cubicBezTo>
                  <a:cubicBezTo>
                    <a:pt x="70031" y="114186"/>
                    <a:pt x="69652" y="114394"/>
                    <a:pt x="69274" y="114186"/>
                  </a:cubicBezTo>
                  <a:cubicBezTo>
                    <a:pt x="68895" y="114186"/>
                    <a:pt x="68138" y="113564"/>
                    <a:pt x="68138" y="113564"/>
                  </a:cubicBezTo>
                  <a:cubicBezTo>
                    <a:pt x="68138" y="113564"/>
                    <a:pt x="67381" y="113564"/>
                    <a:pt x="67381" y="113771"/>
                  </a:cubicBezTo>
                  <a:cubicBezTo>
                    <a:pt x="67003" y="113979"/>
                    <a:pt x="67003" y="114186"/>
                    <a:pt x="66624" y="114186"/>
                  </a:cubicBezTo>
                  <a:cubicBezTo>
                    <a:pt x="66246" y="114394"/>
                    <a:pt x="65867" y="114394"/>
                    <a:pt x="65488" y="114394"/>
                  </a:cubicBezTo>
                  <a:cubicBezTo>
                    <a:pt x="65110" y="114602"/>
                    <a:pt x="64353" y="114602"/>
                    <a:pt x="64353" y="114809"/>
                  </a:cubicBezTo>
                  <a:cubicBezTo>
                    <a:pt x="63974" y="114809"/>
                    <a:pt x="63596" y="115224"/>
                    <a:pt x="63596" y="115432"/>
                  </a:cubicBezTo>
                  <a:cubicBezTo>
                    <a:pt x="63596" y="115640"/>
                    <a:pt x="64353" y="115640"/>
                    <a:pt x="63596" y="115640"/>
                  </a:cubicBezTo>
                  <a:cubicBezTo>
                    <a:pt x="62839" y="115847"/>
                    <a:pt x="61703" y="115847"/>
                    <a:pt x="61703" y="115847"/>
                  </a:cubicBezTo>
                  <a:cubicBezTo>
                    <a:pt x="61703" y="115847"/>
                    <a:pt x="60946" y="116055"/>
                    <a:pt x="60946" y="116262"/>
                  </a:cubicBezTo>
                  <a:cubicBezTo>
                    <a:pt x="60567" y="116470"/>
                    <a:pt x="60946" y="116470"/>
                    <a:pt x="60189" y="116678"/>
                  </a:cubicBezTo>
                  <a:cubicBezTo>
                    <a:pt x="59810" y="116678"/>
                    <a:pt x="59432" y="116885"/>
                    <a:pt x="59432" y="116885"/>
                  </a:cubicBezTo>
                  <a:cubicBezTo>
                    <a:pt x="58675" y="116470"/>
                    <a:pt x="58675" y="116470"/>
                    <a:pt x="58675" y="116470"/>
                  </a:cubicBezTo>
                  <a:cubicBezTo>
                    <a:pt x="59053" y="116055"/>
                    <a:pt x="59053" y="116055"/>
                    <a:pt x="59053" y="116055"/>
                  </a:cubicBezTo>
                  <a:cubicBezTo>
                    <a:pt x="59053" y="116055"/>
                    <a:pt x="58675" y="115640"/>
                    <a:pt x="58675" y="115847"/>
                  </a:cubicBezTo>
                  <a:cubicBezTo>
                    <a:pt x="58296" y="116262"/>
                    <a:pt x="58675" y="116470"/>
                    <a:pt x="58675" y="116470"/>
                  </a:cubicBezTo>
                  <a:cubicBezTo>
                    <a:pt x="58675" y="116470"/>
                    <a:pt x="58296" y="116470"/>
                    <a:pt x="58296" y="116678"/>
                  </a:cubicBezTo>
                  <a:cubicBezTo>
                    <a:pt x="57917" y="116885"/>
                    <a:pt x="58296" y="116885"/>
                    <a:pt x="57917" y="117093"/>
                  </a:cubicBezTo>
                  <a:cubicBezTo>
                    <a:pt x="57917" y="117301"/>
                    <a:pt x="57539" y="117508"/>
                    <a:pt x="57160" y="117508"/>
                  </a:cubicBezTo>
                  <a:cubicBezTo>
                    <a:pt x="57160" y="117716"/>
                    <a:pt x="56782" y="117716"/>
                    <a:pt x="56403" y="117716"/>
                  </a:cubicBezTo>
                  <a:cubicBezTo>
                    <a:pt x="56403" y="117716"/>
                    <a:pt x="55646" y="117716"/>
                    <a:pt x="55646" y="117716"/>
                  </a:cubicBezTo>
                  <a:cubicBezTo>
                    <a:pt x="55268" y="117716"/>
                    <a:pt x="54889" y="117508"/>
                    <a:pt x="55268" y="117508"/>
                  </a:cubicBezTo>
                  <a:cubicBezTo>
                    <a:pt x="55268" y="117508"/>
                    <a:pt x="56025" y="117301"/>
                    <a:pt x="56025" y="117301"/>
                  </a:cubicBezTo>
                  <a:cubicBezTo>
                    <a:pt x="56025" y="117301"/>
                    <a:pt x="56403" y="117093"/>
                    <a:pt x="56025" y="117093"/>
                  </a:cubicBezTo>
                  <a:cubicBezTo>
                    <a:pt x="55646" y="116885"/>
                    <a:pt x="55268" y="116678"/>
                    <a:pt x="55268" y="116678"/>
                  </a:cubicBezTo>
                  <a:cubicBezTo>
                    <a:pt x="55268" y="116678"/>
                    <a:pt x="55646" y="116885"/>
                    <a:pt x="54511" y="116885"/>
                  </a:cubicBezTo>
                  <a:cubicBezTo>
                    <a:pt x="53753" y="117093"/>
                    <a:pt x="53375" y="117093"/>
                    <a:pt x="53375" y="116885"/>
                  </a:cubicBezTo>
                  <a:cubicBezTo>
                    <a:pt x="53375" y="116885"/>
                    <a:pt x="52618" y="116885"/>
                    <a:pt x="52996" y="116678"/>
                  </a:cubicBezTo>
                  <a:cubicBezTo>
                    <a:pt x="53753" y="116470"/>
                    <a:pt x="53753" y="116262"/>
                    <a:pt x="54132" y="116262"/>
                  </a:cubicBezTo>
                  <a:cubicBezTo>
                    <a:pt x="54511" y="116262"/>
                    <a:pt x="54511" y="115847"/>
                    <a:pt x="54511" y="115640"/>
                  </a:cubicBezTo>
                  <a:cubicBezTo>
                    <a:pt x="54511" y="115640"/>
                    <a:pt x="55268" y="116055"/>
                    <a:pt x="54132" y="115640"/>
                  </a:cubicBezTo>
                  <a:cubicBezTo>
                    <a:pt x="53375" y="115017"/>
                    <a:pt x="53375" y="115017"/>
                    <a:pt x="53375" y="115017"/>
                  </a:cubicBezTo>
                  <a:cubicBezTo>
                    <a:pt x="53375" y="115017"/>
                    <a:pt x="52996" y="115224"/>
                    <a:pt x="52996" y="115432"/>
                  </a:cubicBezTo>
                  <a:cubicBezTo>
                    <a:pt x="53375" y="115640"/>
                    <a:pt x="54132" y="115847"/>
                    <a:pt x="52996" y="116055"/>
                  </a:cubicBezTo>
                  <a:cubicBezTo>
                    <a:pt x="51861" y="116055"/>
                    <a:pt x="51861" y="116055"/>
                    <a:pt x="51861" y="116055"/>
                  </a:cubicBezTo>
                  <a:cubicBezTo>
                    <a:pt x="51482" y="116262"/>
                    <a:pt x="50347" y="116262"/>
                    <a:pt x="50347" y="116262"/>
                  </a:cubicBezTo>
                  <a:cubicBezTo>
                    <a:pt x="50347" y="116262"/>
                    <a:pt x="49589" y="116262"/>
                    <a:pt x="49968" y="116470"/>
                  </a:cubicBezTo>
                  <a:cubicBezTo>
                    <a:pt x="49968" y="116678"/>
                    <a:pt x="50725" y="116885"/>
                    <a:pt x="50725" y="116885"/>
                  </a:cubicBezTo>
                  <a:cubicBezTo>
                    <a:pt x="50725" y="116885"/>
                    <a:pt x="50725" y="117093"/>
                    <a:pt x="49968" y="117093"/>
                  </a:cubicBezTo>
                  <a:cubicBezTo>
                    <a:pt x="49589" y="117301"/>
                    <a:pt x="48832" y="117301"/>
                    <a:pt x="48832" y="117301"/>
                  </a:cubicBezTo>
                  <a:cubicBezTo>
                    <a:pt x="48454" y="117508"/>
                    <a:pt x="48454" y="117508"/>
                    <a:pt x="48454" y="117508"/>
                  </a:cubicBezTo>
                  <a:cubicBezTo>
                    <a:pt x="48454" y="117508"/>
                    <a:pt x="48075" y="117508"/>
                    <a:pt x="48075" y="117301"/>
                  </a:cubicBezTo>
                  <a:cubicBezTo>
                    <a:pt x="48075" y="117301"/>
                    <a:pt x="48454" y="117093"/>
                    <a:pt x="48454" y="116885"/>
                  </a:cubicBezTo>
                  <a:cubicBezTo>
                    <a:pt x="48454" y="116678"/>
                    <a:pt x="48832" y="116885"/>
                    <a:pt x="48454" y="116678"/>
                  </a:cubicBezTo>
                  <a:cubicBezTo>
                    <a:pt x="48075" y="116262"/>
                    <a:pt x="47697" y="116262"/>
                    <a:pt x="47697" y="116055"/>
                  </a:cubicBezTo>
                  <a:cubicBezTo>
                    <a:pt x="48075" y="115847"/>
                    <a:pt x="48832" y="115640"/>
                    <a:pt x="48832" y="115640"/>
                  </a:cubicBezTo>
                  <a:cubicBezTo>
                    <a:pt x="48832" y="115432"/>
                    <a:pt x="48832" y="115224"/>
                    <a:pt x="48832" y="115224"/>
                  </a:cubicBezTo>
                  <a:cubicBezTo>
                    <a:pt x="48832" y="115224"/>
                    <a:pt x="48454" y="115224"/>
                    <a:pt x="48832" y="115017"/>
                  </a:cubicBezTo>
                  <a:cubicBezTo>
                    <a:pt x="49211" y="114602"/>
                    <a:pt x="49589" y="114394"/>
                    <a:pt x="49589" y="114394"/>
                  </a:cubicBezTo>
                  <a:cubicBezTo>
                    <a:pt x="49589" y="114186"/>
                    <a:pt x="49211" y="113979"/>
                    <a:pt x="48832" y="113979"/>
                  </a:cubicBezTo>
                  <a:cubicBezTo>
                    <a:pt x="48832" y="113979"/>
                    <a:pt x="48454" y="114394"/>
                    <a:pt x="48454" y="114602"/>
                  </a:cubicBezTo>
                  <a:cubicBezTo>
                    <a:pt x="48454" y="114602"/>
                    <a:pt x="48832" y="115017"/>
                    <a:pt x="47697" y="114809"/>
                  </a:cubicBezTo>
                  <a:cubicBezTo>
                    <a:pt x="46561" y="114809"/>
                    <a:pt x="45804" y="114809"/>
                    <a:pt x="45425" y="114602"/>
                  </a:cubicBezTo>
                  <a:cubicBezTo>
                    <a:pt x="45425" y="114394"/>
                    <a:pt x="44668" y="114186"/>
                    <a:pt x="45804" y="114186"/>
                  </a:cubicBezTo>
                  <a:cubicBezTo>
                    <a:pt x="46940" y="113979"/>
                    <a:pt x="46940" y="113979"/>
                    <a:pt x="46940" y="113979"/>
                  </a:cubicBezTo>
                  <a:cubicBezTo>
                    <a:pt x="47318" y="113771"/>
                    <a:pt x="47318" y="113564"/>
                    <a:pt x="47318" y="113356"/>
                  </a:cubicBezTo>
                  <a:cubicBezTo>
                    <a:pt x="46940" y="113356"/>
                    <a:pt x="46561" y="112941"/>
                    <a:pt x="46561" y="113148"/>
                  </a:cubicBezTo>
                  <a:cubicBezTo>
                    <a:pt x="46182" y="113564"/>
                    <a:pt x="46182" y="113771"/>
                    <a:pt x="46182" y="113771"/>
                  </a:cubicBezTo>
                  <a:cubicBezTo>
                    <a:pt x="46182" y="113771"/>
                    <a:pt x="44668" y="113771"/>
                    <a:pt x="44668" y="113771"/>
                  </a:cubicBezTo>
                  <a:cubicBezTo>
                    <a:pt x="44668" y="113771"/>
                    <a:pt x="44290" y="113564"/>
                    <a:pt x="44290" y="113356"/>
                  </a:cubicBezTo>
                  <a:cubicBezTo>
                    <a:pt x="44290" y="113356"/>
                    <a:pt x="44668" y="112525"/>
                    <a:pt x="44668" y="112525"/>
                  </a:cubicBezTo>
                  <a:cubicBezTo>
                    <a:pt x="44668" y="112525"/>
                    <a:pt x="45425" y="112318"/>
                    <a:pt x="45047" y="112318"/>
                  </a:cubicBezTo>
                  <a:cubicBezTo>
                    <a:pt x="45047" y="112318"/>
                    <a:pt x="44290" y="112110"/>
                    <a:pt x="44290" y="112318"/>
                  </a:cubicBezTo>
                  <a:cubicBezTo>
                    <a:pt x="43911" y="112318"/>
                    <a:pt x="44290" y="112525"/>
                    <a:pt x="44290" y="112733"/>
                  </a:cubicBezTo>
                  <a:cubicBezTo>
                    <a:pt x="44290" y="112941"/>
                    <a:pt x="44290" y="113148"/>
                    <a:pt x="43911" y="113148"/>
                  </a:cubicBezTo>
                  <a:cubicBezTo>
                    <a:pt x="43533" y="113356"/>
                    <a:pt x="42018" y="113356"/>
                    <a:pt x="42018" y="113356"/>
                  </a:cubicBezTo>
                  <a:cubicBezTo>
                    <a:pt x="42018" y="113148"/>
                    <a:pt x="41640" y="113148"/>
                    <a:pt x="42018" y="112941"/>
                  </a:cubicBezTo>
                  <a:cubicBezTo>
                    <a:pt x="42018" y="112733"/>
                    <a:pt x="42018" y="112525"/>
                    <a:pt x="42018" y="112525"/>
                  </a:cubicBezTo>
                  <a:cubicBezTo>
                    <a:pt x="42018" y="112525"/>
                    <a:pt x="41640" y="112110"/>
                    <a:pt x="41640" y="112318"/>
                  </a:cubicBezTo>
                  <a:cubicBezTo>
                    <a:pt x="41261" y="112318"/>
                    <a:pt x="40883" y="112318"/>
                    <a:pt x="40883" y="112318"/>
                  </a:cubicBezTo>
                  <a:cubicBezTo>
                    <a:pt x="40883" y="111903"/>
                    <a:pt x="40883" y="111903"/>
                    <a:pt x="40883" y="111903"/>
                  </a:cubicBezTo>
                  <a:cubicBezTo>
                    <a:pt x="40126" y="111903"/>
                    <a:pt x="40126" y="111903"/>
                    <a:pt x="40126" y="111903"/>
                  </a:cubicBezTo>
                  <a:cubicBezTo>
                    <a:pt x="39747" y="111903"/>
                    <a:pt x="39747" y="111903"/>
                    <a:pt x="39747" y="111903"/>
                  </a:cubicBezTo>
                  <a:cubicBezTo>
                    <a:pt x="39747" y="111903"/>
                    <a:pt x="39369" y="111695"/>
                    <a:pt x="39369" y="111695"/>
                  </a:cubicBezTo>
                  <a:cubicBezTo>
                    <a:pt x="38990" y="111695"/>
                    <a:pt x="38990" y="111695"/>
                    <a:pt x="38990" y="111903"/>
                  </a:cubicBezTo>
                  <a:cubicBezTo>
                    <a:pt x="38611" y="111903"/>
                    <a:pt x="37476" y="112110"/>
                    <a:pt x="37476" y="112110"/>
                  </a:cubicBezTo>
                  <a:cubicBezTo>
                    <a:pt x="37476" y="112110"/>
                    <a:pt x="37476" y="111695"/>
                    <a:pt x="37097" y="112110"/>
                  </a:cubicBezTo>
                  <a:cubicBezTo>
                    <a:pt x="37097" y="112318"/>
                    <a:pt x="35205" y="112318"/>
                    <a:pt x="35205" y="112318"/>
                  </a:cubicBezTo>
                  <a:cubicBezTo>
                    <a:pt x="35205" y="112318"/>
                    <a:pt x="34826" y="111903"/>
                    <a:pt x="34826" y="111695"/>
                  </a:cubicBezTo>
                  <a:cubicBezTo>
                    <a:pt x="34826" y="111695"/>
                    <a:pt x="35205" y="111072"/>
                    <a:pt x="35205" y="111072"/>
                  </a:cubicBezTo>
                  <a:cubicBezTo>
                    <a:pt x="35583" y="110865"/>
                    <a:pt x="35583" y="110865"/>
                    <a:pt x="35583" y="110865"/>
                  </a:cubicBezTo>
                  <a:cubicBezTo>
                    <a:pt x="35205" y="110657"/>
                    <a:pt x="35205" y="110657"/>
                    <a:pt x="35205" y="110657"/>
                  </a:cubicBezTo>
                  <a:cubicBezTo>
                    <a:pt x="35205" y="110657"/>
                    <a:pt x="34069" y="110657"/>
                    <a:pt x="34447" y="110657"/>
                  </a:cubicBezTo>
                  <a:cubicBezTo>
                    <a:pt x="34447" y="110449"/>
                    <a:pt x="35205" y="110034"/>
                    <a:pt x="35205" y="110034"/>
                  </a:cubicBezTo>
                  <a:cubicBezTo>
                    <a:pt x="35205" y="110034"/>
                    <a:pt x="35583" y="109826"/>
                    <a:pt x="35583" y="109826"/>
                  </a:cubicBezTo>
                  <a:cubicBezTo>
                    <a:pt x="35962" y="109619"/>
                    <a:pt x="36719" y="109619"/>
                    <a:pt x="36340" y="109411"/>
                  </a:cubicBezTo>
                  <a:cubicBezTo>
                    <a:pt x="35962" y="109411"/>
                    <a:pt x="35583" y="109204"/>
                    <a:pt x="35583" y="109204"/>
                  </a:cubicBezTo>
                  <a:cubicBezTo>
                    <a:pt x="35583" y="109204"/>
                    <a:pt x="35205" y="109204"/>
                    <a:pt x="35205" y="108996"/>
                  </a:cubicBezTo>
                  <a:cubicBezTo>
                    <a:pt x="35205" y="108996"/>
                    <a:pt x="35583" y="108581"/>
                    <a:pt x="35583" y="108373"/>
                  </a:cubicBezTo>
                  <a:cubicBezTo>
                    <a:pt x="35583" y="108166"/>
                    <a:pt x="35205" y="107958"/>
                    <a:pt x="35205" y="107958"/>
                  </a:cubicBezTo>
                  <a:cubicBezTo>
                    <a:pt x="34826" y="107958"/>
                    <a:pt x="35205" y="108166"/>
                    <a:pt x="34447" y="108166"/>
                  </a:cubicBezTo>
                  <a:cubicBezTo>
                    <a:pt x="34069" y="108373"/>
                    <a:pt x="32933" y="108788"/>
                    <a:pt x="32933" y="108788"/>
                  </a:cubicBezTo>
                  <a:cubicBezTo>
                    <a:pt x="32933" y="108581"/>
                    <a:pt x="32933" y="108373"/>
                    <a:pt x="32933" y="108166"/>
                  </a:cubicBezTo>
                  <a:cubicBezTo>
                    <a:pt x="33312" y="107958"/>
                    <a:pt x="34447" y="107958"/>
                    <a:pt x="34826" y="107750"/>
                  </a:cubicBezTo>
                  <a:cubicBezTo>
                    <a:pt x="34826" y="107543"/>
                    <a:pt x="34069" y="106920"/>
                    <a:pt x="34069" y="106920"/>
                  </a:cubicBezTo>
                  <a:cubicBezTo>
                    <a:pt x="34069" y="106920"/>
                    <a:pt x="34826" y="107128"/>
                    <a:pt x="34447" y="106712"/>
                  </a:cubicBezTo>
                  <a:cubicBezTo>
                    <a:pt x="33690" y="106505"/>
                    <a:pt x="33690" y="106505"/>
                    <a:pt x="33690" y="106505"/>
                  </a:cubicBezTo>
                  <a:cubicBezTo>
                    <a:pt x="33690" y="106297"/>
                    <a:pt x="33690" y="106089"/>
                    <a:pt x="34069" y="105882"/>
                  </a:cubicBezTo>
                  <a:cubicBezTo>
                    <a:pt x="34447" y="105467"/>
                    <a:pt x="34826" y="105467"/>
                    <a:pt x="34826" y="105259"/>
                  </a:cubicBezTo>
                  <a:cubicBezTo>
                    <a:pt x="34826" y="105259"/>
                    <a:pt x="33690" y="105051"/>
                    <a:pt x="33690" y="104844"/>
                  </a:cubicBezTo>
                  <a:cubicBezTo>
                    <a:pt x="33690" y="104636"/>
                    <a:pt x="32933" y="104636"/>
                    <a:pt x="33690" y="104221"/>
                  </a:cubicBezTo>
                  <a:cubicBezTo>
                    <a:pt x="34069" y="104013"/>
                    <a:pt x="34447" y="104013"/>
                    <a:pt x="34447" y="104013"/>
                  </a:cubicBezTo>
                  <a:cubicBezTo>
                    <a:pt x="34447" y="104013"/>
                    <a:pt x="34447" y="103391"/>
                    <a:pt x="34447" y="103183"/>
                  </a:cubicBezTo>
                  <a:cubicBezTo>
                    <a:pt x="34447" y="102975"/>
                    <a:pt x="34826" y="102975"/>
                    <a:pt x="34826" y="102768"/>
                  </a:cubicBezTo>
                  <a:cubicBezTo>
                    <a:pt x="34447" y="102560"/>
                    <a:pt x="34069" y="102560"/>
                    <a:pt x="33690" y="102145"/>
                  </a:cubicBezTo>
                  <a:cubicBezTo>
                    <a:pt x="33690" y="101937"/>
                    <a:pt x="33690" y="101937"/>
                    <a:pt x="33690" y="101730"/>
                  </a:cubicBezTo>
                  <a:cubicBezTo>
                    <a:pt x="34069" y="101730"/>
                    <a:pt x="34447" y="101522"/>
                    <a:pt x="34069" y="101522"/>
                  </a:cubicBezTo>
                  <a:cubicBezTo>
                    <a:pt x="34069" y="101314"/>
                    <a:pt x="34069" y="101107"/>
                    <a:pt x="34069" y="101107"/>
                  </a:cubicBezTo>
                  <a:cubicBezTo>
                    <a:pt x="34069" y="101107"/>
                    <a:pt x="34069" y="101107"/>
                    <a:pt x="33690" y="100692"/>
                  </a:cubicBezTo>
                  <a:cubicBezTo>
                    <a:pt x="33312" y="100484"/>
                    <a:pt x="33312" y="100069"/>
                    <a:pt x="33312" y="99861"/>
                  </a:cubicBezTo>
                  <a:cubicBezTo>
                    <a:pt x="33312" y="99653"/>
                    <a:pt x="33690" y="98823"/>
                    <a:pt x="33690" y="98823"/>
                  </a:cubicBezTo>
                  <a:cubicBezTo>
                    <a:pt x="33690" y="98823"/>
                    <a:pt x="33690" y="98200"/>
                    <a:pt x="32933" y="97993"/>
                  </a:cubicBezTo>
                  <a:cubicBezTo>
                    <a:pt x="32555" y="97577"/>
                    <a:pt x="31798" y="97370"/>
                    <a:pt x="31798" y="97370"/>
                  </a:cubicBezTo>
                  <a:cubicBezTo>
                    <a:pt x="31798" y="97370"/>
                    <a:pt x="31798" y="96955"/>
                    <a:pt x="31798" y="96747"/>
                  </a:cubicBezTo>
                  <a:cubicBezTo>
                    <a:pt x="31798" y="96747"/>
                    <a:pt x="31041" y="96539"/>
                    <a:pt x="31041" y="96332"/>
                  </a:cubicBezTo>
                  <a:cubicBezTo>
                    <a:pt x="31041" y="96124"/>
                    <a:pt x="30662" y="95709"/>
                    <a:pt x="30662" y="95709"/>
                  </a:cubicBezTo>
                  <a:cubicBezTo>
                    <a:pt x="30662" y="95709"/>
                    <a:pt x="30283" y="95709"/>
                    <a:pt x="30662" y="95294"/>
                  </a:cubicBezTo>
                  <a:cubicBezTo>
                    <a:pt x="30662" y="94671"/>
                    <a:pt x="30662" y="94463"/>
                    <a:pt x="30662" y="94256"/>
                  </a:cubicBezTo>
                  <a:cubicBezTo>
                    <a:pt x="30283" y="94048"/>
                    <a:pt x="29905" y="93633"/>
                    <a:pt x="29905" y="93425"/>
                  </a:cubicBezTo>
                  <a:cubicBezTo>
                    <a:pt x="29905" y="93217"/>
                    <a:pt x="29905" y="92802"/>
                    <a:pt x="29905" y="92802"/>
                  </a:cubicBezTo>
                  <a:cubicBezTo>
                    <a:pt x="29905" y="92802"/>
                    <a:pt x="29905" y="92595"/>
                    <a:pt x="29526" y="92387"/>
                  </a:cubicBezTo>
                  <a:cubicBezTo>
                    <a:pt x="29148" y="92179"/>
                    <a:pt x="28012" y="91141"/>
                    <a:pt x="28012" y="91141"/>
                  </a:cubicBezTo>
                  <a:cubicBezTo>
                    <a:pt x="28012" y="91141"/>
                    <a:pt x="27634" y="91141"/>
                    <a:pt x="27634" y="90726"/>
                  </a:cubicBezTo>
                  <a:cubicBezTo>
                    <a:pt x="27255" y="90311"/>
                    <a:pt x="27255" y="89896"/>
                    <a:pt x="27255" y="89896"/>
                  </a:cubicBezTo>
                  <a:cubicBezTo>
                    <a:pt x="27255" y="89896"/>
                    <a:pt x="27255" y="89273"/>
                    <a:pt x="27255" y="89273"/>
                  </a:cubicBezTo>
                  <a:cubicBezTo>
                    <a:pt x="26119" y="88650"/>
                    <a:pt x="26119" y="88650"/>
                    <a:pt x="26119" y="88650"/>
                  </a:cubicBezTo>
                  <a:cubicBezTo>
                    <a:pt x="26498" y="87820"/>
                    <a:pt x="26498" y="87820"/>
                    <a:pt x="26498" y="87820"/>
                  </a:cubicBezTo>
                  <a:cubicBezTo>
                    <a:pt x="26498" y="86989"/>
                    <a:pt x="26498" y="86989"/>
                    <a:pt x="26498" y="86989"/>
                  </a:cubicBezTo>
                  <a:cubicBezTo>
                    <a:pt x="26498" y="86989"/>
                    <a:pt x="26498" y="85951"/>
                    <a:pt x="26876" y="85951"/>
                  </a:cubicBezTo>
                  <a:cubicBezTo>
                    <a:pt x="27255" y="85951"/>
                    <a:pt x="28012" y="85328"/>
                    <a:pt x="28012" y="85328"/>
                  </a:cubicBezTo>
                  <a:cubicBezTo>
                    <a:pt x="28012" y="85328"/>
                    <a:pt x="28769" y="84705"/>
                    <a:pt x="28391" y="84498"/>
                  </a:cubicBezTo>
                  <a:cubicBezTo>
                    <a:pt x="28391" y="84290"/>
                    <a:pt x="28012" y="83460"/>
                    <a:pt x="28012" y="83460"/>
                  </a:cubicBezTo>
                  <a:cubicBezTo>
                    <a:pt x="28012" y="83460"/>
                    <a:pt x="28769" y="82837"/>
                    <a:pt x="28391" y="82837"/>
                  </a:cubicBezTo>
                  <a:cubicBezTo>
                    <a:pt x="28391" y="82629"/>
                    <a:pt x="27634" y="81799"/>
                    <a:pt x="27634" y="81799"/>
                  </a:cubicBezTo>
                  <a:cubicBezTo>
                    <a:pt x="26498" y="82422"/>
                    <a:pt x="26498" y="82422"/>
                    <a:pt x="26498" y="82422"/>
                  </a:cubicBezTo>
                  <a:cubicBezTo>
                    <a:pt x="25741" y="82214"/>
                    <a:pt x="25741" y="82214"/>
                    <a:pt x="25741" y="82214"/>
                  </a:cubicBezTo>
                  <a:cubicBezTo>
                    <a:pt x="26119" y="81384"/>
                    <a:pt x="26119" y="81384"/>
                    <a:pt x="26119" y="81384"/>
                  </a:cubicBezTo>
                  <a:cubicBezTo>
                    <a:pt x="26119" y="81384"/>
                    <a:pt x="25362" y="80968"/>
                    <a:pt x="25362" y="80761"/>
                  </a:cubicBezTo>
                  <a:cubicBezTo>
                    <a:pt x="25362" y="80553"/>
                    <a:pt x="26119" y="80138"/>
                    <a:pt x="26119" y="80138"/>
                  </a:cubicBezTo>
                  <a:cubicBezTo>
                    <a:pt x="26119" y="80138"/>
                    <a:pt x="26876" y="80968"/>
                    <a:pt x="26876" y="81176"/>
                  </a:cubicBezTo>
                  <a:cubicBezTo>
                    <a:pt x="26876" y="81384"/>
                    <a:pt x="27634" y="81591"/>
                    <a:pt x="27634" y="81591"/>
                  </a:cubicBezTo>
                  <a:cubicBezTo>
                    <a:pt x="28012" y="81384"/>
                    <a:pt x="28012" y="80968"/>
                    <a:pt x="28391" y="80968"/>
                  </a:cubicBezTo>
                  <a:cubicBezTo>
                    <a:pt x="28769" y="80968"/>
                    <a:pt x="29148" y="81176"/>
                    <a:pt x="29148" y="81384"/>
                  </a:cubicBezTo>
                  <a:cubicBezTo>
                    <a:pt x="29148" y="81384"/>
                    <a:pt x="30662" y="81176"/>
                    <a:pt x="30662" y="81176"/>
                  </a:cubicBezTo>
                  <a:cubicBezTo>
                    <a:pt x="30662" y="81176"/>
                    <a:pt x="30283" y="80968"/>
                    <a:pt x="31419" y="80968"/>
                  </a:cubicBezTo>
                  <a:cubicBezTo>
                    <a:pt x="32555" y="81176"/>
                    <a:pt x="32555" y="80968"/>
                    <a:pt x="32555" y="80553"/>
                  </a:cubicBezTo>
                  <a:cubicBezTo>
                    <a:pt x="32555" y="80346"/>
                    <a:pt x="31419" y="79515"/>
                    <a:pt x="32176" y="79515"/>
                  </a:cubicBezTo>
                  <a:cubicBezTo>
                    <a:pt x="33312" y="79515"/>
                    <a:pt x="33690" y="79723"/>
                    <a:pt x="33690" y="79723"/>
                  </a:cubicBezTo>
                  <a:cubicBezTo>
                    <a:pt x="33690" y="79723"/>
                    <a:pt x="33690" y="79930"/>
                    <a:pt x="33690" y="80138"/>
                  </a:cubicBezTo>
                  <a:cubicBezTo>
                    <a:pt x="33690" y="80553"/>
                    <a:pt x="34826" y="80968"/>
                    <a:pt x="34826" y="80553"/>
                  </a:cubicBezTo>
                  <a:cubicBezTo>
                    <a:pt x="35205" y="80138"/>
                    <a:pt x="35205" y="80346"/>
                    <a:pt x="35205" y="79930"/>
                  </a:cubicBezTo>
                  <a:cubicBezTo>
                    <a:pt x="35205" y="79515"/>
                    <a:pt x="34447" y="79515"/>
                    <a:pt x="34069" y="79100"/>
                  </a:cubicBezTo>
                  <a:cubicBezTo>
                    <a:pt x="34069" y="78892"/>
                    <a:pt x="33690" y="79307"/>
                    <a:pt x="33690" y="78685"/>
                  </a:cubicBezTo>
                  <a:cubicBezTo>
                    <a:pt x="34069" y="78062"/>
                    <a:pt x="34069" y="77854"/>
                    <a:pt x="34447" y="77854"/>
                  </a:cubicBezTo>
                  <a:cubicBezTo>
                    <a:pt x="35205" y="77647"/>
                    <a:pt x="34447" y="77854"/>
                    <a:pt x="35205" y="77647"/>
                  </a:cubicBezTo>
                  <a:cubicBezTo>
                    <a:pt x="35962" y="77647"/>
                    <a:pt x="36340" y="77231"/>
                    <a:pt x="35962" y="76608"/>
                  </a:cubicBezTo>
                  <a:cubicBezTo>
                    <a:pt x="35962" y="76193"/>
                    <a:pt x="35583" y="75986"/>
                    <a:pt x="35962" y="75778"/>
                  </a:cubicBezTo>
                  <a:cubicBezTo>
                    <a:pt x="36719" y="75570"/>
                    <a:pt x="36340" y="75363"/>
                    <a:pt x="37097" y="75570"/>
                  </a:cubicBezTo>
                  <a:cubicBezTo>
                    <a:pt x="37854" y="75778"/>
                    <a:pt x="37476" y="75778"/>
                    <a:pt x="38233" y="75778"/>
                  </a:cubicBezTo>
                  <a:cubicBezTo>
                    <a:pt x="38611" y="75570"/>
                    <a:pt x="38611" y="74532"/>
                    <a:pt x="38611" y="74532"/>
                  </a:cubicBezTo>
                  <a:cubicBezTo>
                    <a:pt x="38233" y="74740"/>
                    <a:pt x="37476" y="74325"/>
                    <a:pt x="37476" y="74325"/>
                  </a:cubicBezTo>
                  <a:cubicBezTo>
                    <a:pt x="37097" y="74325"/>
                    <a:pt x="37097" y="73910"/>
                    <a:pt x="37476" y="73702"/>
                  </a:cubicBezTo>
                  <a:cubicBezTo>
                    <a:pt x="37476" y="73702"/>
                    <a:pt x="37476" y="73287"/>
                    <a:pt x="37854" y="73287"/>
                  </a:cubicBezTo>
                  <a:cubicBezTo>
                    <a:pt x="38611" y="73287"/>
                    <a:pt x="38611" y="73494"/>
                    <a:pt x="39369" y="73287"/>
                  </a:cubicBezTo>
                  <a:cubicBezTo>
                    <a:pt x="39747" y="73079"/>
                    <a:pt x="39747" y="73079"/>
                    <a:pt x="40126" y="72871"/>
                  </a:cubicBezTo>
                  <a:cubicBezTo>
                    <a:pt x="40504" y="72664"/>
                    <a:pt x="40883" y="72664"/>
                    <a:pt x="41261" y="72249"/>
                  </a:cubicBezTo>
                  <a:cubicBezTo>
                    <a:pt x="41261" y="72041"/>
                    <a:pt x="41640" y="70795"/>
                    <a:pt x="41640" y="70795"/>
                  </a:cubicBezTo>
                  <a:cubicBezTo>
                    <a:pt x="41261" y="70588"/>
                    <a:pt x="42018" y="70795"/>
                    <a:pt x="42776" y="70588"/>
                  </a:cubicBezTo>
                  <a:cubicBezTo>
                    <a:pt x="43154" y="70380"/>
                    <a:pt x="43533" y="69134"/>
                    <a:pt x="43911" y="68927"/>
                  </a:cubicBezTo>
                  <a:cubicBezTo>
                    <a:pt x="44290" y="68512"/>
                    <a:pt x="45425" y="67681"/>
                    <a:pt x="45425" y="67474"/>
                  </a:cubicBezTo>
                  <a:cubicBezTo>
                    <a:pt x="45425" y="67266"/>
                    <a:pt x="46561" y="65813"/>
                    <a:pt x="46561" y="65813"/>
                  </a:cubicBezTo>
                  <a:cubicBezTo>
                    <a:pt x="48075" y="64359"/>
                    <a:pt x="48075" y="64359"/>
                    <a:pt x="48075" y="64359"/>
                  </a:cubicBezTo>
                  <a:cubicBezTo>
                    <a:pt x="48075" y="64359"/>
                    <a:pt x="48075" y="63944"/>
                    <a:pt x="47697" y="63529"/>
                  </a:cubicBezTo>
                  <a:cubicBezTo>
                    <a:pt x="47697" y="63321"/>
                    <a:pt x="47318" y="62491"/>
                    <a:pt x="47697" y="62283"/>
                  </a:cubicBezTo>
                  <a:cubicBezTo>
                    <a:pt x="48075" y="62283"/>
                    <a:pt x="48454" y="61660"/>
                    <a:pt x="48454" y="61660"/>
                  </a:cubicBezTo>
                  <a:cubicBezTo>
                    <a:pt x="48454" y="60830"/>
                    <a:pt x="48454" y="60830"/>
                    <a:pt x="48454" y="60830"/>
                  </a:cubicBezTo>
                  <a:cubicBezTo>
                    <a:pt x="48454" y="60830"/>
                    <a:pt x="50347" y="60207"/>
                    <a:pt x="50347" y="60207"/>
                  </a:cubicBezTo>
                  <a:cubicBezTo>
                    <a:pt x="52618" y="60000"/>
                    <a:pt x="51104" y="59377"/>
                    <a:pt x="53753" y="60000"/>
                  </a:cubicBezTo>
                  <a:cubicBezTo>
                    <a:pt x="53753" y="60000"/>
                    <a:pt x="55268" y="59792"/>
                    <a:pt x="54889" y="59584"/>
                  </a:cubicBezTo>
                  <a:cubicBezTo>
                    <a:pt x="54889" y="59584"/>
                    <a:pt x="53375" y="58754"/>
                    <a:pt x="53375" y="58754"/>
                  </a:cubicBezTo>
                  <a:cubicBezTo>
                    <a:pt x="54132" y="58131"/>
                    <a:pt x="54132" y="58131"/>
                    <a:pt x="54132" y="58131"/>
                  </a:cubicBezTo>
                  <a:cubicBezTo>
                    <a:pt x="54132" y="58131"/>
                    <a:pt x="55268" y="57716"/>
                    <a:pt x="54132" y="57508"/>
                  </a:cubicBezTo>
                  <a:cubicBezTo>
                    <a:pt x="53375" y="57301"/>
                    <a:pt x="52618" y="57093"/>
                    <a:pt x="52618" y="56885"/>
                  </a:cubicBezTo>
                  <a:cubicBezTo>
                    <a:pt x="52618" y="56885"/>
                    <a:pt x="52239" y="56055"/>
                    <a:pt x="52239" y="55847"/>
                  </a:cubicBezTo>
                  <a:cubicBezTo>
                    <a:pt x="52239" y="55640"/>
                    <a:pt x="51861" y="55017"/>
                    <a:pt x="51861" y="55017"/>
                  </a:cubicBezTo>
                  <a:cubicBezTo>
                    <a:pt x="51861" y="55017"/>
                    <a:pt x="51861" y="54186"/>
                    <a:pt x="51861" y="53979"/>
                  </a:cubicBezTo>
                  <a:cubicBezTo>
                    <a:pt x="51861" y="53771"/>
                    <a:pt x="51482" y="53148"/>
                    <a:pt x="51104" y="52941"/>
                  </a:cubicBezTo>
                  <a:cubicBezTo>
                    <a:pt x="50725" y="52733"/>
                    <a:pt x="49211" y="52110"/>
                    <a:pt x="49211" y="52110"/>
                  </a:cubicBezTo>
                  <a:cubicBezTo>
                    <a:pt x="46561" y="51487"/>
                    <a:pt x="46561" y="51487"/>
                    <a:pt x="46561" y="51487"/>
                  </a:cubicBezTo>
                  <a:cubicBezTo>
                    <a:pt x="45804" y="51903"/>
                    <a:pt x="45804" y="51903"/>
                    <a:pt x="45804" y="51903"/>
                  </a:cubicBezTo>
                  <a:cubicBezTo>
                    <a:pt x="43911" y="50865"/>
                    <a:pt x="43911" y="50865"/>
                    <a:pt x="43911" y="50865"/>
                  </a:cubicBezTo>
                  <a:cubicBezTo>
                    <a:pt x="42397" y="50657"/>
                    <a:pt x="42397" y="50657"/>
                    <a:pt x="42397" y="50657"/>
                  </a:cubicBezTo>
                  <a:cubicBezTo>
                    <a:pt x="40883" y="50657"/>
                    <a:pt x="40883" y="50657"/>
                    <a:pt x="40883" y="50657"/>
                  </a:cubicBezTo>
                  <a:cubicBezTo>
                    <a:pt x="38233" y="47543"/>
                    <a:pt x="38233" y="47543"/>
                    <a:pt x="38233" y="47543"/>
                  </a:cubicBezTo>
                  <a:cubicBezTo>
                    <a:pt x="35962" y="46920"/>
                    <a:pt x="35962" y="46920"/>
                    <a:pt x="35962" y="46920"/>
                  </a:cubicBezTo>
                  <a:cubicBezTo>
                    <a:pt x="34447" y="46089"/>
                    <a:pt x="34447" y="46089"/>
                    <a:pt x="34447" y="46089"/>
                  </a:cubicBezTo>
                  <a:cubicBezTo>
                    <a:pt x="34447" y="45051"/>
                    <a:pt x="34447" y="45051"/>
                    <a:pt x="34447" y="45051"/>
                  </a:cubicBezTo>
                  <a:cubicBezTo>
                    <a:pt x="33312" y="44221"/>
                    <a:pt x="33312" y="44221"/>
                    <a:pt x="33312" y="44221"/>
                  </a:cubicBezTo>
                  <a:cubicBezTo>
                    <a:pt x="33312" y="44221"/>
                    <a:pt x="33690" y="43598"/>
                    <a:pt x="33690" y="43391"/>
                  </a:cubicBezTo>
                  <a:cubicBezTo>
                    <a:pt x="34069" y="43183"/>
                    <a:pt x="34826" y="42145"/>
                    <a:pt x="34826" y="42145"/>
                  </a:cubicBezTo>
                  <a:cubicBezTo>
                    <a:pt x="34826" y="42145"/>
                    <a:pt x="34447" y="41314"/>
                    <a:pt x="34447" y="41107"/>
                  </a:cubicBezTo>
                  <a:cubicBezTo>
                    <a:pt x="34447" y="40899"/>
                    <a:pt x="34826" y="39861"/>
                    <a:pt x="34826" y="39861"/>
                  </a:cubicBezTo>
                  <a:cubicBezTo>
                    <a:pt x="34447" y="38823"/>
                    <a:pt x="34447" y="38823"/>
                    <a:pt x="34447" y="38823"/>
                  </a:cubicBezTo>
                  <a:cubicBezTo>
                    <a:pt x="29905" y="35916"/>
                    <a:pt x="29905" y="35916"/>
                    <a:pt x="29905" y="35916"/>
                  </a:cubicBezTo>
                  <a:cubicBezTo>
                    <a:pt x="30283" y="34671"/>
                    <a:pt x="30283" y="34671"/>
                    <a:pt x="30283" y="34671"/>
                  </a:cubicBezTo>
                  <a:cubicBezTo>
                    <a:pt x="29905" y="34048"/>
                    <a:pt x="29905" y="34048"/>
                    <a:pt x="29905" y="34048"/>
                  </a:cubicBezTo>
                  <a:cubicBezTo>
                    <a:pt x="29526" y="33425"/>
                    <a:pt x="29526" y="33425"/>
                    <a:pt x="29905" y="33010"/>
                  </a:cubicBezTo>
                  <a:cubicBezTo>
                    <a:pt x="29905" y="32802"/>
                    <a:pt x="29905" y="32802"/>
                    <a:pt x="29905" y="32802"/>
                  </a:cubicBezTo>
                  <a:cubicBezTo>
                    <a:pt x="28391" y="33010"/>
                    <a:pt x="28391" y="33010"/>
                    <a:pt x="28391" y="33010"/>
                  </a:cubicBezTo>
                  <a:cubicBezTo>
                    <a:pt x="27255" y="32179"/>
                    <a:pt x="27255" y="32179"/>
                    <a:pt x="27255" y="32179"/>
                  </a:cubicBezTo>
                  <a:cubicBezTo>
                    <a:pt x="27634" y="31141"/>
                    <a:pt x="27634" y="31141"/>
                    <a:pt x="27634" y="31141"/>
                  </a:cubicBezTo>
                  <a:cubicBezTo>
                    <a:pt x="26876" y="28650"/>
                    <a:pt x="26876" y="28650"/>
                    <a:pt x="26876" y="28650"/>
                  </a:cubicBezTo>
                  <a:cubicBezTo>
                    <a:pt x="27634" y="27404"/>
                    <a:pt x="27634" y="27404"/>
                    <a:pt x="27634" y="27404"/>
                  </a:cubicBezTo>
                  <a:cubicBezTo>
                    <a:pt x="25362" y="26782"/>
                    <a:pt x="25362" y="26782"/>
                    <a:pt x="25362" y="26782"/>
                  </a:cubicBezTo>
                  <a:cubicBezTo>
                    <a:pt x="23848" y="25536"/>
                    <a:pt x="23848" y="25536"/>
                    <a:pt x="23848" y="25536"/>
                  </a:cubicBezTo>
                  <a:cubicBezTo>
                    <a:pt x="23848" y="25536"/>
                    <a:pt x="23470" y="25951"/>
                    <a:pt x="23091" y="25743"/>
                  </a:cubicBezTo>
                  <a:cubicBezTo>
                    <a:pt x="22712" y="25536"/>
                    <a:pt x="20820" y="23875"/>
                    <a:pt x="20820" y="23875"/>
                  </a:cubicBezTo>
                  <a:cubicBezTo>
                    <a:pt x="17413" y="23252"/>
                    <a:pt x="17413" y="23252"/>
                    <a:pt x="17413" y="23252"/>
                  </a:cubicBezTo>
                  <a:cubicBezTo>
                    <a:pt x="15899" y="22837"/>
                    <a:pt x="15899" y="22837"/>
                    <a:pt x="15899" y="22837"/>
                  </a:cubicBezTo>
                  <a:cubicBezTo>
                    <a:pt x="14006" y="22629"/>
                    <a:pt x="14006" y="22629"/>
                    <a:pt x="14006" y="22629"/>
                  </a:cubicBezTo>
                  <a:cubicBezTo>
                    <a:pt x="14006" y="22629"/>
                    <a:pt x="13627" y="23044"/>
                    <a:pt x="13249" y="22629"/>
                  </a:cubicBezTo>
                  <a:cubicBezTo>
                    <a:pt x="12870" y="22214"/>
                    <a:pt x="12113" y="21799"/>
                    <a:pt x="12113" y="21799"/>
                  </a:cubicBezTo>
                  <a:cubicBezTo>
                    <a:pt x="10599" y="22006"/>
                    <a:pt x="10599" y="22006"/>
                    <a:pt x="10599" y="22006"/>
                  </a:cubicBezTo>
                  <a:cubicBezTo>
                    <a:pt x="9463" y="21176"/>
                    <a:pt x="9463" y="21176"/>
                    <a:pt x="9463" y="21176"/>
                  </a:cubicBezTo>
                  <a:cubicBezTo>
                    <a:pt x="9463" y="21176"/>
                    <a:pt x="9085" y="21176"/>
                    <a:pt x="8706" y="21176"/>
                  </a:cubicBezTo>
                  <a:cubicBezTo>
                    <a:pt x="8328" y="20968"/>
                    <a:pt x="7570" y="20761"/>
                    <a:pt x="7570" y="20761"/>
                  </a:cubicBezTo>
                  <a:close/>
                  <a:moveTo>
                    <a:pt x="53753" y="117923"/>
                  </a:moveTo>
                  <a:cubicBezTo>
                    <a:pt x="53753" y="117923"/>
                    <a:pt x="53753" y="117923"/>
                    <a:pt x="53753" y="117923"/>
                  </a:cubicBezTo>
                  <a:cubicBezTo>
                    <a:pt x="53753" y="117923"/>
                    <a:pt x="53753" y="118131"/>
                    <a:pt x="53753" y="118339"/>
                  </a:cubicBezTo>
                  <a:cubicBezTo>
                    <a:pt x="53753" y="118339"/>
                    <a:pt x="54132" y="118546"/>
                    <a:pt x="54511" y="118546"/>
                  </a:cubicBezTo>
                  <a:cubicBezTo>
                    <a:pt x="54511" y="118546"/>
                    <a:pt x="55268" y="118339"/>
                    <a:pt x="55646" y="118131"/>
                  </a:cubicBezTo>
                  <a:cubicBezTo>
                    <a:pt x="56403" y="117923"/>
                    <a:pt x="55646" y="118131"/>
                    <a:pt x="55646" y="118131"/>
                  </a:cubicBezTo>
                  <a:cubicBezTo>
                    <a:pt x="54889" y="117716"/>
                    <a:pt x="54889" y="117716"/>
                    <a:pt x="54889" y="117716"/>
                  </a:cubicBezTo>
                  <a:cubicBezTo>
                    <a:pt x="54889" y="117716"/>
                    <a:pt x="54132" y="117923"/>
                    <a:pt x="53753" y="117923"/>
                  </a:cubicBezTo>
                  <a:close/>
                  <a:moveTo>
                    <a:pt x="48832" y="117923"/>
                  </a:moveTo>
                  <a:cubicBezTo>
                    <a:pt x="48832" y="117923"/>
                    <a:pt x="48832" y="117923"/>
                    <a:pt x="48832" y="117923"/>
                  </a:cubicBezTo>
                  <a:cubicBezTo>
                    <a:pt x="48832" y="117923"/>
                    <a:pt x="48832" y="118339"/>
                    <a:pt x="48832" y="118339"/>
                  </a:cubicBezTo>
                  <a:cubicBezTo>
                    <a:pt x="48832" y="118546"/>
                    <a:pt x="49211" y="118546"/>
                    <a:pt x="49589" y="118339"/>
                  </a:cubicBezTo>
                  <a:cubicBezTo>
                    <a:pt x="49589" y="118339"/>
                    <a:pt x="49968" y="118339"/>
                    <a:pt x="50347" y="118131"/>
                  </a:cubicBezTo>
                  <a:cubicBezTo>
                    <a:pt x="50725" y="117923"/>
                    <a:pt x="50347" y="117716"/>
                    <a:pt x="49968" y="117716"/>
                  </a:cubicBezTo>
                  <a:cubicBezTo>
                    <a:pt x="49968" y="117508"/>
                    <a:pt x="49589" y="117716"/>
                    <a:pt x="49589" y="117716"/>
                  </a:cubicBezTo>
                  <a:cubicBezTo>
                    <a:pt x="49211" y="117716"/>
                    <a:pt x="48832" y="117923"/>
                    <a:pt x="48832" y="117923"/>
                  </a:cubicBezTo>
                  <a:close/>
                  <a:moveTo>
                    <a:pt x="39747" y="115432"/>
                  </a:moveTo>
                  <a:cubicBezTo>
                    <a:pt x="39747" y="115432"/>
                    <a:pt x="39747" y="115432"/>
                    <a:pt x="39747" y="115432"/>
                  </a:cubicBezTo>
                  <a:cubicBezTo>
                    <a:pt x="39369" y="115640"/>
                    <a:pt x="39369" y="115640"/>
                    <a:pt x="39369" y="115640"/>
                  </a:cubicBezTo>
                  <a:cubicBezTo>
                    <a:pt x="39369" y="115640"/>
                    <a:pt x="38990" y="115847"/>
                    <a:pt x="39369" y="116055"/>
                  </a:cubicBezTo>
                  <a:cubicBezTo>
                    <a:pt x="39369" y="116470"/>
                    <a:pt x="39747" y="116470"/>
                    <a:pt x="39747" y="116470"/>
                  </a:cubicBezTo>
                  <a:cubicBezTo>
                    <a:pt x="39747" y="116470"/>
                    <a:pt x="40126" y="116262"/>
                    <a:pt x="40883" y="116262"/>
                  </a:cubicBezTo>
                  <a:cubicBezTo>
                    <a:pt x="41261" y="116262"/>
                    <a:pt x="42018" y="115847"/>
                    <a:pt x="42018" y="115640"/>
                  </a:cubicBezTo>
                  <a:cubicBezTo>
                    <a:pt x="42397" y="115640"/>
                    <a:pt x="42397" y="115224"/>
                    <a:pt x="42776" y="115224"/>
                  </a:cubicBezTo>
                  <a:cubicBezTo>
                    <a:pt x="43154" y="115224"/>
                    <a:pt x="44290" y="115432"/>
                    <a:pt x="44668" y="115432"/>
                  </a:cubicBezTo>
                  <a:cubicBezTo>
                    <a:pt x="45047" y="115432"/>
                    <a:pt x="44290" y="114809"/>
                    <a:pt x="44290" y="114809"/>
                  </a:cubicBezTo>
                  <a:cubicBezTo>
                    <a:pt x="44290" y="114602"/>
                    <a:pt x="43154" y="114809"/>
                    <a:pt x="43154" y="114809"/>
                  </a:cubicBezTo>
                  <a:cubicBezTo>
                    <a:pt x="43154" y="114809"/>
                    <a:pt x="42397" y="114809"/>
                    <a:pt x="42018" y="114602"/>
                  </a:cubicBezTo>
                  <a:cubicBezTo>
                    <a:pt x="41640" y="114602"/>
                    <a:pt x="41640" y="114602"/>
                    <a:pt x="41640" y="114602"/>
                  </a:cubicBezTo>
                  <a:cubicBezTo>
                    <a:pt x="41261" y="114809"/>
                    <a:pt x="41261" y="115017"/>
                    <a:pt x="40883" y="115224"/>
                  </a:cubicBezTo>
                  <a:cubicBezTo>
                    <a:pt x="40504" y="115432"/>
                    <a:pt x="40504" y="115224"/>
                    <a:pt x="40504" y="115017"/>
                  </a:cubicBezTo>
                  <a:cubicBezTo>
                    <a:pt x="40504" y="115017"/>
                    <a:pt x="39747" y="114809"/>
                    <a:pt x="39369" y="115017"/>
                  </a:cubicBezTo>
                  <a:cubicBezTo>
                    <a:pt x="39369" y="115017"/>
                    <a:pt x="39747" y="115224"/>
                    <a:pt x="39747" y="115432"/>
                  </a:cubicBezTo>
                  <a:close/>
                  <a:moveTo>
                    <a:pt x="36719" y="115432"/>
                  </a:moveTo>
                  <a:cubicBezTo>
                    <a:pt x="36719" y="115432"/>
                    <a:pt x="36719" y="115432"/>
                    <a:pt x="36719" y="115432"/>
                  </a:cubicBezTo>
                  <a:cubicBezTo>
                    <a:pt x="36719" y="115432"/>
                    <a:pt x="37476" y="115640"/>
                    <a:pt x="38233" y="115640"/>
                  </a:cubicBezTo>
                  <a:cubicBezTo>
                    <a:pt x="38611" y="115640"/>
                    <a:pt x="38233" y="115432"/>
                    <a:pt x="38611" y="115224"/>
                  </a:cubicBezTo>
                  <a:cubicBezTo>
                    <a:pt x="38611" y="115017"/>
                    <a:pt x="38233" y="115224"/>
                    <a:pt x="37854" y="115017"/>
                  </a:cubicBezTo>
                  <a:cubicBezTo>
                    <a:pt x="37476" y="115017"/>
                    <a:pt x="37476" y="115017"/>
                    <a:pt x="37097" y="115017"/>
                  </a:cubicBezTo>
                  <a:cubicBezTo>
                    <a:pt x="36340" y="115017"/>
                    <a:pt x="36719" y="115432"/>
                    <a:pt x="36719" y="115432"/>
                  </a:cubicBezTo>
                  <a:close/>
                  <a:moveTo>
                    <a:pt x="33312" y="113148"/>
                  </a:moveTo>
                  <a:cubicBezTo>
                    <a:pt x="33312" y="113148"/>
                    <a:pt x="33312" y="113148"/>
                    <a:pt x="33312" y="113148"/>
                  </a:cubicBezTo>
                  <a:cubicBezTo>
                    <a:pt x="32933" y="114186"/>
                    <a:pt x="34826" y="113564"/>
                    <a:pt x="34826" y="112941"/>
                  </a:cubicBezTo>
                  <a:cubicBezTo>
                    <a:pt x="34447" y="112525"/>
                    <a:pt x="34826" y="112525"/>
                    <a:pt x="34069" y="112110"/>
                  </a:cubicBezTo>
                  <a:cubicBezTo>
                    <a:pt x="33690" y="111487"/>
                    <a:pt x="33690" y="112110"/>
                    <a:pt x="33312" y="112318"/>
                  </a:cubicBezTo>
                  <a:cubicBezTo>
                    <a:pt x="32933" y="112733"/>
                    <a:pt x="33690" y="112733"/>
                    <a:pt x="33690" y="112941"/>
                  </a:cubicBezTo>
                  <a:cubicBezTo>
                    <a:pt x="33690" y="113148"/>
                    <a:pt x="33312" y="112941"/>
                    <a:pt x="33312" y="113148"/>
                  </a:cubicBezTo>
                  <a:close/>
                  <a:moveTo>
                    <a:pt x="30283" y="115640"/>
                  </a:moveTo>
                  <a:cubicBezTo>
                    <a:pt x="30283" y="115640"/>
                    <a:pt x="30283" y="115640"/>
                    <a:pt x="30283" y="115640"/>
                  </a:cubicBezTo>
                  <a:cubicBezTo>
                    <a:pt x="30283" y="115640"/>
                    <a:pt x="29905" y="115847"/>
                    <a:pt x="30283" y="116262"/>
                  </a:cubicBezTo>
                  <a:cubicBezTo>
                    <a:pt x="30283" y="116470"/>
                    <a:pt x="30283" y="116262"/>
                    <a:pt x="31419" y="115847"/>
                  </a:cubicBezTo>
                  <a:cubicBezTo>
                    <a:pt x="32176" y="115432"/>
                    <a:pt x="31041" y="115640"/>
                    <a:pt x="31041" y="115640"/>
                  </a:cubicBezTo>
                  <a:cubicBezTo>
                    <a:pt x="31041" y="115432"/>
                    <a:pt x="30662" y="115640"/>
                    <a:pt x="30283" y="115640"/>
                  </a:cubicBezTo>
                  <a:close/>
                  <a:moveTo>
                    <a:pt x="30283" y="116885"/>
                  </a:moveTo>
                  <a:cubicBezTo>
                    <a:pt x="30283" y="116885"/>
                    <a:pt x="30283" y="116885"/>
                    <a:pt x="30283" y="116885"/>
                  </a:cubicBezTo>
                  <a:cubicBezTo>
                    <a:pt x="30283" y="116885"/>
                    <a:pt x="30283" y="117301"/>
                    <a:pt x="30662" y="117301"/>
                  </a:cubicBezTo>
                  <a:cubicBezTo>
                    <a:pt x="31041" y="117301"/>
                    <a:pt x="31041" y="117093"/>
                    <a:pt x="31419" y="116885"/>
                  </a:cubicBezTo>
                  <a:cubicBezTo>
                    <a:pt x="31419" y="116678"/>
                    <a:pt x="31041" y="116678"/>
                    <a:pt x="31041" y="116470"/>
                  </a:cubicBezTo>
                  <a:cubicBezTo>
                    <a:pt x="30662" y="116470"/>
                    <a:pt x="30283" y="116678"/>
                    <a:pt x="30283" y="116885"/>
                  </a:cubicBezTo>
                  <a:close/>
                  <a:moveTo>
                    <a:pt x="29148" y="117923"/>
                  </a:moveTo>
                  <a:cubicBezTo>
                    <a:pt x="29148" y="117923"/>
                    <a:pt x="29148" y="117923"/>
                    <a:pt x="29148" y="117923"/>
                  </a:cubicBezTo>
                  <a:cubicBezTo>
                    <a:pt x="28391" y="117923"/>
                    <a:pt x="28391" y="117923"/>
                    <a:pt x="28391" y="117923"/>
                  </a:cubicBezTo>
                  <a:cubicBezTo>
                    <a:pt x="28391" y="117923"/>
                    <a:pt x="28391" y="117923"/>
                    <a:pt x="27255" y="118339"/>
                  </a:cubicBezTo>
                  <a:cubicBezTo>
                    <a:pt x="26119" y="118546"/>
                    <a:pt x="26876" y="118754"/>
                    <a:pt x="26876" y="118961"/>
                  </a:cubicBezTo>
                  <a:cubicBezTo>
                    <a:pt x="26876" y="119377"/>
                    <a:pt x="28012" y="118961"/>
                    <a:pt x="28769" y="118754"/>
                  </a:cubicBezTo>
                  <a:cubicBezTo>
                    <a:pt x="29148" y="118754"/>
                    <a:pt x="28769" y="118546"/>
                    <a:pt x="29148" y="118546"/>
                  </a:cubicBezTo>
                  <a:cubicBezTo>
                    <a:pt x="29148" y="118546"/>
                    <a:pt x="29148" y="118546"/>
                    <a:pt x="29905" y="118339"/>
                  </a:cubicBezTo>
                  <a:cubicBezTo>
                    <a:pt x="30662" y="118131"/>
                    <a:pt x="30283" y="118131"/>
                    <a:pt x="30283" y="117923"/>
                  </a:cubicBezTo>
                  <a:cubicBezTo>
                    <a:pt x="30283" y="117923"/>
                    <a:pt x="29526" y="117716"/>
                    <a:pt x="29148" y="117923"/>
                  </a:cubicBezTo>
                  <a:close/>
                  <a:moveTo>
                    <a:pt x="19305" y="118961"/>
                  </a:moveTo>
                  <a:cubicBezTo>
                    <a:pt x="19305" y="118961"/>
                    <a:pt x="19305" y="118961"/>
                    <a:pt x="19305" y="118961"/>
                  </a:cubicBezTo>
                  <a:cubicBezTo>
                    <a:pt x="19684" y="118961"/>
                    <a:pt x="20063" y="118754"/>
                    <a:pt x="20441" y="118961"/>
                  </a:cubicBezTo>
                  <a:cubicBezTo>
                    <a:pt x="20820" y="119169"/>
                    <a:pt x="20441" y="119584"/>
                    <a:pt x="20441" y="119584"/>
                  </a:cubicBezTo>
                  <a:cubicBezTo>
                    <a:pt x="20063" y="119792"/>
                    <a:pt x="19684" y="120000"/>
                    <a:pt x="19305" y="120000"/>
                  </a:cubicBezTo>
                  <a:cubicBezTo>
                    <a:pt x="18927" y="120000"/>
                    <a:pt x="18548" y="120000"/>
                    <a:pt x="18170" y="119792"/>
                  </a:cubicBezTo>
                  <a:cubicBezTo>
                    <a:pt x="18170" y="119584"/>
                    <a:pt x="18170" y="118961"/>
                    <a:pt x="18170" y="118961"/>
                  </a:cubicBezTo>
                  <a:cubicBezTo>
                    <a:pt x="18548" y="118961"/>
                    <a:pt x="19305" y="118961"/>
                    <a:pt x="19305" y="118961"/>
                  </a:cubicBezTo>
                  <a:close/>
                  <a:moveTo>
                    <a:pt x="22334" y="115847"/>
                  </a:moveTo>
                  <a:cubicBezTo>
                    <a:pt x="22334" y="115847"/>
                    <a:pt x="22334" y="115847"/>
                    <a:pt x="22334" y="115847"/>
                  </a:cubicBezTo>
                  <a:cubicBezTo>
                    <a:pt x="22334" y="115847"/>
                    <a:pt x="22334" y="115847"/>
                    <a:pt x="22334" y="115847"/>
                  </a:cubicBezTo>
                  <a:cubicBezTo>
                    <a:pt x="22334" y="115847"/>
                    <a:pt x="22334" y="116262"/>
                    <a:pt x="21955" y="116262"/>
                  </a:cubicBezTo>
                  <a:cubicBezTo>
                    <a:pt x="21198" y="116470"/>
                    <a:pt x="21577" y="115847"/>
                    <a:pt x="21577" y="115640"/>
                  </a:cubicBezTo>
                  <a:cubicBezTo>
                    <a:pt x="21577" y="115432"/>
                    <a:pt x="20063" y="115847"/>
                    <a:pt x="20063" y="115847"/>
                  </a:cubicBezTo>
                  <a:cubicBezTo>
                    <a:pt x="20063" y="115847"/>
                    <a:pt x="20063" y="116470"/>
                    <a:pt x="19684" y="116678"/>
                  </a:cubicBezTo>
                  <a:cubicBezTo>
                    <a:pt x="19305" y="116678"/>
                    <a:pt x="19305" y="116678"/>
                    <a:pt x="18927" y="116885"/>
                  </a:cubicBezTo>
                  <a:cubicBezTo>
                    <a:pt x="18548" y="117093"/>
                    <a:pt x="18548" y="117508"/>
                    <a:pt x="18548" y="117508"/>
                  </a:cubicBezTo>
                  <a:cubicBezTo>
                    <a:pt x="18927" y="117716"/>
                    <a:pt x="19684" y="117716"/>
                    <a:pt x="19684" y="117716"/>
                  </a:cubicBezTo>
                  <a:cubicBezTo>
                    <a:pt x="20063" y="117716"/>
                    <a:pt x="20063" y="117716"/>
                    <a:pt x="21198" y="118131"/>
                  </a:cubicBezTo>
                  <a:cubicBezTo>
                    <a:pt x="22712" y="118339"/>
                    <a:pt x="21577" y="118131"/>
                    <a:pt x="22712" y="118131"/>
                  </a:cubicBezTo>
                  <a:cubicBezTo>
                    <a:pt x="23470" y="118131"/>
                    <a:pt x="23091" y="118339"/>
                    <a:pt x="23470" y="118339"/>
                  </a:cubicBezTo>
                  <a:cubicBezTo>
                    <a:pt x="23848" y="118339"/>
                    <a:pt x="24227" y="118754"/>
                    <a:pt x="24605" y="118961"/>
                  </a:cubicBezTo>
                  <a:cubicBezTo>
                    <a:pt x="25362" y="119169"/>
                    <a:pt x="25741" y="118754"/>
                    <a:pt x="26119" y="118754"/>
                  </a:cubicBezTo>
                  <a:cubicBezTo>
                    <a:pt x="26119" y="118546"/>
                    <a:pt x="26876" y="117923"/>
                    <a:pt x="26876" y="117923"/>
                  </a:cubicBezTo>
                  <a:cubicBezTo>
                    <a:pt x="26876" y="117923"/>
                    <a:pt x="24605" y="117508"/>
                    <a:pt x="24605" y="117508"/>
                  </a:cubicBezTo>
                  <a:cubicBezTo>
                    <a:pt x="24227" y="117508"/>
                    <a:pt x="23848" y="116885"/>
                    <a:pt x="24605" y="116885"/>
                  </a:cubicBezTo>
                  <a:cubicBezTo>
                    <a:pt x="24984" y="116885"/>
                    <a:pt x="24984" y="117093"/>
                    <a:pt x="25362" y="117301"/>
                  </a:cubicBezTo>
                  <a:cubicBezTo>
                    <a:pt x="25362" y="117508"/>
                    <a:pt x="25741" y="117508"/>
                    <a:pt x="26119" y="117508"/>
                  </a:cubicBezTo>
                  <a:cubicBezTo>
                    <a:pt x="26498" y="117508"/>
                    <a:pt x="26876" y="117301"/>
                    <a:pt x="26876" y="117093"/>
                  </a:cubicBezTo>
                  <a:cubicBezTo>
                    <a:pt x="26876" y="116885"/>
                    <a:pt x="26498" y="117093"/>
                    <a:pt x="25741" y="116470"/>
                  </a:cubicBezTo>
                  <a:cubicBezTo>
                    <a:pt x="24605" y="115847"/>
                    <a:pt x="25741" y="116055"/>
                    <a:pt x="26119" y="116055"/>
                  </a:cubicBezTo>
                  <a:cubicBezTo>
                    <a:pt x="26119" y="115847"/>
                    <a:pt x="26876" y="115432"/>
                    <a:pt x="26876" y="115432"/>
                  </a:cubicBezTo>
                  <a:cubicBezTo>
                    <a:pt x="27255" y="115224"/>
                    <a:pt x="26119" y="115224"/>
                    <a:pt x="25741" y="115017"/>
                  </a:cubicBezTo>
                  <a:cubicBezTo>
                    <a:pt x="25362" y="115017"/>
                    <a:pt x="25362" y="115017"/>
                    <a:pt x="25362" y="115017"/>
                  </a:cubicBezTo>
                  <a:cubicBezTo>
                    <a:pt x="25362" y="115224"/>
                    <a:pt x="24227" y="115017"/>
                    <a:pt x="23848" y="114809"/>
                  </a:cubicBezTo>
                  <a:cubicBezTo>
                    <a:pt x="23848" y="114809"/>
                    <a:pt x="23848" y="114394"/>
                    <a:pt x="23470" y="114186"/>
                  </a:cubicBezTo>
                  <a:cubicBezTo>
                    <a:pt x="23470" y="114186"/>
                    <a:pt x="22712" y="114186"/>
                    <a:pt x="21955" y="114186"/>
                  </a:cubicBezTo>
                  <a:cubicBezTo>
                    <a:pt x="21198" y="114186"/>
                    <a:pt x="21577" y="114809"/>
                    <a:pt x="21577" y="114809"/>
                  </a:cubicBezTo>
                  <a:cubicBezTo>
                    <a:pt x="21577" y="114809"/>
                    <a:pt x="21955" y="115224"/>
                    <a:pt x="22334" y="115432"/>
                  </a:cubicBezTo>
                  <a:cubicBezTo>
                    <a:pt x="22334" y="115432"/>
                    <a:pt x="22334" y="115847"/>
                    <a:pt x="22334" y="115847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tx1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defTabSz="457178"/>
              <a:endParaRPr kern="0">
                <a:solidFill>
                  <a:srgbClr val="7F7F7F"/>
                </a:solidFill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  <p:sp>
          <p:nvSpPr>
            <p:cNvPr id="51" name="Shape 2058">
              <a:extLst>
                <a:ext uri="{FF2B5EF4-FFF2-40B4-BE49-F238E27FC236}">
                  <a16:creationId xmlns:a16="http://schemas.microsoft.com/office/drawing/2014/main" id="{C625C485-2E3B-4717-923B-26F3497F8725}"/>
                </a:ext>
              </a:extLst>
            </p:cNvPr>
            <p:cNvSpPr/>
            <p:nvPr/>
          </p:nvSpPr>
          <p:spPr>
            <a:xfrm>
              <a:off x="8031807" y="1593291"/>
              <a:ext cx="1169793" cy="143938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35321" y="81290"/>
                  </a:moveTo>
                  <a:cubicBezTo>
                    <a:pt x="42339" y="77788"/>
                    <a:pt x="42339" y="77788"/>
                    <a:pt x="42339" y="77788"/>
                  </a:cubicBezTo>
                  <a:cubicBezTo>
                    <a:pt x="50760" y="72811"/>
                    <a:pt x="50760" y="72811"/>
                    <a:pt x="50760" y="72811"/>
                  </a:cubicBezTo>
                  <a:cubicBezTo>
                    <a:pt x="59883" y="72442"/>
                    <a:pt x="59883" y="72442"/>
                    <a:pt x="59883" y="72442"/>
                  </a:cubicBezTo>
                  <a:cubicBezTo>
                    <a:pt x="62222" y="72811"/>
                    <a:pt x="62923" y="74101"/>
                    <a:pt x="67134" y="71520"/>
                  </a:cubicBezTo>
                  <a:cubicBezTo>
                    <a:pt x="71578" y="73917"/>
                    <a:pt x="71578" y="73917"/>
                    <a:pt x="71578" y="73917"/>
                  </a:cubicBezTo>
                  <a:cubicBezTo>
                    <a:pt x="74385" y="78341"/>
                    <a:pt x="74385" y="78341"/>
                    <a:pt x="74385" y="78341"/>
                  </a:cubicBezTo>
                  <a:cubicBezTo>
                    <a:pt x="75789" y="84792"/>
                    <a:pt x="75789" y="84792"/>
                    <a:pt x="75789" y="84792"/>
                  </a:cubicBezTo>
                  <a:cubicBezTo>
                    <a:pt x="82339" y="84792"/>
                    <a:pt x="82339" y="84792"/>
                    <a:pt x="82339" y="84792"/>
                  </a:cubicBezTo>
                  <a:cubicBezTo>
                    <a:pt x="86783" y="83317"/>
                    <a:pt x="86783" y="83317"/>
                    <a:pt x="86783" y="83317"/>
                  </a:cubicBezTo>
                  <a:cubicBezTo>
                    <a:pt x="89824" y="85345"/>
                    <a:pt x="89122" y="84608"/>
                    <a:pt x="89824" y="86267"/>
                  </a:cubicBezTo>
                  <a:cubicBezTo>
                    <a:pt x="87017" y="88110"/>
                    <a:pt x="87485" y="87741"/>
                    <a:pt x="84210" y="89216"/>
                  </a:cubicBezTo>
                  <a:cubicBezTo>
                    <a:pt x="82807" y="93640"/>
                    <a:pt x="82807" y="93640"/>
                    <a:pt x="82807" y="93640"/>
                  </a:cubicBezTo>
                  <a:cubicBezTo>
                    <a:pt x="81169" y="93824"/>
                    <a:pt x="81169" y="93824"/>
                    <a:pt x="81169" y="93824"/>
                  </a:cubicBezTo>
                  <a:cubicBezTo>
                    <a:pt x="81169" y="89400"/>
                    <a:pt x="80701" y="91059"/>
                    <a:pt x="83274" y="87004"/>
                  </a:cubicBezTo>
                  <a:cubicBezTo>
                    <a:pt x="81871" y="86451"/>
                    <a:pt x="81871" y="86451"/>
                    <a:pt x="81871" y="86451"/>
                  </a:cubicBezTo>
                  <a:cubicBezTo>
                    <a:pt x="74853" y="86451"/>
                    <a:pt x="74853" y="86451"/>
                    <a:pt x="74853" y="86451"/>
                  </a:cubicBezTo>
                  <a:cubicBezTo>
                    <a:pt x="68538" y="86451"/>
                    <a:pt x="71578" y="86082"/>
                    <a:pt x="64795" y="87373"/>
                  </a:cubicBezTo>
                  <a:cubicBezTo>
                    <a:pt x="64561" y="87926"/>
                    <a:pt x="61988" y="87188"/>
                    <a:pt x="61520" y="87741"/>
                  </a:cubicBezTo>
                  <a:cubicBezTo>
                    <a:pt x="58479" y="91612"/>
                    <a:pt x="57309" y="92534"/>
                    <a:pt x="65029" y="94377"/>
                  </a:cubicBezTo>
                  <a:cubicBezTo>
                    <a:pt x="64093" y="96405"/>
                    <a:pt x="64093" y="96405"/>
                    <a:pt x="64093" y="96405"/>
                  </a:cubicBezTo>
                  <a:cubicBezTo>
                    <a:pt x="60818" y="94930"/>
                    <a:pt x="62456" y="95299"/>
                    <a:pt x="57309" y="95483"/>
                  </a:cubicBezTo>
                  <a:cubicBezTo>
                    <a:pt x="54035" y="95668"/>
                    <a:pt x="54035" y="95668"/>
                    <a:pt x="54035" y="95668"/>
                  </a:cubicBezTo>
                  <a:cubicBezTo>
                    <a:pt x="54035" y="97880"/>
                    <a:pt x="54035" y="97880"/>
                    <a:pt x="54035" y="97880"/>
                  </a:cubicBezTo>
                  <a:cubicBezTo>
                    <a:pt x="57543" y="97695"/>
                    <a:pt x="57543" y="97695"/>
                    <a:pt x="57543" y="97695"/>
                  </a:cubicBezTo>
                  <a:cubicBezTo>
                    <a:pt x="60818" y="99170"/>
                    <a:pt x="60818" y="99170"/>
                    <a:pt x="60818" y="99170"/>
                  </a:cubicBezTo>
                  <a:cubicBezTo>
                    <a:pt x="62923" y="101013"/>
                    <a:pt x="62923" y="101013"/>
                    <a:pt x="62923" y="101013"/>
                  </a:cubicBezTo>
                  <a:cubicBezTo>
                    <a:pt x="68070" y="104700"/>
                    <a:pt x="68070" y="104700"/>
                    <a:pt x="68070" y="104700"/>
                  </a:cubicBezTo>
                  <a:cubicBezTo>
                    <a:pt x="68771" y="108018"/>
                    <a:pt x="68771" y="108018"/>
                    <a:pt x="68771" y="108018"/>
                  </a:cubicBezTo>
                  <a:cubicBezTo>
                    <a:pt x="71578" y="107649"/>
                    <a:pt x="71345" y="107465"/>
                    <a:pt x="73918" y="108387"/>
                  </a:cubicBezTo>
                  <a:cubicBezTo>
                    <a:pt x="78128" y="109861"/>
                    <a:pt x="78830" y="109308"/>
                    <a:pt x="83742" y="108571"/>
                  </a:cubicBezTo>
                  <a:cubicBezTo>
                    <a:pt x="84678" y="110230"/>
                    <a:pt x="84678" y="110230"/>
                    <a:pt x="84678" y="110230"/>
                  </a:cubicBezTo>
                  <a:cubicBezTo>
                    <a:pt x="84678" y="113917"/>
                    <a:pt x="84678" y="113917"/>
                    <a:pt x="84678" y="113917"/>
                  </a:cubicBezTo>
                  <a:cubicBezTo>
                    <a:pt x="85380" y="117235"/>
                    <a:pt x="85380" y="117235"/>
                    <a:pt x="85380" y="117235"/>
                  </a:cubicBezTo>
                  <a:cubicBezTo>
                    <a:pt x="89122" y="115391"/>
                    <a:pt x="89122" y="115391"/>
                    <a:pt x="89122" y="115391"/>
                  </a:cubicBezTo>
                  <a:cubicBezTo>
                    <a:pt x="90760" y="113364"/>
                    <a:pt x="90760" y="113364"/>
                    <a:pt x="90760" y="113364"/>
                  </a:cubicBezTo>
                  <a:cubicBezTo>
                    <a:pt x="96608" y="111889"/>
                    <a:pt x="96608" y="111889"/>
                    <a:pt x="96608" y="111889"/>
                  </a:cubicBezTo>
                  <a:cubicBezTo>
                    <a:pt x="103391" y="112258"/>
                    <a:pt x="103391" y="112258"/>
                    <a:pt x="103391" y="112258"/>
                  </a:cubicBezTo>
                  <a:cubicBezTo>
                    <a:pt x="103391" y="112442"/>
                    <a:pt x="111578" y="116497"/>
                    <a:pt x="112748" y="117419"/>
                  </a:cubicBezTo>
                  <a:cubicBezTo>
                    <a:pt x="113684" y="118341"/>
                    <a:pt x="115087" y="120000"/>
                    <a:pt x="115087" y="120000"/>
                  </a:cubicBezTo>
                  <a:cubicBezTo>
                    <a:pt x="119532" y="119078"/>
                    <a:pt x="119532" y="119078"/>
                    <a:pt x="119532" y="119078"/>
                  </a:cubicBezTo>
                  <a:cubicBezTo>
                    <a:pt x="120000" y="118709"/>
                    <a:pt x="120000" y="118709"/>
                    <a:pt x="120000" y="118709"/>
                  </a:cubicBezTo>
                  <a:cubicBezTo>
                    <a:pt x="120000" y="113917"/>
                    <a:pt x="120000" y="113917"/>
                    <a:pt x="120000" y="113917"/>
                  </a:cubicBezTo>
                  <a:cubicBezTo>
                    <a:pt x="105029" y="85714"/>
                    <a:pt x="105029" y="85714"/>
                    <a:pt x="105029" y="85714"/>
                  </a:cubicBezTo>
                  <a:cubicBezTo>
                    <a:pt x="120000" y="80368"/>
                    <a:pt x="120000" y="80368"/>
                    <a:pt x="120000" y="80368"/>
                  </a:cubicBezTo>
                  <a:cubicBezTo>
                    <a:pt x="120000" y="30046"/>
                    <a:pt x="120000" y="30046"/>
                    <a:pt x="120000" y="30046"/>
                  </a:cubicBezTo>
                  <a:cubicBezTo>
                    <a:pt x="119298" y="30046"/>
                    <a:pt x="118362" y="30230"/>
                    <a:pt x="117192" y="30230"/>
                  </a:cubicBezTo>
                  <a:cubicBezTo>
                    <a:pt x="115555" y="32442"/>
                    <a:pt x="115555" y="32442"/>
                    <a:pt x="115555" y="32442"/>
                  </a:cubicBezTo>
                  <a:cubicBezTo>
                    <a:pt x="103625" y="30783"/>
                    <a:pt x="103625" y="30783"/>
                    <a:pt x="103625" y="30783"/>
                  </a:cubicBezTo>
                  <a:cubicBezTo>
                    <a:pt x="99649" y="28940"/>
                    <a:pt x="99649" y="28940"/>
                    <a:pt x="99649" y="28940"/>
                  </a:cubicBezTo>
                  <a:cubicBezTo>
                    <a:pt x="96608" y="30599"/>
                    <a:pt x="97309" y="29861"/>
                    <a:pt x="94736" y="32073"/>
                  </a:cubicBezTo>
                  <a:cubicBezTo>
                    <a:pt x="87719" y="30599"/>
                    <a:pt x="87719" y="30599"/>
                    <a:pt x="87719" y="30599"/>
                  </a:cubicBezTo>
                  <a:cubicBezTo>
                    <a:pt x="83274" y="32258"/>
                    <a:pt x="83274" y="32258"/>
                    <a:pt x="83274" y="32258"/>
                  </a:cubicBezTo>
                  <a:cubicBezTo>
                    <a:pt x="78128" y="36313"/>
                    <a:pt x="78128" y="36313"/>
                    <a:pt x="78128" y="36313"/>
                  </a:cubicBezTo>
                  <a:cubicBezTo>
                    <a:pt x="69473" y="35944"/>
                    <a:pt x="69473" y="35944"/>
                    <a:pt x="69473" y="35944"/>
                  </a:cubicBezTo>
                  <a:cubicBezTo>
                    <a:pt x="67602" y="33917"/>
                    <a:pt x="67602" y="33917"/>
                    <a:pt x="67602" y="33917"/>
                  </a:cubicBezTo>
                  <a:cubicBezTo>
                    <a:pt x="67134" y="35760"/>
                    <a:pt x="67134" y="35760"/>
                    <a:pt x="67134" y="35760"/>
                  </a:cubicBezTo>
                  <a:cubicBezTo>
                    <a:pt x="69005" y="37603"/>
                    <a:pt x="69005" y="37603"/>
                    <a:pt x="69005" y="37603"/>
                  </a:cubicBezTo>
                  <a:cubicBezTo>
                    <a:pt x="65730" y="38894"/>
                    <a:pt x="65730" y="38894"/>
                    <a:pt x="65730" y="38894"/>
                  </a:cubicBezTo>
                  <a:cubicBezTo>
                    <a:pt x="64561" y="36313"/>
                    <a:pt x="64561" y="36313"/>
                    <a:pt x="64561" y="36313"/>
                  </a:cubicBezTo>
                  <a:cubicBezTo>
                    <a:pt x="61754" y="33548"/>
                    <a:pt x="61754" y="33548"/>
                    <a:pt x="61754" y="33548"/>
                  </a:cubicBezTo>
                  <a:cubicBezTo>
                    <a:pt x="57543" y="32811"/>
                    <a:pt x="57543" y="32811"/>
                    <a:pt x="57543" y="32811"/>
                  </a:cubicBezTo>
                  <a:cubicBezTo>
                    <a:pt x="55204" y="31520"/>
                    <a:pt x="55204" y="31520"/>
                    <a:pt x="55204" y="31520"/>
                  </a:cubicBezTo>
                  <a:cubicBezTo>
                    <a:pt x="54736" y="31336"/>
                    <a:pt x="46081" y="32073"/>
                    <a:pt x="44444" y="32258"/>
                  </a:cubicBezTo>
                  <a:cubicBezTo>
                    <a:pt x="42339" y="31152"/>
                    <a:pt x="42105" y="31152"/>
                    <a:pt x="39766" y="30230"/>
                  </a:cubicBezTo>
                  <a:cubicBezTo>
                    <a:pt x="37426" y="31705"/>
                    <a:pt x="37426" y="31705"/>
                    <a:pt x="37426" y="31705"/>
                  </a:cubicBezTo>
                  <a:cubicBezTo>
                    <a:pt x="37426" y="31705"/>
                    <a:pt x="36257" y="33364"/>
                    <a:pt x="34385" y="33364"/>
                  </a:cubicBezTo>
                  <a:cubicBezTo>
                    <a:pt x="32280" y="33364"/>
                    <a:pt x="32514" y="31152"/>
                    <a:pt x="32514" y="31152"/>
                  </a:cubicBezTo>
                  <a:cubicBezTo>
                    <a:pt x="29473" y="31520"/>
                    <a:pt x="29473" y="31520"/>
                    <a:pt x="29473" y="31520"/>
                  </a:cubicBezTo>
                  <a:cubicBezTo>
                    <a:pt x="25497" y="35944"/>
                    <a:pt x="25497" y="35944"/>
                    <a:pt x="25497" y="35944"/>
                  </a:cubicBezTo>
                  <a:cubicBezTo>
                    <a:pt x="20584" y="39262"/>
                    <a:pt x="20584" y="39262"/>
                    <a:pt x="20584" y="39262"/>
                  </a:cubicBezTo>
                  <a:cubicBezTo>
                    <a:pt x="17777" y="42580"/>
                    <a:pt x="17777" y="42580"/>
                    <a:pt x="17777" y="42580"/>
                  </a:cubicBezTo>
                  <a:cubicBezTo>
                    <a:pt x="12397" y="44239"/>
                    <a:pt x="12397" y="44239"/>
                    <a:pt x="12397" y="44239"/>
                  </a:cubicBezTo>
                  <a:cubicBezTo>
                    <a:pt x="12631" y="45714"/>
                    <a:pt x="12631" y="45714"/>
                    <a:pt x="12631" y="45714"/>
                  </a:cubicBezTo>
                  <a:cubicBezTo>
                    <a:pt x="18011" y="49400"/>
                    <a:pt x="18011" y="49400"/>
                    <a:pt x="18011" y="49400"/>
                  </a:cubicBezTo>
                  <a:cubicBezTo>
                    <a:pt x="14269" y="51428"/>
                    <a:pt x="14269" y="51428"/>
                    <a:pt x="14269" y="51428"/>
                  </a:cubicBezTo>
                  <a:cubicBezTo>
                    <a:pt x="8654" y="46820"/>
                    <a:pt x="10760" y="50322"/>
                    <a:pt x="3742" y="46082"/>
                  </a:cubicBezTo>
                  <a:cubicBezTo>
                    <a:pt x="2573" y="49400"/>
                    <a:pt x="2339" y="48479"/>
                    <a:pt x="3040" y="51244"/>
                  </a:cubicBezTo>
                  <a:cubicBezTo>
                    <a:pt x="0" y="52903"/>
                    <a:pt x="0" y="52903"/>
                    <a:pt x="0" y="52903"/>
                  </a:cubicBezTo>
                  <a:cubicBezTo>
                    <a:pt x="1637" y="57880"/>
                    <a:pt x="467" y="56221"/>
                    <a:pt x="4444" y="59539"/>
                  </a:cubicBezTo>
                  <a:cubicBezTo>
                    <a:pt x="2105" y="63410"/>
                    <a:pt x="2573" y="61751"/>
                    <a:pt x="2807" y="66359"/>
                  </a:cubicBezTo>
                  <a:cubicBezTo>
                    <a:pt x="8187" y="67649"/>
                    <a:pt x="8187" y="67649"/>
                    <a:pt x="8187" y="67649"/>
                  </a:cubicBezTo>
                  <a:cubicBezTo>
                    <a:pt x="9590" y="70230"/>
                    <a:pt x="9590" y="70230"/>
                    <a:pt x="9590" y="70230"/>
                  </a:cubicBezTo>
                  <a:cubicBezTo>
                    <a:pt x="13099" y="71520"/>
                    <a:pt x="13099" y="71520"/>
                    <a:pt x="13099" y="71520"/>
                  </a:cubicBezTo>
                  <a:cubicBezTo>
                    <a:pt x="16608" y="69677"/>
                    <a:pt x="16608" y="69677"/>
                    <a:pt x="16608" y="69677"/>
                  </a:cubicBezTo>
                  <a:cubicBezTo>
                    <a:pt x="21754" y="71705"/>
                    <a:pt x="21754" y="71705"/>
                    <a:pt x="21754" y="71705"/>
                  </a:cubicBezTo>
                  <a:cubicBezTo>
                    <a:pt x="28538" y="75760"/>
                    <a:pt x="28538" y="75760"/>
                    <a:pt x="28538" y="75760"/>
                  </a:cubicBezTo>
                  <a:cubicBezTo>
                    <a:pt x="32514" y="79631"/>
                    <a:pt x="32514" y="79631"/>
                    <a:pt x="32514" y="79631"/>
                  </a:cubicBezTo>
                  <a:cubicBezTo>
                    <a:pt x="30175" y="78156"/>
                    <a:pt x="30175" y="78156"/>
                    <a:pt x="30175" y="78156"/>
                  </a:cubicBezTo>
                  <a:cubicBezTo>
                    <a:pt x="28771" y="78709"/>
                    <a:pt x="28771" y="78709"/>
                    <a:pt x="28771" y="78709"/>
                  </a:cubicBezTo>
                  <a:cubicBezTo>
                    <a:pt x="29707" y="80000"/>
                    <a:pt x="29707" y="80000"/>
                    <a:pt x="29707" y="80000"/>
                  </a:cubicBezTo>
                  <a:cubicBezTo>
                    <a:pt x="35321" y="81290"/>
                    <a:pt x="35321" y="81290"/>
                    <a:pt x="35321" y="81290"/>
                  </a:cubicBezTo>
                  <a:close/>
                  <a:moveTo>
                    <a:pt x="120000" y="0"/>
                  </a:moveTo>
                  <a:cubicBezTo>
                    <a:pt x="120000" y="0"/>
                    <a:pt x="120000" y="0"/>
                    <a:pt x="120000" y="0"/>
                  </a:cubicBezTo>
                  <a:cubicBezTo>
                    <a:pt x="116725" y="921"/>
                    <a:pt x="116725" y="921"/>
                    <a:pt x="116725" y="921"/>
                  </a:cubicBezTo>
                  <a:cubicBezTo>
                    <a:pt x="116257" y="921"/>
                    <a:pt x="109707" y="184"/>
                    <a:pt x="109941" y="1843"/>
                  </a:cubicBezTo>
                  <a:cubicBezTo>
                    <a:pt x="110175" y="2764"/>
                    <a:pt x="111345" y="2949"/>
                    <a:pt x="111345" y="2949"/>
                  </a:cubicBezTo>
                  <a:cubicBezTo>
                    <a:pt x="114385" y="5161"/>
                    <a:pt x="114385" y="5161"/>
                    <a:pt x="114385" y="5161"/>
                  </a:cubicBezTo>
                  <a:cubicBezTo>
                    <a:pt x="114152" y="6451"/>
                    <a:pt x="114152" y="6451"/>
                    <a:pt x="114152" y="6451"/>
                  </a:cubicBezTo>
                  <a:cubicBezTo>
                    <a:pt x="116023" y="6820"/>
                    <a:pt x="116023" y="6820"/>
                    <a:pt x="116023" y="6820"/>
                  </a:cubicBezTo>
                  <a:cubicBezTo>
                    <a:pt x="120000" y="6820"/>
                    <a:pt x="120000" y="6820"/>
                    <a:pt x="120000" y="6820"/>
                  </a:cubicBezTo>
                  <a:cubicBezTo>
                    <a:pt x="120000" y="0"/>
                    <a:pt x="120000" y="0"/>
                    <a:pt x="120000" y="0"/>
                  </a:cubicBezTo>
                  <a:close/>
                  <a:moveTo>
                    <a:pt x="120000" y="9032"/>
                  </a:moveTo>
                  <a:cubicBezTo>
                    <a:pt x="120000" y="9032"/>
                    <a:pt x="120000" y="9032"/>
                    <a:pt x="120000" y="9032"/>
                  </a:cubicBezTo>
                  <a:cubicBezTo>
                    <a:pt x="117660" y="9216"/>
                    <a:pt x="115087" y="9585"/>
                    <a:pt x="114619" y="9769"/>
                  </a:cubicBezTo>
                  <a:cubicBezTo>
                    <a:pt x="112046" y="11981"/>
                    <a:pt x="112046" y="11981"/>
                    <a:pt x="112046" y="11981"/>
                  </a:cubicBezTo>
                  <a:cubicBezTo>
                    <a:pt x="115087" y="15115"/>
                    <a:pt x="115087" y="15115"/>
                    <a:pt x="115087" y="15115"/>
                  </a:cubicBezTo>
                  <a:cubicBezTo>
                    <a:pt x="114853" y="17142"/>
                    <a:pt x="114853" y="17142"/>
                    <a:pt x="114853" y="17142"/>
                  </a:cubicBezTo>
                  <a:cubicBezTo>
                    <a:pt x="112280" y="18617"/>
                    <a:pt x="112280" y="18617"/>
                    <a:pt x="112280" y="18617"/>
                  </a:cubicBezTo>
                  <a:cubicBezTo>
                    <a:pt x="114385" y="20276"/>
                    <a:pt x="114385" y="20276"/>
                    <a:pt x="114385" y="20276"/>
                  </a:cubicBezTo>
                  <a:cubicBezTo>
                    <a:pt x="118128" y="20276"/>
                    <a:pt x="118128" y="20276"/>
                    <a:pt x="118128" y="20276"/>
                  </a:cubicBezTo>
                  <a:cubicBezTo>
                    <a:pt x="120000" y="21382"/>
                    <a:pt x="120000" y="21382"/>
                    <a:pt x="120000" y="21382"/>
                  </a:cubicBezTo>
                  <a:lnTo>
                    <a:pt x="120000" y="9032"/>
                  </a:lnTo>
                  <a:close/>
                </a:path>
              </a:pathLst>
            </a:custGeom>
            <a:solidFill>
              <a:srgbClr val="D9D9D9"/>
            </a:solidFill>
            <a:ln w="3175" cap="flat" cmpd="sng">
              <a:solidFill>
                <a:schemeClr val="tx1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lIns="45713" tIns="22850" rIns="45713" bIns="22850" anchor="t" anchorCtr="0">
              <a:noAutofit/>
            </a:bodyPr>
            <a:lstStyle/>
            <a:p>
              <a:pPr defTabSz="457178"/>
              <a:endParaRPr kern="0">
                <a:solidFill>
                  <a:srgbClr val="C0C0C0"/>
                </a:solidFill>
                <a:latin typeface="Calibri" panose="020F0502020204030204" pitchFamily="34" charset="0"/>
                <a:ea typeface="Source Sans Pro"/>
                <a:cs typeface="Calibri" panose="020F0502020204030204" pitchFamily="34" charset="0"/>
                <a:sym typeface="Source Sans Pro"/>
              </a:endParaRPr>
            </a:p>
          </p:txBody>
        </p:sp>
      </p:grpSp>
      <p:sp>
        <p:nvSpPr>
          <p:cNvPr id="52" name="Textfeld 51">
            <a:extLst>
              <a:ext uri="{FF2B5EF4-FFF2-40B4-BE49-F238E27FC236}">
                <a16:creationId xmlns:a16="http://schemas.microsoft.com/office/drawing/2014/main" id="{340E39BE-5D22-4909-91A8-0125B9F7657E}"/>
              </a:ext>
            </a:extLst>
          </p:cNvPr>
          <p:cNvSpPr txBox="1"/>
          <p:nvPr/>
        </p:nvSpPr>
        <p:spPr>
          <a:xfrm>
            <a:off x="4414484" y="3488058"/>
            <a:ext cx="324000" cy="216000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rmAutofit/>
          </a:bodyPr>
          <a:lstStyle/>
          <a:p>
            <a:pPr algn="ctr" defTabSz="457178"/>
            <a:r>
              <a:rPr lang="en-GB" sz="800" b="1" dirty="0">
                <a:solidFill>
                  <a:prstClr val="white"/>
                </a:solidFill>
                <a:latin typeface="Calibri"/>
              </a:rPr>
              <a:t>40%</a:t>
            </a:r>
          </a:p>
        </p:txBody>
      </p:sp>
      <p:sp>
        <p:nvSpPr>
          <p:cNvPr id="53" name="Textfeld 52">
            <a:extLst>
              <a:ext uri="{FF2B5EF4-FFF2-40B4-BE49-F238E27FC236}">
                <a16:creationId xmlns:a16="http://schemas.microsoft.com/office/drawing/2014/main" id="{3962F93B-2C80-4CCA-A0C1-8F3F1906B7E0}"/>
              </a:ext>
            </a:extLst>
          </p:cNvPr>
          <p:cNvSpPr txBox="1"/>
          <p:nvPr/>
        </p:nvSpPr>
        <p:spPr>
          <a:xfrm>
            <a:off x="5268916" y="3211014"/>
            <a:ext cx="324000" cy="216000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rmAutofit/>
          </a:bodyPr>
          <a:lstStyle/>
          <a:p>
            <a:pPr algn="ctr" defTabSz="457178"/>
            <a:r>
              <a:rPr lang="en-GB" sz="800" b="1" dirty="0">
                <a:solidFill>
                  <a:prstClr val="white"/>
                </a:solidFill>
                <a:latin typeface="Calibri"/>
              </a:rPr>
              <a:t>28%</a:t>
            </a:r>
          </a:p>
        </p:txBody>
      </p:sp>
      <p:sp>
        <p:nvSpPr>
          <p:cNvPr id="54" name="Textfeld 53">
            <a:extLst>
              <a:ext uri="{FF2B5EF4-FFF2-40B4-BE49-F238E27FC236}">
                <a16:creationId xmlns:a16="http://schemas.microsoft.com/office/drawing/2014/main" id="{8DCE3886-C88F-4E8B-9912-1BB8FD869E2E}"/>
              </a:ext>
            </a:extLst>
          </p:cNvPr>
          <p:cNvSpPr txBox="1"/>
          <p:nvPr/>
        </p:nvSpPr>
        <p:spPr>
          <a:xfrm>
            <a:off x="5500207" y="2953380"/>
            <a:ext cx="324000" cy="216000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rmAutofit/>
          </a:bodyPr>
          <a:lstStyle/>
          <a:p>
            <a:pPr algn="ctr" defTabSz="457178"/>
            <a:r>
              <a:rPr lang="en-GB" sz="800" b="1" dirty="0">
                <a:solidFill>
                  <a:prstClr val="white"/>
                </a:solidFill>
                <a:latin typeface="Calibri"/>
              </a:rPr>
              <a:t>23%</a:t>
            </a:r>
          </a:p>
        </p:txBody>
      </p:sp>
      <p:sp>
        <p:nvSpPr>
          <p:cNvPr id="55" name="Textfeld 54">
            <a:extLst>
              <a:ext uri="{FF2B5EF4-FFF2-40B4-BE49-F238E27FC236}">
                <a16:creationId xmlns:a16="http://schemas.microsoft.com/office/drawing/2014/main" id="{79E24489-9AA0-42F3-982D-C8C8C7AC176E}"/>
              </a:ext>
            </a:extLst>
          </p:cNvPr>
          <p:cNvSpPr txBox="1"/>
          <p:nvPr/>
        </p:nvSpPr>
        <p:spPr>
          <a:xfrm>
            <a:off x="5587471" y="3285156"/>
            <a:ext cx="324000" cy="216000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rmAutofit/>
          </a:bodyPr>
          <a:lstStyle/>
          <a:p>
            <a:pPr algn="ctr" defTabSz="457178"/>
            <a:r>
              <a:rPr lang="en-GB" sz="800" b="1" dirty="0">
                <a:solidFill>
                  <a:prstClr val="white"/>
                </a:solidFill>
                <a:latin typeface="Calibri"/>
              </a:rPr>
              <a:t>38%</a:t>
            </a:r>
          </a:p>
        </p:txBody>
      </p:sp>
      <p:sp>
        <p:nvSpPr>
          <p:cNvPr id="56" name="Textfeld 55">
            <a:extLst>
              <a:ext uri="{FF2B5EF4-FFF2-40B4-BE49-F238E27FC236}">
                <a16:creationId xmlns:a16="http://schemas.microsoft.com/office/drawing/2014/main" id="{77A82C64-9288-4E9E-8397-3DCC8D64ACBB}"/>
              </a:ext>
            </a:extLst>
          </p:cNvPr>
          <p:cNvSpPr txBox="1"/>
          <p:nvPr/>
        </p:nvSpPr>
        <p:spPr>
          <a:xfrm>
            <a:off x="6096640" y="3804294"/>
            <a:ext cx="324000" cy="216000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rmAutofit/>
          </a:bodyPr>
          <a:lstStyle/>
          <a:p>
            <a:pPr algn="ctr" defTabSz="457178"/>
            <a:r>
              <a:rPr lang="en-GB" sz="800" b="1" dirty="0">
                <a:solidFill>
                  <a:prstClr val="white"/>
                </a:solidFill>
                <a:latin typeface="Calibri"/>
              </a:rPr>
              <a:t>38%</a:t>
            </a:r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6DD25416-F1EC-42FF-AFDA-59E7BA5255C0}"/>
              </a:ext>
            </a:extLst>
          </p:cNvPr>
          <p:cNvSpPr txBox="1"/>
          <p:nvPr/>
        </p:nvSpPr>
        <p:spPr>
          <a:xfrm>
            <a:off x="4924710" y="3105875"/>
            <a:ext cx="324000" cy="216000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rmAutofit/>
          </a:bodyPr>
          <a:lstStyle/>
          <a:p>
            <a:pPr algn="ctr" defTabSz="457178"/>
            <a:r>
              <a:rPr lang="en-GB" sz="800" b="1" dirty="0">
                <a:solidFill>
                  <a:prstClr val="white"/>
                </a:solidFill>
                <a:latin typeface="Calibri"/>
              </a:rPr>
              <a:t>27%</a:t>
            </a:r>
          </a:p>
        </p:txBody>
      </p:sp>
      <p:sp>
        <p:nvSpPr>
          <p:cNvPr id="58" name="Textfeld 57">
            <a:extLst>
              <a:ext uri="{FF2B5EF4-FFF2-40B4-BE49-F238E27FC236}">
                <a16:creationId xmlns:a16="http://schemas.microsoft.com/office/drawing/2014/main" id="{CECBF850-5157-4445-A1C5-261029700D17}"/>
              </a:ext>
            </a:extLst>
          </p:cNvPr>
          <p:cNvSpPr txBox="1"/>
          <p:nvPr/>
        </p:nvSpPr>
        <p:spPr>
          <a:xfrm>
            <a:off x="5586968" y="3467331"/>
            <a:ext cx="324000" cy="216000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rmAutofit/>
          </a:bodyPr>
          <a:lstStyle/>
          <a:p>
            <a:pPr algn="ctr" defTabSz="457178"/>
            <a:r>
              <a:rPr lang="en-GB" sz="800" b="1" dirty="0">
                <a:solidFill>
                  <a:srgbClr val="000000"/>
                </a:solidFill>
                <a:latin typeface="Calibri"/>
              </a:rPr>
              <a:t>16%</a:t>
            </a:r>
          </a:p>
        </p:txBody>
      </p:sp>
      <p:sp>
        <p:nvSpPr>
          <p:cNvPr id="60" name="Textfeld 59">
            <a:extLst>
              <a:ext uri="{FF2B5EF4-FFF2-40B4-BE49-F238E27FC236}">
                <a16:creationId xmlns:a16="http://schemas.microsoft.com/office/drawing/2014/main" id="{B9EA44E2-5F31-4EE7-809B-1E1CFC7E421E}"/>
              </a:ext>
            </a:extLst>
          </p:cNvPr>
          <p:cNvSpPr txBox="1"/>
          <p:nvPr/>
        </p:nvSpPr>
        <p:spPr>
          <a:xfrm>
            <a:off x="6002064" y="3507335"/>
            <a:ext cx="324000" cy="216000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rmAutofit/>
          </a:bodyPr>
          <a:lstStyle/>
          <a:p>
            <a:pPr algn="ctr" defTabSz="457178"/>
            <a:r>
              <a:rPr lang="en-GB" sz="800" b="1" dirty="0">
                <a:solidFill>
                  <a:srgbClr val="000000"/>
                </a:solidFill>
                <a:latin typeface="Calibri"/>
              </a:rPr>
              <a:t>8%</a:t>
            </a: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D2DF27A7-EBE6-4224-A4A9-912A6554AD22}"/>
              </a:ext>
            </a:extLst>
          </p:cNvPr>
          <p:cNvGrpSpPr/>
          <p:nvPr/>
        </p:nvGrpSpPr>
        <p:grpSpPr>
          <a:xfrm>
            <a:off x="608697" y="1050239"/>
            <a:ext cx="3016570" cy="1113435"/>
            <a:chOff x="496833" y="1834119"/>
            <a:chExt cx="2364609" cy="1113433"/>
          </a:xfrm>
        </p:grpSpPr>
        <p:sp>
          <p:nvSpPr>
            <p:cNvPr id="62" name="Rectangle 353">
              <a:extLst>
                <a:ext uri="{FF2B5EF4-FFF2-40B4-BE49-F238E27FC236}">
                  <a16:creationId xmlns:a16="http://schemas.microsoft.com/office/drawing/2014/main" id="{06D8D8D7-9B2F-4E03-A603-AD999EF12AA4}"/>
                </a:ext>
              </a:extLst>
            </p:cNvPr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498946" y="2084221"/>
              <a:ext cx="257914" cy="146447"/>
            </a:xfrm>
            <a:prstGeom prst="rect">
              <a:avLst/>
            </a:prstGeom>
            <a:solidFill>
              <a:srgbClr val="EE002D">
                <a:alpha val="60000"/>
              </a:srgbClr>
            </a:solidFill>
            <a:ln w="12700">
              <a:solidFill>
                <a:sysClr val="window" lastClr="FFFFFF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342884">
                <a:defRPr/>
              </a:pPr>
              <a:endParaRPr lang="en-US" sz="1000" kern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63" name="Rectangle 355">
              <a:extLst>
                <a:ext uri="{FF2B5EF4-FFF2-40B4-BE49-F238E27FC236}">
                  <a16:creationId xmlns:a16="http://schemas.microsoft.com/office/drawing/2014/main" id="{1FE8C584-5C1C-4071-A0A1-9C5B0D3372ED}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498946" y="1871029"/>
              <a:ext cx="257914" cy="146447"/>
            </a:xfrm>
            <a:prstGeom prst="rect">
              <a:avLst/>
            </a:prstGeom>
            <a:solidFill>
              <a:srgbClr val="E4032D"/>
            </a:solidFill>
            <a:ln w="12700">
              <a:solidFill>
                <a:sysClr val="window" lastClr="FFFFFF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342884">
                <a:defRPr/>
              </a:pPr>
              <a:endParaRPr lang="en-US" sz="1000" kern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64" name="Text Box 356">
              <a:extLst>
                <a:ext uri="{FF2B5EF4-FFF2-40B4-BE49-F238E27FC236}">
                  <a16:creationId xmlns:a16="http://schemas.microsoft.com/office/drawing/2014/main" id="{E31E07D3-2783-4DBA-BAC7-0224450727A6}"/>
                </a:ext>
              </a:extLst>
            </p:cNvPr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758972" y="1834119"/>
              <a:ext cx="2102470" cy="246221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 defTabSz="342884">
                <a:spcBef>
                  <a:spcPct val="40000"/>
                </a:spcBef>
                <a:defRPr/>
              </a:pPr>
              <a:r>
                <a:rPr lang="en-US" sz="1000" kern="0" dirty="0">
                  <a:solidFill>
                    <a:srgbClr val="000000"/>
                  </a:solidFill>
                  <a:latin typeface="Calibri"/>
                </a:rPr>
                <a:t>Market leader in FR, UK, DK, CZ, SK, PL , BG</a:t>
              </a:r>
            </a:p>
          </p:txBody>
        </p:sp>
        <p:sp>
          <p:nvSpPr>
            <p:cNvPr id="65" name="Text Box 357">
              <a:extLst>
                <a:ext uri="{FF2B5EF4-FFF2-40B4-BE49-F238E27FC236}">
                  <a16:creationId xmlns:a16="http://schemas.microsoft.com/office/drawing/2014/main" id="{0628F3B3-FBFC-4FAD-9653-F319882D05DA}"/>
                </a:ext>
              </a:extLst>
            </p:cNvPr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758972" y="2048826"/>
              <a:ext cx="1758267" cy="246221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 defTabSz="342884">
                <a:spcBef>
                  <a:spcPct val="40000"/>
                </a:spcBef>
                <a:defRPr/>
              </a:pPr>
              <a:r>
                <a:rPr lang="en-US" sz="1000" kern="0" dirty="0">
                  <a:solidFill>
                    <a:srgbClr val="000000"/>
                  </a:solidFill>
                  <a:latin typeface="Calibri"/>
                </a:rPr>
                <a:t>2</a:t>
              </a:r>
              <a:r>
                <a:rPr lang="en-US" sz="1000" kern="0" baseline="30000" dirty="0">
                  <a:solidFill>
                    <a:srgbClr val="000000"/>
                  </a:solidFill>
                  <a:latin typeface="Calibri"/>
                </a:rPr>
                <a:t>nd</a:t>
              </a:r>
              <a:r>
                <a:rPr lang="en-US" sz="1000" kern="0" dirty="0">
                  <a:solidFill>
                    <a:srgbClr val="000000"/>
                  </a:solidFill>
                  <a:latin typeface="Calibri"/>
                </a:rPr>
                <a:t> position in DE</a:t>
              </a:r>
            </a:p>
          </p:txBody>
        </p:sp>
        <p:sp>
          <p:nvSpPr>
            <p:cNvPr id="66" name="Rectangle 354">
              <a:extLst>
                <a:ext uri="{FF2B5EF4-FFF2-40B4-BE49-F238E27FC236}">
                  <a16:creationId xmlns:a16="http://schemas.microsoft.com/office/drawing/2014/main" id="{FE5F2B59-7CBB-4ECF-B96C-963BFF0716CD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498946" y="2509415"/>
              <a:ext cx="257914" cy="145256"/>
            </a:xfrm>
            <a:prstGeom prst="rect">
              <a:avLst/>
            </a:prstGeom>
            <a:solidFill>
              <a:schemeClr val="accent1">
                <a:lumMod val="20000"/>
                <a:lumOff val="80000"/>
                <a:alpha val="40000"/>
              </a:schemeClr>
            </a:solidFill>
            <a:ln w="12700">
              <a:solidFill>
                <a:sysClr val="window" lastClr="FFFFFF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342884">
                <a:defRPr/>
              </a:pPr>
              <a:endParaRPr lang="en-US" sz="1000" kern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67" name="Text Box 358">
              <a:extLst>
                <a:ext uri="{FF2B5EF4-FFF2-40B4-BE49-F238E27FC236}">
                  <a16:creationId xmlns:a16="http://schemas.microsoft.com/office/drawing/2014/main" id="{3B772896-817D-40A5-961C-A41E75E77F07}"/>
                </a:ext>
              </a:extLst>
            </p:cNvPr>
            <p:cNvSpPr txBox="1"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758972" y="2478240"/>
              <a:ext cx="2062072" cy="246221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 defTabSz="342884">
                <a:spcBef>
                  <a:spcPct val="40000"/>
                </a:spcBef>
                <a:defRPr/>
              </a:pPr>
              <a:r>
                <a:rPr lang="en-US" sz="1000" kern="0" dirty="0">
                  <a:solidFill>
                    <a:srgbClr val="000000"/>
                  </a:solidFill>
                  <a:latin typeface="Calibri"/>
                </a:rPr>
                <a:t>4</a:t>
              </a:r>
              <a:r>
                <a:rPr lang="en-US" sz="1000" kern="0" baseline="30000" dirty="0">
                  <a:solidFill>
                    <a:srgbClr val="000000"/>
                  </a:solidFill>
                  <a:latin typeface="Calibri"/>
                </a:rPr>
                <a:t>th </a:t>
              </a:r>
              <a:r>
                <a:rPr lang="en-US" sz="1000" kern="0" dirty="0">
                  <a:solidFill>
                    <a:srgbClr val="000000"/>
                  </a:solidFill>
                  <a:latin typeface="Calibri"/>
                </a:rPr>
                <a:t>position in RO</a:t>
              </a:r>
            </a:p>
          </p:txBody>
        </p:sp>
        <p:sp>
          <p:nvSpPr>
            <p:cNvPr id="70" name="Rectangle 354">
              <a:extLst>
                <a:ext uri="{FF2B5EF4-FFF2-40B4-BE49-F238E27FC236}">
                  <a16:creationId xmlns:a16="http://schemas.microsoft.com/office/drawing/2014/main" id="{CFFA143D-E325-41AE-B3E8-EE5DA76879EE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496833" y="2724389"/>
              <a:ext cx="257914" cy="145256"/>
            </a:xfrm>
            <a:prstGeom prst="rect">
              <a:avLst/>
            </a:prstGeom>
            <a:solidFill>
              <a:srgbClr val="C0C0C0"/>
            </a:solidFill>
            <a:ln w="12700">
              <a:solidFill>
                <a:sysClr val="window" lastClr="FFFFFF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342884">
                <a:defRPr/>
              </a:pPr>
              <a:endParaRPr lang="en-US" sz="1000" kern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71" name="Text Box 358">
              <a:extLst>
                <a:ext uri="{FF2B5EF4-FFF2-40B4-BE49-F238E27FC236}">
                  <a16:creationId xmlns:a16="http://schemas.microsoft.com/office/drawing/2014/main" id="{CA51CFB4-4330-45A8-B6CC-ED99A1CC148A}"/>
                </a:ext>
              </a:extLst>
            </p:cNvPr>
            <p:cNvSpPr txBox="1"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756860" y="2701331"/>
              <a:ext cx="1500973" cy="246221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defTabSz="342884">
                <a:spcBef>
                  <a:spcPct val="40000"/>
                </a:spcBef>
                <a:defRPr/>
              </a:pPr>
              <a:r>
                <a:rPr lang="en-US" sz="1000" kern="0" dirty="0">
                  <a:solidFill>
                    <a:srgbClr val="000000"/>
                  </a:solidFill>
                  <a:latin typeface="Calibri"/>
                </a:rPr>
                <a:t>No data</a:t>
              </a:r>
            </a:p>
          </p:txBody>
        </p:sp>
        <p:sp>
          <p:nvSpPr>
            <p:cNvPr id="74" name="Rectangle 353">
              <a:extLst>
                <a:ext uri="{FF2B5EF4-FFF2-40B4-BE49-F238E27FC236}">
                  <a16:creationId xmlns:a16="http://schemas.microsoft.com/office/drawing/2014/main" id="{34935F71-881C-4FCA-9408-42A067ACDDA9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498946" y="2299952"/>
              <a:ext cx="257914" cy="146447"/>
            </a:xfrm>
            <a:prstGeom prst="rect">
              <a:avLst/>
            </a:prstGeom>
            <a:solidFill>
              <a:srgbClr val="F8C0CA"/>
            </a:solidFill>
            <a:ln w="12700">
              <a:solidFill>
                <a:sysClr val="window" lastClr="FFFFFF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342884">
                <a:defRPr/>
              </a:pPr>
              <a:endParaRPr lang="en-US" sz="1000" kern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75" name="Text Box 357">
              <a:extLst>
                <a:ext uri="{FF2B5EF4-FFF2-40B4-BE49-F238E27FC236}">
                  <a16:creationId xmlns:a16="http://schemas.microsoft.com/office/drawing/2014/main" id="{3F05319E-9E6C-497A-91CC-1B25DAC234CF}"/>
                </a:ext>
              </a:extLst>
            </p:cNvPr>
            <p:cNvSpPr txBox="1"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743021" y="2248881"/>
              <a:ext cx="1758267" cy="246221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 defTabSz="342884">
                <a:spcBef>
                  <a:spcPct val="40000"/>
                </a:spcBef>
                <a:defRPr/>
              </a:pPr>
              <a:r>
                <a:rPr lang="en-US" sz="1000" kern="0" dirty="0">
                  <a:solidFill>
                    <a:srgbClr val="000000"/>
                  </a:solidFill>
                  <a:latin typeface="Calibri"/>
                </a:rPr>
                <a:t>3</a:t>
              </a:r>
              <a:r>
                <a:rPr lang="en-US" sz="1000" kern="0" baseline="30000" dirty="0">
                  <a:solidFill>
                    <a:srgbClr val="000000"/>
                  </a:solidFill>
                  <a:latin typeface="Calibri"/>
                </a:rPr>
                <a:t>rd</a:t>
              </a:r>
              <a:r>
                <a:rPr lang="en-US" sz="1000" kern="0" dirty="0">
                  <a:solidFill>
                    <a:srgbClr val="000000"/>
                  </a:solidFill>
                  <a:latin typeface="Calibri"/>
                </a:rPr>
                <a:t> position in HU </a:t>
              </a:r>
            </a:p>
          </p:txBody>
        </p:sp>
      </p:grpSp>
      <p:sp>
        <p:nvSpPr>
          <p:cNvPr id="93" name="Textfeld 92">
            <a:extLst>
              <a:ext uri="{FF2B5EF4-FFF2-40B4-BE49-F238E27FC236}">
                <a16:creationId xmlns:a16="http://schemas.microsoft.com/office/drawing/2014/main" id="{78F7918B-C4E0-44A7-AED2-E0E58B9C6EFD}"/>
              </a:ext>
            </a:extLst>
          </p:cNvPr>
          <p:cNvSpPr txBox="1"/>
          <p:nvPr/>
        </p:nvSpPr>
        <p:spPr>
          <a:xfrm>
            <a:off x="4182012" y="2898146"/>
            <a:ext cx="324000" cy="216000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rmAutofit/>
          </a:bodyPr>
          <a:lstStyle/>
          <a:p>
            <a:pPr algn="ctr" defTabSz="457178"/>
            <a:r>
              <a:rPr lang="en-GB" sz="800" b="1" dirty="0">
                <a:solidFill>
                  <a:prstClr val="white"/>
                </a:solidFill>
                <a:latin typeface="Calibri"/>
              </a:rPr>
              <a:t>44%</a:t>
            </a:r>
          </a:p>
        </p:txBody>
      </p:sp>
      <p:grpSp>
        <p:nvGrpSpPr>
          <p:cNvPr id="95" name="Gruppieren 94">
            <a:extLst>
              <a:ext uri="{FF2B5EF4-FFF2-40B4-BE49-F238E27FC236}">
                <a16:creationId xmlns:a16="http://schemas.microsoft.com/office/drawing/2014/main" id="{B3482FC7-DBFE-4A3B-8561-5D715556B92C}"/>
              </a:ext>
            </a:extLst>
          </p:cNvPr>
          <p:cNvGrpSpPr/>
          <p:nvPr/>
        </p:nvGrpSpPr>
        <p:grpSpPr>
          <a:xfrm>
            <a:off x="1816419" y="2093916"/>
            <a:ext cx="1376252" cy="1384320"/>
            <a:chOff x="7136192" y="677562"/>
            <a:chExt cx="1376252" cy="1384320"/>
          </a:xfrm>
        </p:grpSpPr>
        <p:pic>
          <p:nvPicPr>
            <p:cNvPr id="96" name="Grafik 95">
              <a:extLst>
                <a:ext uri="{FF2B5EF4-FFF2-40B4-BE49-F238E27FC236}">
                  <a16:creationId xmlns:a16="http://schemas.microsoft.com/office/drawing/2014/main" id="{7D151A04-FBC6-4AB5-B308-618D6F5703E6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136192" y="685630"/>
              <a:ext cx="1376252" cy="1376252"/>
            </a:xfrm>
            <a:prstGeom prst="rect">
              <a:avLst/>
            </a:prstGeom>
          </p:spPr>
        </p:pic>
        <p:sp>
          <p:nvSpPr>
            <p:cNvPr id="97" name="Textfeld 96">
              <a:extLst>
                <a:ext uri="{FF2B5EF4-FFF2-40B4-BE49-F238E27FC236}">
                  <a16:creationId xmlns:a16="http://schemas.microsoft.com/office/drawing/2014/main" id="{99C485A0-8B6F-4E69-B77C-CD6AC396B9F7}"/>
                </a:ext>
              </a:extLst>
            </p:cNvPr>
            <p:cNvSpPr txBox="1"/>
            <p:nvPr/>
          </p:nvSpPr>
          <p:spPr>
            <a:xfrm>
              <a:off x="7633087" y="677562"/>
              <a:ext cx="369888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178"/>
              <a:r>
                <a:rPr lang="de-DE" sz="2400" b="1" dirty="0">
                  <a:solidFill>
                    <a:srgbClr val="000000"/>
                  </a:solidFill>
                  <a:latin typeface="Calibri"/>
                </a:rPr>
                <a:t>1</a:t>
              </a:r>
              <a:endParaRPr lang="en-US" sz="2400" b="1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98" name="Textfeld 97">
              <a:extLst>
                <a:ext uri="{FF2B5EF4-FFF2-40B4-BE49-F238E27FC236}">
                  <a16:creationId xmlns:a16="http://schemas.microsoft.com/office/drawing/2014/main" id="{BB69A860-B150-42F6-8990-74DA00BAA798}"/>
                </a:ext>
              </a:extLst>
            </p:cNvPr>
            <p:cNvSpPr txBox="1"/>
            <p:nvPr/>
          </p:nvSpPr>
          <p:spPr>
            <a:xfrm>
              <a:off x="7572610" y="1744660"/>
              <a:ext cx="490840" cy="24731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457178">
                <a:lnSpc>
                  <a:spcPts val="600"/>
                </a:lnSpc>
              </a:pPr>
              <a:r>
                <a:rPr lang="de-DE" sz="600" dirty="0">
                  <a:solidFill>
                    <a:srgbClr val="000000"/>
                  </a:solidFill>
                  <a:latin typeface="Calibri"/>
                </a:rPr>
                <a:t>Limagrain</a:t>
              </a:r>
            </a:p>
            <a:p>
              <a:pPr algn="ctr" defTabSz="457178">
                <a:lnSpc>
                  <a:spcPts val="600"/>
                </a:lnSpc>
              </a:pPr>
              <a:r>
                <a:rPr lang="de-DE" sz="600" dirty="0">
                  <a:solidFill>
                    <a:srgbClr val="000000"/>
                  </a:solidFill>
                  <a:latin typeface="Calibri"/>
                </a:rPr>
                <a:t>Europe</a:t>
              </a:r>
              <a:endParaRPr lang="en-US" sz="600" dirty="0">
                <a:solidFill>
                  <a:srgbClr val="000000"/>
                </a:solidFill>
                <a:latin typeface="Calibri"/>
              </a:endParaRPr>
            </a:p>
          </p:txBody>
        </p:sp>
        <p:pic>
          <p:nvPicPr>
            <p:cNvPr id="99" name="Grafik 98">
              <a:extLst>
                <a:ext uri="{FF2B5EF4-FFF2-40B4-BE49-F238E27FC236}">
                  <a16:creationId xmlns:a16="http://schemas.microsoft.com/office/drawing/2014/main" id="{1C91EB14-8698-4DD7-9944-5C87ECF1088C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654300" y="1063614"/>
              <a:ext cx="333148" cy="333148"/>
            </a:xfrm>
            <a:prstGeom prst="rect">
              <a:avLst/>
            </a:prstGeom>
          </p:spPr>
        </p:pic>
      </p:grpSp>
      <p:sp>
        <p:nvSpPr>
          <p:cNvPr id="22" name="Textfeld 21">
            <a:extLst>
              <a:ext uri="{FF2B5EF4-FFF2-40B4-BE49-F238E27FC236}">
                <a16:creationId xmlns:a16="http://schemas.microsoft.com/office/drawing/2014/main" id="{5A08FFC7-BD6A-7E78-5C50-512BD2621650}"/>
              </a:ext>
            </a:extLst>
          </p:cNvPr>
          <p:cNvSpPr txBox="1"/>
          <p:nvPr/>
        </p:nvSpPr>
        <p:spPr>
          <a:xfrm>
            <a:off x="458746" y="3646551"/>
            <a:ext cx="2839652" cy="1187758"/>
          </a:xfrm>
          <a:prstGeom prst="rect">
            <a:avLst/>
          </a:prstGeom>
          <a:noFill/>
        </p:spPr>
        <p:txBody>
          <a:bodyPr vert="horz" wrap="square" lIns="68580" tIns="34290" rIns="68580" bIns="34290" rtlCol="0" anchor="ctr">
            <a:normAutofit fontScale="77500" lnSpcReduction="20000"/>
          </a:bodyPr>
          <a:lstStyle/>
          <a:p>
            <a:r>
              <a:rPr lang="en-GB" sz="2325" b="1" dirty="0"/>
              <a:t>Limagrain Nº1 en Europa!</a:t>
            </a:r>
          </a:p>
          <a:p>
            <a:r>
              <a:rPr lang="en-GB" sz="2325" b="1" dirty="0"/>
              <a:t>23% market share!</a:t>
            </a:r>
          </a:p>
          <a:p>
            <a:endParaRPr lang="en-GB" sz="1500" b="1" dirty="0"/>
          </a:p>
          <a:p>
            <a:endParaRPr lang="en-GB" sz="825" dirty="0"/>
          </a:p>
          <a:p>
            <a:r>
              <a:rPr lang="en-GB" sz="825" dirty="0"/>
              <a:t>Source:</a:t>
            </a:r>
          </a:p>
          <a:p>
            <a:r>
              <a:rPr lang="en-GB" sz="825" dirty="0" err="1"/>
              <a:t>Kynetec</a:t>
            </a:r>
            <a:r>
              <a:rPr lang="en-GB" sz="825" dirty="0"/>
              <a:t> WOSR market panel 2022/2023</a:t>
            </a:r>
          </a:p>
          <a:p>
            <a:r>
              <a:rPr lang="en-GB" sz="825" dirty="0"/>
              <a:t>Total certified market, 9 countries (FR, UK, CZ, SK, PL, BG, DE, HU, RO)</a:t>
            </a:r>
          </a:p>
          <a:p>
            <a:r>
              <a:rPr lang="en-GB" sz="825" dirty="0"/>
              <a:t>Volume by breeder </a:t>
            </a:r>
            <a:endParaRPr lang="en-GB" sz="1575" dirty="0"/>
          </a:p>
        </p:txBody>
      </p:sp>
      <p:sp>
        <p:nvSpPr>
          <p:cNvPr id="28" name="Textfeld 51">
            <a:extLst>
              <a:ext uri="{FF2B5EF4-FFF2-40B4-BE49-F238E27FC236}">
                <a16:creationId xmlns:a16="http://schemas.microsoft.com/office/drawing/2014/main" id="{1F0D9F8B-5302-5BD5-C113-74C4DBC81E32}"/>
              </a:ext>
            </a:extLst>
          </p:cNvPr>
          <p:cNvSpPr txBox="1"/>
          <p:nvPr/>
        </p:nvSpPr>
        <p:spPr>
          <a:xfrm>
            <a:off x="3862663" y="4109278"/>
            <a:ext cx="324000" cy="216000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rmAutofit/>
          </a:bodyPr>
          <a:lstStyle/>
          <a:p>
            <a:pPr algn="ctr" defTabSz="457178"/>
            <a:r>
              <a:rPr lang="en-GB" sz="800" b="1" dirty="0">
                <a:solidFill>
                  <a:prstClr val="white"/>
                </a:solidFill>
                <a:latin typeface="Calibri"/>
              </a:rPr>
              <a:t>23%</a:t>
            </a:r>
          </a:p>
        </p:txBody>
      </p:sp>
    </p:spTree>
    <p:extLst>
      <p:ext uri="{BB962C8B-B14F-4D97-AF65-F5344CB8AC3E}">
        <p14:creationId xmlns:p14="http://schemas.microsoft.com/office/powerpoint/2010/main" val="70324073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7ABCA3D-6F25-7E41-C8A1-B285135822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¡LG AMBASSADOR, de nuevo Nº 1 en Europa!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3CAAFB1-F763-99AF-972F-16897A60724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179768" y="549131"/>
            <a:ext cx="7317461" cy="538163"/>
          </a:xfrm>
        </p:spPr>
        <p:txBody>
          <a:bodyPr/>
          <a:lstStyle/>
          <a:p>
            <a:r>
              <a:rPr lang="en-US" sz="1200" dirty="0"/>
              <a:t>Fuente: Panel de mercado </a:t>
            </a:r>
            <a:r>
              <a:rPr lang="en-US" sz="1200" dirty="0" err="1"/>
              <a:t>Kynetec</a:t>
            </a:r>
            <a:r>
              <a:rPr lang="en-US" sz="1200" dirty="0"/>
              <a:t> WOSR 2022/2023, mercado </a:t>
            </a:r>
            <a:r>
              <a:rPr lang="en-US" sz="1200" dirty="0" err="1"/>
              <a:t>híbrido</a:t>
            </a:r>
            <a:r>
              <a:rPr lang="en-US" sz="1200" dirty="0"/>
              <a:t> </a:t>
            </a:r>
            <a:r>
              <a:rPr lang="en-US" sz="1200" dirty="0" err="1"/>
              <a:t>certificado</a:t>
            </a:r>
            <a:r>
              <a:rPr lang="en-US" sz="1200" dirty="0"/>
              <a:t> total, </a:t>
            </a:r>
            <a:r>
              <a:rPr lang="en-US" sz="1200" dirty="0" err="1"/>
              <a:t>volumen</a:t>
            </a:r>
            <a:r>
              <a:rPr lang="en-US" sz="1200" dirty="0"/>
              <a:t> </a:t>
            </a:r>
            <a:r>
              <a:rPr lang="en-US" sz="1200" dirty="0" err="1"/>
              <a:t>por</a:t>
            </a:r>
            <a:r>
              <a:rPr lang="en-US" sz="1200" dirty="0"/>
              <a:t> </a:t>
            </a:r>
            <a:r>
              <a:rPr lang="en-US" sz="1200" dirty="0" err="1"/>
              <a:t>variedad</a:t>
            </a:r>
            <a:r>
              <a:rPr lang="en-US" sz="1200" dirty="0"/>
              <a:t>
</a:t>
            </a:r>
            <a:endParaRPr lang="en-GB" sz="1350" dirty="0"/>
          </a:p>
        </p:txBody>
      </p:sp>
      <p:pic>
        <p:nvPicPr>
          <p:cNvPr id="4" name="Grafik 16">
            <a:extLst>
              <a:ext uri="{FF2B5EF4-FFF2-40B4-BE49-F238E27FC236}">
                <a16:creationId xmlns:a16="http://schemas.microsoft.com/office/drawing/2014/main" id="{457787F1-CC41-7320-F72A-8C0CC426C4F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10376" y="805122"/>
            <a:ext cx="2642354" cy="2774033"/>
          </a:xfrm>
          <a:prstGeom prst="rect">
            <a:avLst/>
          </a:prstGeom>
        </p:spPr>
      </p:pic>
      <p:pic>
        <p:nvPicPr>
          <p:cNvPr id="5" name="Grafik 3">
            <a:extLst>
              <a:ext uri="{FF2B5EF4-FFF2-40B4-BE49-F238E27FC236}">
                <a16:creationId xmlns:a16="http://schemas.microsoft.com/office/drawing/2014/main" id="{22C2FD4E-B2F5-32A6-E684-CF71AA3BF03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72000" y="1452337"/>
            <a:ext cx="2025861" cy="2126818"/>
          </a:xfrm>
          <a:prstGeom prst="rect">
            <a:avLst/>
          </a:prstGeom>
        </p:spPr>
      </p:pic>
      <p:sp>
        <p:nvSpPr>
          <p:cNvPr id="6" name="Textfeld 4">
            <a:extLst>
              <a:ext uri="{FF2B5EF4-FFF2-40B4-BE49-F238E27FC236}">
                <a16:creationId xmlns:a16="http://schemas.microsoft.com/office/drawing/2014/main" id="{EC11BD0D-6E5D-32E9-81E6-F9B59A9E45E7}"/>
              </a:ext>
            </a:extLst>
          </p:cNvPr>
          <p:cNvSpPr txBox="1"/>
          <p:nvPr/>
        </p:nvSpPr>
        <p:spPr>
          <a:xfrm>
            <a:off x="2219830" y="3628284"/>
            <a:ext cx="4265801" cy="685800"/>
          </a:xfrm>
          <a:prstGeom prst="rect">
            <a:avLst/>
          </a:prstGeom>
          <a:noFill/>
        </p:spPr>
        <p:txBody>
          <a:bodyPr vert="horz" wrap="none" lIns="68580" tIns="34290" rIns="68580" bIns="34290" rtlCol="0" anchor="ctr">
            <a:normAutofit/>
          </a:bodyPr>
          <a:lstStyle/>
          <a:p>
            <a:pPr algn="ctr" defTabSz="685800">
              <a:defRPr/>
            </a:pPr>
            <a:r>
              <a:rPr lang="en-GB" b="1" dirty="0">
                <a:solidFill>
                  <a:srgbClr val="E4032D"/>
                </a:solidFill>
                <a:latin typeface="Calibri"/>
              </a:rPr>
              <a:t>LG AMBASSADOR &amp; LG AVIRON</a:t>
            </a:r>
          </a:p>
          <a:p>
            <a:pPr algn="ctr" defTabSz="685800">
              <a:defRPr/>
            </a:pPr>
            <a:r>
              <a:rPr lang="es-ES" b="1" dirty="0">
                <a:solidFill>
                  <a:srgbClr val="E4032D"/>
                </a:solidFill>
              </a:rPr>
              <a:t>Los dos híbridos de COLZA más cultivados en Europa </a:t>
            </a:r>
            <a:r>
              <a:rPr lang="en-GB" b="1" dirty="0">
                <a:solidFill>
                  <a:srgbClr val="E4032D"/>
                </a:solidFill>
                <a:latin typeface="Calibri"/>
              </a:rPr>
              <a:t>(2022/2023)</a:t>
            </a:r>
          </a:p>
        </p:txBody>
      </p:sp>
    </p:spTree>
    <p:extLst>
      <p:ext uri="{BB962C8B-B14F-4D97-AF65-F5344CB8AC3E}">
        <p14:creationId xmlns:p14="http://schemas.microsoft.com/office/powerpoint/2010/main" val="138470003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82AEC64-4138-4C3F-A4EF-AD83CCCE12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55" progId="TCLayout.ActiveDocument.1">
                  <p:embed/>
                </p:oleObj>
              </mc:Choice>
              <mc:Fallback>
                <p:oleObj name="think-cell Slide" r:id="rId3" imgW="359" imgH="35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82AEC64-4138-4C3F-A4EF-AD83CCCE12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lock Arc 16"/>
          <p:cNvSpPr/>
          <p:nvPr/>
        </p:nvSpPr>
        <p:spPr>
          <a:xfrm>
            <a:off x="106112" y="305971"/>
            <a:ext cx="4991711" cy="4991711"/>
          </a:xfrm>
          <a:prstGeom prst="blockArc">
            <a:avLst>
              <a:gd name="adj1" fmla="val 18900000"/>
              <a:gd name="adj2" fmla="val 2700000"/>
              <a:gd name="adj3" fmla="val 433"/>
            </a:avLst>
          </a:prstGeom>
          <a:ln cap="rnd">
            <a:solidFill>
              <a:schemeClr val="bg1">
                <a:lumMod val="95000"/>
              </a:schemeClr>
            </a:solidFill>
          </a:ln>
        </p:spPr>
        <p:style>
          <a:lnRef idx="2">
            <a:scrgbClr r="0" g="0" b="0"/>
          </a:lnRef>
          <a:fillRef idx="0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179767" y="241629"/>
            <a:ext cx="6603387" cy="619737"/>
          </a:xfrm>
        </p:spPr>
        <p:txBody>
          <a:bodyPr/>
          <a:lstStyle/>
          <a:p>
            <a:r>
              <a:rPr lang="en-US" dirty="0" err="1"/>
              <a:t>Índice</a:t>
            </a:r>
            <a:endParaRPr lang="en-US" dirty="0"/>
          </a:p>
        </p:txBody>
      </p:sp>
      <p:sp>
        <p:nvSpPr>
          <p:cNvPr id="34" name="Freeform 4">
            <a:extLst>
              <a:ext uri="{FF2B5EF4-FFF2-40B4-BE49-F238E27FC236}">
                <a16:creationId xmlns:a16="http://schemas.microsoft.com/office/drawing/2014/main" id="{A0A5223E-80E9-411A-B656-8AE175A03E01}"/>
              </a:ext>
            </a:extLst>
          </p:cNvPr>
          <p:cNvSpPr/>
          <p:nvPr/>
        </p:nvSpPr>
        <p:spPr>
          <a:xfrm>
            <a:off x="4595398" y="1143968"/>
            <a:ext cx="4233180" cy="390171"/>
          </a:xfrm>
          <a:custGeom>
            <a:avLst/>
            <a:gdLst>
              <a:gd name="connsiteX0" fmla="*/ 0 w 4233180"/>
              <a:gd name="connsiteY0" fmla="*/ 0 h 390171"/>
              <a:gd name="connsiteX1" fmla="*/ 4233180 w 4233180"/>
              <a:gd name="connsiteY1" fmla="*/ 0 h 390171"/>
              <a:gd name="connsiteX2" fmla="*/ 4233180 w 4233180"/>
              <a:gd name="connsiteY2" fmla="*/ 390171 h 390171"/>
              <a:gd name="connsiteX3" fmla="*/ 0 w 4233180"/>
              <a:gd name="connsiteY3" fmla="*/ 390171 h 390171"/>
              <a:gd name="connsiteX4" fmla="*/ 0 w 4233180"/>
              <a:gd name="connsiteY4" fmla="*/ 0 h 3901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33180" h="390171">
                <a:moveTo>
                  <a:pt x="0" y="0"/>
                </a:moveTo>
                <a:lnTo>
                  <a:pt x="4233180" y="0"/>
                </a:lnTo>
                <a:lnTo>
                  <a:pt x="4233180" y="390171"/>
                </a:lnTo>
                <a:lnTo>
                  <a:pt x="0" y="390171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09699" tIns="45720" rIns="45720" bIns="45720" numCol="1" spcCol="1270" anchor="ctr" anchorCtr="0">
            <a:noAutofit/>
          </a:bodyPr>
          <a:lstStyle/>
          <a:p>
            <a:pPr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200" dirty="0">
                <a:solidFill>
                  <a:schemeClr val="tx1"/>
                </a:solidFill>
                <a:hlinkClick r:id="rId5" action="ppaction://hlinksldjump"/>
              </a:rPr>
              <a:t>Lanzamiento y días de campo de colza 2023/2024.</a:t>
            </a:r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B4740932-A44C-4935-A2A5-FDD88A0E9EAB}"/>
              </a:ext>
            </a:extLst>
          </p:cNvPr>
          <p:cNvSpPr/>
          <p:nvPr/>
        </p:nvSpPr>
        <p:spPr>
          <a:xfrm>
            <a:off x="4371554" y="1115210"/>
            <a:ext cx="447688" cy="447688"/>
          </a:xfrm>
          <a:prstGeom prst="ellipse">
            <a:avLst/>
          </a:prstGeom>
          <a:solidFill>
            <a:schemeClr val="tx2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anchor="ctr" anchorCtr="0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36" name="Freeform 6">
            <a:extLst>
              <a:ext uri="{FF2B5EF4-FFF2-40B4-BE49-F238E27FC236}">
                <a16:creationId xmlns:a16="http://schemas.microsoft.com/office/drawing/2014/main" id="{326544B8-48AD-4CDC-8442-F24758C0805B}"/>
              </a:ext>
            </a:extLst>
          </p:cNvPr>
          <p:cNvSpPr/>
          <p:nvPr/>
        </p:nvSpPr>
        <p:spPr>
          <a:xfrm>
            <a:off x="4916340" y="1729151"/>
            <a:ext cx="3912238" cy="390171"/>
          </a:xfrm>
          <a:custGeom>
            <a:avLst/>
            <a:gdLst>
              <a:gd name="connsiteX0" fmla="*/ 0 w 3912238"/>
              <a:gd name="connsiteY0" fmla="*/ 0 h 390171"/>
              <a:gd name="connsiteX1" fmla="*/ 3912238 w 3912238"/>
              <a:gd name="connsiteY1" fmla="*/ 0 h 390171"/>
              <a:gd name="connsiteX2" fmla="*/ 3912238 w 3912238"/>
              <a:gd name="connsiteY2" fmla="*/ 390171 h 390171"/>
              <a:gd name="connsiteX3" fmla="*/ 0 w 3912238"/>
              <a:gd name="connsiteY3" fmla="*/ 390171 h 390171"/>
              <a:gd name="connsiteX4" fmla="*/ 0 w 3912238"/>
              <a:gd name="connsiteY4" fmla="*/ 0 h 3901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12238" h="390171">
                <a:moveTo>
                  <a:pt x="0" y="0"/>
                </a:moveTo>
                <a:lnTo>
                  <a:pt x="3912238" y="0"/>
                </a:lnTo>
                <a:lnTo>
                  <a:pt x="3912238" y="390171"/>
                </a:lnTo>
                <a:lnTo>
                  <a:pt x="0" y="390171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09699" tIns="45720" rIns="45720" bIns="45720" numCol="1" spcCol="1270" anchor="ctr" anchorCtr="0">
            <a:noAutofit/>
          </a:bodyPr>
          <a:lstStyle/>
          <a:p>
            <a:pPr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endParaRPr lang="en-GB" sz="1200" dirty="0">
              <a:solidFill>
                <a:schemeClr val="tx1"/>
              </a:solidFill>
            </a:endParaRPr>
          </a:p>
          <a:p>
            <a:pPr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en-GB" sz="1200" dirty="0">
                <a:solidFill>
                  <a:schemeClr val="tx1"/>
                </a:solidFill>
                <a:hlinkClick r:id="rId6" action="ppaction://hlinksldjump"/>
              </a:rPr>
              <a:t>COLZA: </a:t>
            </a:r>
            <a:r>
              <a:rPr lang="en-GB" sz="1200" dirty="0" err="1">
                <a:solidFill>
                  <a:schemeClr val="tx1"/>
                </a:solidFill>
                <a:hlinkClick r:id="rId6" action="ppaction://hlinksldjump"/>
              </a:rPr>
              <a:t>actualización</a:t>
            </a:r>
            <a:r>
              <a:rPr lang="en-GB" sz="1200" dirty="0">
                <a:solidFill>
                  <a:schemeClr val="tx1"/>
                </a:solidFill>
                <a:hlinkClick r:id="rId6" action="ppaction://hlinksldjump"/>
              </a:rPr>
              <a:t> del mercado: Europa y </a:t>
            </a:r>
            <a:r>
              <a:rPr lang="en-GB" sz="1200" dirty="0" err="1">
                <a:solidFill>
                  <a:schemeClr val="tx1"/>
                </a:solidFill>
                <a:hlinkClick r:id="rId6" action="ppaction://hlinksldjump"/>
              </a:rPr>
              <a:t>España</a:t>
            </a:r>
            <a:r>
              <a:rPr lang="en-GB" sz="1200" dirty="0">
                <a:solidFill>
                  <a:schemeClr val="tx1"/>
                </a:solidFill>
                <a:hlinkClick r:id="rId6" action="ppaction://hlinksldjump"/>
              </a:rPr>
              <a:t>.</a:t>
            </a:r>
            <a:endParaRPr lang="en-GB" sz="1200" dirty="0">
              <a:solidFill>
                <a:schemeClr val="tx1"/>
              </a:solidFill>
            </a:endParaRPr>
          </a:p>
          <a:p>
            <a:pPr marL="0" marR="0" lvl="0" indent="0" algn="l" defTabSz="8001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EE002D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FD1DB7CC-5E8A-45D0-84CF-700CCC701107}"/>
              </a:ext>
            </a:extLst>
          </p:cNvPr>
          <p:cNvSpPr/>
          <p:nvPr/>
        </p:nvSpPr>
        <p:spPr>
          <a:xfrm>
            <a:off x="4692496" y="1700393"/>
            <a:ext cx="447688" cy="447688"/>
          </a:xfrm>
          <a:prstGeom prst="ellipse">
            <a:avLst/>
          </a:prstGeom>
          <a:solidFill>
            <a:schemeClr val="tx2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anchor="ctr" anchorCtr="0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</a:p>
        </p:txBody>
      </p:sp>
      <p:sp>
        <p:nvSpPr>
          <p:cNvPr id="38" name="Freeform 8">
            <a:extLst>
              <a:ext uri="{FF2B5EF4-FFF2-40B4-BE49-F238E27FC236}">
                <a16:creationId xmlns:a16="http://schemas.microsoft.com/office/drawing/2014/main" id="{0098DC74-94B0-41B5-8496-ECA1C0CDFCA8}"/>
              </a:ext>
            </a:extLst>
          </p:cNvPr>
          <p:cNvSpPr/>
          <p:nvPr/>
        </p:nvSpPr>
        <p:spPr>
          <a:xfrm>
            <a:off x="5063099" y="2314334"/>
            <a:ext cx="3765479" cy="390171"/>
          </a:xfrm>
          <a:custGeom>
            <a:avLst/>
            <a:gdLst>
              <a:gd name="connsiteX0" fmla="*/ 0 w 3765479"/>
              <a:gd name="connsiteY0" fmla="*/ 0 h 390171"/>
              <a:gd name="connsiteX1" fmla="*/ 3765479 w 3765479"/>
              <a:gd name="connsiteY1" fmla="*/ 0 h 390171"/>
              <a:gd name="connsiteX2" fmla="*/ 3765479 w 3765479"/>
              <a:gd name="connsiteY2" fmla="*/ 390171 h 390171"/>
              <a:gd name="connsiteX3" fmla="*/ 0 w 3765479"/>
              <a:gd name="connsiteY3" fmla="*/ 390171 h 390171"/>
              <a:gd name="connsiteX4" fmla="*/ 0 w 3765479"/>
              <a:gd name="connsiteY4" fmla="*/ 0 h 3901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65479" h="390171">
                <a:moveTo>
                  <a:pt x="0" y="0"/>
                </a:moveTo>
                <a:lnTo>
                  <a:pt x="3765479" y="0"/>
                </a:lnTo>
                <a:lnTo>
                  <a:pt x="3765479" y="390171"/>
                </a:lnTo>
                <a:lnTo>
                  <a:pt x="0" y="390171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09699" tIns="45720" rIns="45720" bIns="45720" numCol="1" spcCol="1270" anchor="ctr" anchorCtr="0">
            <a:noAutofit/>
          </a:bodyPr>
          <a:lstStyle/>
          <a:p>
            <a:pPr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endParaRPr lang="en-GB" sz="1200" dirty="0">
              <a:solidFill>
                <a:schemeClr val="tx1"/>
              </a:solidFill>
            </a:endParaRPr>
          </a:p>
          <a:p>
            <a:pPr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en-GB" sz="1200" dirty="0">
                <a:solidFill>
                  <a:schemeClr val="tx1"/>
                </a:solidFill>
                <a:hlinkClick r:id="rId7" action="ppaction://hlinksldjump"/>
              </a:rPr>
              <a:t>COLZA: </a:t>
            </a:r>
            <a:r>
              <a:rPr lang="en-GB" sz="1200" dirty="0" err="1">
                <a:solidFill>
                  <a:schemeClr val="tx1"/>
                </a:solidFill>
                <a:hlinkClick r:id="rId7" action="ppaction://hlinksldjump"/>
              </a:rPr>
              <a:t>condiciones</a:t>
            </a:r>
            <a:r>
              <a:rPr lang="en-GB" sz="1200" dirty="0">
                <a:solidFill>
                  <a:schemeClr val="tx1"/>
                </a:solidFill>
                <a:hlinkClick r:id="rId7" action="ppaction://hlinksldjump"/>
              </a:rPr>
              <a:t> de </a:t>
            </a:r>
            <a:r>
              <a:rPr lang="en-GB" sz="1200" dirty="0" err="1">
                <a:solidFill>
                  <a:schemeClr val="tx1"/>
                </a:solidFill>
                <a:hlinkClick r:id="rId7" action="ppaction://hlinksldjump"/>
              </a:rPr>
              <a:t>cultivo</a:t>
            </a:r>
            <a:r>
              <a:rPr lang="en-GB" sz="1200" dirty="0">
                <a:solidFill>
                  <a:schemeClr val="tx1"/>
                </a:solidFill>
                <a:hlinkClick r:id="rId7" action="ppaction://hlinksldjump"/>
              </a:rPr>
              <a:t> y </a:t>
            </a:r>
            <a:r>
              <a:rPr lang="en-GB" sz="1200" dirty="0" err="1">
                <a:solidFill>
                  <a:schemeClr val="tx1"/>
                </a:solidFill>
                <a:hlinkClick r:id="rId7" action="ppaction://hlinksldjump"/>
              </a:rPr>
              <a:t>estimación</a:t>
            </a:r>
            <a:r>
              <a:rPr lang="en-GB" sz="1200" dirty="0">
                <a:solidFill>
                  <a:schemeClr val="tx1"/>
                </a:solidFill>
                <a:hlinkClick r:id="rId7" action="ppaction://hlinksldjump"/>
              </a:rPr>
              <a:t> del </a:t>
            </a:r>
            <a:r>
              <a:rPr lang="en-GB" sz="1200" dirty="0" err="1">
                <a:solidFill>
                  <a:schemeClr val="tx1"/>
                </a:solidFill>
                <a:hlinkClick r:id="rId7" action="ppaction://hlinksldjump"/>
              </a:rPr>
              <a:t>rendimiento</a:t>
            </a:r>
            <a:r>
              <a:rPr lang="en-GB" sz="1200" dirty="0">
                <a:solidFill>
                  <a:schemeClr val="tx1"/>
                </a:solidFill>
                <a:hlinkClick r:id="rId7" action="ppaction://hlinksldjump"/>
              </a:rPr>
              <a:t> 2023.</a:t>
            </a:r>
            <a:endParaRPr lang="en-GB" sz="1200" dirty="0">
              <a:solidFill>
                <a:schemeClr val="tx1"/>
              </a:solidFill>
            </a:endParaRPr>
          </a:p>
          <a:p>
            <a:pPr marL="0" marR="0" lvl="0" indent="0" algn="l" defTabSz="8001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EE002D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82030292-92B4-4A1A-AA62-91E5BFD1A63C}"/>
              </a:ext>
            </a:extLst>
          </p:cNvPr>
          <p:cNvSpPr/>
          <p:nvPr/>
        </p:nvSpPr>
        <p:spPr>
          <a:xfrm>
            <a:off x="4839255" y="2285576"/>
            <a:ext cx="447688" cy="447688"/>
          </a:xfrm>
          <a:prstGeom prst="ellipse">
            <a:avLst/>
          </a:prstGeom>
          <a:solidFill>
            <a:schemeClr val="tx2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anchor="ctr" anchorCtr="0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</a:t>
            </a:r>
          </a:p>
        </p:txBody>
      </p:sp>
      <p:sp>
        <p:nvSpPr>
          <p:cNvPr id="40" name="Freeform 10">
            <a:extLst>
              <a:ext uri="{FF2B5EF4-FFF2-40B4-BE49-F238E27FC236}">
                <a16:creationId xmlns:a16="http://schemas.microsoft.com/office/drawing/2014/main" id="{5B649BF5-05F0-4FB4-BFE0-49A28D67C000}"/>
              </a:ext>
            </a:extLst>
          </p:cNvPr>
          <p:cNvSpPr/>
          <p:nvPr/>
        </p:nvSpPr>
        <p:spPr>
          <a:xfrm>
            <a:off x="5129052" y="2902888"/>
            <a:ext cx="3701202" cy="390171"/>
          </a:xfrm>
          <a:custGeom>
            <a:avLst/>
            <a:gdLst>
              <a:gd name="connsiteX0" fmla="*/ 0 w 3701202"/>
              <a:gd name="connsiteY0" fmla="*/ 0 h 390171"/>
              <a:gd name="connsiteX1" fmla="*/ 3701202 w 3701202"/>
              <a:gd name="connsiteY1" fmla="*/ 0 h 390171"/>
              <a:gd name="connsiteX2" fmla="*/ 3701202 w 3701202"/>
              <a:gd name="connsiteY2" fmla="*/ 390171 h 390171"/>
              <a:gd name="connsiteX3" fmla="*/ 0 w 3701202"/>
              <a:gd name="connsiteY3" fmla="*/ 390171 h 390171"/>
              <a:gd name="connsiteX4" fmla="*/ 0 w 3701202"/>
              <a:gd name="connsiteY4" fmla="*/ 0 h 3901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01202" h="390171">
                <a:moveTo>
                  <a:pt x="0" y="0"/>
                </a:moveTo>
                <a:lnTo>
                  <a:pt x="3701202" y="0"/>
                </a:lnTo>
                <a:lnTo>
                  <a:pt x="3701202" y="390171"/>
                </a:lnTo>
                <a:lnTo>
                  <a:pt x="0" y="390171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09699" tIns="45720" rIns="45720" bIns="45720" numCol="1" spcCol="1270" anchor="ctr" anchorCtr="0">
            <a:noAutofit/>
          </a:bodyPr>
          <a:lstStyle/>
          <a:p>
            <a:pPr>
              <a:spcBef>
                <a:spcPts val="600"/>
              </a:spcBef>
            </a:pPr>
            <a:r>
              <a:rPr lang="en-US" sz="1200" dirty="0">
                <a:solidFill>
                  <a:schemeClr val="tx1"/>
                </a:solidFill>
                <a:hlinkClick r:id="rId8" action="ppaction://hlinksldjump"/>
              </a:rPr>
              <a:t>LG </a:t>
            </a:r>
            <a:r>
              <a:rPr lang="en-US" sz="1200" dirty="0" err="1">
                <a:solidFill>
                  <a:schemeClr val="tx1"/>
                </a:solidFill>
                <a:hlinkClick r:id="rId8" action="ppaction://hlinksldjump"/>
              </a:rPr>
              <a:t>una</a:t>
            </a:r>
            <a:r>
              <a:rPr lang="en-US" sz="1200" dirty="0">
                <a:solidFill>
                  <a:schemeClr val="tx1"/>
                </a:solidFill>
                <a:hlinkClick r:id="rId8" action="ppaction://hlinksldjump"/>
              </a:rPr>
              <a:t> gran </a:t>
            </a:r>
            <a:r>
              <a:rPr lang="en-US" sz="1200" dirty="0" err="1">
                <a:solidFill>
                  <a:schemeClr val="tx1"/>
                </a:solidFill>
                <a:hlinkClick r:id="rId8" action="ppaction://hlinksldjump"/>
              </a:rPr>
              <a:t>experiencia</a:t>
            </a:r>
            <a:r>
              <a:rPr lang="en-US" sz="1200" dirty="0">
                <a:solidFill>
                  <a:schemeClr val="tx1"/>
                </a:solidFill>
                <a:hlinkClick r:id="rId8" action="ppaction://hlinksldjump"/>
              </a:rPr>
              <a:t> </a:t>
            </a:r>
            <a:r>
              <a:rPr lang="en-US" sz="1200" dirty="0" err="1">
                <a:solidFill>
                  <a:schemeClr val="tx1"/>
                </a:solidFill>
                <a:hlinkClick r:id="rId8" action="ppaction://hlinksldjump"/>
              </a:rPr>
              <a:t>en</a:t>
            </a:r>
            <a:r>
              <a:rPr lang="en-US" sz="1200" dirty="0">
                <a:solidFill>
                  <a:schemeClr val="tx1"/>
                </a:solidFill>
                <a:hlinkClick r:id="rId8" action="ppaction://hlinksldjump"/>
              </a:rPr>
              <a:t> </a:t>
            </a:r>
            <a:r>
              <a:rPr lang="en-US" sz="1200" dirty="0" err="1">
                <a:solidFill>
                  <a:schemeClr val="tx1"/>
                </a:solidFill>
                <a:hlinkClick r:id="rId8" action="ppaction://hlinksldjump"/>
              </a:rPr>
              <a:t>el</a:t>
            </a:r>
            <a:r>
              <a:rPr lang="en-US" sz="1200" dirty="0">
                <a:solidFill>
                  <a:schemeClr val="tx1"/>
                </a:solidFill>
                <a:hlinkClick r:id="rId8" action="ppaction://hlinksldjump"/>
              </a:rPr>
              <a:t> </a:t>
            </a:r>
            <a:r>
              <a:rPr lang="en-US" sz="1200" dirty="0" err="1">
                <a:solidFill>
                  <a:schemeClr val="tx1"/>
                </a:solidFill>
                <a:hlinkClick r:id="rId8" action="ppaction://hlinksldjump"/>
              </a:rPr>
              <a:t>seguimiento</a:t>
            </a:r>
            <a:r>
              <a:rPr lang="en-US" sz="1200" dirty="0">
                <a:solidFill>
                  <a:schemeClr val="tx1"/>
                </a:solidFill>
                <a:hlinkClick r:id="rId8" action="ppaction://hlinksldjump"/>
              </a:rPr>
              <a:t> de la </a:t>
            </a:r>
            <a:r>
              <a:rPr lang="en-US" sz="1200" dirty="0" err="1">
                <a:solidFill>
                  <a:schemeClr val="tx1"/>
                </a:solidFill>
                <a:hlinkClick r:id="rId8" action="ppaction://hlinksldjump"/>
              </a:rPr>
              <a:t>virosis</a:t>
            </a:r>
            <a:r>
              <a:rPr lang="en-US" sz="1200" dirty="0">
                <a:solidFill>
                  <a:schemeClr val="tx1"/>
                </a:solidFill>
                <a:hlinkClick r:id="rId8" action="ppaction://hlinksldjump"/>
              </a:rPr>
              <a:t> (</a:t>
            </a:r>
            <a:r>
              <a:rPr lang="en-US" sz="1200" dirty="0" err="1">
                <a:solidFill>
                  <a:schemeClr val="tx1"/>
                </a:solidFill>
                <a:hlinkClick r:id="rId8" action="ppaction://hlinksldjump"/>
              </a:rPr>
              <a:t>TuYV</a:t>
            </a:r>
            <a:r>
              <a:rPr lang="en-US" sz="1200" dirty="0">
                <a:solidFill>
                  <a:schemeClr val="tx1"/>
                </a:solidFill>
                <a:hlinkClick r:id="rId8" action="ppaction://hlinksldjump"/>
              </a:rPr>
              <a:t>).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B3FC0B19-468E-40D9-B3A0-7B0FC28F2B17}"/>
              </a:ext>
            </a:extLst>
          </p:cNvPr>
          <p:cNvSpPr/>
          <p:nvPr/>
        </p:nvSpPr>
        <p:spPr>
          <a:xfrm>
            <a:off x="4839255" y="2870388"/>
            <a:ext cx="447688" cy="447688"/>
          </a:xfrm>
          <a:prstGeom prst="ellipse">
            <a:avLst/>
          </a:prstGeom>
          <a:solidFill>
            <a:schemeClr val="tx2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anchor="ctr" anchorCtr="0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4</a:t>
            </a:r>
          </a:p>
        </p:txBody>
      </p:sp>
      <p:sp>
        <p:nvSpPr>
          <p:cNvPr id="42" name="Freeform 12">
            <a:extLst>
              <a:ext uri="{FF2B5EF4-FFF2-40B4-BE49-F238E27FC236}">
                <a16:creationId xmlns:a16="http://schemas.microsoft.com/office/drawing/2014/main" id="{29BCA54E-0E38-4404-8506-643DF8A44C96}"/>
              </a:ext>
            </a:extLst>
          </p:cNvPr>
          <p:cNvSpPr/>
          <p:nvPr/>
        </p:nvSpPr>
        <p:spPr>
          <a:xfrm>
            <a:off x="4916340" y="3484329"/>
            <a:ext cx="3912238" cy="390171"/>
          </a:xfrm>
          <a:custGeom>
            <a:avLst/>
            <a:gdLst>
              <a:gd name="connsiteX0" fmla="*/ 0 w 3912238"/>
              <a:gd name="connsiteY0" fmla="*/ 0 h 390171"/>
              <a:gd name="connsiteX1" fmla="*/ 3912238 w 3912238"/>
              <a:gd name="connsiteY1" fmla="*/ 0 h 390171"/>
              <a:gd name="connsiteX2" fmla="*/ 3912238 w 3912238"/>
              <a:gd name="connsiteY2" fmla="*/ 390171 h 390171"/>
              <a:gd name="connsiteX3" fmla="*/ 0 w 3912238"/>
              <a:gd name="connsiteY3" fmla="*/ 390171 h 390171"/>
              <a:gd name="connsiteX4" fmla="*/ 0 w 3912238"/>
              <a:gd name="connsiteY4" fmla="*/ 0 h 3901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12238" h="390171">
                <a:moveTo>
                  <a:pt x="0" y="0"/>
                </a:moveTo>
                <a:lnTo>
                  <a:pt x="3912238" y="0"/>
                </a:lnTo>
                <a:lnTo>
                  <a:pt x="3912238" y="390171"/>
                </a:lnTo>
                <a:lnTo>
                  <a:pt x="0" y="390171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09699" tIns="45720" rIns="45720" bIns="45720" numCol="1" spcCol="1270" anchor="ctr" anchorCtr="0">
            <a:noAutofit/>
          </a:bodyPr>
          <a:lstStyle/>
          <a:p>
            <a:pPr>
              <a:spcBef>
                <a:spcPts val="600"/>
              </a:spcBef>
            </a:pPr>
            <a:r>
              <a:rPr lang="en-GB" sz="1200" dirty="0">
                <a:solidFill>
                  <a:schemeClr val="tx1"/>
                </a:solidFill>
                <a:hlinkClick r:id="rId9" action="ppaction://hlinksldjump"/>
              </a:rPr>
              <a:t>COLZA LG: </a:t>
            </a:r>
            <a:r>
              <a:rPr lang="en-GB" sz="1200" dirty="0" err="1">
                <a:solidFill>
                  <a:schemeClr val="tx1"/>
                </a:solidFill>
                <a:hlinkClick r:id="rId9" action="ppaction://hlinksldjump"/>
              </a:rPr>
              <a:t>posición</a:t>
            </a:r>
            <a:r>
              <a:rPr lang="en-GB" sz="1200" dirty="0">
                <a:solidFill>
                  <a:schemeClr val="tx1"/>
                </a:solidFill>
                <a:hlinkClick r:id="rId9" action="ppaction://hlinksldjump"/>
              </a:rPr>
              <a:t> </a:t>
            </a:r>
            <a:r>
              <a:rPr lang="en-GB" sz="1200" dirty="0" err="1">
                <a:solidFill>
                  <a:schemeClr val="tx1"/>
                </a:solidFill>
                <a:hlinkClick r:id="rId9" action="ppaction://hlinksldjump"/>
              </a:rPr>
              <a:t>en</a:t>
            </a:r>
            <a:r>
              <a:rPr lang="en-GB" sz="1200" dirty="0">
                <a:solidFill>
                  <a:schemeClr val="tx1"/>
                </a:solidFill>
                <a:hlinkClick r:id="rId9" action="ppaction://hlinksldjump"/>
              </a:rPr>
              <a:t> </a:t>
            </a:r>
            <a:r>
              <a:rPr lang="en-GB" sz="1200" dirty="0" err="1">
                <a:solidFill>
                  <a:schemeClr val="tx1"/>
                </a:solidFill>
                <a:hlinkClick r:id="rId9" action="ppaction://hlinksldjump"/>
              </a:rPr>
              <a:t>el</a:t>
            </a:r>
            <a:r>
              <a:rPr lang="en-GB" sz="1200" dirty="0">
                <a:solidFill>
                  <a:schemeClr val="tx1"/>
                </a:solidFill>
                <a:hlinkClick r:id="rId9" action="ppaction://hlinksldjump"/>
              </a:rPr>
              <a:t> mercado y </a:t>
            </a:r>
            <a:r>
              <a:rPr lang="en-GB" sz="1200" dirty="0" err="1">
                <a:solidFill>
                  <a:schemeClr val="tx1"/>
                </a:solidFill>
                <a:hlinkClick r:id="rId9" action="ppaction://hlinksldjump"/>
              </a:rPr>
              <a:t>variedades</a:t>
            </a:r>
            <a:r>
              <a:rPr lang="en-GB" sz="1200" dirty="0">
                <a:solidFill>
                  <a:schemeClr val="tx1"/>
                </a:solidFill>
                <a:hlinkClick r:id="rId9" action="ppaction://hlinksldjump"/>
              </a:rPr>
              <a:t> </a:t>
            </a:r>
            <a:r>
              <a:rPr lang="en-GB" sz="1200" dirty="0" err="1">
                <a:solidFill>
                  <a:schemeClr val="tx1"/>
                </a:solidFill>
                <a:hlinkClick r:id="rId9" action="ppaction://hlinksldjump"/>
              </a:rPr>
              <a:t>líderes</a:t>
            </a:r>
            <a:r>
              <a:rPr lang="en-GB" sz="1200" dirty="0">
                <a:solidFill>
                  <a:schemeClr val="tx1"/>
                </a:solidFill>
                <a:hlinkClick r:id="rId9" action="ppaction://hlinksldjump"/>
              </a:rPr>
              <a:t>.</a:t>
            </a:r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83A1C97A-AFE3-4111-9624-80E5A9B1D8C1}"/>
              </a:ext>
            </a:extLst>
          </p:cNvPr>
          <p:cNvSpPr/>
          <p:nvPr/>
        </p:nvSpPr>
        <p:spPr>
          <a:xfrm>
            <a:off x="4692496" y="3455571"/>
            <a:ext cx="447688" cy="447688"/>
          </a:xfrm>
          <a:prstGeom prst="ellipse">
            <a:avLst/>
          </a:prstGeom>
          <a:solidFill>
            <a:schemeClr val="tx2"/>
          </a:solidFill>
          <a:ln>
            <a:solidFill>
              <a:schemeClr val="bg1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anchor="ctr" anchorCtr="0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5</a:t>
            </a:r>
          </a:p>
        </p:txBody>
      </p:sp>
      <p:sp>
        <p:nvSpPr>
          <p:cNvPr id="44" name="Freeform 14">
            <a:extLst>
              <a:ext uri="{FF2B5EF4-FFF2-40B4-BE49-F238E27FC236}">
                <a16:creationId xmlns:a16="http://schemas.microsoft.com/office/drawing/2014/main" id="{45C0E1FF-ADA6-4170-BB3C-9E70C54FED5D}"/>
              </a:ext>
            </a:extLst>
          </p:cNvPr>
          <p:cNvSpPr/>
          <p:nvPr/>
        </p:nvSpPr>
        <p:spPr>
          <a:xfrm>
            <a:off x="4595398" y="4069512"/>
            <a:ext cx="4233180" cy="390171"/>
          </a:xfrm>
          <a:custGeom>
            <a:avLst/>
            <a:gdLst>
              <a:gd name="connsiteX0" fmla="*/ 0 w 4233180"/>
              <a:gd name="connsiteY0" fmla="*/ 0 h 390171"/>
              <a:gd name="connsiteX1" fmla="*/ 4233180 w 4233180"/>
              <a:gd name="connsiteY1" fmla="*/ 0 h 390171"/>
              <a:gd name="connsiteX2" fmla="*/ 4233180 w 4233180"/>
              <a:gd name="connsiteY2" fmla="*/ 390171 h 390171"/>
              <a:gd name="connsiteX3" fmla="*/ 0 w 4233180"/>
              <a:gd name="connsiteY3" fmla="*/ 390171 h 390171"/>
              <a:gd name="connsiteX4" fmla="*/ 0 w 4233180"/>
              <a:gd name="connsiteY4" fmla="*/ 0 h 3901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33180" h="390171">
                <a:moveTo>
                  <a:pt x="0" y="0"/>
                </a:moveTo>
                <a:lnTo>
                  <a:pt x="4233180" y="0"/>
                </a:lnTo>
                <a:lnTo>
                  <a:pt x="4233180" y="390171"/>
                </a:lnTo>
                <a:lnTo>
                  <a:pt x="0" y="390171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09699" tIns="45720" rIns="45720" bIns="45720" numCol="1" spcCol="1270" anchor="ctr" anchorCtr="0">
            <a:noAutofit/>
          </a:bodyPr>
          <a:lstStyle/>
          <a:p>
            <a:pPr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endParaRPr lang="en-GB" sz="1200" dirty="0">
              <a:solidFill>
                <a:schemeClr val="tx1"/>
              </a:solidFill>
            </a:endParaRPr>
          </a:p>
          <a:p>
            <a:pPr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en-GB" sz="1200" dirty="0">
                <a:solidFill>
                  <a:schemeClr val="tx1"/>
                </a:solidFill>
                <a:hlinkClick r:id="rId9" action="ppaction://hlinksldjump"/>
              </a:rPr>
              <a:t>COLZA LG: </a:t>
            </a:r>
            <a:r>
              <a:rPr lang="en-GB" sz="1200" dirty="0" err="1">
                <a:solidFill>
                  <a:schemeClr val="tx1"/>
                </a:solidFill>
                <a:hlinkClick r:id="rId9" action="ppaction://hlinksldjump"/>
              </a:rPr>
              <a:t>variedades</a:t>
            </a:r>
            <a:r>
              <a:rPr lang="en-GB" sz="1200" dirty="0">
                <a:solidFill>
                  <a:schemeClr val="tx1"/>
                </a:solidFill>
                <a:hlinkClick r:id="rId9" action="ppaction://hlinksldjump"/>
              </a:rPr>
              <a:t> </a:t>
            </a:r>
            <a:r>
              <a:rPr lang="en-GB" sz="1200" dirty="0" err="1">
                <a:solidFill>
                  <a:schemeClr val="tx1"/>
                </a:solidFill>
                <a:hlinkClick r:id="rId9" action="ppaction://hlinksldjump"/>
              </a:rPr>
              <a:t>estratégicas</a:t>
            </a:r>
            <a:r>
              <a:rPr lang="en-GB" sz="1200" dirty="0">
                <a:solidFill>
                  <a:schemeClr val="tx1"/>
                </a:solidFill>
                <a:hlinkClick r:id="rId9" action="ppaction://hlinksldjump"/>
              </a:rPr>
              <a:t> y </a:t>
            </a:r>
            <a:r>
              <a:rPr lang="en-GB" sz="1200" dirty="0" err="1">
                <a:solidFill>
                  <a:schemeClr val="tx1"/>
                </a:solidFill>
                <a:hlinkClick r:id="rId9" action="ppaction://hlinksldjump"/>
              </a:rPr>
              <a:t>novedades</a:t>
            </a:r>
            <a:r>
              <a:rPr lang="en-GB" sz="1200" dirty="0">
                <a:solidFill>
                  <a:schemeClr val="tx1"/>
                </a:solidFill>
                <a:hlinkClick r:id="rId9" action="ppaction://hlinksldjump"/>
              </a:rPr>
              <a:t> 2023/2024.</a:t>
            </a:r>
            <a:endParaRPr lang="en-GB" sz="1200" dirty="0">
              <a:solidFill>
                <a:schemeClr val="tx1"/>
              </a:solidFill>
            </a:endParaRPr>
          </a:p>
          <a:p>
            <a:pPr marL="0" marR="0" lvl="0" indent="0" algn="l" defTabSz="8001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85000"/>
                  <a:lumOff val="1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EADF6A46-05D7-4144-ADA8-51B41F1A90ED}"/>
              </a:ext>
            </a:extLst>
          </p:cNvPr>
          <p:cNvSpPr/>
          <p:nvPr/>
        </p:nvSpPr>
        <p:spPr>
          <a:xfrm>
            <a:off x="4371554" y="4040754"/>
            <a:ext cx="447688" cy="447688"/>
          </a:xfrm>
          <a:prstGeom prst="ellipse">
            <a:avLst/>
          </a:prstGeom>
          <a:solidFill>
            <a:schemeClr val="tx2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anchor="ctr" anchorCtr="0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dirty="0">
                <a:solidFill>
                  <a:srgbClr val="FFFFFF"/>
                </a:solidFill>
                <a:latin typeface="Calibri"/>
              </a:rPr>
              <a:t>6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08281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9669DA-C5C7-4E53-BAB3-4018D7C8653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9771435-4CD8-4F0B-973A-1D0AAF7D3E4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79505" y="3447246"/>
            <a:ext cx="7958455" cy="723422"/>
          </a:xfrm>
        </p:spPr>
        <p:txBody>
          <a:bodyPr/>
          <a:lstStyle/>
          <a:p>
            <a:r>
              <a:rPr lang="en-GB" dirty="0"/>
              <a:t>COLZA LG: </a:t>
            </a:r>
            <a:r>
              <a:rPr lang="en-GB" sz="2000" dirty="0" err="1"/>
              <a:t>variedades</a:t>
            </a:r>
            <a:r>
              <a:rPr lang="en-GB" sz="2000" dirty="0"/>
              <a:t> </a:t>
            </a:r>
            <a:r>
              <a:rPr lang="en-GB" sz="2000" dirty="0" err="1"/>
              <a:t>estratégicas</a:t>
            </a:r>
            <a:r>
              <a:rPr lang="en-GB" sz="2000" dirty="0"/>
              <a:t> y </a:t>
            </a:r>
            <a:r>
              <a:rPr lang="en-GB" sz="2000" dirty="0" err="1"/>
              <a:t>nuevas</a:t>
            </a:r>
            <a:r>
              <a:rPr lang="en-GB" sz="2000" dirty="0"/>
              <a:t> </a:t>
            </a:r>
            <a:r>
              <a:rPr lang="en-GB" sz="2000" dirty="0" err="1"/>
              <a:t>incorporaciones</a:t>
            </a:r>
            <a:r>
              <a:rPr lang="en-GB" sz="2000" dirty="0"/>
              <a:t> 2023/2024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7074559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01573134-7BBE-7F99-ABB6-621FDC5A15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LG AMBASSADOR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A64E0F55-89B1-B42A-856D-BCAA8193078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 err="1"/>
              <a:t>Variedad</a:t>
            </a:r>
            <a:r>
              <a:rPr lang="en-GB" dirty="0"/>
              <a:t> </a:t>
            </a:r>
            <a:r>
              <a:rPr lang="en-GB" dirty="0" err="1"/>
              <a:t>estratégica</a:t>
            </a:r>
            <a:r>
              <a:rPr lang="en-GB" dirty="0"/>
              <a:t> de LG 2023/2024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D740E51E-EB0D-BFC5-9C5F-6DF55AB4EC6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69251" y="90757"/>
            <a:ext cx="946800" cy="993983"/>
          </a:xfrm>
          <a:prstGeom prst="rect">
            <a:avLst/>
          </a:prstGeom>
        </p:spPr>
      </p:pic>
      <p:grpSp>
        <p:nvGrpSpPr>
          <p:cNvPr id="6" name="Group 9">
            <a:extLst>
              <a:ext uri="{FF2B5EF4-FFF2-40B4-BE49-F238E27FC236}">
                <a16:creationId xmlns:a16="http://schemas.microsoft.com/office/drawing/2014/main" id="{B5FDBFFF-9A8B-E640-2E23-A4E786CABBEF}"/>
              </a:ext>
            </a:extLst>
          </p:cNvPr>
          <p:cNvGrpSpPr/>
          <p:nvPr/>
        </p:nvGrpSpPr>
        <p:grpSpPr>
          <a:xfrm rot="16200000">
            <a:off x="8457754" y="4009197"/>
            <a:ext cx="927501" cy="230656"/>
            <a:chOff x="8766811" y="250670"/>
            <a:chExt cx="1200150" cy="298460"/>
          </a:xfrm>
          <a:solidFill>
            <a:schemeClr val="bg1">
              <a:alpha val="42000"/>
            </a:schemeClr>
          </a:solidFill>
        </p:grpSpPr>
        <p:sp>
          <p:nvSpPr>
            <p:cNvPr id="9" name="Freeform: Shape 5">
              <a:extLst>
                <a:ext uri="{FF2B5EF4-FFF2-40B4-BE49-F238E27FC236}">
                  <a16:creationId xmlns:a16="http://schemas.microsoft.com/office/drawing/2014/main" id="{A785CB26-A4B8-77B5-DF89-8476EF5DB7A2}"/>
                </a:ext>
              </a:extLst>
            </p:cNvPr>
            <p:cNvSpPr/>
            <p:nvPr/>
          </p:nvSpPr>
          <p:spPr>
            <a:xfrm>
              <a:off x="9340947" y="259788"/>
              <a:ext cx="396639" cy="280066"/>
            </a:xfrm>
            <a:custGeom>
              <a:avLst/>
              <a:gdLst>
                <a:gd name="connsiteX0" fmla="*/ 188626 w 578185"/>
                <a:gd name="connsiteY0" fmla="*/ 247351 h 408253"/>
                <a:gd name="connsiteX1" fmla="*/ 209084 w 578185"/>
                <a:gd name="connsiteY1" fmla="*/ 156671 h 408253"/>
                <a:gd name="connsiteX2" fmla="*/ 241634 w 578185"/>
                <a:gd name="connsiteY2" fmla="*/ 10757 h 408253"/>
                <a:gd name="connsiteX3" fmla="*/ 255014 w 578185"/>
                <a:gd name="connsiteY3" fmla="*/ 5 h 408253"/>
                <a:gd name="connsiteX4" fmla="*/ 343468 w 578185"/>
                <a:gd name="connsiteY4" fmla="*/ 86 h 408253"/>
                <a:gd name="connsiteX5" fmla="*/ 356258 w 578185"/>
                <a:gd name="connsiteY5" fmla="*/ 9926 h 408253"/>
                <a:gd name="connsiteX6" fmla="*/ 402000 w 578185"/>
                <a:gd name="connsiteY6" fmla="*/ 237699 h 408253"/>
                <a:gd name="connsiteX7" fmla="*/ 406853 w 578185"/>
                <a:gd name="connsiteY7" fmla="*/ 247646 h 408253"/>
                <a:gd name="connsiteX8" fmla="*/ 443881 w 578185"/>
                <a:gd name="connsiteY8" fmla="*/ 88487 h 408253"/>
                <a:gd name="connsiteX9" fmla="*/ 418275 w 578185"/>
                <a:gd name="connsiteY9" fmla="*/ 64463 h 408253"/>
                <a:gd name="connsiteX10" fmla="*/ 418275 w 578185"/>
                <a:gd name="connsiteY10" fmla="*/ 1132 h 408253"/>
                <a:gd name="connsiteX11" fmla="*/ 578185 w 578185"/>
                <a:gd name="connsiteY11" fmla="*/ 1132 h 408253"/>
                <a:gd name="connsiteX12" fmla="*/ 578185 w 578185"/>
                <a:gd name="connsiteY12" fmla="*/ 65482 h 408253"/>
                <a:gd name="connsiteX13" fmla="*/ 535580 w 578185"/>
                <a:gd name="connsiteY13" fmla="*/ 107309 h 408253"/>
                <a:gd name="connsiteX14" fmla="*/ 450423 w 578185"/>
                <a:gd name="connsiteY14" fmla="*/ 398306 h 408253"/>
                <a:gd name="connsiteX15" fmla="*/ 447072 w 578185"/>
                <a:gd name="connsiteY15" fmla="*/ 408146 h 408253"/>
                <a:gd name="connsiteX16" fmla="*/ 338964 w 578185"/>
                <a:gd name="connsiteY16" fmla="*/ 408146 h 408253"/>
                <a:gd name="connsiteX17" fmla="*/ 289414 w 578185"/>
                <a:gd name="connsiteY17" fmla="*/ 183832 h 408253"/>
                <a:gd name="connsiteX18" fmla="*/ 287189 w 578185"/>
                <a:gd name="connsiteY18" fmla="*/ 183644 h 408253"/>
                <a:gd name="connsiteX19" fmla="*/ 234663 w 578185"/>
                <a:gd name="connsiteY19" fmla="*/ 408253 h 408253"/>
                <a:gd name="connsiteX20" fmla="*/ 124035 w 578185"/>
                <a:gd name="connsiteY20" fmla="*/ 408253 h 408253"/>
                <a:gd name="connsiteX21" fmla="*/ 101941 w 578185"/>
                <a:gd name="connsiteY21" fmla="*/ 325536 h 408253"/>
                <a:gd name="connsiteX22" fmla="*/ 42176 w 578185"/>
                <a:gd name="connsiteY22" fmla="*/ 100874 h 408253"/>
                <a:gd name="connsiteX23" fmla="*/ 0 w 578185"/>
                <a:gd name="connsiteY23" fmla="*/ 66072 h 408253"/>
                <a:gd name="connsiteX24" fmla="*/ 0 w 578185"/>
                <a:gd name="connsiteY24" fmla="*/ 1266 h 408253"/>
                <a:gd name="connsiteX25" fmla="*/ 183880 w 578185"/>
                <a:gd name="connsiteY25" fmla="*/ 1266 h 408253"/>
                <a:gd name="connsiteX26" fmla="*/ 183880 w 578185"/>
                <a:gd name="connsiteY26" fmla="*/ 64650 h 408253"/>
                <a:gd name="connsiteX27" fmla="*/ 157658 w 578185"/>
                <a:gd name="connsiteY27" fmla="*/ 101920 h 408253"/>
                <a:gd name="connsiteX28" fmla="*/ 185677 w 578185"/>
                <a:gd name="connsiteY28" fmla="*/ 247485 h 408253"/>
                <a:gd name="connsiteX29" fmla="*/ 188599 w 578185"/>
                <a:gd name="connsiteY29" fmla="*/ 247351 h 408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78185" h="408253">
                  <a:moveTo>
                    <a:pt x="188626" y="247351"/>
                  </a:moveTo>
                  <a:cubicBezTo>
                    <a:pt x="195436" y="217133"/>
                    <a:pt x="202300" y="186889"/>
                    <a:pt x="209084" y="156671"/>
                  </a:cubicBezTo>
                  <a:cubicBezTo>
                    <a:pt x="219997" y="108033"/>
                    <a:pt x="230883" y="59422"/>
                    <a:pt x="241634" y="10757"/>
                  </a:cubicBezTo>
                  <a:cubicBezTo>
                    <a:pt x="243297" y="3250"/>
                    <a:pt x="246461" y="-155"/>
                    <a:pt x="255014" y="5"/>
                  </a:cubicBezTo>
                  <a:cubicBezTo>
                    <a:pt x="284481" y="595"/>
                    <a:pt x="314001" y="461"/>
                    <a:pt x="343468" y="86"/>
                  </a:cubicBezTo>
                  <a:cubicBezTo>
                    <a:pt x="351056" y="-21"/>
                    <a:pt x="354756" y="2285"/>
                    <a:pt x="356258" y="9926"/>
                  </a:cubicBezTo>
                  <a:cubicBezTo>
                    <a:pt x="371353" y="85886"/>
                    <a:pt x="386690" y="161792"/>
                    <a:pt x="402000" y="237699"/>
                  </a:cubicBezTo>
                  <a:cubicBezTo>
                    <a:pt x="402670" y="241050"/>
                    <a:pt x="403770" y="244321"/>
                    <a:pt x="406853" y="247646"/>
                  </a:cubicBezTo>
                  <a:cubicBezTo>
                    <a:pt x="419240" y="194611"/>
                    <a:pt x="431896" y="141602"/>
                    <a:pt x="443881" y="88487"/>
                  </a:cubicBezTo>
                  <a:cubicBezTo>
                    <a:pt x="447367" y="73043"/>
                    <a:pt x="441843" y="68377"/>
                    <a:pt x="418275" y="64463"/>
                  </a:cubicBezTo>
                  <a:lnTo>
                    <a:pt x="418275" y="1132"/>
                  </a:lnTo>
                  <a:lnTo>
                    <a:pt x="578185" y="1132"/>
                  </a:lnTo>
                  <a:lnTo>
                    <a:pt x="578185" y="65482"/>
                  </a:lnTo>
                  <a:cubicBezTo>
                    <a:pt x="549657" y="64302"/>
                    <a:pt x="542122" y="84626"/>
                    <a:pt x="535580" y="107309"/>
                  </a:cubicBezTo>
                  <a:cubicBezTo>
                    <a:pt x="507534" y="204397"/>
                    <a:pt x="478871" y="301325"/>
                    <a:pt x="450423" y="398306"/>
                  </a:cubicBezTo>
                  <a:cubicBezTo>
                    <a:pt x="449431" y="401657"/>
                    <a:pt x="448171" y="404955"/>
                    <a:pt x="447072" y="408146"/>
                  </a:cubicBezTo>
                  <a:lnTo>
                    <a:pt x="338964" y="408146"/>
                  </a:lnTo>
                  <a:cubicBezTo>
                    <a:pt x="322367" y="333044"/>
                    <a:pt x="305904" y="258425"/>
                    <a:pt x="289414" y="183832"/>
                  </a:cubicBezTo>
                  <a:lnTo>
                    <a:pt x="287189" y="183644"/>
                  </a:lnTo>
                  <a:cubicBezTo>
                    <a:pt x="269707" y="258398"/>
                    <a:pt x="252225" y="333151"/>
                    <a:pt x="234663" y="408253"/>
                  </a:cubicBezTo>
                  <a:lnTo>
                    <a:pt x="124035" y="408253"/>
                  </a:lnTo>
                  <a:cubicBezTo>
                    <a:pt x="116742" y="381012"/>
                    <a:pt x="109315" y="353287"/>
                    <a:pt x="101941" y="325536"/>
                  </a:cubicBezTo>
                  <a:cubicBezTo>
                    <a:pt x="82019" y="250649"/>
                    <a:pt x="62151" y="175735"/>
                    <a:pt x="42176" y="100874"/>
                  </a:cubicBezTo>
                  <a:cubicBezTo>
                    <a:pt x="36519" y="79665"/>
                    <a:pt x="28207" y="61192"/>
                    <a:pt x="0" y="66072"/>
                  </a:cubicBezTo>
                  <a:lnTo>
                    <a:pt x="0" y="1266"/>
                  </a:lnTo>
                  <a:lnTo>
                    <a:pt x="183880" y="1266"/>
                  </a:lnTo>
                  <a:lnTo>
                    <a:pt x="183880" y="64650"/>
                  </a:lnTo>
                  <a:cubicBezTo>
                    <a:pt x="152107" y="68726"/>
                    <a:pt x="151437" y="69691"/>
                    <a:pt x="157658" y="101920"/>
                  </a:cubicBezTo>
                  <a:cubicBezTo>
                    <a:pt x="167015" y="150451"/>
                    <a:pt x="176346" y="198954"/>
                    <a:pt x="185677" y="247485"/>
                  </a:cubicBezTo>
                  <a:lnTo>
                    <a:pt x="188599" y="247351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Freeform: Shape 6">
              <a:extLst>
                <a:ext uri="{FF2B5EF4-FFF2-40B4-BE49-F238E27FC236}">
                  <a16:creationId xmlns:a16="http://schemas.microsoft.com/office/drawing/2014/main" id="{C977912F-8E06-028C-0AE5-7BB8535C95BA}"/>
                </a:ext>
              </a:extLst>
            </p:cNvPr>
            <p:cNvSpPr/>
            <p:nvPr/>
          </p:nvSpPr>
          <p:spPr>
            <a:xfrm>
              <a:off x="8766811" y="259809"/>
              <a:ext cx="277264" cy="283641"/>
            </a:xfrm>
            <a:custGeom>
              <a:avLst/>
              <a:gdLst>
                <a:gd name="connsiteX0" fmla="*/ 0 w 404171"/>
                <a:gd name="connsiteY0" fmla="*/ 407794 h 413465"/>
                <a:gd name="connsiteX1" fmla="*/ 0 w 404171"/>
                <a:gd name="connsiteY1" fmla="*/ 342854 h 413465"/>
                <a:gd name="connsiteX2" fmla="*/ 21879 w 404171"/>
                <a:gd name="connsiteY2" fmla="*/ 341835 h 413465"/>
                <a:gd name="connsiteX3" fmla="*/ 38422 w 404171"/>
                <a:gd name="connsiteY3" fmla="*/ 324970 h 413465"/>
                <a:gd name="connsiteX4" fmla="*/ 38664 w 404171"/>
                <a:gd name="connsiteY4" fmla="*/ 280729 h 413465"/>
                <a:gd name="connsiteX5" fmla="*/ 38664 w 404171"/>
                <a:gd name="connsiteY5" fmla="*/ 99691 h 413465"/>
                <a:gd name="connsiteX6" fmla="*/ 6274 w 404171"/>
                <a:gd name="connsiteY6" fmla="*/ 65773 h 413465"/>
                <a:gd name="connsiteX7" fmla="*/ 134 w 404171"/>
                <a:gd name="connsiteY7" fmla="*/ 65076 h 413465"/>
                <a:gd name="connsiteX8" fmla="*/ 134 w 404171"/>
                <a:gd name="connsiteY8" fmla="*/ 860 h 413465"/>
                <a:gd name="connsiteX9" fmla="*/ 12843 w 404171"/>
                <a:gd name="connsiteY9" fmla="*/ 190 h 413465"/>
                <a:gd name="connsiteX10" fmla="*/ 156263 w 404171"/>
                <a:gd name="connsiteY10" fmla="*/ 2 h 413465"/>
                <a:gd name="connsiteX11" fmla="*/ 173852 w 404171"/>
                <a:gd name="connsiteY11" fmla="*/ 11961 h 413465"/>
                <a:gd name="connsiteX12" fmla="*/ 265605 w 404171"/>
                <a:gd name="connsiteY12" fmla="*/ 219811 h 413465"/>
                <a:gd name="connsiteX13" fmla="*/ 273675 w 404171"/>
                <a:gd name="connsiteY13" fmla="*/ 231260 h 413465"/>
                <a:gd name="connsiteX14" fmla="*/ 273675 w 404171"/>
                <a:gd name="connsiteY14" fmla="*/ 204153 h 413465"/>
                <a:gd name="connsiteX15" fmla="*/ 273675 w 404171"/>
                <a:gd name="connsiteY15" fmla="*/ 103579 h 413465"/>
                <a:gd name="connsiteX16" fmla="*/ 237103 w 404171"/>
                <a:gd name="connsiteY16" fmla="*/ 65130 h 413465"/>
                <a:gd name="connsiteX17" fmla="*/ 237103 w 404171"/>
                <a:gd name="connsiteY17" fmla="*/ 941 h 413465"/>
                <a:gd name="connsiteX18" fmla="*/ 404172 w 404171"/>
                <a:gd name="connsiteY18" fmla="*/ 941 h 413465"/>
                <a:gd name="connsiteX19" fmla="*/ 404172 w 404171"/>
                <a:gd name="connsiteY19" fmla="*/ 64245 h 413465"/>
                <a:gd name="connsiteX20" fmla="*/ 401759 w 404171"/>
                <a:gd name="connsiteY20" fmla="*/ 65398 h 413465"/>
                <a:gd name="connsiteX21" fmla="*/ 365374 w 404171"/>
                <a:gd name="connsiteY21" fmla="*/ 103445 h 413465"/>
                <a:gd name="connsiteX22" fmla="*/ 365508 w 404171"/>
                <a:gd name="connsiteY22" fmla="*/ 394441 h 413465"/>
                <a:gd name="connsiteX23" fmla="*/ 365508 w 404171"/>
                <a:gd name="connsiteY23" fmla="*/ 412004 h 413465"/>
                <a:gd name="connsiteX24" fmla="*/ 299201 w 404171"/>
                <a:gd name="connsiteY24" fmla="*/ 411977 h 413465"/>
                <a:gd name="connsiteX25" fmla="*/ 254665 w 404171"/>
                <a:gd name="connsiteY25" fmla="*/ 409698 h 413465"/>
                <a:gd name="connsiteX26" fmla="*/ 233752 w 404171"/>
                <a:gd name="connsiteY26" fmla="*/ 370498 h 413465"/>
                <a:gd name="connsiteX27" fmla="*/ 139613 w 404171"/>
                <a:gd name="connsiteY27" fmla="*/ 170986 h 413465"/>
                <a:gd name="connsiteX28" fmla="*/ 131569 w 404171"/>
                <a:gd name="connsiteY28" fmla="*/ 160019 h 413465"/>
                <a:gd name="connsiteX29" fmla="*/ 131569 w 404171"/>
                <a:gd name="connsiteY29" fmla="*/ 206191 h 413465"/>
                <a:gd name="connsiteX30" fmla="*/ 131489 w 404171"/>
                <a:gd name="connsiteY30" fmla="*/ 314808 h 413465"/>
                <a:gd name="connsiteX31" fmla="*/ 158355 w 404171"/>
                <a:gd name="connsiteY31" fmla="*/ 342211 h 413465"/>
                <a:gd name="connsiteX32" fmla="*/ 169830 w 404171"/>
                <a:gd name="connsiteY32" fmla="*/ 342211 h 413465"/>
                <a:gd name="connsiteX33" fmla="*/ 169830 w 404171"/>
                <a:gd name="connsiteY33" fmla="*/ 407740 h 413465"/>
                <a:gd name="connsiteX34" fmla="*/ 0 w 404171"/>
                <a:gd name="connsiteY34" fmla="*/ 407740 h 41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404171" h="413465">
                  <a:moveTo>
                    <a:pt x="0" y="407794"/>
                  </a:moveTo>
                  <a:lnTo>
                    <a:pt x="0" y="342854"/>
                  </a:lnTo>
                  <a:cubicBezTo>
                    <a:pt x="7776" y="342506"/>
                    <a:pt x="14827" y="342184"/>
                    <a:pt x="21879" y="341835"/>
                  </a:cubicBezTo>
                  <a:cubicBezTo>
                    <a:pt x="32550" y="341299"/>
                    <a:pt x="38342" y="335910"/>
                    <a:pt x="38422" y="324970"/>
                  </a:cubicBezTo>
                  <a:cubicBezTo>
                    <a:pt x="38530" y="310223"/>
                    <a:pt x="38664" y="295476"/>
                    <a:pt x="38664" y="280729"/>
                  </a:cubicBezTo>
                  <a:cubicBezTo>
                    <a:pt x="38664" y="220374"/>
                    <a:pt x="38664" y="160046"/>
                    <a:pt x="38664" y="99691"/>
                  </a:cubicBezTo>
                  <a:cubicBezTo>
                    <a:pt x="38664" y="69581"/>
                    <a:pt x="36197" y="67034"/>
                    <a:pt x="6274" y="65773"/>
                  </a:cubicBezTo>
                  <a:cubicBezTo>
                    <a:pt x="4531" y="65693"/>
                    <a:pt x="2789" y="65371"/>
                    <a:pt x="134" y="65076"/>
                  </a:cubicBezTo>
                  <a:lnTo>
                    <a:pt x="134" y="860"/>
                  </a:lnTo>
                  <a:cubicBezTo>
                    <a:pt x="4317" y="619"/>
                    <a:pt x="8580" y="190"/>
                    <a:pt x="12843" y="190"/>
                  </a:cubicBezTo>
                  <a:cubicBezTo>
                    <a:pt x="60650" y="190"/>
                    <a:pt x="108457" y="565"/>
                    <a:pt x="156263" y="2"/>
                  </a:cubicBezTo>
                  <a:cubicBezTo>
                    <a:pt x="166077" y="-105"/>
                    <a:pt x="170233" y="3649"/>
                    <a:pt x="173852" y="11961"/>
                  </a:cubicBezTo>
                  <a:cubicBezTo>
                    <a:pt x="204231" y="81351"/>
                    <a:pt x="234958" y="150555"/>
                    <a:pt x="265605" y="219811"/>
                  </a:cubicBezTo>
                  <a:cubicBezTo>
                    <a:pt x="267348" y="223753"/>
                    <a:pt x="269251" y="227641"/>
                    <a:pt x="273675" y="231260"/>
                  </a:cubicBezTo>
                  <a:cubicBezTo>
                    <a:pt x="273675" y="222224"/>
                    <a:pt x="273675" y="213189"/>
                    <a:pt x="273675" y="204153"/>
                  </a:cubicBezTo>
                  <a:cubicBezTo>
                    <a:pt x="273675" y="170637"/>
                    <a:pt x="273675" y="137095"/>
                    <a:pt x="273675" y="103579"/>
                  </a:cubicBezTo>
                  <a:cubicBezTo>
                    <a:pt x="273675" y="69152"/>
                    <a:pt x="272388" y="67784"/>
                    <a:pt x="237103" y="65130"/>
                  </a:cubicBezTo>
                  <a:lnTo>
                    <a:pt x="237103" y="941"/>
                  </a:lnTo>
                  <a:lnTo>
                    <a:pt x="404172" y="941"/>
                  </a:lnTo>
                  <a:lnTo>
                    <a:pt x="404172" y="64245"/>
                  </a:lnTo>
                  <a:cubicBezTo>
                    <a:pt x="403260" y="64701"/>
                    <a:pt x="402536" y="65344"/>
                    <a:pt x="401759" y="65398"/>
                  </a:cubicBezTo>
                  <a:cubicBezTo>
                    <a:pt x="365991" y="67168"/>
                    <a:pt x="365347" y="67838"/>
                    <a:pt x="365374" y="103445"/>
                  </a:cubicBezTo>
                  <a:cubicBezTo>
                    <a:pt x="365428" y="200453"/>
                    <a:pt x="365481" y="297434"/>
                    <a:pt x="365508" y="394441"/>
                  </a:cubicBezTo>
                  <a:cubicBezTo>
                    <a:pt x="365508" y="399723"/>
                    <a:pt x="365508" y="404979"/>
                    <a:pt x="365508" y="412004"/>
                  </a:cubicBezTo>
                  <a:cubicBezTo>
                    <a:pt x="342637" y="412004"/>
                    <a:pt x="320919" y="412111"/>
                    <a:pt x="299201" y="411977"/>
                  </a:cubicBezTo>
                  <a:cubicBezTo>
                    <a:pt x="284052" y="411870"/>
                    <a:pt x="265632" y="416615"/>
                    <a:pt x="254665" y="409698"/>
                  </a:cubicBezTo>
                  <a:cubicBezTo>
                    <a:pt x="243779" y="402834"/>
                    <a:pt x="240187" y="384145"/>
                    <a:pt x="233752" y="370498"/>
                  </a:cubicBezTo>
                  <a:cubicBezTo>
                    <a:pt x="202327" y="304030"/>
                    <a:pt x="171010" y="237481"/>
                    <a:pt x="139613" y="170986"/>
                  </a:cubicBezTo>
                  <a:cubicBezTo>
                    <a:pt x="137790" y="167125"/>
                    <a:pt x="135725" y="163398"/>
                    <a:pt x="131569" y="160019"/>
                  </a:cubicBezTo>
                  <a:cubicBezTo>
                    <a:pt x="131569" y="175410"/>
                    <a:pt x="131569" y="190800"/>
                    <a:pt x="131569" y="206191"/>
                  </a:cubicBezTo>
                  <a:cubicBezTo>
                    <a:pt x="131542" y="242388"/>
                    <a:pt x="131462" y="278611"/>
                    <a:pt x="131489" y="314808"/>
                  </a:cubicBezTo>
                  <a:cubicBezTo>
                    <a:pt x="131489" y="338618"/>
                    <a:pt x="134706" y="341835"/>
                    <a:pt x="158355" y="342211"/>
                  </a:cubicBezTo>
                  <a:cubicBezTo>
                    <a:pt x="161894" y="342264"/>
                    <a:pt x="165406" y="342211"/>
                    <a:pt x="169830" y="342211"/>
                  </a:cubicBezTo>
                  <a:lnTo>
                    <a:pt x="169830" y="407740"/>
                  </a:lnTo>
                  <a:lnTo>
                    <a:pt x="0" y="40774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: Shape 7">
              <a:extLst>
                <a:ext uri="{FF2B5EF4-FFF2-40B4-BE49-F238E27FC236}">
                  <a16:creationId xmlns:a16="http://schemas.microsoft.com/office/drawing/2014/main" id="{105EBCAE-19AD-EECA-771E-4545DA0F9D2D}"/>
                </a:ext>
              </a:extLst>
            </p:cNvPr>
            <p:cNvSpPr/>
            <p:nvPr/>
          </p:nvSpPr>
          <p:spPr>
            <a:xfrm>
              <a:off x="9085608" y="260399"/>
              <a:ext cx="223758" cy="279344"/>
            </a:xfrm>
            <a:custGeom>
              <a:avLst/>
              <a:gdLst>
                <a:gd name="connsiteX0" fmla="*/ 27 w 326174"/>
                <a:gd name="connsiteY0" fmla="*/ 0 h 407201"/>
                <a:gd name="connsiteX1" fmla="*/ 319981 w 326174"/>
                <a:gd name="connsiteY1" fmla="*/ 0 h 407201"/>
                <a:gd name="connsiteX2" fmla="*/ 319981 w 326174"/>
                <a:gd name="connsiteY2" fmla="*/ 119879 h 407201"/>
                <a:gd name="connsiteX3" fmla="*/ 235628 w 326174"/>
                <a:gd name="connsiteY3" fmla="*/ 119879 h 407201"/>
                <a:gd name="connsiteX4" fmla="*/ 235682 w 326174"/>
                <a:gd name="connsiteY4" fmla="*/ 98429 h 407201"/>
                <a:gd name="connsiteX5" fmla="*/ 218656 w 326174"/>
                <a:gd name="connsiteY5" fmla="*/ 78936 h 407201"/>
                <a:gd name="connsiteX6" fmla="*/ 152670 w 326174"/>
                <a:gd name="connsiteY6" fmla="*/ 78722 h 407201"/>
                <a:gd name="connsiteX7" fmla="*/ 152670 w 326174"/>
                <a:gd name="connsiteY7" fmla="*/ 156210 h 407201"/>
                <a:gd name="connsiteX8" fmla="*/ 271638 w 326174"/>
                <a:gd name="connsiteY8" fmla="*/ 156210 h 407201"/>
                <a:gd name="connsiteX9" fmla="*/ 271638 w 326174"/>
                <a:gd name="connsiteY9" fmla="*/ 238980 h 407201"/>
                <a:gd name="connsiteX10" fmla="*/ 152858 w 326174"/>
                <a:gd name="connsiteY10" fmla="*/ 238980 h 407201"/>
                <a:gd name="connsiteX11" fmla="*/ 152858 w 326174"/>
                <a:gd name="connsiteY11" fmla="*/ 327542 h 407201"/>
                <a:gd name="connsiteX12" fmla="*/ 227933 w 326174"/>
                <a:gd name="connsiteY12" fmla="*/ 327354 h 407201"/>
                <a:gd name="connsiteX13" fmla="*/ 243163 w 326174"/>
                <a:gd name="connsiteY13" fmla="*/ 308800 h 407201"/>
                <a:gd name="connsiteX14" fmla="*/ 243243 w 326174"/>
                <a:gd name="connsiteY14" fmla="*/ 282685 h 407201"/>
                <a:gd name="connsiteX15" fmla="*/ 326174 w 326174"/>
                <a:gd name="connsiteY15" fmla="*/ 282685 h 407201"/>
                <a:gd name="connsiteX16" fmla="*/ 326174 w 326174"/>
                <a:gd name="connsiteY16" fmla="*/ 407202 h 407201"/>
                <a:gd name="connsiteX17" fmla="*/ 0 w 326174"/>
                <a:gd name="connsiteY17" fmla="*/ 407202 h 407201"/>
                <a:gd name="connsiteX18" fmla="*/ 0 w 326174"/>
                <a:gd name="connsiteY18" fmla="*/ 341216 h 407201"/>
                <a:gd name="connsiteX19" fmla="*/ 17991 w 326174"/>
                <a:gd name="connsiteY19" fmla="*/ 341163 h 407201"/>
                <a:gd name="connsiteX20" fmla="*/ 37001 w 326174"/>
                <a:gd name="connsiteY20" fmla="*/ 321831 h 407201"/>
                <a:gd name="connsiteX21" fmla="*/ 37109 w 326174"/>
                <a:gd name="connsiteY21" fmla="*/ 198493 h 407201"/>
                <a:gd name="connsiteX22" fmla="*/ 37109 w 326174"/>
                <a:gd name="connsiteY22" fmla="*/ 92584 h 407201"/>
                <a:gd name="connsiteX23" fmla="*/ 10216 w 326174"/>
                <a:gd name="connsiteY23" fmla="*/ 64860 h 407201"/>
                <a:gd name="connsiteX24" fmla="*/ 27 w 326174"/>
                <a:gd name="connsiteY24" fmla="*/ 64404 h 407201"/>
                <a:gd name="connsiteX25" fmla="*/ 27 w 326174"/>
                <a:gd name="connsiteY25" fmla="*/ 0 h 407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26174" h="407201">
                  <a:moveTo>
                    <a:pt x="27" y="0"/>
                  </a:moveTo>
                  <a:lnTo>
                    <a:pt x="319981" y="0"/>
                  </a:lnTo>
                  <a:lnTo>
                    <a:pt x="319981" y="119879"/>
                  </a:lnTo>
                  <a:lnTo>
                    <a:pt x="235628" y="119879"/>
                  </a:lnTo>
                  <a:cubicBezTo>
                    <a:pt x="235628" y="112479"/>
                    <a:pt x="235333" y="105427"/>
                    <a:pt x="235682" y="98429"/>
                  </a:cubicBezTo>
                  <a:cubicBezTo>
                    <a:pt x="236272" y="86283"/>
                    <a:pt x="230185" y="79311"/>
                    <a:pt x="218656" y="78936"/>
                  </a:cubicBezTo>
                  <a:cubicBezTo>
                    <a:pt x="196911" y="78239"/>
                    <a:pt x="175139" y="78722"/>
                    <a:pt x="152670" y="78722"/>
                  </a:cubicBezTo>
                  <a:lnTo>
                    <a:pt x="152670" y="156210"/>
                  </a:lnTo>
                  <a:lnTo>
                    <a:pt x="271638" y="156210"/>
                  </a:lnTo>
                  <a:lnTo>
                    <a:pt x="271638" y="238980"/>
                  </a:lnTo>
                  <a:lnTo>
                    <a:pt x="152858" y="238980"/>
                  </a:lnTo>
                  <a:lnTo>
                    <a:pt x="152858" y="327542"/>
                  </a:lnTo>
                  <a:cubicBezTo>
                    <a:pt x="178196" y="327542"/>
                    <a:pt x="203078" y="327944"/>
                    <a:pt x="227933" y="327354"/>
                  </a:cubicBezTo>
                  <a:cubicBezTo>
                    <a:pt x="239007" y="327086"/>
                    <a:pt x="242680" y="318560"/>
                    <a:pt x="243163" y="308800"/>
                  </a:cubicBezTo>
                  <a:cubicBezTo>
                    <a:pt x="243565" y="300408"/>
                    <a:pt x="243243" y="291962"/>
                    <a:pt x="243243" y="282685"/>
                  </a:cubicBezTo>
                  <a:lnTo>
                    <a:pt x="326174" y="282685"/>
                  </a:lnTo>
                  <a:lnTo>
                    <a:pt x="326174" y="407202"/>
                  </a:lnTo>
                  <a:lnTo>
                    <a:pt x="0" y="407202"/>
                  </a:lnTo>
                  <a:lnTo>
                    <a:pt x="0" y="341216"/>
                  </a:lnTo>
                  <a:cubicBezTo>
                    <a:pt x="5872" y="341216"/>
                    <a:pt x="11932" y="341431"/>
                    <a:pt x="17991" y="341163"/>
                  </a:cubicBezTo>
                  <a:cubicBezTo>
                    <a:pt x="33301" y="340519"/>
                    <a:pt x="36948" y="337007"/>
                    <a:pt x="37001" y="321831"/>
                  </a:cubicBezTo>
                  <a:cubicBezTo>
                    <a:pt x="37162" y="280727"/>
                    <a:pt x="37082" y="239624"/>
                    <a:pt x="37109" y="198493"/>
                  </a:cubicBezTo>
                  <a:cubicBezTo>
                    <a:pt x="37109" y="163181"/>
                    <a:pt x="37109" y="127896"/>
                    <a:pt x="37109" y="92584"/>
                  </a:cubicBezTo>
                  <a:cubicBezTo>
                    <a:pt x="37109" y="69015"/>
                    <a:pt x="33650" y="65503"/>
                    <a:pt x="10216" y="64860"/>
                  </a:cubicBezTo>
                  <a:cubicBezTo>
                    <a:pt x="7132" y="64779"/>
                    <a:pt x="4049" y="64591"/>
                    <a:pt x="27" y="64404"/>
                  </a:cubicBezTo>
                  <a:lnTo>
                    <a:pt x="27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: Shape 8">
              <a:extLst>
                <a:ext uri="{FF2B5EF4-FFF2-40B4-BE49-F238E27FC236}">
                  <a16:creationId xmlns:a16="http://schemas.microsoft.com/office/drawing/2014/main" id="{2CBC63DA-14ED-6616-5826-6DE2BE86EF6F}"/>
                </a:ext>
              </a:extLst>
            </p:cNvPr>
            <p:cNvSpPr/>
            <p:nvPr/>
          </p:nvSpPr>
          <p:spPr>
            <a:xfrm>
              <a:off x="9761971" y="250670"/>
              <a:ext cx="204990" cy="298460"/>
            </a:xfrm>
            <a:custGeom>
              <a:avLst/>
              <a:gdLst>
                <a:gd name="connsiteX0" fmla="*/ 248 w 298816"/>
                <a:gd name="connsiteY0" fmla="*/ 286088 h 435066"/>
                <a:gd name="connsiteX1" fmla="*/ 91304 w 298816"/>
                <a:gd name="connsiteY1" fmla="*/ 286088 h 435066"/>
                <a:gd name="connsiteX2" fmla="*/ 91357 w 298816"/>
                <a:gd name="connsiteY2" fmla="*/ 318049 h 435066"/>
                <a:gd name="connsiteX3" fmla="*/ 163242 w 298816"/>
                <a:gd name="connsiteY3" fmla="*/ 359742 h 435066"/>
                <a:gd name="connsiteX4" fmla="*/ 170159 w 298816"/>
                <a:gd name="connsiteY4" fmla="*/ 288662 h 435066"/>
                <a:gd name="connsiteX5" fmla="*/ 124551 w 298816"/>
                <a:gd name="connsiteY5" fmla="*/ 258418 h 435066"/>
                <a:gd name="connsiteX6" fmla="*/ 55455 w 298816"/>
                <a:gd name="connsiteY6" fmla="*/ 215089 h 435066"/>
                <a:gd name="connsiteX7" fmla="*/ 543 w 298816"/>
                <a:gd name="connsiteY7" fmla="*/ 124221 h 435066"/>
                <a:gd name="connsiteX8" fmla="*/ 99240 w 298816"/>
                <a:gd name="connsiteY8" fmla="*/ 4074 h 435066"/>
                <a:gd name="connsiteX9" fmla="*/ 267891 w 298816"/>
                <a:gd name="connsiteY9" fmla="*/ 20430 h 435066"/>
                <a:gd name="connsiteX10" fmla="*/ 278509 w 298816"/>
                <a:gd name="connsiteY10" fmla="*/ 31021 h 435066"/>
                <a:gd name="connsiteX11" fmla="*/ 278991 w 298816"/>
                <a:gd name="connsiteY11" fmla="*/ 136501 h 435066"/>
                <a:gd name="connsiteX12" fmla="*/ 191153 w 298816"/>
                <a:gd name="connsiteY12" fmla="*/ 136501 h 435066"/>
                <a:gd name="connsiteX13" fmla="*/ 191019 w 298816"/>
                <a:gd name="connsiteY13" fmla="*/ 100706 h 435066"/>
                <a:gd name="connsiteX14" fmla="*/ 161928 w 298816"/>
                <a:gd name="connsiteY14" fmla="*/ 65796 h 435066"/>
                <a:gd name="connsiteX15" fmla="*/ 113933 w 298816"/>
                <a:gd name="connsiteY15" fmla="*/ 83493 h 435066"/>
                <a:gd name="connsiteX16" fmla="*/ 122165 w 298816"/>
                <a:gd name="connsiteY16" fmla="*/ 131648 h 435066"/>
                <a:gd name="connsiteX17" fmla="*/ 172438 w 298816"/>
                <a:gd name="connsiteY17" fmla="*/ 164386 h 435066"/>
                <a:gd name="connsiteX18" fmla="*/ 246360 w 298816"/>
                <a:gd name="connsiteY18" fmla="*/ 207447 h 435066"/>
                <a:gd name="connsiteX19" fmla="*/ 294945 w 298816"/>
                <a:gd name="connsiteY19" fmla="*/ 337836 h 435066"/>
                <a:gd name="connsiteX20" fmla="*/ 194746 w 298816"/>
                <a:gd name="connsiteY20" fmla="*/ 430259 h 435066"/>
                <a:gd name="connsiteX21" fmla="*/ 12448 w 298816"/>
                <a:gd name="connsiteY21" fmla="*/ 415432 h 435066"/>
                <a:gd name="connsiteX22" fmla="*/ 7 w 298816"/>
                <a:gd name="connsiteY22" fmla="*/ 398915 h 435066"/>
                <a:gd name="connsiteX23" fmla="*/ 275 w 298816"/>
                <a:gd name="connsiteY23" fmla="*/ 286088 h 4350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98816" h="435066">
                  <a:moveTo>
                    <a:pt x="248" y="286088"/>
                  </a:moveTo>
                  <a:lnTo>
                    <a:pt x="91304" y="286088"/>
                  </a:lnTo>
                  <a:cubicBezTo>
                    <a:pt x="91304" y="296921"/>
                    <a:pt x="90982" y="307485"/>
                    <a:pt x="91357" y="318049"/>
                  </a:cubicBezTo>
                  <a:cubicBezTo>
                    <a:pt x="92725" y="356283"/>
                    <a:pt x="129351" y="377439"/>
                    <a:pt x="163242" y="359742"/>
                  </a:cubicBezTo>
                  <a:cubicBezTo>
                    <a:pt x="188070" y="346765"/>
                    <a:pt x="192682" y="307994"/>
                    <a:pt x="170159" y="288662"/>
                  </a:cubicBezTo>
                  <a:cubicBezTo>
                    <a:pt x="156431" y="276865"/>
                    <a:pt x="139995" y="268151"/>
                    <a:pt x="124551" y="258418"/>
                  </a:cubicBezTo>
                  <a:cubicBezTo>
                    <a:pt x="101546" y="243912"/>
                    <a:pt x="77388" y="231015"/>
                    <a:pt x="55455" y="215089"/>
                  </a:cubicBezTo>
                  <a:cubicBezTo>
                    <a:pt x="24808" y="192834"/>
                    <a:pt x="2903" y="163823"/>
                    <a:pt x="543" y="124221"/>
                  </a:cubicBezTo>
                  <a:cubicBezTo>
                    <a:pt x="-3103" y="63142"/>
                    <a:pt x="37437" y="13405"/>
                    <a:pt x="99240" y="4074"/>
                  </a:cubicBezTo>
                  <a:cubicBezTo>
                    <a:pt x="156646" y="-4613"/>
                    <a:pt x="213140" y="481"/>
                    <a:pt x="267891" y="20430"/>
                  </a:cubicBezTo>
                  <a:cubicBezTo>
                    <a:pt x="272288" y="22038"/>
                    <a:pt x="278428" y="27321"/>
                    <a:pt x="278509" y="31021"/>
                  </a:cubicBezTo>
                  <a:cubicBezTo>
                    <a:pt x="279313" y="65823"/>
                    <a:pt x="278991" y="100653"/>
                    <a:pt x="278991" y="136501"/>
                  </a:cubicBezTo>
                  <a:lnTo>
                    <a:pt x="191153" y="136501"/>
                  </a:lnTo>
                  <a:cubicBezTo>
                    <a:pt x="191153" y="124543"/>
                    <a:pt x="191797" y="112584"/>
                    <a:pt x="191019" y="100706"/>
                  </a:cubicBezTo>
                  <a:cubicBezTo>
                    <a:pt x="189679" y="80677"/>
                    <a:pt x="179678" y="69202"/>
                    <a:pt x="161928" y="65796"/>
                  </a:cubicBezTo>
                  <a:cubicBezTo>
                    <a:pt x="140317" y="61641"/>
                    <a:pt x="122138" y="68370"/>
                    <a:pt x="113933" y="83493"/>
                  </a:cubicBezTo>
                  <a:cubicBezTo>
                    <a:pt x="104281" y="101323"/>
                    <a:pt x="105809" y="118349"/>
                    <a:pt x="122165" y="131648"/>
                  </a:cubicBezTo>
                  <a:cubicBezTo>
                    <a:pt x="137582" y="144196"/>
                    <a:pt x="155251" y="154117"/>
                    <a:pt x="172438" y="164386"/>
                  </a:cubicBezTo>
                  <a:cubicBezTo>
                    <a:pt x="196918" y="179026"/>
                    <a:pt x="222765" y="191547"/>
                    <a:pt x="246360" y="207447"/>
                  </a:cubicBezTo>
                  <a:cubicBezTo>
                    <a:pt x="290601" y="237236"/>
                    <a:pt x="307091" y="283863"/>
                    <a:pt x="294945" y="337836"/>
                  </a:cubicBezTo>
                  <a:cubicBezTo>
                    <a:pt x="284300" y="385161"/>
                    <a:pt x="244081" y="422081"/>
                    <a:pt x="194746" y="430259"/>
                  </a:cubicBezTo>
                  <a:cubicBezTo>
                    <a:pt x="132702" y="440555"/>
                    <a:pt x="72186" y="433718"/>
                    <a:pt x="12448" y="415432"/>
                  </a:cubicBezTo>
                  <a:cubicBezTo>
                    <a:pt x="3439" y="412670"/>
                    <a:pt x="-181" y="408970"/>
                    <a:pt x="7" y="398915"/>
                  </a:cubicBezTo>
                  <a:cubicBezTo>
                    <a:pt x="704" y="361834"/>
                    <a:pt x="275" y="324752"/>
                    <a:pt x="275" y="286088"/>
                  </a:cubicBezTo>
                  <a:close/>
                </a:path>
              </a:pathLst>
            </a:custGeom>
            <a:grpFill/>
            <a:ln w="254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17" name="Marcador de contenido 5">
            <a:extLst>
              <a:ext uri="{FF2B5EF4-FFF2-40B4-BE49-F238E27FC236}">
                <a16:creationId xmlns:a16="http://schemas.microsoft.com/office/drawing/2014/main" id="{6592A119-90EF-81A2-1DEF-D597BBB8914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17745" y="90757"/>
            <a:ext cx="746791" cy="1440000"/>
          </a:xfrm>
          <a:prstGeom prst="rect">
            <a:avLst/>
          </a:prstGeom>
        </p:spPr>
      </p:pic>
      <p:sp>
        <p:nvSpPr>
          <p:cNvPr id="15" name="Textfeld 4">
            <a:extLst>
              <a:ext uri="{FF2B5EF4-FFF2-40B4-BE49-F238E27FC236}">
                <a16:creationId xmlns:a16="http://schemas.microsoft.com/office/drawing/2014/main" id="{B654AE74-6BE3-7A08-D16E-E3FD3EF418DA}"/>
              </a:ext>
            </a:extLst>
          </p:cNvPr>
          <p:cNvSpPr txBox="1"/>
          <p:nvPr/>
        </p:nvSpPr>
        <p:spPr>
          <a:xfrm>
            <a:off x="7164729" y="4553950"/>
            <a:ext cx="1555844" cy="307073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rmAutofit/>
          </a:bodyPr>
          <a:lstStyle/>
          <a:p>
            <a:pPr algn="r"/>
            <a:r>
              <a:rPr lang="en-GB" sz="600" dirty="0">
                <a:solidFill>
                  <a:srgbClr val="77777A"/>
                </a:solidFill>
              </a:rPr>
              <a:t>*</a:t>
            </a:r>
            <a:r>
              <a:rPr lang="en-GB" sz="600" dirty="0" err="1">
                <a:solidFill>
                  <a:srgbClr val="77777A"/>
                </a:solidFill>
              </a:rPr>
              <a:t>Kynetec</a:t>
            </a:r>
            <a:r>
              <a:rPr lang="en-GB" sz="600" dirty="0">
                <a:solidFill>
                  <a:srgbClr val="77777A"/>
                </a:solidFill>
              </a:rPr>
              <a:t> WOSR panel 22/23 </a:t>
            </a:r>
          </a:p>
        </p:txBody>
      </p:sp>
      <p:graphicFrame>
        <p:nvGraphicFramePr>
          <p:cNvPr id="2" name="Espace réservé du contenu 4">
            <a:extLst>
              <a:ext uri="{FF2B5EF4-FFF2-40B4-BE49-F238E27FC236}">
                <a16:creationId xmlns:a16="http://schemas.microsoft.com/office/drawing/2014/main" id="{8C0BD8C4-00BB-57A8-293C-C63963D6FEA1}"/>
              </a:ext>
            </a:extLst>
          </p:cNvPr>
          <p:cNvGraphicFramePr>
            <a:graphicFrameLocks noChangeAspect="1"/>
          </p:cNvGraphicFramePr>
          <p:nvPr/>
        </p:nvGraphicFramePr>
        <p:xfrm>
          <a:off x="312335" y="1261179"/>
          <a:ext cx="2496000" cy="3292763"/>
        </p:xfrm>
        <a:graphic>
          <a:graphicData uri="http://schemas.openxmlformats.org/drawingml/2006/table">
            <a:tbl>
              <a:tblPr firstRow="1" bandRow="1">
                <a:effectLst>
                  <a:outerShdw blurRad="127000" sx="108000" sy="108000" algn="ctr" rotWithShape="0">
                    <a:schemeClr val="bg1">
                      <a:lumMod val="50000"/>
                      <a:alpha val="94000"/>
                    </a:schemeClr>
                  </a:outerShdw>
                </a:effectLst>
                <a:tableStyleId>{5C22544A-7EE6-4342-B048-85BDC9FD1C3A}</a:tableStyleId>
              </a:tblPr>
              <a:tblGrid>
                <a:gridCol w="2496000">
                  <a:extLst>
                    <a:ext uri="{9D8B030D-6E8A-4147-A177-3AD203B41FA5}">
                      <a16:colId xmlns:a16="http://schemas.microsoft.com/office/drawing/2014/main" val="1309591547"/>
                    </a:ext>
                  </a:extLst>
                </a:gridCol>
              </a:tblGrid>
              <a:tr h="292704">
                <a:tc>
                  <a:txBody>
                    <a:bodyPr/>
                    <a:lstStyle/>
                    <a:p>
                      <a:pPr algn="ctr"/>
                      <a:r>
                        <a:rPr lang="fr-FR" sz="1400" dirty="0">
                          <a:solidFill>
                            <a:srgbClr val="E3002C"/>
                          </a:solidFill>
                        </a:rPr>
                        <a:t>LG AMBASSADOR</a:t>
                      </a:r>
                    </a:p>
                  </a:txBody>
                  <a:tcPr marL="79248" marR="79248" marT="39466" marB="39466"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18707566"/>
                  </a:ext>
                </a:extLst>
              </a:tr>
              <a:tr h="292704"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b="0" dirty="0" err="1">
                          <a:solidFill>
                            <a:schemeClr val="tx1"/>
                          </a:solidFill>
                        </a:rPr>
                        <a:t>Desarrollo</a:t>
                      </a:r>
                      <a:r>
                        <a:rPr lang="fr-FR" sz="1400" b="0" dirty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marL="79248" marR="79248" marT="39466" marB="39466"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5707041"/>
                  </a:ext>
                </a:extLst>
              </a:tr>
              <a:tr h="292704">
                <a:tc>
                  <a:txBody>
                    <a:bodyPr/>
                    <a:lstStyle/>
                    <a:p>
                      <a:pPr algn="ctr" defTabSz="457189" rtl="0" eaLnBrk="1" latinLnBrk="0" hangingPunct="1"/>
                      <a:r>
                        <a:rPr lang="es-ES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íbrido de gran éxito europeo</a:t>
                      </a:r>
                      <a:endParaRPr lang="fr-FR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9248" marR="79248" marT="39466" marB="39466"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4082495"/>
                  </a:ext>
                </a:extLst>
              </a:tr>
              <a:tr h="292704"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fr-FR" sz="1400" b="1" dirty="0">
                          <a:solidFill>
                            <a:schemeClr val="tx1"/>
                          </a:solidFill>
                        </a:rPr>
                        <a:t>Medio/Medio-</a:t>
                      </a:r>
                      <a:r>
                        <a:rPr lang="fr-FR" sz="1400" b="1" dirty="0" err="1">
                          <a:solidFill>
                            <a:schemeClr val="tx1"/>
                          </a:solidFill>
                        </a:rPr>
                        <a:t>Precoz</a:t>
                      </a:r>
                      <a:r>
                        <a:rPr lang="fr-FR" sz="1400" b="1" dirty="0">
                          <a:solidFill>
                            <a:schemeClr val="tx1"/>
                          </a:solidFill>
                        </a:rPr>
                        <a:t>, </a:t>
                      </a:r>
                      <a:r>
                        <a:rPr lang="fr-FR" sz="1400" b="1" dirty="0" err="1">
                          <a:solidFill>
                            <a:schemeClr val="tx1"/>
                          </a:solidFill>
                        </a:rPr>
                        <a:t>Rto</a:t>
                      </a:r>
                      <a:r>
                        <a:rPr lang="fr-FR" sz="1400" b="1" dirty="0">
                          <a:solidFill>
                            <a:schemeClr val="tx1"/>
                          </a:solidFill>
                        </a:rPr>
                        <a:t> +++</a:t>
                      </a:r>
                    </a:p>
                  </a:txBody>
                  <a:tcPr marL="79248" marR="79248" marT="39466" marB="39466"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78777877"/>
                  </a:ext>
                </a:extLst>
              </a:tr>
              <a:tr h="963536">
                <a:tc>
                  <a:txBody>
                    <a:bodyPr/>
                    <a:lstStyle/>
                    <a:p>
                      <a:pPr marL="342900" marR="0" lvl="0" indent="-34290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Resistencia a la </a:t>
                      </a:r>
                      <a:r>
                        <a:rPr lang="en-US" sz="1200" dirty="0" err="1">
                          <a:solidFill>
                            <a:schemeClr val="tx1"/>
                          </a:solidFill>
                        </a:rPr>
                        <a:t>dehiscencia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  <a:p>
                      <a:pPr marL="342900" marR="0" lvl="0" indent="-34290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Resistencia a la </a:t>
                      </a:r>
                      <a:r>
                        <a:rPr lang="en-US" sz="1200" dirty="0" err="1">
                          <a:solidFill>
                            <a:schemeClr val="tx1"/>
                          </a:solidFill>
                        </a:rPr>
                        <a:t>virosis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tx1"/>
                          </a:solidFill>
                        </a:rPr>
                        <a:t>TuYV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  <a:p>
                      <a:pPr marL="342900" marR="0" lvl="0" indent="-34290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N-FLEX</a:t>
                      </a:r>
                    </a:p>
                    <a:p>
                      <a:pPr marL="342900" marR="0" lvl="0" indent="-34290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Vigor+</a:t>
                      </a:r>
                    </a:p>
                  </a:txBody>
                  <a:tcPr marL="79248" marR="79248" marT="39466" marB="39466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99273029"/>
                  </a:ext>
                </a:extLst>
              </a:tr>
              <a:tr h="329631">
                <a:tc>
                  <a:txBody>
                    <a:bodyPr/>
                    <a:lstStyle/>
                    <a:p>
                      <a:pPr algn="ctr" defTabSz="457189" rtl="0" eaLnBrk="1" latinLnBrk="0" hangingPunct="1"/>
                      <a:r>
                        <a:rPr lang="fr-FR" sz="1500" b="1" kern="1200" dirty="0" err="1">
                          <a:solidFill>
                            <a:srgbClr val="E3002C"/>
                          </a:solidFill>
                          <a:latin typeface="+mn-lt"/>
                          <a:ea typeface="+mn-ea"/>
                          <a:cs typeface="+mn-cs"/>
                        </a:rPr>
                        <a:t>Rendimiento</a:t>
                      </a:r>
                      <a:r>
                        <a:rPr lang="fr-FR" sz="1500" b="1" kern="1200" dirty="0">
                          <a:solidFill>
                            <a:srgbClr val="E3002C"/>
                          </a:solidFill>
                          <a:latin typeface="+mn-lt"/>
                          <a:ea typeface="+mn-ea"/>
                          <a:cs typeface="+mn-cs"/>
                        </a:rPr>
                        <a:t> y </a:t>
                      </a:r>
                      <a:r>
                        <a:rPr lang="fr-FR" sz="1500" b="1" kern="1200" dirty="0" err="1">
                          <a:solidFill>
                            <a:srgbClr val="E3002C"/>
                          </a:solidFill>
                          <a:latin typeface="+mn-lt"/>
                          <a:ea typeface="+mn-ea"/>
                          <a:cs typeface="+mn-cs"/>
                        </a:rPr>
                        <a:t>estabilidad</a:t>
                      </a:r>
                      <a:endParaRPr lang="fr-FR" sz="1500" b="1" kern="1200" dirty="0">
                        <a:solidFill>
                          <a:srgbClr val="E3002C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9248" marR="79248" marT="39466" marB="39466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5722400"/>
                  </a:ext>
                </a:extLst>
              </a:tr>
              <a:tr h="828780">
                <a:tc>
                  <a:txBody>
                    <a:bodyPr/>
                    <a:lstStyle/>
                    <a:p>
                      <a:pPr algn="ctr" defTabSz="457189" rtl="0" eaLnBrk="1" latinLnBrk="0" hangingPunct="1"/>
                      <a:r>
                        <a:rPr lang="es-ES" sz="12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gricultores que buscan un alto rendimiento en diferentes condiciones
</a:t>
                      </a:r>
                      <a:endParaRPr lang="fr-FR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9248" marR="79248" marT="39466" marB="39466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3793148"/>
                  </a:ext>
                </a:extLst>
              </a:tr>
            </a:tbl>
          </a:graphicData>
        </a:graphic>
      </p:graphicFrame>
      <p:pic>
        <p:nvPicPr>
          <p:cNvPr id="8" name="Image 20">
            <a:extLst>
              <a:ext uri="{FF2B5EF4-FFF2-40B4-BE49-F238E27FC236}">
                <a16:creationId xmlns:a16="http://schemas.microsoft.com/office/drawing/2014/main" id="{78A0595B-3DD0-FCE0-235A-71E424D39AF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92346" y="2867559"/>
            <a:ext cx="573665" cy="571092"/>
          </a:xfrm>
          <a:prstGeom prst="rect">
            <a:avLst/>
          </a:prstGeom>
        </p:spPr>
      </p:pic>
      <p:sp>
        <p:nvSpPr>
          <p:cNvPr id="3" name="Inhaltsplatzhalter 10">
            <a:extLst>
              <a:ext uri="{FF2B5EF4-FFF2-40B4-BE49-F238E27FC236}">
                <a16:creationId xmlns:a16="http://schemas.microsoft.com/office/drawing/2014/main" id="{10A7CE57-1EA6-1ECF-A5BC-8B3CB450665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13563" y="1604290"/>
            <a:ext cx="5472751" cy="3394472"/>
          </a:xfrm>
        </p:spPr>
        <p:txBody>
          <a:bodyPr/>
          <a:lstStyle/>
          <a:p>
            <a:r>
              <a:rPr lang="es-ES" sz="1400" dirty="0"/>
              <a:t>El híbrido más cultivado de Europa con más de 300k ha</a:t>
            </a:r>
            <a:r>
              <a:rPr lang="en-GB" sz="1400" dirty="0"/>
              <a:t>*</a:t>
            </a:r>
          </a:p>
          <a:p>
            <a:r>
              <a:rPr lang="es-ES" sz="1400" dirty="0"/>
              <a:t>Aumento muy fuerte de 100k ha (2020/2021) hasta 300k ha (2022/2023) en solo 2 años*
</a:t>
            </a:r>
            <a:r>
              <a:rPr lang="en-GB" sz="1400" dirty="0"/>
              <a:t>N°1 LG </a:t>
            </a:r>
            <a:r>
              <a:rPr lang="en-GB" sz="1400" dirty="0" err="1"/>
              <a:t>producto</a:t>
            </a:r>
            <a:r>
              <a:rPr lang="en-GB" sz="1400" dirty="0"/>
              <a:t> </a:t>
            </a:r>
            <a:r>
              <a:rPr lang="en-GB" sz="1400" dirty="0" err="1"/>
              <a:t>en</a:t>
            </a:r>
            <a:r>
              <a:rPr lang="en-GB" sz="1400" dirty="0"/>
              <a:t> DE, BG, CZ, SK, HU, LV, BE (</a:t>
            </a:r>
            <a:r>
              <a:rPr lang="en-GB" sz="1400" dirty="0" err="1"/>
              <a:t>volumen</a:t>
            </a:r>
            <a:r>
              <a:rPr lang="en-GB" sz="1400" dirty="0"/>
              <a:t> de ventas 22/23)
</a:t>
            </a:r>
            <a:r>
              <a:rPr lang="es-ES" sz="1400" dirty="0"/>
              <a:t>Conocido por la estabilidad y alto rendimiento en diferentes condiciones en toda Europa</a:t>
            </a:r>
            <a:endParaRPr lang="en-GB" sz="1400" dirty="0"/>
          </a:p>
          <a:p>
            <a:r>
              <a:rPr lang="en-GB" sz="1400" dirty="0"/>
              <a:t>Primer </a:t>
            </a:r>
            <a:r>
              <a:rPr lang="en-GB" sz="1400" dirty="0" err="1"/>
              <a:t>híbrido</a:t>
            </a:r>
            <a:r>
              <a:rPr lang="en-GB" sz="1400" dirty="0"/>
              <a:t> LG con N-FLEX
</a:t>
            </a:r>
            <a:r>
              <a:rPr lang="es-ES" sz="1400" dirty="0"/>
              <a:t>Resultados muy sólidos de registro y </a:t>
            </a:r>
            <a:r>
              <a:rPr lang="es-ES" sz="1400" dirty="0" err="1"/>
              <a:t>post-registro</a:t>
            </a:r>
            <a:r>
              <a:rPr lang="es-ES" sz="1400" dirty="0"/>
              <a:t> en muchos países durante varios años</a:t>
            </a:r>
            <a:endParaRPr lang="en-GB" sz="1400" dirty="0"/>
          </a:p>
          <a:p>
            <a:r>
              <a:rPr lang="es-ES" sz="1400" dirty="0"/>
              <a:t>Se prevé un nuevo aumento del volumen de ventas para el 23/24</a:t>
            </a:r>
            <a:endParaRPr lang="en-GB" sz="1400" dirty="0"/>
          </a:p>
        </p:txBody>
      </p:sp>
    </p:spTree>
    <p:extLst>
      <p:ext uri="{BB962C8B-B14F-4D97-AF65-F5344CB8AC3E}">
        <p14:creationId xmlns:p14="http://schemas.microsoft.com/office/powerpoint/2010/main" val="331087494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01573134-7BBE-7F99-ABB6-621FDC5A15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LG AMBASSADOR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A64E0F55-89B1-B42A-856D-BCAA8193078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 err="1"/>
              <a:t>Variedad</a:t>
            </a:r>
            <a:r>
              <a:rPr lang="en-GB" dirty="0"/>
              <a:t> </a:t>
            </a:r>
            <a:r>
              <a:rPr lang="en-GB" dirty="0" err="1"/>
              <a:t>estratégica</a:t>
            </a:r>
            <a:r>
              <a:rPr lang="en-GB" dirty="0"/>
              <a:t> de LG 2023/2024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D740E51E-EB0D-BFC5-9C5F-6DF55AB4EC6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69251" y="90757"/>
            <a:ext cx="946800" cy="993983"/>
          </a:xfrm>
          <a:prstGeom prst="rect">
            <a:avLst/>
          </a:prstGeom>
        </p:spPr>
      </p:pic>
      <p:grpSp>
        <p:nvGrpSpPr>
          <p:cNvPr id="6" name="Group 9">
            <a:extLst>
              <a:ext uri="{FF2B5EF4-FFF2-40B4-BE49-F238E27FC236}">
                <a16:creationId xmlns:a16="http://schemas.microsoft.com/office/drawing/2014/main" id="{B5FDBFFF-9A8B-E640-2E23-A4E786CABBEF}"/>
              </a:ext>
            </a:extLst>
          </p:cNvPr>
          <p:cNvGrpSpPr/>
          <p:nvPr/>
        </p:nvGrpSpPr>
        <p:grpSpPr>
          <a:xfrm rot="16200000">
            <a:off x="8457754" y="4009197"/>
            <a:ext cx="927501" cy="230656"/>
            <a:chOff x="8766811" y="250670"/>
            <a:chExt cx="1200150" cy="298460"/>
          </a:xfrm>
          <a:solidFill>
            <a:schemeClr val="bg1">
              <a:alpha val="42000"/>
            </a:schemeClr>
          </a:solidFill>
        </p:grpSpPr>
        <p:sp>
          <p:nvSpPr>
            <p:cNvPr id="9" name="Freeform: Shape 5">
              <a:extLst>
                <a:ext uri="{FF2B5EF4-FFF2-40B4-BE49-F238E27FC236}">
                  <a16:creationId xmlns:a16="http://schemas.microsoft.com/office/drawing/2014/main" id="{A785CB26-A4B8-77B5-DF89-8476EF5DB7A2}"/>
                </a:ext>
              </a:extLst>
            </p:cNvPr>
            <p:cNvSpPr/>
            <p:nvPr/>
          </p:nvSpPr>
          <p:spPr>
            <a:xfrm>
              <a:off x="9340947" y="259788"/>
              <a:ext cx="396639" cy="280066"/>
            </a:xfrm>
            <a:custGeom>
              <a:avLst/>
              <a:gdLst>
                <a:gd name="connsiteX0" fmla="*/ 188626 w 578185"/>
                <a:gd name="connsiteY0" fmla="*/ 247351 h 408253"/>
                <a:gd name="connsiteX1" fmla="*/ 209084 w 578185"/>
                <a:gd name="connsiteY1" fmla="*/ 156671 h 408253"/>
                <a:gd name="connsiteX2" fmla="*/ 241634 w 578185"/>
                <a:gd name="connsiteY2" fmla="*/ 10757 h 408253"/>
                <a:gd name="connsiteX3" fmla="*/ 255014 w 578185"/>
                <a:gd name="connsiteY3" fmla="*/ 5 h 408253"/>
                <a:gd name="connsiteX4" fmla="*/ 343468 w 578185"/>
                <a:gd name="connsiteY4" fmla="*/ 86 h 408253"/>
                <a:gd name="connsiteX5" fmla="*/ 356258 w 578185"/>
                <a:gd name="connsiteY5" fmla="*/ 9926 h 408253"/>
                <a:gd name="connsiteX6" fmla="*/ 402000 w 578185"/>
                <a:gd name="connsiteY6" fmla="*/ 237699 h 408253"/>
                <a:gd name="connsiteX7" fmla="*/ 406853 w 578185"/>
                <a:gd name="connsiteY7" fmla="*/ 247646 h 408253"/>
                <a:gd name="connsiteX8" fmla="*/ 443881 w 578185"/>
                <a:gd name="connsiteY8" fmla="*/ 88487 h 408253"/>
                <a:gd name="connsiteX9" fmla="*/ 418275 w 578185"/>
                <a:gd name="connsiteY9" fmla="*/ 64463 h 408253"/>
                <a:gd name="connsiteX10" fmla="*/ 418275 w 578185"/>
                <a:gd name="connsiteY10" fmla="*/ 1132 h 408253"/>
                <a:gd name="connsiteX11" fmla="*/ 578185 w 578185"/>
                <a:gd name="connsiteY11" fmla="*/ 1132 h 408253"/>
                <a:gd name="connsiteX12" fmla="*/ 578185 w 578185"/>
                <a:gd name="connsiteY12" fmla="*/ 65482 h 408253"/>
                <a:gd name="connsiteX13" fmla="*/ 535580 w 578185"/>
                <a:gd name="connsiteY13" fmla="*/ 107309 h 408253"/>
                <a:gd name="connsiteX14" fmla="*/ 450423 w 578185"/>
                <a:gd name="connsiteY14" fmla="*/ 398306 h 408253"/>
                <a:gd name="connsiteX15" fmla="*/ 447072 w 578185"/>
                <a:gd name="connsiteY15" fmla="*/ 408146 h 408253"/>
                <a:gd name="connsiteX16" fmla="*/ 338964 w 578185"/>
                <a:gd name="connsiteY16" fmla="*/ 408146 h 408253"/>
                <a:gd name="connsiteX17" fmla="*/ 289414 w 578185"/>
                <a:gd name="connsiteY17" fmla="*/ 183832 h 408253"/>
                <a:gd name="connsiteX18" fmla="*/ 287189 w 578185"/>
                <a:gd name="connsiteY18" fmla="*/ 183644 h 408253"/>
                <a:gd name="connsiteX19" fmla="*/ 234663 w 578185"/>
                <a:gd name="connsiteY19" fmla="*/ 408253 h 408253"/>
                <a:gd name="connsiteX20" fmla="*/ 124035 w 578185"/>
                <a:gd name="connsiteY20" fmla="*/ 408253 h 408253"/>
                <a:gd name="connsiteX21" fmla="*/ 101941 w 578185"/>
                <a:gd name="connsiteY21" fmla="*/ 325536 h 408253"/>
                <a:gd name="connsiteX22" fmla="*/ 42176 w 578185"/>
                <a:gd name="connsiteY22" fmla="*/ 100874 h 408253"/>
                <a:gd name="connsiteX23" fmla="*/ 0 w 578185"/>
                <a:gd name="connsiteY23" fmla="*/ 66072 h 408253"/>
                <a:gd name="connsiteX24" fmla="*/ 0 w 578185"/>
                <a:gd name="connsiteY24" fmla="*/ 1266 h 408253"/>
                <a:gd name="connsiteX25" fmla="*/ 183880 w 578185"/>
                <a:gd name="connsiteY25" fmla="*/ 1266 h 408253"/>
                <a:gd name="connsiteX26" fmla="*/ 183880 w 578185"/>
                <a:gd name="connsiteY26" fmla="*/ 64650 h 408253"/>
                <a:gd name="connsiteX27" fmla="*/ 157658 w 578185"/>
                <a:gd name="connsiteY27" fmla="*/ 101920 h 408253"/>
                <a:gd name="connsiteX28" fmla="*/ 185677 w 578185"/>
                <a:gd name="connsiteY28" fmla="*/ 247485 h 408253"/>
                <a:gd name="connsiteX29" fmla="*/ 188599 w 578185"/>
                <a:gd name="connsiteY29" fmla="*/ 247351 h 408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78185" h="408253">
                  <a:moveTo>
                    <a:pt x="188626" y="247351"/>
                  </a:moveTo>
                  <a:cubicBezTo>
                    <a:pt x="195436" y="217133"/>
                    <a:pt x="202300" y="186889"/>
                    <a:pt x="209084" y="156671"/>
                  </a:cubicBezTo>
                  <a:cubicBezTo>
                    <a:pt x="219997" y="108033"/>
                    <a:pt x="230883" y="59422"/>
                    <a:pt x="241634" y="10757"/>
                  </a:cubicBezTo>
                  <a:cubicBezTo>
                    <a:pt x="243297" y="3250"/>
                    <a:pt x="246461" y="-155"/>
                    <a:pt x="255014" y="5"/>
                  </a:cubicBezTo>
                  <a:cubicBezTo>
                    <a:pt x="284481" y="595"/>
                    <a:pt x="314001" y="461"/>
                    <a:pt x="343468" y="86"/>
                  </a:cubicBezTo>
                  <a:cubicBezTo>
                    <a:pt x="351056" y="-21"/>
                    <a:pt x="354756" y="2285"/>
                    <a:pt x="356258" y="9926"/>
                  </a:cubicBezTo>
                  <a:cubicBezTo>
                    <a:pt x="371353" y="85886"/>
                    <a:pt x="386690" y="161792"/>
                    <a:pt x="402000" y="237699"/>
                  </a:cubicBezTo>
                  <a:cubicBezTo>
                    <a:pt x="402670" y="241050"/>
                    <a:pt x="403770" y="244321"/>
                    <a:pt x="406853" y="247646"/>
                  </a:cubicBezTo>
                  <a:cubicBezTo>
                    <a:pt x="419240" y="194611"/>
                    <a:pt x="431896" y="141602"/>
                    <a:pt x="443881" y="88487"/>
                  </a:cubicBezTo>
                  <a:cubicBezTo>
                    <a:pt x="447367" y="73043"/>
                    <a:pt x="441843" y="68377"/>
                    <a:pt x="418275" y="64463"/>
                  </a:cubicBezTo>
                  <a:lnTo>
                    <a:pt x="418275" y="1132"/>
                  </a:lnTo>
                  <a:lnTo>
                    <a:pt x="578185" y="1132"/>
                  </a:lnTo>
                  <a:lnTo>
                    <a:pt x="578185" y="65482"/>
                  </a:lnTo>
                  <a:cubicBezTo>
                    <a:pt x="549657" y="64302"/>
                    <a:pt x="542122" y="84626"/>
                    <a:pt x="535580" y="107309"/>
                  </a:cubicBezTo>
                  <a:cubicBezTo>
                    <a:pt x="507534" y="204397"/>
                    <a:pt x="478871" y="301325"/>
                    <a:pt x="450423" y="398306"/>
                  </a:cubicBezTo>
                  <a:cubicBezTo>
                    <a:pt x="449431" y="401657"/>
                    <a:pt x="448171" y="404955"/>
                    <a:pt x="447072" y="408146"/>
                  </a:cubicBezTo>
                  <a:lnTo>
                    <a:pt x="338964" y="408146"/>
                  </a:lnTo>
                  <a:cubicBezTo>
                    <a:pt x="322367" y="333044"/>
                    <a:pt x="305904" y="258425"/>
                    <a:pt x="289414" y="183832"/>
                  </a:cubicBezTo>
                  <a:lnTo>
                    <a:pt x="287189" y="183644"/>
                  </a:lnTo>
                  <a:cubicBezTo>
                    <a:pt x="269707" y="258398"/>
                    <a:pt x="252225" y="333151"/>
                    <a:pt x="234663" y="408253"/>
                  </a:cubicBezTo>
                  <a:lnTo>
                    <a:pt x="124035" y="408253"/>
                  </a:lnTo>
                  <a:cubicBezTo>
                    <a:pt x="116742" y="381012"/>
                    <a:pt x="109315" y="353287"/>
                    <a:pt x="101941" y="325536"/>
                  </a:cubicBezTo>
                  <a:cubicBezTo>
                    <a:pt x="82019" y="250649"/>
                    <a:pt x="62151" y="175735"/>
                    <a:pt x="42176" y="100874"/>
                  </a:cubicBezTo>
                  <a:cubicBezTo>
                    <a:pt x="36519" y="79665"/>
                    <a:pt x="28207" y="61192"/>
                    <a:pt x="0" y="66072"/>
                  </a:cubicBezTo>
                  <a:lnTo>
                    <a:pt x="0" y="1266"/>
                  </a:lnTo>
                  <a:lnTo>
                    <a:pt x="183880" y="1266"/>
                  </a:lnTo>
                  <a:lnTo>
                    <a:pt x="183880" y="64650"/>
                  </a:lnTo>
                  <a:cubicBezTo>
                    <a:pt x="152107" y="68726"/>
                    <a:pt x="151437" y="69691"/>
                    <a:pt x="157658" y="101920"/>
                  </a:cubicBezTo>
                  <a:cubicBezTo>
                    <a:pt x="167015" y="150451"/>
                    <a:pt x="176346" y="198954"/>
                    <a:pt x="185677" y="247485"/>
                  </a:cubicBezTo>
                  <a:lnTo>
                    <a:pt x="188599" y="247351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Freeform: Shape 6">
              <a:extLst>
                <a:ext uri="{FF2B5EF4-FFF2-40B4-BE49-F238E27FC236}">
                  <a16:creationId xmlns:a16="http://schemas.microsoft.com/office/drawing/2014/main" id="{C977912F-8E06-028C-0AE5-7BB8535C95BA}"/>
                </a:ext>
              </a:extLst>
            </p:cNvPr>
            <p:cNvSpPr/>
            <p:nvPr/>
          </p:nvSpPr>
          <p:spPr>
            <a:xfrm>
              <a:off x="8766811" y="259809"/>
              <a:ext cx="277264" cy="283641"/>
            </a:xfrm>
            <a:custGeom>
              <a:avLst/>
              <a:gdLst>
                <a:gd name="connsiteX0" fmla="*/ 0 w 404171"/>
                <a:gd name="connsiteY0" fmla="*/ 407794 h 413465"/>
                <a:gd name="connsiteX1" fmla="*/ 0 w 404171"/>
                <a:gd name="connsiteY1" fmla="*/ 342854 h 413465"/>
                <a:gd name="connsiteX2" fmla="*/ 21879 w 404171"/>
                <a:gd name="connsiteY2" fmla="*/ 341835 h 413465"/>
                <a:gd name="connsiteX3" fmla="*/ 38422 w 404171"/>
                <a:gd name="connsiteY3" fmla="*/ 324970 h 413465"/>
                <a:gd name="connsiteX4" fmla="*/ 38664 w 404171"/>
                <a:gd name="connsiteY4" fmla="*/ 280729 h 413465"/>
                <a:gd name="connsiteX5" fmla="*/ 38664 w 404171"/>
                <a:gd name="connsiteY5" fmla="*/ 99691 h 413465"/>
                <a:gd name="connsiteX6" fmla="*/ 6274 w 404171"/>
                <a:gd name="connsiteY6" fmla="*/ 65773 h 413465"/>
                <a:gd name="connsiteX7" fmla="*/ 134 w 404171"/>
                <a:gd name="connsiteY7" fmla="*/ 65076 h 413465"/>
                <a:gd name="connsiteX8" fmla="*/ 134 w 404171"/>
                <a:gd name="connsiteY8" fmla="*/ 860 h 413465"/>
                <a:gd name="connsiteX9" fmla="*/ 12843 w 404171"/>
                <a:gd name="connsiteY9" fmla="*/ 190 h 413465"/>
                <a:gd name="connsiteX10" fmla="*/ 156263 w 404171"/>
                <a:gd name="connsiteY10" fmla="*/ 2 h 413465"/>
                <a:gd name="connsiteX11" fmla="*/ 173852 w 404171"/>
                <a:gd name="connsiteY11" fmla="*/ 11961 h 413465"/>
                <a:gd name="connsiteX12" fmla="*/ 265605 w 404171"/>
                <a:gd name="connsiteY12" fmla="*/ 219811 h 413465"/>
                <a:gd name="connsiteX13" fmla="*/ 273675 w 404171"/>
                <a:gd name="connsiteY13" fmla="*/ 231260 h 413465"/>
                <a:gd name="connsiteX14" fmla="*/ 273675 w 404171"/>
                <a:gd name="connsiteY14" fmla="*/ 204153 h 413465"/>
                <a:gd name="connsiteX15" fmla="*/ 273675 w 404171"/>
                <a:gd name="connsiteY15" fmla="*/ 103579 h 413465"/>
                <a:gd name="connsiteX16" fmla="*/ 237103 w 404171"/>
                <a:gd name="connsiteY16" fmla="*/ 65130 h 413465"/>
                <a:gd name="connsiteX17" fmla="*/ 237103 w 404171"/>
                <a:gd name="connsiteY17" fmla="*/ 941 h 413465"/>
                <a:gd name="connsiteX18" fmla="*/ 404172 w 404171"/>
                <a:gd name="connsiteY18" fmla="*/ 941 h 413465"/>
                <a:gd name="connsiteX19" fmla="*/ 404172 w 404171"/>
                <a:gd name="connsiteY19" fmla="*/ 64245 h 413465"/>
                <a:gd name="connsiteX20" fmla="*/ 401759 w 404171"/>
                <a:gd name="connsiteY20" fmla="*/ 65398 h 413465"/>
                <a:gd name="connsiteX21" fmla="*/ 365374 w 404171"/>
                <a:gd name="connsiteY21" fmla="*/ 103445 h 413465"/>
                <a:gd name="connsiteX22" fmla="*/ 365508 w 404171"/>
                <a:gd name="connsiteY22" fmla="*/ 394441 h 413465"/>
                <a:gd name="connsiteX23" fmla="*/ 365508 w 404171"/>
                <a:gd name="connsiteY23" fmla="*/ 412004 h 413465"/>
                <a:gd name="connsiteX24" fmla="*/ 299201 w 404171"/>
                <a:gd name="connsiteY24" fmla="*/ 411977 h 413465"/>
                <a:gd name="connsiteX25" fmla="*/ 254665 w 404171"/>
                <a:gd name="connsiteY25" fmla="*/ 409698 h 413465"/>
                <a:gd name="connsiteX26" fmla="*/ 233752 w 404171"/>
                <a:gd name="connsiteY26" fmla="*/ 370498 h 413465"/>
                <a:gd name="connsiteX27" fmla="*/ 139613 w 404171"/>
                <a:gd name="connsiteY27" fmla="*/ 170986 h 413465"/>
                <a:gd name="connsiteX28" fmla="*/ 131569 w 404171"/>
                <a:gd name="connsiteY28" fmla="*/ 160019 h 413465"/>
                <a:gd name="connsiteX29" fmla="*/ 131569 w 404171"/>
                <a:gd name="connsiteY29" fmla="*/ 206191 h 413465"/>
                <a:gd name="connsiteX30" fmla="*/ 131489 w 404171"/>
                <a:gd name="connsiteY30" fmla="*/ 314808 h 413465"/>
                <a:gd name="connsiteX31" fmla="*/ 158355 w 404171"/>
                <a:gd name="connsiteY31" fmla="*/ 342211 h 413465"/>
                <a:gd name="connsiteX32" fmla="*/ 169830 w 404171"/>
                <a:gd name="connsiteY32" fmla="*/ 342211 h 413465"/>
                <a:gd name="connsiteX33" fmla="*/ 169830 w 404171"/>
                <a:gd name="connsiteY33" fmla="*/ 407740 h 413465"/>
                <a:gd name="connsiteX34" fmla="*/ 0 w 404171"/>
                <a:gd name="connsiteY34" fmla="*/ 407740 h 41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404171" h="413465">
                  <a:moveTo>
                    <a:pt x="0" y="407794"/>
                  </a:moveTo>
                  <a:lnTo>
                    <a:pt x="0" y="342854"/>
                  </a:lnTo>
                  <a:cubicBezTo>
                    <a:pt x="7776" y="342506"/>
                    <a:pt x="14827" y="342184"/>
                    <a:pt x="21879" y="341835"/>
                  </a:cubicBezTo>
                  <a:cubicBezTo>
                    <a:pt x="32550" y="341299"/>
                    <a:pt x="38342" y="335910"/>
                    <a:pt x="38422" y="324970"/>
                  </a:cubicBezTo>
                  <a:cubicBezTo>
                    <a:pt x="38530" y="310223"/>
                    <a:pt x="38664" y="295476"/>
                    <a:pt x="38664" y="280729"/>
                  </a:cubicBezTo>
                  <a:cubicBezTo>
                    <a:pt x="38664" y="220374"/>
                    <a:pt x="38664" y="160046"/>
                    <a:pt x="38664" y="99691"/>
                  </a:cubicBezTo>
                  <a:cubicBezTo>
                    <a:pt x="38664" y="69581"/>
                    <a:pt x="36197" y="67034"/>
                    <a:pt x="6274" y="65773"/>
                  </a:cubicBezTo>
                  <a:cubicBezTo>
                    <a:pt x="4531" y="65693"/>
                    <a:pt x="2789" y="65371"/>
                    <a:pt x="134" y="65076"/>
                  </a:cubicBezTo>
                  <a:lnTo>
                    <a:pt x="134" y="860"/>
                  </a:lnTo>
                  <a:cubicBezTo>
                    <a:pt x="4317" y="619"/>
                    <a:pt x="8580" y="190"/>
                    <a:pt x="12843" y="190"/>
                  </a:cubicBezTo>
                  <a:cubicBezTo>
                    <a:pt x="60650" y="190"/>
                    <a:pt x="108457" y="565"/>
                    <a:pt x="156263" y="2"/>
                  </a:cubicBezTo>
                  <a:cubicBezTo>
                    <a:pt x="166077" y="-105"/>
                    <a:pt x="170233" y="3649"/>
                    <a:pt x="173852" y="11961"/>
                  </a:cubicBezTo>
                  <a:cubicBezTo>
                    <a:pt x="204231" y="81351"/>
                    <a:pt x="234958" y="150555"/>
                    <a:pt x="265605" y="219811"/>
                  </a:cubicBezTo>
                  <a:cubicBezTo>
                    <a:pt x="267348" y="223753"/>
                    <a:pt x="269251" y="227641"/>
                    <a:pt x="273675" y="231260"/>
                  </a:cubicBezTo>
                  <a:cubicBezTo>
                    <a:pt x="273675" y="222224"/>
                    <a:pt x="273675" y="213189"/>
                    <a:pt x="273675" y="204153"/>
                  </a:cubicBezTo>
                  <a:cubicBezTo>
                    <a:pt x="273675" y="170637"/>
                    <a:pt x="273675" y="137095"/>
                    <a:pt x="273675" y="103579"/>
                  </a:cubicBezTo>
                  <a:cubicBezTo>
                    <a:pt x="273675" y="69152"/>
                    <a:pt x="272388" y="67784"/>
                    <a:pt x="237103" y="65130"/>
                  </a:cubicBezTo>
                  <a:lnTo>
                    <a:pt x="237103" y="941"/>
                  </a:lnTo>
                  <a:lnTo>
                    <a:pt x="404172" y="941"/>
                  </a:lnTo>
                  <a:lnTo>
                    <a:pt x="404172" y="64245"/>
                  </a:lnTo>
                  <a:cubicBezTo>
                    <a:pt x="403260" y="64701"/>
                    <a:pt x="402536" y="65344"/>
                    <a:pt x="401759" y="65398"/>
                  </a:cubicBezTo>
                  <a:cubicBezTo>
                    <a:pt x="365991" y="67168"/>
                    <a:pt x="365347" y="67838"/>
                    <a:pt x="365374" y="103445"/>
                  </a:cubicBezTo>
                  <a:cubicBezTo>
                    <a:pt x="365428" y="200453"/>
                    <a:pt x="365481" y="297434"/>
                    <a:pt x="365508" y="394441"/>
                  </a:cubicBezTo>
                  <a:cubicBezTo>
                    <a:pt x="365508" y="399723"/>
                    <a:pt x="365508" y="404979"/>
                    <a:pt x="365508" y="412004"/>
                  </a:cubicBezTo>
                  <a:cubicBezTo>
                    <a:pt x="342637" y="412004"/>
                    <a:pt x="320919" y="412111"/>
                    <a:pt x="299201" y="411977"/>
                  </a:cubicBezTo>
                  <a:cubicBezTo>
                    <a:pt x="284052" y="411870"/>
                    <a:pt x="265632" y="416615"/>
                    <a:pt x="254665" y="409698"/>
                  </a:cubicBezTo>
                  <a:cubicBezTo>
                    <a:pt x="243779" y="402834"/>
                    <a:pt x="240187" y="384145"/>
                    <a:pt x="233752" y="370498"/>
                  </a:cubicBezTo>
                  <a:cubicBezTo>
                    <a:pt x="202327" y="304030"/>
                    <a:pt x="171010" y="237481"/>
                    <a:pt x="139613" y="170986"/>
                  </a:cubicBezTo>
                  <a:cubicBezTo>
                    <a:pt x="137790" y="167125"/>
                    <a:pt x="135725" y="163398"/>
                    <a:pt x="131569" y="160019"/>
                  </a:cubicBezTo>
                  <a:cubicBezTo>
                    <a:pt x="131569" y="175410"/>
                    <a:pt x="131569" y="190800"/>
                    <a:pt x="131569" y="206191"/>
                  </a:cubicBezTo>
                  <a:cubicBezTo>
                    <a:pt x="131542" y="242388"/>
                    <a:pt x="131462" y="278611"/>
                    <a:pt x="131489" y="314808"/>
                  </a:cubicBezTo>
                  <a:cubicBezTo>
                    <a:pt x="131489" y="338618"/>
                    <a:pt x="134706" y="341835"/>
                    <a:pt x="158355" y="342211"/>
                  </a:cubicBezTo>
                  <a:cubicBezTo>
                    <a:pt x="161894" y="342264"/>
                    <a:pt x="165406" y="342211"/>
                    <a:pt x="169830" y="342211"/>
                  </a:cubicBezTo>
                  <a:lnTo>
                    <a:pt x="169830" y="407740"/>
                  </a:lnTo>
                  <a:lnTo>
                    <a:pt x="0" y="40774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: Shape 7">
              <a:extLst>
                <a:ext uri="{FF2B5EF4-FFF2-40B4-BE49-F238E27FC236}">
                  <a16:creationId xmlns:a16="http://schemas.microsoft.com/office/drawing/2014/main" id="{105EBCAE-19AD-EECA-771E-4545DA0F9D2D}"/>
                </a:ext>
              </a:extLst>
            </p:cNvPr>
            <p:cNvSpPr/>
            <p:nvPr/>
          </p:nvSpPr>
          <p:spPr>
            <a:xfrm>
              <a:off x="9085608" y="260399"/>
              <a:ext cx="223758" cy="279344"/>
            </a:xfrm>
            <a:custGeom>
              <a:avLst/>
              <a:gdLst>
                <a:gd name="connsiteX0" fmla="*/ 27 w 326174"/>
                <a:gd name="connsiteY0" fmla="*/ 0 h 407201"/>
                <a:gd name="connsiteX1" fmla="*/ 319981 w 326174"/>
                <a:gd name="connsiteY1" fmla="*/ 0 h 407201"/>
                <a:gd name="connsiteX2" fmla="*/ 319981 w 326174"/>
                <a:gd name="connsiteY2" fmla="*/ 119879 h 407201"/>
                <a:gd name="connsiteX3" fmla="*/ 235628 w 326174"/>
                <a:gd name="connsiteY3" fmla="*/ 119879 h 407201"/>
                <a:gd name="connsiteX4" fmla="*/ 235682 w 326174"/>
                <a:gd name="connsiteY4" fmla="*/ 98429 h 407201"/>
                <a:gd name="connsiteX5" fmla="*/ 218656 w 326174"/>
                <a:gd name="connsiteY5" fmla="*/ 78936 h 407201"/>
                <a:gd name="connsiteX6" fmla="*/ 152670 w 326174"/>
                <a:gd name="connsiteY6" fmla="*/ 78722 h 407201"/>
                <a:gd name="connsiteX7" fmla="*/ 152670 w 326174"/>
                <a:gd name="connsiteY7" fmla="*/ 156210 h 407201"/>
                <a:gd name="connsiteX8" fmla="*/ 271638 w 326174"/>
                <a:gd name="connsiteY8" fmla="*/ 156210 h 407201"/>
                <a:gd name="connsiteX9" fmla="*/ 271638 w 326174"/>
                <a:gd name="connsiteY9" fmla="*/ 238980 h 407201"/>
                <a:gd name="connsiteX10" fmla="*/ 152858 w 326174"/>
                <a:gd name="connsiteY10" fmla="*/ 238980 h 407201"/>
                <a:gd name="connsiteX11" fmla="*/ 152858 w 326174"/>
                <a:gd name="connsiteY11" fmla="*/ 327542 h 407201"/>
                <a:gd name="connsiteX12" fmla="*/ 227933 w 326174"/>
                <a:gd name="connsiteY12" fmla="*/ 327354 h 407201"/>
                <a:gd name="connsiteX13" fmla="*/ 243163 w 326174"/>
                <a:gd name="connsiteY13" fmla="*/ 308800 h 407201"/>
                <a:gd name="connsiteX14" fmla="*/ 243243 w 326174"/>
                <a:gd name="connsiteY14" fmla="*/ 282685 h 407201"/>
                <a:gd name="connsiteX15" fmla="*/ 326174 w 326174"/>
                <a:gd name="connsiteY15" fmla="*/ 282685 h 407201"/>
                <a:gd name="connsiteX16" fmla="*/ 326174 w 326174"/>
                <a:gd name="connsiteY16" fmla="*/ 407202 h 407201"/>
                <a:gd name="connsiteX17" fmla="*/ 0 w 326174"/>
                <a:gd name="connsiteY17" fmla="*/ 407202 h 407201"/>
                <a:gd name="connsiteX18" fmla="*/ 0 w 326174"/>
                <a:gd name="connsiteY18" fmla="*/ 341216 h 407201"/>
                <a:gd name="connsiteX19" fmla="*/ 17991 w 326174"/>
                <a:gd name="connsiteY19" fmla="*/ 341163 h 407201"/>
                <a:gd name="connsiteX20" fmla="*/ 37001 w 326174"/>
                <a:gd name="connsiteY20" fmla="*/ 321831 h 407201"/>
                <a:gd name="connsiteX21" fmla="*/ 37109 w 326174"/>
                <a:gd name="connsiteY21" fmla="*/ 198493 h 407201"/>
                <a:gd name="connsiteX22" fmla="*/ 37109 w 326174"/>
                <a:gd name="connsiteY22" fmla="*/ 92584 h 407201"/>
                <a:gd name="connsiteX23" fmla="*/ 10216 w 326174"/>
                <a:gd name="connsiteY23" fmla="*/ 64860 h 407201"/>
                <a:gd name="connsiteX24" fmla="*/ 27 w 326174"/>
                <a:gd name="connsiteY24" fmla="*/ 64404 h 407201"/>
                <a:gd name="connsiteX25" fmla="*/ 27 w 326174"/>
                <a:gd name="connsiteY25" fmla="*/ 0 h 407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26174" h="407201">
                  <a:moveTo>
                    <a:pt x="27" y="0"/>
                  </a:moveTo>
                  <a:lnTo>
                    <a:pt x="319981" y="0"/>
                  </a:lnTo>
                  <a:lnTo>
                    <a:pt x="319981" y="119879"/>
                  </a:lnTo>
                  <a:lnTo>
                    <a:pt x="235628" y="119879"/>
                  </a:lnTo>
                  <a:cubicBezTo>
                    <a:pt x="235628" y="112479"/>
                    <a:pt x="235333" y="105427"/>
                    <a:pt x="235682" y="98429"/>
                  </a:cubicBezTo>
                  <a:cubicBezTo>
                    <a:pt x="236272" y="86283"/>
                    <a:pt x="230185" y="79311"/>
                    <a:pt x="218656" y="78936"/>
                  </a:cubicBezTo>
                  <a:cubicBezTo>
                    <a:pt x="196911" y="78239"/>
                    <a:pt x="175139" y="78722"/>
                    <a:pt x="152670" y="78722"/>
                  </a:cubicBezTo>
                  <a:lnTo>
                    <a:pt x="152670" y="156210"/>
                  </a:lnTo>
                  <a:lnTo>
                    <a:pt x="271638" y="156210"/>
                  </a:lnTo>
                  <a:lnTo>
                    <a:pt x="271638" y="238980"/>
                  </a:lnTo>
                  <a:lnTo>
                    <a:pt x="152858" y="238980"/>
                  </a:lnTo>
                  <a:lnTo>
                    <a:pt x="152858" y="327542"/>
                  </a:lnTo>
                  <a:cubicBezTo>
                    <a:pt x="178196" y="327542"/>
                    <a:pt x="203078" y="327944"/>
                    <a:pt x="227933" y="327354"/>
                  </a:cubicBezTo>
                  <a:cubicBezTo>
                    <a:pt x="239007" y="327086"/>
                    <a:pt x="242680" y="318560"/>
                    <a:pt x="243163" y="308800"/>
                  </a:cubicBezTo>
                  <a:cubicBezTo>
                    <a:pt x="243565" y="300408"/>
                    <a:pt x="243243" y="291962"/>
                    <a:pt x="243243" y="282685"/>
                  </a:cubicBezTo>
                  <a:lnTo>
                    <a:pt x="326174" y="282685"/>
                  </a:lnTo>
                  <a:lnTo>
                    <a:pt x="326174" y="407202"/>
                  </a:lnTo>
                  <a:lnTo>
                    <a:pt x="0" y="407202"/>
                  </a:lnTo>
                  <a:lnTo>
                    <a:pt x="0" y="341216"/>
                  </a:lnTo>
                  <a:cubicBezTo>
                    <a:pt x="5872" y="341216"/>
                    <a:pt x="11932" y="341431"/>
                    <a:pt x="17991" y="341163"/>
                  </a:cubicBezTo>
                  <a:cubicBezTo>
                    <a:pt x="33301" y="340519"/>
                    <a:pt x="36948" y="337007"/>
                    <a:pt x="37001" y="321831"/>
                  </a:cubicBezTo>
                  <a:cubicBezTo>
                    <a:pt x="37162" y="280727"/>
                    <a:pt x="37082" y="239624"/>
                    <a:pt x="37109" y="198493"/>
                  </a:cubicBezTo>
                  <a:cubicBezTo>
                    <a:pt x="37109" y="163181"/>
                    <a:pt x="37109" y="127896"/>
                    <a:pt x="37109" y="92584"/>
                  </a:cubicBezTo>
                  <a:cubicBezTo>
                    <a:pt x="37109" y="69015"/>
                    <a:pt x="33650" y="65503"/>
                    <a:pt x="10216" y="64860"/>
                  </a:cubicBezTo>
                  <a:cubicBezTo>
                    <a:pt x="7132" y="64779"/>
                    <a:pt x="4049" y="64591"/>
                    <a:pt x="27" y="64404"/>
                  </a:cubicBezTo>
                  <a:lnTo>
                    <a:pt x="27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: Shape 8">
              <a:extLst>
                <a:ext uri="{FF2B5EF4-FFF2-40B4-BE49-F238E27FC236}">
                  <a16:creationId xmlns:a16="http://schemas.microsoft.com/office/drawing/2014/main" id="{2CBC63DA-14ED-6616-5826-6DE2BE86EF6F}"/>
                </a:ext>
              </a:extLst>
            </p:cNvPr>
            <p:cNvSpPr/>
            <p:nvPr/>
          </p:nvSpPr>
          <p:spPr>
            <a:xfrm>
              <a:off x="9761971" y="250670"/>
              <a:ext cx="204990" cy="298460"/>
            </a:xfrm>
            <a:custGeom>
              <a:avLst/>
              <a:gdLst>
                <a:gd name="connsiteX0" fmla="*/ 248 w 298816"/>
                <a:gd name="connsiteY0" fmla="*/ 286088 h 435066"/>
                <a:gd name="connsiteX1" fmla="*/ 91304 w 298816"/>
                <a:gd name="connsiteY1" fmla="*/ 286088 h 435066"/>
                <a:gd name="connsiteX2" fmla="*/ 91357 w 298816"/>
                <a:gd name="connsiteY2" fmla="*/ 318049 h 435066"/>
                <a:gd name="connsiteX3" fmla="*/ 163242 w 298816"/>
                <a:gd name="connsiteY3" fmla="*/ 359742 h 435066"/>
                <a:gd name="connsiteX4" fmla="*/ 170159 w 298816"/>
                <a:gd name="connsiteY4" fmla="*/ 288662 h 435066"/>
                <a:gd name="connsiteX5" fmla="*/ 124551 w 298816"/>
                <a:gd name="connsiteY5" fmla="*/ 258418 h 435066"/>
                <a:gd name="connsiteX6" fmla="*/ 55455 w 298816"/>
                <a:gd name="connsiteY6" fmla="*/ 215089 h 435066"/>
                <a:gd name="connsiteX7" fmla="*/ 543 w 298816"/>
                <a:gd name="connsiteY7" fmla="*/ 124221 h 435066"/>
                <a:gd name="connsiteX8" fmla="*/ 99240 w 298816"/>
                <a:gd name="connsiteY8" fmla="*/ 4074 h 435066"/>
                <a:gd name="connsiteX9" fmla="*/ 267891 w 298816"/>
                <a:gd name="connsiteY9" fmla="*/ 20430 h 435066"/>
                <a:gd name="connsiteX10" fmla="*/ 278509 w 298816"/>
                <a:gd name="connsiteY10" fmla="*/ 31021 h 435066"/>
                <a:gd name="connsiteX11" fmla="*/ 278991 w 298816"/>
                <a:gd name="connsiteY11" fmla="*/ 136501 h 435066"/>
                <a:gd name="connsiteX12" fmla="*/ 191153 w 298816"/>
                <a:gd name="connsiteY12" fmla="*/ 136501 h 435066"/>
                <a:gd name="connsiteX13" fmla="*/ 191019 w 298816"/>
                <a:gd name="connsiteY13" fmla="*/ 100706 h 435066"/>
                <a:gd name="connsiteX14" fmla="*/ 161928 w 298816"/>
                <a:gd name="connsiteY14" fmla="*/ 65796 h 435066"/>
                <a:gd name="connsiteX15" fmla="*/ 113933 w 298816"/>
                <a:gd name="connsiteY15" fmla="*/ 83493 h 435066"/>
                <a:gd name="connsiteX16" fmla="*/ 122165 w 298816"/>
                <a:gd name="connsiteY16" fmla="*/ 131648 h 435066"/>
                <a:gd name="connsiteX17" fmla="*/ 172438 w 298816"/>
                <a:gd name="connsiteY17" fmla="*/ 164386 h 435066"/>
                <a:gd name="connsiteX18" fmla="*/ 246360 w 298816"/>
                <a:gd name="connsiteY18" fmla="*/ 207447 h 435066"/>
                <a:gd name="connsiteX19" fmla="*/ 294945 w 298816"/>
                <a:gd name="connsiteY19" fmla="*/ 337836 h 435066"/>
                <a:gd name="connsiteX20" fmla="*/ 194746 w 298816"/>
                <a:gd name="connsiteY20" fmla="*/ 430259 h 435066"/>
                <a:gd name="connsiteX21" fmla="*/ 12448 w 298816"/>
                <a:gd name="connsiteY21" fmla="*/ 415432 h 435066"/>
                <a:gd name="connsiteX22" fmla="*/ 7 w 298816"/>
                <a:gd name="connsiteY22" fmla="*/ 398915 h 435066"/>
                <a:gd name="connsiteX23" fmla="*/ 275 w 298816"/>
                <a:gd name="connsiteY23" fmla="*/ 286088 h 4350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98816" h="435066">
                  <a:moveTo>
                    <a:pt x="248" y="286088"/>
                  </a:moveTo>
                  <a:lnTo>
                    <a:pt x="91304" y="286088"/>
                  </a:lnTo>
                  <a:cubicBezTo>
                    <a:pt x="91304" y="296921"/>
                    <a:pt x="90982" y="307485"/>
                    <a:pt x="91357" y="318049"/>
                  </a:cubicBezTo>
                  <a:cubicBezTo>
                    <a:pt x="92725" y="356283"/>
                    <a:pt x="129351" y="377439"/>
                    <a:pt x="163242" y="359742"/>
                  </a:cubicBezTo>
                  <a:cubicBezTo>
                    <a:pt x="188070" y="346765"/>
                    <a:pt x="192682" y="307994"/>
                    <a:pt x="170159" y="288662"/>
                  </a:cubicBezTo>
                  <a:cubicBezTo>
                    <a:pt x="156431" y="276865"/>
                    <a:pt x="139995" y="268151"/>
                    <a:pt x="124551" y="258418"/>
                  </a:cubicBezTo>
                  <a:cubicBezTo>
                    <a:pt x="101546" y="243912"/>
                    <a:pt x="77388" y="231015"/>
                    <a:pt x="55455" y="215089"/>
                  </a:cubicBezTo>
                  <a:cubicBezTo>
                    <a:pt x="24808" y="192834"/>
                    <a:pt x="2903" y="163823"/>
                    <a:pt x="543" y="124221"/>
                  </a:cubicBezTo>
                  <a:cubicBezTo>
                    <a:pt x="-3103" y="63142"/>
                    <a:pt x="37437" y="13405"/>
                    <a:pt x="99240" y="4074"/>
                  </a:cubicBezTo>
                  <a:cubicBezTo>
                    <a:pt x="156646" y="-4613"/>
                    <a:pt x="213140" y="481"/>
                    <a:pt x="267891" y="20430"/>
                  </a:cubicBezTo>
                  <a:cubicBezTo>
                    <a:pt x="272288" y="22038"/>
                    <a:pt x="278428" y="27321"/>
                    <a:pt x="278509" y="31021"/>
                  </a:cubicBezTo>
                  <a:cubicBezTo>
                    <a:pt x="279313" y="65823"/>
                    <a:pt x="278991" y="100653"/>
                    <a:pt x="278991" y="136501"/>
                  </a:cubicBezTo>
                  <a:lnTo>
                    <a:pt x="191153" y="136501"/>
                  </a:lnTo>
                  <a:cubicBezTo>
                    <a:pt x="191153" y="124543"/>
                    <a:pt x="191797" y="112584"/>
                    <a:pt x="191019" y="100706"/>
                  </a:cubicBezTo>
                  <a:cubicBezTo>
                    <a:pt x="189679" y="80677"/>
                    <a:pt x="179678" y="69202"/>
                    <a:pt x="161928" y="65796"/>
                  </a:cubicBezTo>
                  <a:cubicBezTo>
                    <a:pt x="140317" y="61641"/>
                    <a:pt x="122138" y="68370"/>
                    <a:pt x="113933" y="83493"/>
                  </a:cubicBezTo>
                  <a:cubicBezTo>
                    <a:pt x="104281" y="101323"/>
                    <a:pt x="105809" y="118349"/>
                    <a:pt x="122165" y="131648"/>
                  </a:cubicBezTo>
                  <a:cubicBezTo>
                    <a:pt x="137582" y="144196"/>
                    <a:pt x="155251" y="154117"/>
                    <a:pt x="172438" y="164386"/>
                  </a:cubicBezTo>
                  <a:cubicBezTo>
                    <a:pt x="196918" y="179026"/>
                    <a:pt x="222765" y="191547"/>
                    <a:pt x="246360" y="207447"/>
                  </a:cubicBezTo>
                  <a:cubicBezTo>
                    <a:pt x="290601" y="237236"/>
                    <a:pt x="307091" y="283863"/>
                    <a:pt x="294945" y="337836"/>
                  </a:cubicBezTo>
                  <a:cubicBezTo>
                    <a:pt x="284300" y="385161"/>
                    <a:pt x="244081" y="422081"/>
                    <a:pt x="194746" y="430259"/>
                  </a:cubicBezTo>
                  <a:cubicBezTo>
                    <a:pt x="132702" y="440555"/>
                    <a:pt x="72186" y="433718"/>
                    <a:pt x="12448" y="415432"/>
                  </a:cubicBezTo>
                  <a:cubicBezTo>
                    <a:pt x="3439" y="412670"/>
                    <a:pt x="-181" y="408970"/>
                    <a:pt x="7" y="398915"/>
                  </a:cubicBezTo>
                  <a:cubicBezTo>
                    <a:pt x="704" y="361834"/>
                    <a:pt x="275" y="324752"/>
                    <a:pt x="275" y="286088"/>
                  </a:cubicBezTo>
                  <a:close/>
                </a:path>
              </a:pathLst>
            </a:custGeom>
            <a:grpFill/>
            <a:ln w="254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7" name="Imagen 6">
            <a:extLst>
              <a:ext uri="{FF2B5EF4-FFF2-40B4-BE49-F238E27FC236}">
                <a16:creationId xmlns:a16="http://schemas.microsoft.com/office/drawing/2014/main" id="{C3BA6AA8-5C1A-BBD5-8F06-BD94BAC2EC88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7384" y="1364373"/>
            <a:ext cx="5639104" cy="3343061"/>
          </a:xfrm>
          <a:prstGeom prst="rect">
            <a:avLst/>
          </a:prstGeom>
        </p:spPr>
      </p:pic>
      <p:pic>
        <p:nvPicPr>
          <p:cNvPr id="17" name="Marcador de contenido 5">
            <a:extLst>
              <a:ext uri="{FF2B5EF4-FFF2-40B4-BE49-F238E27FC236}">
                <a16:creationId xmlns:a16="http://schemas.microsoft.com/office/drawing/2014/main" id="{6592A119-90EF-81A2-1DEF-D597BBB89146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17745" y="90757"/>
            <a:ext cx="746791" cy="1440000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id="{B91FB331-50A1-8534-934D-688A7F309BB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27971" y="4221241"/>
            <a:ext cx="1666950" cy="367035"/>
          </a:xfrm>
          <a:prstGeom prst="rect">
            <a:avLst/>
          </a:prstGeom>
        </p:spPr>
      </p:pic>
      <p:sp>
        <p:nvSpPr>
          <p:cNvPr id="15" name="Textfeld 4">
            <a:extLst>
              <a:ext uri="{FF2B5EF4-FFF2-40B4-BE49-F238E27FC236}">
                <a16:creationId xmlns:a16="http://schemas.microsoft.com/office/drawing/2014/main" id="{B654AE74-6BE3-7A08-D16E-E3FD3EF418DA}"/>
              </a:ext>
            </a:extLst>
          </p:cNvPr>
          <p:cNvSpPr txBox="1"/>
          <p:nvPr/>
        </p:nvSpPr>
        <p:spPr>
          <a:xfrm>
            <a:off x="7164729" y="4553950"/>
            <a:ext cx="1555844" cy="307073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rmAutofit/>
          </a:bodyPr>
          <a:lstStyle/>
          <a:p>
            <a:pPr algn="r"/>
            <a:r>
              <a:rPr lang="en-GB" sz="600" dirty="0">
                <a:solidFill>
                  <a:srgbClr val="77777A"/>
                </a:solidFill>
              </a:rPr>
              <a:t>*</a:t>
            </a:r>
            <a:r>
              <a:rPr lang="en-GB" sz="600" dirty="0" err="1">
                <a:solidFill>
                  <a:srgbClr val="77777A"/>
                </a:solidFill>
              </a:rPr>
              <a:t>Kynetec</a:t>
            </a:r>
            <a:r>
              <a:rPr lang="en-GB" sz="600" dirty="0">
                <a:solidFill>
                  <a:srgbClr val="77777A"/>
                </a:solidFill>
              </a:rPr>
              <a:t> WOSR panel 22/23 </a:t>
            </a:r>
          </a:p>
        </p:txBody>
      </p:sp>
      <p:graphicFrame>
        <p:nvGraphicFramePr>
          <p:cNvPr id="2" name="Espace réservé du contenu 4">
            <a:extLst>
              <a:ext uri="{FF2B5EF4-FFF2-40B4-BE49-F238E27FC236}">
                <a16:creationId xmlns:a16="http://schemas.microsoft.com/office/drawing/2014/main" id="{8C0BD8C4-00BB-57A8-293C-C63963D6FEA1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845990"/>
              </p:ext>
            </p:extLst>
          </p:nvPr>
        </p:nvGraphicFramePr>
        <p:xfrm>
          <a:off x="312335" y="1261179"/>
          <a:ext cx="2496000" cy="3292763"/>
        </p:xfrm>
        <a:graphic>
          <a:graphicData uri="http://schemas.openxmlformats.org/drawingml/2006/table">
            <a:tbl>
              <a:tblPr firstRow="1" bandRow="1">
                <a:effectLst>
                  <a:outerShdw blurRad="127000" sx="108000" sy="108000" algn="ctr" rotWithShape="0">
                    <a:schemeClr val="bg1">
                      <a:lumMod val="50000"/>
                      <a:alpha val="94000"/>
                    </a:schemeClr>
                  </a:outerShdw>
                </a:effectLst>
                <a:tableStyleId>{5C22544A-7EE6-4342-B048-85BDC9FD1C3A}</a:tableStyleId>
              </a:tblPr>
              <a:tblGrid>
                <a:gridCol w="2496000">
                  <a:extLst>
                    <a:ext uri="{9D8B030D-6E8A-4147-A177-3AD203B41FA5}">
                      <a16:colId xmlns:a16="http://schemas.microsoft.com/office/drawing/2014/main" val="1309591547"/>
                    </a:ext>
                  </a:extLst>
                </a:gridCol>
              </a:tblGrid>
              <a:tr h="292704">
                <a:tc>
                  <a:txBody>
                    <a:bodyPr/>
                    <a:lstStyle/>
                    <a:p>
                      <a:pPr algn="ctr"/>
                      <a:r>
                        <a:rPr lang="fr-FR" sz="1400" dirty="0">
                          <a:solidFill>
                            <a:srgbClr val="E3002C"/>
                          </a:solidFill>
                        </a:rPr>
                        <a:t>LG AMBASSADOR</a:t>
                      </a:r>
                    </a:p>
                  </a:txBody>
                  <a:tcPr marL="79248" marR="79248" marT="39466" marB="39466"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18707566"/>
                  </a:ext>
                </a:extLst>
              </a:tr>
              <a:tr h="292704"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b="0" dirty="0" err="1">
                          <a:solidFill>
                            <a:schemeClr val="tx1"/>
                          </a:solidFill>
                        </a:rPr>
                        <a:t>Desarrollo</a:t>
                      </a:r>
                      <a:r>
                        <a:rPr lang="fr-FR" sz="1400" b="0" dirty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marL="79248" marR="79248" marT="39466" marB="39466"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5707041"/>
                  </a:ext>
                </a:extLst>
              </a:tr>
              <a:tr h="292704">
                <a:tc>
                  <a:txBody>
                    <a:bodyPr/>
                    <a:lstStyle/>
                    <a:p>
                      <a:pPr algn="ctr" defTabSz="457189" rtl="0" eaLnBrk="1" latinLnBrk="0" hangingPunct="1"/>
                      <a:r>
                        <a:rPr lang="es-ES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íbrido de gran éxito europeo</a:t>
                      </a:r>
                      <a:endParaRPr lang="fr-FR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9248" marR="79248" marT="39466" marB="39466"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4082495"/>
                  </a:ext>
                </a:extLst>
              </a:tr>
              <a:tr h="292704">
                <a:tc>
                  <a:txBody>
                    <a:bodyPr/>
                    <a:lstStyle/>
                    <a:p>
                      <a:pPr marL="0" marR="0" lvl="0" indent="0" algn="ctr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fr-FR" sz="1400" b="1" dirty="0">
                          <a:solidFill>
                            <a:schemeClr val="tx1"/>
                          </a:solidFill>
                        </a:rPr>
                        <a:t>Medio/Medio-</a:t>
                      </a:r>
                      <a:r>
                        <a:rPr lang="fr-FR" sz="1400" b="1" dirty="0" err="1">
                          <a:solidFill>
                            <a:schemeClr val="tx1"/>
                          </a:solidFill>
                        </a:rPr>
                        <a:t>Precoz</a:t>
                      </a:r>
                      <a:r>
                        <a:rPr lang="fr-FR" sz="1400" b="1" dirty="0">
                          <a:solidFill>
                            <a:schemeClr val="tx1"/>
                          </a:solidFill>
                        </a:rPr>
                        <a:t>, </a:t>
                      </a:r>
                      <a:r>
                        <a:rPr lang="fr-FR" sz="1400" b="1" dirty="0" err="1">
                          <a:solidFill>
                            <a:schemeClr val="tx1"/>
                          </a:solidFill>
                        </a:rPr>
                        <a:t>Rto</a:t>
                      </a:r>
                      <a:r>
                        <a:rPr lang="fr-FR" sz="1400" b="1" dirty="0">
                          <a:solidFill>
                            <a:schemeClr val="tx1"/>
                          </a:solidFill>
                        </a:rPr>
                        <a:t> +++</a:t>
                      </a:r>
                    </a:p>
                  </a:txBody>
                  <a:tcPr marL="79248" marR="79248" marT="39466" marB="39466"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78777877"/>
                  </a:ext>
                </a:extLst>
              </a:tr>
              <a:tr h="963536">
                <a:tc>
                  <a:txBody>
                    <a:bodyPr/>
                    <a:lstStyle/>
                    <a:p>
                      <a:pPr marL="342900" marR="0" lvl="0" indent="-34290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Resistencia a la </a:t>
                      </a:r>
                      <a:r>
                        <a:rPr lang="en-US" sz="1200" dirty="0" err="1">
                          <a:solidFill>
                            <a:schemeClr val="tx1"/>
                          </a:solidFill>
                        </a:rPr>
                        <a:t>dehiscencia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  <a:p>
                      <a:pPr marL="342900" marR="0" lvl="0" indent="-34290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Resistencia a la </a:t>
                      </a:r>
                      <a:r>
                        <a:rPr lang="en-US" sz="1200" dirty="0" err="1">
                          <a:solidFill>
                            <a:schemeClr val="tx1"/>
                          </a:solidFill>
                        </a:rPr>
                        <a:t>virosis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tx1"/>
                          </a:solidFill>
                        </a:rPr>
                        <a:t>TuYV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  <a:p>
                      <a:pPr marL="342900" marR="0" lvl="0" indent="-34290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N-FLEX</a:t>
                      </a:r>
                    </a:p>
                    <a:p>
                      <a:pPr marL="342900" marR="0" lvl="0" indent="-34290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Vigor+</a:t>
                      </a:r>
                    </a:p>
                  </a:txBody>
                  <a:tcPr marL="79248" marR="79248" marT="39466" marB="39466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99273029"/>
                  </a:ext>
                </a:extLst>
              </a:tr>
              <a:tr h="329631">
                <a:tc>
                  <a:txBody>
                    <a:bodyPr/>
                    <a:lstStyle/>
                    <a:p>
                      <a:pPr algn="ctr" defTabSz="457189" rtl="0" eaLnBrk="1" latinLnBrk="0" hangingPunct="1"/>
                      <a:r>
                        <a:rPr lang="fr-FR" sz="1500" b="1" kern="1200" dirty="0" err="1">
                          <a:solidFill>
                            <a:srgbClr val="E3002C"/>
                          </a:solidFill>
                          <a:latin typeface="+mn-lt"/>
                          <a:ea typeface="+mn-ea"/>
                          <a:cs typeface="+mn-cs"/>
                        </a:rPr>
                        <a:t>Rendimiento</a:t>
                      </a:r>
                      <a:r>
                        <a:rPr lang="fr-FR" sz="1500" b="1" kern="1200" dirty="0">
                          <a:solidFill>
                            <a:srgbClr val="E3002C"/>
                          </a:solidFill>
                          <a:latin typeface="+mn-lt"/>
                          <a:ea typeface="+mn-ea"/>
                          <a:cs typeface="+mn-cs"/>
                        </a:rPr>
                        <a:t> y </a:t>
                      </a:r>
                      <a:r>
                        <a:rPr lang="fr-FR" sz="1500" b="1" kern="1200" dirty="0" err="1">
                          <a:solidFill>
                            <a:srgbClr val="E3002C"/>
                          </a:solidFill>
                          <a:latin typeface="+mn-lt"/>
                          <a:ea typeface="+mn-ea"/>
                          <a:cs typeface="+mn-cs"/>
                        </a:rPr>
                        <a:t>estabilidad</a:t>
                      </a:r>
                      <a:endParaRPr lang="fr-FR" sz="1500" b="1" kern="1200" dirty="0">
                        <a:solidFill>
                          <a:srgbClr val="E3002C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9248" marR="79248" marT="39466" marB="39466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5722400"/>
                  </a:ext>
                </a:extLst>
              </a:tr>
              <a:tr h="828780">
                <a:tc>
                  <a:txBody>
                    <a:bodyPr/>
                    <a:lstStyle/>
                    <a:p>
                      <a:pPr algn="ctr" defTabSz="457189" rtl="0" eaLnBrk="1" latinLnBrk="0" hangingPunct="1"/>
                      <a:r>
                        <a:rPr lang="es-ES" sz="12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gricultores que buscan un alto rendimiento en diferentes condiciones
</a:t>
                      </a:r>
                      <a:endParaRPr lang="fr-FR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9248" marR="79248" marT="39466" marB="39466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3793148"/>
                  </a:ext>
                </a:extLst>
              </a:tr>
            </a:tbl>
          </a:graphicData>
        </a:graphic>
      </p:graphicFrame>
      <p:pic>
        <p:nvPicPr>
          <p:cNvPr id="8" name="Image 20">
            <a:extLst>
              <a:ext uri="{FF2B5EF4-FFF2-40B4-BE49-F238E27FC236}">
                <a16:creationId xmlns:a16="http://schemas.microsoft.com/office/drawing/2014/main" id="{78A0595B-3DD0-FCE0-235A-71E424D39AF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92346" y="2867559"/>
            <a:ext cx="573665" cy="5710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27278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>
            <a:extLst>
              <a:ext uri="{FF2B5EF4-FFF2-40B4-BE49-F238E27FC236}">
                <a16:creationId xmlns:a16="http://schemas.microsoft.com/office/drawing/2014/main" id="{A6265FCE-42D9-7817-F84F-8E21DA2AA3E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64654" y="89831"/>
            <a:ext cx="944828" cy="991912"/>
          </a:xfrm>
          <a:prstGeom prst="rect">
            <a:avLst/>
          </a:prstGeom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01573134-7BBE-7F99-ABB6-621FDC5A15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LG AVIRON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7C118642-9788-A521-E77A-9810EFFEAAE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 err="1"/>
              <a:t>Variedad</a:t>
            </a:r>
            <a:r>
              <a:rPr lang="en-GB" dirty="0"/>
              <a:t> </a:t>
            </a:r>
            <a:r>
              <a:rPr lang="en-GB" dirty="0" err="1"/>
              <a:t>estratégica</a:t>
            </a:r>
            <a:r>
              <a:rPr lang="en-GB" dirty="0"/>
              <a:t> de LG 2023/2024</a:t>
            </a:r>
          </a:p>
          <a:p>
            <a:endParaRPr lang="en-GB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16A86D2A-54F3-B010-7D5C-CF301483C089}"/>
              </a:ext>
            </a:extLst>
          </p:cNvPr>
          <p:cNvSpPr txBox="1"/>
          <p:nvPr/>
        </p:nvSpPr>
        <p:spPr>
          <a:xfrm>
            <a:off x="7164729" y="4553950"/>
            <a:ext cx="1555844" cy="307073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rmAutofit/>
          </a:bodyPr>
          <a:lstStyle/>
          <a:p>
            <a:pPr algn="r"/>
            <a:r>
              <a:rPr lang="en-GB" sz="600" dirty="0">
                <a:solidFill>
                  <a:srgbClr val="77777A"/>
                </a:solidFill>
              </a:rPr>
              <a:t>*</a:t>
            </a:r>
            <a:r>
              <a:rPr lang="en-GB" sz="600" dirty="0" err="1">
                <a:solidFill>
                  <a:srgbClr val="77777A"/>
                </a:solidFill>
              </a:rPr>
              <a:t>Kynetec</a:t>
            </a:r>
            <a:r>
              <a:rPr lang="en-GB" sz="600" dirty="0">
                <a:solidFill>
                  <a:srgbClr val="77777A"/>
                </a:solidFill>
              </a:rPr>
              <a:t> WOSR panel 22/23 </a:t>
            </a:r>
          </a:p>
        </p:txBody>
      </p:sp>
      <p:grpSp>
        <p:nvGrpSpPr>
          <p:cNvPr id="2" name="Group 9">
            <a:extLst>
              <a:ext uri="{FF2B5EF4-FFF2-40B4-BE49-F238E27FC236}">
                <a16:creationId xmlns:a16="http://schemas.microsoft.com/office/drawing/2014/main" id="{E1242CE9-7670-567F-41E6-B479E4644357}"/>
              </a:ext>
            </a:extLst>
          </p:cNvPr>
          <p:cNvGrpSpPr/>
          <p:nvPr/>
        </p:nvGrpSpPr>
        <p:grpSpPr>
          <a:xfrm rot="16200000">
            <a:off x="8457754" y="4009197"/>
            <a:ext cx="927501" cy="230656"/>
            <a:chOff x="8766811" y="250670"/>
            <a:chExt cx="1200150" cy="298460"/>
          </a:xfrm>
          <a:solidFill>
            <a:schemeClr val="bg1">
              <a:alpha val="42000"/>
            </a:schemeClr>
          </a:solidFill>
        </p:grpSpPr>
        <p:sp>
          <p:nvSpPr>
            <p:cNvPr id="7" name="Freeform: Shape 5">
              <a:extLst>
                <a:ext uri="{FF2B5EF4-FFF2-40B4-BE49-F238E27FC236}">
                  <a16:creationId xmlns:a16="http://schemas.microsoft.com/office/drawing/2014/main" id="{BF6871D0-D770-B090-B696-2415535983CA}"/>
                </a:ext>
              </a:extLst>
            </p:cNvPr>
            <p:cNvSpPr/>
            <p:nvPr/>
          </p:nvSpPr>
          <p:spPr>
            <a:xfrm>
              <a:off x="9340947" y="259788"/>
              <a:ext cx="396639" cy="280066"/>
            </a:xfrm>
            <a:custGeom>
              <a:avLst/>
              <a:gdLst>
                <a:gd name="connsiteX0" fmla="*/ 188626 w 578185"/>
                <a:gd name="connsiteY0" fmla="*/ 247351 h 408253"/>
                <a:gd name="connsiteX1" fmla="*/ 209084 w 578185"/>
                <a:gd name="connsiteY1" fmla="*/ 156671 h 408253"/>
                <a:gd name="connsiteX2" fmla="*/ 241634 w 578185"/>
                <a:gd name="connsiteY2" fmla="*/ 10757 h 408253"/>
                <a:gd name="connsiteX3" fmla="*/ 255014 w 578185"/>
                <a:gd name="connsiteY3" fmla="*/ 5 h 408253"/>
                <a:gd name="connsiteX4" fmla="*/ 343468 w 578185"/>
                <a:gd name="connsiteY4" fmla="*/ 86 h 408253"/>
                <a:gd name="connsiteX5" fmla="*/ 356258 w 578185"/>
                <a:gd name="connsiteY5" fmla="*/ 9926 h 408253"/>
                <a:gd name="connsiteX6" fmla="*/ 402000 w 578185"/>
                <a:gd name="connsiteY6" fmla="*/ 237699 h 408253"/>
                <a:gd name="connsiteX7" fmla="*/ 406853 w 578185"/>
                <a:gd name="connsiteY7" fmla="*/ 247646 h 408253"/>
                <a:gd name="connsiteX8" fmla="*/ 443881 w 578185"/>
                <a:gd name="connsiteY8" fmla="*/ 88487 h 408253"/>
                <a:gd name="connsiteX9" fmla="*/ 418275 w 578185"/>
                <a:gd name="connsiteY9" fmla="*/ 64463 h 408253"/>
                <a:gd name="connsiteX10" fmla="*/ 418275 w 578185"/>
                <a:gd name="connsiteY10" fmla="*/ 1132 h 408253"/>
                <a:gd name="connsiteX11" fmla="*/ 578185 w 578185"/>
                <a:gd name="connsiteY11" fmla="*/ 1132 h 408253"/>
                <a:gd name="connsiteX12" fmla="*/ 578185 w 578185"/>
                <a:gd name="connsiteY12" fmla="*/ 65482 h 408253"/>
                <a:gd name="connsiteX13" fmla="*/ 535580 w 578185"/>
                <a:gd name="connsiteY13" fmla="*/ 107309 h 408253"/>
                <a:gd name="connsiteX14" fmla="*/ 450423 w 578185"/>
                <a:gd name="connsiteY14" fmla="*/ 398306 h 408253"/>
                <a:gd name="connsiteX15" fmla="*/ 447072 w 578185"/>
                <a:gd name="connsiteY15" fmla="*/ 408146 h 408253"/>
                <a:gd name="connsiteX16" fmla="*/ 338964 w 578185"/>
                <a:gd name="connsiteY16" fmla="*/ 408146 h 408253"/>
                <a:gd name="connsiteX17" fmla="*/ 289414 w 578185"/>
                <a:gd name="connsiteY17" fmla="*/ 183832 h 408253"/>
                <a:gd name="connsiteX18" fmla="*/ 287189 w 578185"/>
                <a:gd name="connsiteY18" fmla="*/ 183644 h 408253"/>
                <a:gd name="connsiteX19" fmla="*/ 234663 w 578185"/>
                <a:gd name="connsiteY19" fmla="*/ 408253 h 408253"/>
                <a:gd name="connsiteX20" fmla="*/ 124035 w 578185"/>
                <a:gd name="connsiteY20" fmla="*/ 408253 h 408253"/>
                <a:gd name="connsiteX21" fmla="*/ 101941 w 578185"/>
                <a:gd name="connsiteY21" fmla="*/ 325536 h 408253"/>
                <a:gd name="connsiteX22" fmla="*/ 42176 w 578185"/>
                <a:gd name="connsiteY22" fmla="*/ 100874 h 408253"/>
                <a:gd name="connsiteX23" fmla="*/ 0 w 578185"/>
                <a:gd name="connsiteY23" fmla="*/ 66072 h 408253"/>
                <a:gd name="connsiteX24" fmla="*/ 0 w 578185"/>
                <a:gd name="connsiteY24" fmla="*/ 1266 h 408253"/>
                <a:gd name="connsiteX25" fmla="*/ 183880 w 578185"/>
                <a:gd name="connsiteY25" fmla="*/ 1266 h 408253"/>
                <a:gd name="connsiteX26" fmla="*/ 183880 w 578185"/>
                <a:gd name="connsiteY26" fmla="*/ 64650 h 408253"/>
                <a:gd name="connsiteX27" fmla="*/ 157658 w 578185"/>
                <a:gd name="connsiteY27" fmla="*/ 101920 h 408253"/>
                <a:gd name="connsiteX28" fmla="*/ 185677 w 578185"/>
                <a:gd name="connsiteY28" fmla="*/ 247485 h 408253"/>
                <a:gd name="connsiteX29" fmla="*/ 188599 w 578185"/>
                <a:gd name="connsiteY29" fmla="*/ 247351 h 408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78185" h="408253">
                  <a:moveTo>
                    <a:pt x="188626" y="247351"/>
                  </a:moveTo>
                  <a:cubicBezTo>
                    <a:pt x="195436" y="217133"/>
                    <a:pt x="202300" y="186889"/>
                    <a:pt x="209084" y="156671"/>
                  </a:cubicBezTo>
                  <a:cubicBezTo>
                    <a:pt x="219997" y="108033"/>
                    <a:pt x="230883" y="59422"/>
                    <a:pt x="241634" y="10757"/>
                  </a:cubicBezTo>
                  <a:cubicBezTo>
                    <a:pt x="243297" y="3250"/>
                    <a:pt x="246461" y="-155"/>
                    <a:pt x="255014" y="5"/>
                  </a:cubicBezTo>
                  <a:cubicBezTo>
                    <a:pt x="284481" y="595"/>
                    <a:pt x="314001" y="461"/>
                    <a:pt x="343468" y="86"/>
                  </a:cubicBezTo>
                  <a:cubicBezTo>
                    <a:pt x="351056" y="-21"/>
                    <a:pt x="354756" y="2285"/>
                    <a:pt x="356258" y="9926"/>
                  </a:cubicBezTo>
                  <a:cubicBezTo>
                    <a:pt x="371353" y="85886"/>
                    <a:pt x="386690" y="161792"/>
                    <a:pt x="402000" y="237699"/>
                  </a:cubicBezTo>
                  <a:cubicBezTo>
                    <a:pt x="402670" y="241050"/>
                    <a:pt x="403770" y="244321"/>
                    <a:pt x="406853" y="247646"/>
                  </a:cubicBezTo>
                  <a:cubicBezTo>
                    <a:pt x="419240" y="194611"/>
                    <a:pt x="431896" y="141602"/>
                    <a:pt x="443881" y="88487"/>
                  </a:cubicBezTo>
                  <a:cubicBezTo>
                    <a:pt x="447367" y="73043"/>
                    <a:pt x="441843" y="68377"/>
                    <a:pt x="418275" y="64463"/>
                  </a:cubicBezTo>
                  <a:lnTo>
                    <a:pt x="418275" y="1132"/>
                  </a:lnTo>
                  <a:lnTo>
                    <a:pt x="578185" y="1132"/>
                  </a:lnTo>
                  <a:lnTo>
                    <a:pt x="578185" y="65482"/>
                  </a:lnTo>
                  <a:cubicBezTo>
                    <a:pt x="549657" y="64302"/>
                    <a:pt x="542122" y="84626"/>
                    <a:pt x="535580" y="107309"/>
                  </a:cubicBezTo>
                  <a:cubicBezTo>
                    <a:pt x="507534" y="204397"/>
                    <a:pt x="478871" y="301325"/>
                    <a:pt x="450423" y="398306"/>
                  </a:cubicBezTo>
                  <a:cubicBezTo>
                    <a:pt x="449431" y="401657"/>
                    <a:pt x="448171" y="404955"/>
                    <a:pt x="447072" y="408146"/>
                  </a:cubicBezTo>
                  <a:lnTo>
                    <a:pt x="338964" y="408146"/>
                  </a:lnTo>
                  <a:cubicBezTo>
                    <a:pt x="322367" y="333044"/>
                    <a:pt x="305904" y="258425"/>
                    <a:pt x="289414" y="183832"/>
                  </a:cubicBezTo>
                  <a:lnTo>
                    <a:pt x="287189" y="183644"/>
                  </a:lnTo>
                  <a:cubicBezTo>
                    <a:pt x="269707" y="258398"/>
                    <a:pt x="252225" y="333151"/>
                    <a:pt x="234663" y="408253"/>
                  </a:cubicBezTo>
                  <a:lnTo>
                    <a:pt x="124035" y="408253"/>
                  </a:lnTo>
                  <a:cubicBezTo>
                    <a:pt x="116742" y="381012"/>
                    <a:pt x="109315" y="353287"/>
                    <a:pt x="101941" y="325536"/>
                  </a:cubicBezTo>
                  <a:cubicBezTo>
                    <a:pt x="82019" y="250649"/>
                    <a:pt x="62151" y="175735"/>
                    <a:pt x="42176" y="100874"/>
                  </a:cubicBezTo>
                  <a:cubicBezTo>
                    <a:pt x="36519" y="79665"/>
                    <a:pt x="28207" y="61192"/>
                    <a:pt x="0" y="66072"/>
                  </a:cubicBezTo>
                  <a:lnTo>
                    <a:pt x="0" y="1266"/>
                  </a:lnTo>
                  <a:lnTo>
                    <a:pt x="183880" y="1266"/>
                  </a:lnTo>
                  <a:lnTo>
                    <a:pt x="183880" y="64650"/>
                  </a:lnTo>
                  <a:cubicBezTo>
                    <a:pt x="152107" y="68726"/>
                    <a:pt x="151437" y="69691"/>
                    <a:pt x="157658" y="101920"/>
                  </a:cubicBezTo>
                  <a:cubicBezTo>
                    <a:pt x="167015" y="150451"/>
                    <a:pt x="176346" y="198954"/>
                    <a:pt x="185677" y="247485"/>
                  </a:cubicBezTo>
                  <a:lnTo>
                    <a:pt x="188599" y="247351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: Shape 6">
              <a:extLst>
                <a:ext uri="{FF2B5EF4-FFF2-40B4-BE49-F238E27FC236}">
                  <a16:creationId xmlns:a16="http://schemas.microsoft.com/office/drawing/2014/main" id="{AE8E800C-2CB8-B81B-6183-510524017900}"/>
                </a:ext>
              </a:extLst>
            </p:cNvPr>
            <p:cNvSpPr/>
            <p:nvPr/>
          </p:nvSpPr>
          <p:spPr>
            <a:xfrm>
              <a:off x="8766811" y="259809"/>
              <a:ext cx="277264" cy="283641"/>
            </a:xfrm>
            <a:custGeom>
              <a:avLst/>
              <a:gdLst>
                <a:gd name="connsiteX0" fmla="*/ 0 w 404171"/>
                <a:gd name="connsiteY0" fmla="*/ 407794 h 413465"/>
                <a:gd name="connsiteX1" fmla="*/ 0 w 404171"/>
                <a:gd name="connsiteY1" fmla="*/ 342854 h 413465"/>
                <a:gd name="connsiteX2" fmla="*/ 21879 w 404171"/>
                <a:gd name="connsiteY2" fmla="*/ 341835 h 413465"/>
                <a:gd name="connsiteX3" fmla="*/ 38422 w 404171"/>
                <a:gd name="connsiteY3" fmla="*/ 324970 h 413465"/>
                <a:gd name="connsiteX4" fmla="*/ 38664 w 404171"/>
                <a:gd name="connsiteY4" fmla="*/ 280729 h 413465"/>
                <a:gd name="connsiteX5" fmla="*/ 38664 w 404171"/>
                <a:gd name="connsiteY5" fmla="*/ 99691 h 413465"/>
                <a:gd name="connsiteX6" fmla="*/ 6274 w 404171"/>
                <a:gd name="connsiteY6" fmla="*/ 65773 h 413465"/>
                <a:gd name="connsiteX7" fmla="*/ 134 w 404171"/>
                <a:gd name="connsiteY7" fmla="*/ 65076 h 413465"/>
                <a:gd name="connsiteX8" fmla="*/ 134 w 404171"/>
                <a:gd name="connsiteY8" fmla="*/ 860 h 413465"/>
                <a:gd name="connsiteX9" fmla="*/ 12843 w 404171"/>
                <a:gd name="connsiteY9" fmla="*/ 190 h 413465"/>
                <a:gd name="connsiteX10" fmla="*/ 156263 w 404171"/>
                <a:gd name="connsiteY10" fmla="*/ 2 h 413465"/>
                <a:gd name="connsiteX11" fmla="*/ 173852 w 404171"/>
                <a:gd name="connsiteY11" fmla="*/ 11961 h 413465"/>
                <a:gd name="connsiteX12" fmla="*/ 265605 w 404171"/>
                <a:gd name="connsiteY12" fmla="*/ 219811 h 413465"/>
                <a:gd name="connsiteX13" fmla="*/ 273675 w 404171"/>
                <a:gd name="connsiteY13" fmla="*/ 231260 h 413465"/>
                <a:gd name="connsiteX14" fmla="*/ 273675 w 404171"/>
                <a:gd name="connsiteY14" fmla="*/ 204153 h 413465"/>
                <a:gd name="connsiteX15" fmla="*/ 273675 w 404171"/>
                <a:gd name="connsiteY15" fmla="*/ 103579 h 413465"/>
                <a:gd name="connsiteX16" fmla="*/ 237103 w 404171"/>
                <a:gd name="connsiteY16" fmla="*/ 65130 h 413465"/>
                <a:gd name="connsiteX17" fmla="*/ 237103 w 404171"/>
                <a:gd name="connsiteY17" fmla="*/ 941 h 413465"/>
                <a:gd name="connsiteX18" fmla="*/ 404172 w 404171"/>
                <a:gd name="connsiteY18" fmla="*/ 941 h 413465"/>
                <a:gd name="connsiteX19" fmla="*/ 404172 w 404171"/>
                <a:gd name="connsiteY19" fmla="*/ 64245 h 413465"/>
                <a:gd name="connsiteX20" fmla="*/ 401759 w 404171"/>
                <a:gd name="connsiteY20" fmla="*/ 65398 h 413465"/>
                <a:gd name="connsiteX21" fmla="*/ 365374 w 404171"/>
                <a:gd name="connsiteY21" fmla="*/ 103445 h 413465"/>
                <a:gd name="connsiteX22" fmla="*/ 365508 w 404171"/>
                <a:gd name="connsiteY22" fmla="*/ 394441 h 413465"/>
                <a:gd name="connsiteX23" fmla="*/ 365508 w 404171"/>
                <a:gd name="connsiteY23" fmla="*/ 412004 h 413465"/>
                <a:gd name="connsiteX24" fmla="*/ 299201 w 404171"/>
                <a:gd name="connsiteY24" fmla="*/ 411977 h 413465"/>
                <a:gd name="connsiteX25" fmla="*/ 254665 w 404171"/>
                <a:gd name="connsiteY25" fmla="*/ 409698 h 413465"/>
                <a:gd name="connsiteX26" fmla="*/ 233752 w 404171"/>
                <a:gd name="connsiteY26" fmla="*/ 370498 h 413465"/>
                <a:gd name="connsiteX27" fmla="*/ 139613 w 404171"/>
                <a:gd name="connsiteY27" fmla="*/ 170986 h 413465"/>
                <a:gd name="connsiteX28" fmla="*/ 131569 w 404171"/>
                <a:gd name="connsiteY28" fmla="*/ 160019 h 413465"/>
                <a:gd name="connsiteX29" fmla="*/ 131569 w 404171"/>
                <a:gd name="connsiteY29" fmla="*/ 206191 h 413465"/>
                <a:gd name="connsiteX30" fmla="*/ 131489 w 404171"/>
                <a:gd name="connsiteY30" fmla="*/ 314808 h 413465"/>
                <a:gd name="connsiteX31" fmla="*/ 158355 w 404171"/>
                <a:gd name="connsiteY31" fmla="*/ 342211 h 413465"/>
                <a:gd name="connsiteX32" fmla="*/ 169830 w 404171"/>
                <a:gd name="connsiteY32" fmla="*/ 342211 h 413465"/>
                <a:gd name="connsiteX33" fmla="*/ 169830 w 404171"/>
                <a:gd name="connsiteY33" fmla="*/ 407740 h 413465"/>
                <a:gd name="connsiteX34" fmla="*/ 0 w 404171"/>
                <a:gd name="connsiteY34" fmla="*/ 407740 h 41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404171" h="413465">
                  <a:moveTo>
                    <a:pt x="0" y="407794"/>
                  </a:moveTo>
                  <a:lnTo>
                    <a:pt x="0" y="342854"/>
                  </a:lnTo>
                  <a:cubicBezTo>
                    <a:pt x="7776" y="342506"/>
                    <a:pt x="14827" y="342184"/>
                    <a:pt x="21879" y="341835"/>
                  </a:cubicBezTo>
                  <a:cubicBezTo>
                    <a:pt x="32550" y="341299"/>
                    <a:pt x="38342" y="335910"/>
                    <a:pt x="38422" y="324970"/>
                  </a:cubicBezTo>
                  <a:cubicBezTo>
                    <a:pt x="38530" y="310223"/>
                    <a:pt x="38664" y="295476"/>
                    <a:pt x="38664" y="280729"/>
                  </a:cubicBezTo>
                  <a:cubicBezTo>
                    <a:pt x="38664" y="220374"/>
                    <a:pt x="38664" y="160046"/>
                    <a:pt x="38664" y="99691"/>
                  </a:cubicBezTo>
                  <a:cubicBezTo>
                    <a:pt x="38664" y="69581"/>
                    <a:pt x="36197" y="67034"/>
                    <a:pt x="6274" y="65773"/>
                  </a:cubicBezTo>
                  <a:cubicBezTo>
                    <a:pt x="4531" y="65693"/>
                    <a:pt x="2789" y="65371"/>
                    <a:pt x="134" y="65076"/>
                  </a:cubicBezTo>
                  <a:lnTo>
                    <a:pt x="134" y="860"/>
                  </a:lnTo>
                  <a:cubicBezTo>
                    <a:pt x="4317" y="619"/>
                    <a:pt x="8580" y="190"/>
                    <a:pt x="12843" y="190"/>
                  </a:cubicBezTo>
                  <a:cubicBezTo>
                    <a:pt x="60650" y="190"/>
                    <a:pt x="108457" y="565"/>
                    <a:pt x="156263" y="2"/>
                  </a:cubicBezTo>
                  <a:cubicBezTo>
                    <a:pt x="166077" y="-105"/>
                    <a:pt x="170233" y="3649"/>
                    <a:pt x="173852" y="11961"/>
                  </a:cubicBezTo>
                  <a:cubicBezTo>
                    <a:pt x="204231" y="81351"/>
                    <a:pt x="234958" y="150555"/>
                    <a:pt x="265605" y="219811"/>
                  </a:cubicBezTo>
                  <a:cubicBezTo>
                    <a:pt x="267348" y="223753"/>
                    <a:pt x="269251" y="227641"/>
                    <a:pt x="273675" y="231260"/>
                  </a:cubicBezTo>
                  <a:cubicBezTo>
                    <a:pt x="273675" y="222224"/>
                    <a:pt x="273675" y="213189"/>
                    <a:pt x="273675" y="204153"/>
                  </a:cubicBezTo>
                  <a:cubicBezTo>
                    <a:pt x="273675" y="170637"/>
                    <a:pt x="273675" y="137095"/>
                    <a:pt x="273675" y="103579"/>
                  </a:cubicBezTo>
                  <a:cubicBezTo>
                    <a:pt x="273675" y="69152"/>
                    <a:pt x="272388" y="67784"/>
                    <a:pt x="237103" y="65130"/>
                  </a:cubicBezTo>
                  <a:lnTo>
                    <a:pt x="237103" y="941"/>
                  </a:lnTo>
                  <a:lnTo>
                    <a:pt x="404172" y="941"/>
                  </a:lnTo>
                  <a:lnTo>
                    <a:pt x="404172" y="64245"/>
                  </a:lnTo>
                  <a:cubicBezTo>
                    <a:pt x="403260" y="64701"/>
                    <a:pt x="402536" y="65344"/>
                    <a:pt x="401759" y="65398"/>
                  </a:cubicBezTo>
                  <a:cubicBezTo>
                    <a:pt x="365991" y="67168"/>
                    <a:pt x="365347" y="67838"/>
                    <a:pt x="365374" y="103445"/>
                  </a:cubicBezTo>
                  <a:cubicBezTo>
                    <a:pt x="365428" y="200453"/>
                    <a:pt x="365481" y="297434"/>
                    <a:pt x="365508" y="394441"/>
                  </a:cubicBezTo>
                  <a:cubicBezTo>
                    <a:pt x="365508" y="399723"/>
                    <a:pt x="365508" y="404979"/>
                    <a:pt x="365508" y="412004"/>
                  </a:cubicBezTo>
                  <a:cubicBezTo>
                    <a:pt x="342637" y="412004"/>
                    <a:pt x="320919" y="412111"/>
                    <a:pt x="299201" y="411977"/>
                  </a:cubicBezTo>
                  <a:cubicBezTo>
                    <a:pt x="284052" y="411870"/>
                    <a:pt x="265632" y="416615"/>
                    <a:pt x="254665" y="409698"/>
                  </a:cubicBezTo>
                  <a:cubicBezTo>
                    <a:pt x="243779" y="402834"/>
                    <a:pt x="240187" y="384145"/>
                    <a:pt x="233752" y="370498"/>
                  </a:cubicBezTo>
                  <a:cubicBezTo>
                    <a:pt x="202327" y="304030"/>
                    <a:pt x="171010" y="237481"/>
                    <a:pt x="139613" y="170986"/>
                  </a:cubicBezTo>
                  <a:cubicBezTo>
                    <a:pt x="137790" y="167125"/>
                    <a:pt x="135725" y="163398"/>
                    <a:pt x="131569" y="160019"/>
                  </a:cubicBezTo>
                  <a:cubicBezTo>
                    <a:pt x="131569" y="175410"/>
                    <a:pt x="131569" y="190800"/>
                    <a:pt x="131569" y="206191"/>
                  </a:cubicBezTo>
                  <a:cubicBezTo>
                    <a:pt x="131542" y="242388"/>
                    <a:pt x="131462" y="278611"/>
                    <a:pt x="131489" y="314808"/>
                  </a:cubicBezTo>
                  <a:cubicBezTo>
                    <a:pt x="131489" y="338618"/>
                    <a:pt x="134706" y="341835"/>
                    <a:pt x="158355" y="342211"/>
                  </a:cubicBezTo>
                  <a:cubicBezTo>
                    <a:pt x="161894" y="342264"/>
                    <a:pt x="165406" y="342211"/>
                    <a:pt x="169830" y="342211"/>
                  </a:cubicBezTo>
                  <a:lnTo>
                    <a:pt x="169830" y="407740"/>
                  </a:lnTo>
                  <a:lnTo>
                    <a:pt x="0" y="40774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: Shape 7">
              <a:extLst>
                <a:ext uri="{FF2B5EF4-FFF2-40B4-BE49-F238E27FC236}">
                  <a16:creationId xmlns:a16="http://schemas.microsoft.com/office/drawing/2014/main" id="{468EB6C5-AD5E-3817-F149-0700CF2F9A8C}"/>
                </a:ext>
              </a:extLst>
            </p:cNvPr>
            <p:cNvSpPr/>
            <p:nvPr/>
          </p:nvSpPr>
          <p:spPr>
            <a:xfrm>
              <a:off x="9085608" y="260399"/>
              <a:ext cx="223758" cy="279344"/>
            </a:xfrm>
            <a:custGeom>
              <a:avLst/>
              <a:gdLst>
                <a:gd name="connsiteX0" fmla="*/ 27 w 326174"/>
                <a:gd name="connsiteY0" fmla="*/ 0 h 407201"/>
                <a:gd name="connsiteX1" fmla="*/ 319981 w 326174"/>
                <a:gd name="connsiteY1" fmla="*/ 0 h 407201"/>
                <a:gd name="connsiteX2" fmla="*/ 319981 w 326174"/>
                <a:gd name="connsiteY2" fmla="*/ 119879 h 407201"/>
                <a:gd name="connsiteX3" fmla="*/ 235628 w 326174"/>
                <a:gd name="connsiteY3" fmla="*/ 119879 h 407201"/>
                <a:gd name="connsiteX4" fmla="*/ 235682 w 326174"/>
                <a:gd name="connsiteY4" fmla="*/ 98429 h 407201"/>
                <a:gd name="connsiteX5" fmla="*/ 218656 w 326174"/>
                <a:gd name="connsiteY5" fmla="*/ 78936 h 407201"/>
                <a:gd name="connsiteX6" fmla="*/ 152670 w 326174"/>
                <a:gd name="connsiteY6" fmla="*/ 78722 h 407201"/>
                <a:gd name="connsiteX7" fmla="*/ 152670 w 326174"/>
                <a:gd name="connsiteY7" fmla="*/ 156210 h 407201"/>
                <a:gd name="connsiteX8" fmla="*/ 271638 w 326174"/>
                <a:gd name="connsiteY8" fmla="*/ 156210 h 407201"/>
                <a:gd name="connsiteX9" fmla="*/ 271638 w 326174"/>
                <a:gd name="connsiteY9" fmla="*/ 238980 h 407201"/>
                <a:gd name="connsiteX10" fmla="*/ 152858 w 326174"/>
                <a:gd name="connsiteY10" fmla="*/ 238980 h 407201"/>
                <a:gd name="connsiteX11" fmla="*/ 152858 w 326174"/>
                <a:gd name="connsiteY11" fmla="*/ 327542 h 407201"/>
                <a:gd name="connsiteX12" fmla="*/ 227933 w 326174"/>
                <a:gd name="connsiteY12" fmla="*/ 327354 h 407201"/>
                <a:gd name="connsiteX13" fmla="*/ 243163 w 326174"/>
                <a:gd name="connsiteY13" fmla="*/ 308800 h 407201"/>
                <a:gd name="connsiteX14" fmla="*/ 243243 w 326174"/>
                <a:gd name="connsiteY14" fmla="*/ 282685 h 407201"/>
                <a:gd name="connsiteX15" fmla="*/ 326174 w 326174"/>
                <a:gd name="connsiteY15" fmla="*/ 282685 h 407201"/>
                <a:gd name="connsiteX16" fmla="*/ 326174 w 326174"/>
                <a:gd name="connsiteY16" fmla="*/ 407202 h 407201"/>
                <a:gd name="connsiteX17" fmla="*/ 0 w 326174"/>
                <a:gd name="connsiteY17" fmla="*/ 407202 h 407201"/>
                <a:gd name="connsiteX18" fmla="*/ 0 w 326174"/>
                <a:gd name="connsiteY18" fmla="*/ 341216 h 407201"/>
                <a:gd name="connsiteX19" fmla="*/ 17991 w 326174"/>
                <a:gd name="connsiteY19" fmla="*/ 341163 h 407201"/>
                <a:gd name="connsiteX20" fmla="*/ 37001 w 326174"/>
                <a:gd name="connsiteY20" fmla="*/ 321831 h 407201"/>
                <a:gd name="connsiteX21" fmla="*/ 37109 w 326174"/>
                <a:gd name="connsiteY21" fmla="*/ 198493 h 407201"/>
                <a:gd name="connsiteX22" fmla="*/ 37109 w 326174"/>
                <a:gd name="connsiteY22" fmla="*/ 92584 h 407201"/>
                <a:gd name="connsiteX23" fmla="*/ 10216 w 326174"/>
                <a:gd name="connsiteY23" fmla="*/ 64860 h 407201"/>
                <a:gd name="connsiteX24" fmla="*/ 27 w 326174"/>
                <a:gd name="connsiteY24" fmla="*/ 64404 h 407201"/>
                <a:gd name="connsiteX25" fmla="*/ 27 w 326174"/>
                <a:gd name="connsiteY25" fmla="*/ 0 h 407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26174" h="407201">
                  <a:moveTo>
                    <a:pt x="27" y="0"/>
                  </a:moveTo>
                  <a:lnTo>
                    <a:pt x="319981" y="0"/>
                  </a:lnTo>
                  <a:lnTo>
                    <a:pt x="319981" y="119879"/>
                  </a:lnTo>
                  <a:lnTo>
                    <a:pt x="235628" y="119879"/>
                  </a:lnTo>
                  <a:cubicBezTo>
                    <a:pt x="235628" y="112479"/>
                    <a:pt x="235333" y="105427"/>
                    <a:pt x="235682" y="98429"/>
                  </a:cubicBezTo>
                  <a:cubicBezTo>
                    <a:pt x="236272" y="86283"/>
                    <a:pt x="230185" y="79311"/>
                    <a:pt x="218656" y="78936"/>
                  </a:cubicBezTo>
                  <a:cubicBezTo>
                    <a:pt x="196911" y="78239"/>
                    <a:pt x="175139" y="78722"/>
                    <a:pt x="152670" y="78722"/>
                  </a:cubicBezTo>
                  <a:lnTo>
                    <a:pt x="152670" y="156210"/>
                  </a:lnTo>
                  <a:lnTo>
                    <a:pt x="271638" y="156210"/>
                  </a:lnTo>
                  <a:lnTo>
                    <a:pt x="271638" y="238980"/>
                  </a:lnTo>
                  <a:lnTo>
                    <a:pt x="152858" y="238980"/>
                  </a:lnTo>
                  <a:lnTo>
                    <a:pt x="152858" y="327542"/>
                  </a:lnTo>
                  <a:cubicBezTo>
                    <a:pt x="178196" y="327542"/>
                    <a:pt x="203078" y="327944"/>
                    <a:pt x="227933" y="327354"/>
                  </a:cubicBezTo>
                  <a:cubicBezTo>
                    <a:pt x="239007" y="327086"/>
                    <a:pt x="242680" y="318560"/>
                    <a:pt x="243163" y="308800"/>
                  </a:cubicBezTo>
                  <a:cubicBezTo>
                    <a:pt x="243565" y="300408"/>
                    <a:pt x="243243" y="291962"/>
                    <a:pt x="243243" y="282685"/>
                  </a:cubicBezTo>
                  <a:lnTo>
                    <a:pt x="326174" y="282685"/>
                  </a:lnTo>
                  <a:lnTo>
                    <a:pt x="326174" y="407202"/>
                  </a:lnTo>
                  <a:lnTo>
                    <a:pt x="0" y="407202"/>
                  </a:lnTo>
                  <a:lnTo>
                    <a:pt x="0" y="341216"/>
                  </a:lnTo>
                  <a:cubicBezTo>
                    <a:pt x="5872" y="341216"/>
                    <a:pt x="11932" y="341431"/>
                    <a:pt x="17991" y="341163"/>
                  </a:cubicBezTo>
                  <a:cubicBezTo>
                    <a:pt x="33301" y="340519"/>
                    <a:pt x="36948" y="337007"/>
                    <a:pt x="37001" y="321831"/>
                  </a:cubicBezTo>
                  <a:cubicBezTo>
                    <a:pt x="37162" y="280727"/>
                    <a:pt x="37082" y="239624"/>
                    <a:pt x="37109" y="198493"/>
                  </a:cubicBezTo>
                  <a:cubicBezTo>
                    <a:pt x="37109" y="163181"/>
                    <a:pt x="37109" y="127896"/>
                    <a:pt x="37109" y="92584"/>
                  </a:cubicBezTo>
                  <a:cubicBezTo>
                    <a:pt x="37109" y="69015"/>
                    <a:pt x="33650" y="65503"/>
                    <a:pt x="10216" y="64860"/>
                  </a:cubicBezTo>
                  <a:cubicBezTo>
                    <a:pt x="7132" y="64779"/>
                    <a:pt x="4049" y="64591"/>
                    <a:pt x="27" y="64404"/>
                  </a:cubicBezTo>
                  <a:lnTo>
                    <a:pt x="27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: Shape 8">
              <a:extLst>
                <a:ext uri="{FF2B5EF4-FFF2-40B4-BE49-F238E27FC236}">
                  <a16:creationId xmlns:a16="http://schemas.microsoft.com/office/drawing/2014/main" id="{1E2109F3-AC15-60E6-D633-404C7BAA0DB8}"/>
                </a:ext>
              </a:extLst>
            </p:cNvPr>
            <p:cNvSpPr/>
            <p:nvPr/>
          </p:nvSpPr>
          <p:spPr>
            <a:xfrm>
              <a:off x="9761971" y="250670"/>
              <a:ext cx="204990" cy="298460"/>
            </a:xfrm>
            <a:custGeom>
              <a:avLst/>
              <a:gdLst>
                <a:gd name="connsiteX0" fmla="*/ 248 w 298816"/>
                <a:gd name="connsiteY0" fmla="*/ 286088 h 435066"/>
                <a:gd name="connsiteX1" fmla="*/ 91304 w 298816"/>
                <a:gd name="connsiteY1" fmla="*/ 286088 h 435066"/>
                <a:gd name="connsiteX2" fmla="*/ 91357 w 298816"/>
                <a:gd name="connsiteY2" fmla="*/ 318049 h 435066"/>
                <a:gd name="connsiteX3" fmla="*/ 163242 w 298816"/>
                <a:gd name="connsiteY3" fmla="*/ 359742 h 435066"/>
                <a:gd name="connsiteX4" fmla="*/ 170159 w 298816"/>
                <a:gd name="connsiteY4" fmla="*/ 288662 h 435066"/>
                <a:gd name="connsiteX5" fmla="*/ 124551 w 298816"/>
                <a:gd name="connsiteY5" fmla="*/ 258418 h 435066"/>
                <a:gd name="connsiteX6" fmla="*/ 55455 w 298816"/>
                <a:gd name="connsiteY6" fmla="*/ 215089 h 435066"/>
                <a:gd name="connsiteX7" fmla="*/ 543 w 298816"/>
                <a:gd name="connsiteY7" fmla="*/ 124221 h 435066"/>
                <a:gd name="connsiteX8" fmla="*/ 99240 w 298816"/>
                <a:gd name="connsiteY8" fmla="*/ 4074 h 435066"/>
                <a:gd name="connsiteX9" fmla="*/ 267891 w 298816"/>
                <a:gd name="connsiteY9" fmla="*/ 20430 h 435066"/>
                <a:gd name="connsiteX10" fmla="*/ 278509 w 298816"/>
                <a:gd name="connsiteY10" fmla="*/ 31021 h 435066"/>
                <a:gd name="connsiteX11" fmla="*/ 278991 w 298816"/>
                <a:gd name="connsiteY11" fmla="*/ 136501 h 435066"/>
                <a:gd name="connsiteX12" fmla="*/ 191153 w 298816"/>
                <a:gd name="connsiteY12" fmla="*/ 136501 h 435066"/>
                <a:gd name="connsiteX13" fmla="*/ 191019 w 298816"/>
                <a:gd name="connsiteY13" fmla="*/ 100706 h 435066"/>
                <a:gd name="connsiteX14" fmla="*/ 161928 w 298816"/>
                <a:gd name="connsiteY14" fmla="*/ 65796 h 435066"/>
                <a:gd name="connsiteX15" fmla="*/ 113933 w 298816"/>
                <a:gd name="connsiteY15" fmla="*/ 83493 h 435066"/>
                <a:gd name="connsiteX16" fmla="*/ 122165 w 298816"/>
                <a:gd name="connsiteY16" fmla="*/ 131648 h 435066"/>
                <a:gd name="connsiteX17" fmla="*/ 172438 w 298816"/>
                <a:gd name="connsiteY17" fmla="*/ 164386 h 435066"/>
                <a:gd name="connsiteX18" fmla="*/ 246360 w 298816"/>
                <a:gd name="connsiteY18" fmla="*/ 207447 h 435066"/>
                <a:gd name="connsiteX19" fmla="*/ 294945 w 298816"/>
                <a:gd name="connsiteY19" fmla="*/ 337836 h 435066"/>
                <a:gd name="connsiteX20" fmla="*/ 194746 w 298816"/>
                <a:gd name="connsiteY20" fmla="*/ 430259 h 435066"/>
                <a:gd name="connsiteX21" fmla="*/ 12448 w 298816"/>
                <a:gd name="connsiteY21" fmla="*/ 415432 h 435066"/>
                <a:gd name="connsiteX22" fmla="*/ 7 w 298816"/>
                <a:gd name="connsiteY22" fmla="*/ 398915 h 435066"/>
                <a:gd name="connsiteX23" fmla="*/ 275 w 298816"/>
                <a:gd name="connsiteY23" fmla="*/ 286088 h 4350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98816" h="435066">
                  <a:moveTo>
                    <a:pt x="248" y="286088"/>
                  </a:moveTo>
                  <a:lnTo>
                    <a:pt x="91304" y="286088"/>
                  </a:lnTo>
                  <a:cubicBezTo>
                    <a:pt x="91304" y="296921"/>
                    <a:pt x="90982" y="307485"/>
                    <a:pt x="91357" y="318049"/>
                  </a:cubicBezTo>
                  <a:cubicBezTo>
                    <a:pt x="92725" y="356283"/>
                    <a:pt x="129351" y="377439"/>
                    <a:pt x="163242" y="359742"/>
                  </a:cubicBezTo>
                  <a:cubicBezTo>
                    <a:pt x="188070" y="346765"/>
                    <a:pt x="192682" y="307994"/>
                    <a:pt x="170159" y="288662"/>
                  </a:cubicBezTo>
                  <a:cubicBezTo>
                    <a:pt x="156431" y="276865"/>
                    <a:pt x="139995" y="268151"/>
                    <a:pt x="124551" y="258418"/>
                  </a:cubicBezTo>
                  <a:cubicBezTo>
                    <a:pt x="101546" y="243912"/>
                    <a:pt x="77388" y="231015"/>
                    <a:pt x="55455" y="215089"/>
                  </a:cubicBezTo>
                  <a:cubicBezTo>
                    <a:pt x="24808" y="192834"/>
                    <a:pt x="2903" y="163823"/>
                    <a:pt x="543" y="124221"/>
                  </a:cubicBezTo>
                  <a:cubicBezTo>
                    <a:pt x="-3103" y="63142"/>
                    <a:pt x="37437" y="13405"/>
                    <a:pt x="99240" y="4074"/>
                  </a:cubicBezTo>
                  <a:cubicBezTo>
                    <a:pt x="156646" y="-4613"/>
                    <a:pt x="213140" y="481"/>
                    <a:pt x="267891" y="20430"/>
                  </a:cubicBezTo>
                  <a:cubicBezTo>
                    <a:pt x="272288" y="22038"/>
                    <a:pt x="278428" y="27321"/>
                    <a:pt x="278509" y="31021"/>
                  </a:cubicBezTo>
                  <a:cubicBezTo>
                    <a:pt x="279313" y="65823"/>
                    <a:pt x="278991" y="100653"/>
                    <a:pt x="278991" y="136501"/>
                  </a:cubicBezTo>
                  <a:lnTo>
                    <a:pt x="191153" y="136501"/>
                  </a:lnTo>
                  <a:cubicBezTo>
                    <a:pt x="191153" y="124543"/>
                    <a:pt x="191797" y="112584"/>
                    <a:pt x="191019" y="100706"/>
                  </a:cubicBezTo>
                  <a:cubicBezTo>
                    <a:pt x="189679" y="80677"/>
                    <a:pt x="179678" y="69202"/>
                    <a:pt x="161928" y="65796"/>
                  </a:cubicBezTo>
                  <a:cubicBezTo>
                    <a:pt x="140317" y="61641"/>
                    <a:pt x="122138" y="68370"/>
                    <a:pt x="113933" y="83493"/>
                  </a:cubicBezTo>
                  <a:cubicBezTo>
                    <a:pt x="104281" y="101323"/>
                    <a:pt x="105809" y="118349"/>
                    <a:pt x="122165" y="131648"/>
                  </a:cubicBezTo>
                  <a:cubicBezTo>
                    <a:pt x="137582" y="144196"/>
                    <a:pt x="155251" y="154117"/>
                    <a:pt x="172438" y="164386"/>
                  </a:cubicBezTo>
                  <a:cubicBezTo>
                    <a:pt x="196918" y="179026"/>
                    <a:pt x="222765" y="191547"/>
                    <a:pt x="246360" y="207447"/>
                  </a:cubicBezTo>
                  <a:cubicBezTo>
                    <a:pt x="290601" y="237236"/>
                    <a:pt x="307091" y="283863"/>
                    <a:pt x="294945" y="337836"/>
                  </a:cubicBezTo>
                  <a:cubicBezTo>
                    <a:pt x="284300" y="385161"/>
                    <a:pt x="244081" y="422081"/>
                    <a:pt x="194746" y="430259"/>
                  </a:cubicBezTo>
                  <a:cubicBezTo>
                    <a:pt x="132702" y="440555"/>
                    <a:pt x="72186" y="433718"/>
                    <a:pt x="12448" y="415432"/>
                  </a:cubicBezTo>
                  <a:cubicBezTo>
                    <a:pt x="3439" y="412670"/>
                    <a:pt x="-181" y="408970"/>
                    <a:pt x="7" y="398915"/>
                  </a:cubicBezTo>
                  <a:cubicBezTo>
                    <a:pt x="704" y="361834"/>
                    <a:pt x="275" y="324752"/>
                    <a:pt x="275" y="286088"/>
                  </a:cubicBezTo>
                  <a:close/>
                </a:path>
              </a:pathLst>
            </a:custGeom>
            <a:grpFill/>
            <a:ln w="254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18" name="Imagen 17">
            <a:extLst>
              <a:ext uri="{FF2B5EF4-FFF2-40B4-BE49-F238E27FC236}">
                <a16:creationId xmlns:a16="http://schemas.microsoft.com/office/drawing/2014/main" id="{0281565A-AE83-0977-ACAE-CB7E8563BF2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60298" y="144738"/>
            <a:ext cx="696100" cy="1440000"/>
          </a:xfrm>
          <a:prstGeom prst="rect">
            <a:avLst/>
          </a:prstGeom>
        </p:spPr>
      </p:pic>
      <p:pic>
        <p:nvPicPr>
          <p:cNvPr id="8" name="Imagen 7">
            <a:extLst>
              <a:ext uri="{FF2B5EF4-FFF2-40B4-BE49-F238E27FC236}">
                <a16:creationId xmlns:a16="http://schemas.microsoft.com/office/drawing/2014/main" id="{30503F8F-F90B-0463-23FA-C54AE7CF430F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25935" y="1513224"/>
            <a:ext cx="5283547" cy="3040726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919484E7-AEE5-2A07-C8BF-4EA6ED3CB88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27971" y="4221241"/>
            <a:ext cx="1666950" cy="367035"/>
          </a:xfrm>
          <a:prstGeom prst="rect">
            <a:avLst/>
          </a:prstGeom>
        </p:spPr>
      </p:pic>
      <p:pic>
        <p:nvPicPr>
          <p:cNvPr id="20" name="Imagen 19">
            <a:extLst>
              <a:ext uri="{FF2B5EF4-FFF2-40B4-BE49-F238E27FC236}">
                <a16:creationId xmlns:a16="http://schemas.microsoft.com/office/drawing/2014/main" id="{B2717554-CD52-FC88-5E63-E41D3658EFA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82642" y="1081743"/>
            <a:ext cx="2555010" cy="3622345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388661966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7">
            <a:extLst>
              <a:ext uri="{FF2B5EF4-FFF2-40B4-BE49-F238E27FC236}">
                <a16:creationId xmlns:a16="http://schemas.microsoft.com/office/drawing/2014/main" id="{0E254F22-F8B6-C5EE-1151-5AD99455CF5E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47816" y="1269526"/>
            <a:ext cx="5547105" cy="3104474"/>
          </a:xfrm>
          <a:prstGeom prst="rect">
            <a:avLst/>
          </a:prstGeom>
        </p:spPr>
      </p:pic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99EB0209-EB77-EC54-6287-86A43FDAD55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Nueva </a:t>
            </a:r>
            <a:r>
              <a:rPr lang="en-GB" dirty="0" err="1"/>
              <a:t>variedad</a:t>
            </a:r>
            <a:r>
              <a:rPr lang="en-GB" dirty="0"/>
              <a:t> España 2023/2024</a:t>
            </a:r>
          </a:p>
          <a:p>
            <a:endParaRPr lang="en-GB" dirty="0"/>
          </a:p>
        </p:txBody>
      </p:sp>
      <p:graphicFrame>
        <p:nvGraphicFramePr>
          <p:cNvPr id="7" name="Tabelle 7">
            <a:extLst>
              <a:ext uri="{FF2B5EF4-FFF2-40B4-BE49-F238E27FC236}">
                <a16:creationId xmlns:a16="http://schemas.microsoft.com/office/drawing/2014/main" id="{88067451-9D09-66D5-311B-02B960956BE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73126244"/>
              </p:ext>
            </p:extLst>
          </p:nvPr>
        </p:nvGraphicFramePr>
        <p:xfrm>
          <a:off x="204826" y="1237429"/>
          <a:ext cx="2919374" cy="3526080"/>
        </p:xfrm>
        <a:graphic>
          <a:graphicData uri="http://schemas.openxmlformats.org/drawingml/2006/table">
            <a:tbl>
              <a:tblPr firstRow="1" bandRow="1">
                <a:effectLst/>
                <a:tableStyleId>{21E4AEA4-8DFA-4A89-87EB-49C32662AFE0}</a:tableStyleId>
              </a:tblPr>
              <a:tblGrid>
                <a:gridCol w="2919374">
                  <a:extLst>
                    <a:ext uri="{9D8B030D-6E8A-4147-A177-3AD203B41FA5}">
                      <a16:colId xmlns:a16="http://schemas.microsoft.com/office/drawing/2014/main" val="4124971706"/>
                    </a:ext>
                  </a:extLst>
                </a:gridCol>
              </a:tblGrid>
              <a:tr h="504000">
                <a:tc>
                  <a:txBody>
                    <a:bodyPr/>
                    <a:lstStyle/>
                    <a:p>
                      <a:pPr algn="ctr"/>
                      <a:r>
                        <a:rPr lang="en-GB" sz="2000" dirty="0">
                          <a:solidFill>
                            <a:srgbClr val="E4032D"/>
                          </a:solidFill>
                        </a:rPr>
                        <a:t>LG ATLA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7001518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Lanzamient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1317904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ctr"/>
                      <a:r>
                        <a:rPr lang="en-GB" sz="1400" b="1" dirty="0">
                          <a:solidFill>
                            <a:schemeClr val="tx1"/>
                          </a:solidFill>
                        </a:rPr>
                        <a:t>Mercado </a:t>
                      </a:r>
                      <a:r>
                        <a:rPr lang="en-GB" sz="1400" b="1" dirty="0" err="1">
                          <a:solidFill>
                            <a:schemeClr val="tx1"/>
                          </a:solidFill>
                        </a:rPr>
                        <a:t>objetivo</a:t>
                      </a:r>
                      <a:r>
                        <a:rPr lang="en-GB" sz="1400" b="1" dirty="0">
                          <a:solidFill>
                            <a:schemeClr val="tx1"/>
                          </a:solidFill>
                        </a:rPr>
                        <a:t>: </a:t>
                      </a:r>
                      <a:r>
                        <a:rPr lang="en-GB" sz="1400" b="1" dirty="0" err="1">
                          <a:solidFill>
                            <a:schemeClr val="tx1"/>
                          </a:solidFill>
                        </a:rPr>
                        <a:t>tipo</a:t>
                      </a:r>
                      <a:r>
                        <a:rPr lang="en-GB" sz="1400" b="1" dirty="0">
                          <a:solidFill>
                            <a:schemeClr val="tx1"/>
                          </a:solidFill>
                        </a:rPr>
                        <a:t> Arsena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226035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ctr"/>
                      <a:r>
                        <a:rPr lang="en-GB" sz="1400" b="1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ecoz</a:t>
                      </a:r>
                      <a:r>
                        <a:rPr lang="en-GB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/Medio-</a:t>
                      </a:r>
                      <a:r>
                        <a:rPr lang="en-GB" sz="1400" b="1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ecoz</a:t>
                      </a:r>
                      <a:r>
                        <a:rPr lang="en-GB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en-GB" sz="1400" b="1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to</a:t>
                      </a:r>
                      <a:r>
                        <a:rPr lang="en-GB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. ++++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825963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342900" indent="-342900" algn="l">
                        <a:buFont typeface="+mj-lt"/>
                        <a:buAutoNum type="arabicPeriod"/>
                      </a:pPr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Resistencia a la </a:t>
                      </a:r>
                      <a:r>
                        <a:rPr lang="en-GB" sz="1200" dirty="0" err="1">
                          <a:solidFill>
                            <a:schemeClr val="tx1"/>
                          </a:solidFill>
                        </a:rPr>
                        <a:t>Dehiscencia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  <a:p>
                      <a:pPr marL="342900" marR="0" lvl="0" indent="-34290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Resistencia a la </a:t>
                      </a:r>
                      <a:r>
                        <a:rPr lang="en-GB" sz="1200" dirty="0" err="1">
                          <a:solidFill>
                            <a:schemeClr val="tx1"/>
                          </a:solidFill>
                        </a:rPr>
                        <a:t>virosis</a:t>
                      </a:r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GB" sz="1200" dirty="0" err="1">
                          <a:solidFill>
                            <a:schemeClr val="tx1"/>
                          </a:solidFill>
                        </a:rPr>
                        <a:t>TuYV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  <a:p>
                      <a:pPr marL="342900" indent="-342900" algn="l">
                        <a:buFont typeface="+mj-lt"/>
                        <a:buAutoNum type="arabicPeriod"/>
                      </a:pPr>
                      <a:r>
                        <a:rPr lang="en-GB" sz="1200" dirty="0" err="1">
                          <a:solidFill>
                            <a:schemeClr val="tx1"/>
                          </a:solidFill>
                        </a:rPr>
                        <a:t>Phoma</a:t>
                      </a:r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GB" sz="1200" dirty="0" err="1">
                          <a:solidFill>
                            <a:schemeClr val="tx1"/>
                          </a:solidFill>
                        </a:rPr>
                        <a:t>tipo</a:t>
                      </a:r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 I y II</a:t>
                      </a:r>
                    </a:p>
                    <a:p>
                      <a:pPr marL="342900" indent="-342900" algn="l">
                        <a:buFont typeface="+mj-lt"/>
                        <a:buAutoNum type="arabicPeriod"/>
                      </a:pPr>
                      <a:r>
                        <a:rPr lang="en-GB" sz="1200" dirty="0" err="1">
                          <a:solidFill>
                            <a:schemeClr val="tx1"/>
                          </a:solidFill>
                        </a:rPr>
                        <a:t>Vigor</a:t>
                      </a:r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++</a:t>
                      </a:r>
                    </a:p>
                    <a:p>
                      <a:pPr marL="342900" indent="-342900" algn="l">
                        <a:buFont typeface="+mj-lt"/>
                        <a:buAutoNum type="arabicPeriod"/>
                      </a:pPr>
                      <a:r>
                        <a:rPr lang="en-GB" sz="1200" dirty="0" err="1">
                          <a:solidFill>
                            <a:schemeClr val="tx1"/>
                          </a:solidFill>
                        </a:rPr>
                        <a:t>Buen</a:t>
                      </a:r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GB" sz="1200" dirty="0" err="1">
                          <a:solidFill>
                            <a:schemeClr val="tx1"/>
                          </a:solidFill>
                        </a:rPr>
                        <a:t>comportamiento</a:t>
                      </a:r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GB" sz="1200" dirty="0" err="1">
                          <a:solidFill>
                            <a:schemeClr val="tx1"/>
                          </a:solidFill>
                        </a:rPr>
                        <a:t>frente</a:t>
                      </a:r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 a </a:t>
                      </a:r>
                      <a:r>
                        <a:rPr lang="en-GB" sz="1200" dirty="0" err="1">
                          <a:solidFill>
                            <a:schemeClr val="tx1"/>
                          </a:solidFill>
                        </a:rPr>
                        <a:t>plagas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  <a:p>
                      <a:pPr marL="342900" indent="-342900" algn="l">
                        <a:buFont typeface="+mj-lt"/>
                        <a:buAutoNum type="arabicPeriod"/>
                      </a:pP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GB" sz="1400" b="1" dirty="0" err="1">
                          <a:solidFill>
                            <a:srgbClr val="E4032D"/>
                          </a:solidFill>
                        </a:rPr>
                        <a:t>Rendimiento</a:t>
                      </a:r>
                      <a:r>
                        <a:rPr lang="en-GB" sz="1400" b="1" dirty="0">
                          <a:solidFill>
                            <a:srgbClr val="E4032D"/>
                          </a:solidFill>
                        </a:rPr>
                        <a:t>, </a:t>
                      </a:r>
                      <a:r>
                        <a:rPr lang="en-GB" sz="1400" b="1" dirty="0" err="1">
                          <a:solidFill>
                            <a:srgbClr val="E4032D"/>
                          </a:solidFill>
                        </a:rPr>
                        <a:t>Precocidad</a:t>
                      </a:r>
                      <a:r>
                        <a:rPr lang="en-GB" sz="1400" b="1" dirty="0">
                          <a:solidFill>
                            <a:srgbClr val="E4032D"/>
                          </a:solidFill>
                        </a:rPr>
                        <a:t> y </a:t>
                      </a:r>
                      <a:r>
                        <a:rPr lang="en-GB" sz="1400" b="1" dirty="0" err="1">
                          <a:solidFill>
                            <a:srgbClr val="E4032D"/>
                          </a:solidFill>
                        </a:rPr>
                        <a:t>Vigor</a:t>
                      </a:r>
                      <a:endParaRPr lang="en-GB" sz="1400" b="1" dirty="0">
                        <a:solidFill>
                          <a:srgbClr val="E4032D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6103064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Para </a:t>
                      </a:r>
                      <a:r>
                        <a:rPr lang="en-GB" sz="1200" dirty="0" err="1">
                          <a:solidFill>
                            <a:schemeClr val="tx1"/>
                          </a:solidFill>
                        </a:rPr>
                        <a:t>los</a:t>
                      </a:r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GB" sz="1200" dirty="0" err="1">
                          <a:solidFill>
                            <a:schemeClr val="tx1"/>
                          </a:solidFill>
                        </a:rPr>
                        <a:t>agricultores</a:t>
                      </a:r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 que </a:t>
                      </a:r>
                      <a:r>
                        <a:rPr lang="en-GB" sz="1200" dirty="0" err="1">
                          <a:solidFill>
                            <a:schemeClr val="tx1"/>
                          </a:solidFill>
                        </a:rPr>
                        <a:t>buscan</a:t>
                      </a:r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GB" sz="1200" dirty="0" err="1">
                          <a:solidFill>
                            <a:schemeClr val="tx1"/>
                          </a:solidFill>
                        </a:rPr>
                        <a:t>una</a:t>
                      </a:r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GB" sz="1200" dirty="0" err="1">
                          <a:solidFill>
                            <a:schemeClr val="tx1"/>
                          </a:solidFill>
                        </a:rPr>
                        <a:t>rápida</a:t>
                      </a:r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GB" sz="1200" dirty="0" err="1">
                          <a:solidFill>
                            <a:schemeClr val="tx1"/>
                          </a:solidFill>
                        </a:rPr>
                        <a:t>implantación</a:t>
                      </a:r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 y un alto </a:t>
                      </a:r>
                      <a:r>
                        <a:rPr lang="en-GB" sz="1200" dirty="0" err="1">
                          <a:solidFill>
                            <a:schemeClr val="tx1"/>
                          </a:solidFill>
                        </a:rPr>
                        <a:t>rendimiento</a:t>
                      </a:r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GB" sz="1200" dirty="0" err="1">
                          <a:solidFill>
                            <a:schemeClr val="tx1"/>
                          </a:solidFill>
                        </a:rPr>
                        <a:t>en</a:t>
                      </a:r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 un </a:t>
                      </a:r>
                      <a:r>
                        <a:rPr lang="en-GB" sz="1200" dirty="0" err="1">
                          <a:solidFill>
                            <a:schemeClr val="tx1"/>
                          </a:solidFill>
                        </a:rPr>
                        <a:t>ciclo</a:t>
                      </a:r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GB" sz="1200" dirty="0" err="1">
                          <a:solidFill>
                            <a:schemeClr val="tx1"/>
                          </a:solidFill>
                        </a:rPr>
                        <a:t>precoz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8599362"/>
                  </a:ext>
                </a:extLst>
              </a:tr>
            </a:tbl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01573134-7BBE-7F99-ABB6-621FDC5A15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LG ATLAS</a:t>
            </a:r>
          </a:p>
        </p:txBody>
      </p:sp>
      <p:grpSp>
        <p:nvGrpSpPr>
          <p:cNvPr id="2" name="Group 9">
            <a:extLst>
              <a:ext uri="{FF2B5EF4-FFF2-40B4-BE49-F238E27FC236}">
                <a16:creationId xmlns:a16="http://schemas.microsoft.com/office/drawing/2014/main" id="{7B88FDE5-1EBD-9879-8224-86958E705E91}"/>
              </a:ext>
            </a:extLst>
          </p:cNvPr>
          <p:cNvGrpSpPr/>
          <p:nvPr/>
        </p:nvGrpSpPr>
        <p:grpSpPr>
          <a:xfrm rot="16200000">
            <a:off x="8457754" y="4009197"/>
            <a:ext cx="927501" cy="230656"/>
            <a:chOff x="8766811" y="250670"/>
            <a:chExt cx="1200150" cy="298460"/>
          </a:xfrm>
          <a:solidFill>
            <a:schemeClr val="bg1">
              <a:alpha val="42000"/>
            </a:schemeClr>
          </a:solidFill>
        </p:grpSpPr>
        <p:sp>
          <p:nvSpPr>
            <p:cNvPr id="3" name="Freeform: Shape 5">
              <a:extLst>
                <a:ext uri="{FF2B5EF4-FFF2-40B4-BE49-F238E27FC236}">
                  <a16:creationId xmlns:a16="http://schemas.microsoft.com/office/drawing/2014/main" id="{42702A6F-0DE8-6A75-D537-2D1473C6A08A}"/>
                </a:ext>
              </a:extLst>
            </p:cNvPr>
            <p:cNvSpPr/>
            <p:nvPr/>
          </p:nvSpPr>
          <p:spPr>
            <a:xfrm>
              <a:off x="9340947" y="259788"/>
              <a:ext cx="396639" cy="280066"/>
            </a:xfrm>
            <a:custGeom>
              <a:avLst/>
              <a:gdLst>
                <a:gd name="connsiteX0" fmla="*/ 188626 w 578185"/>
                <a:gd name="connsiteY0" fmla="*/ 247351 h 408253"/>
                <a:gd name="connsiteX1" fmla="*/ 209084 w 578185"/>
                <a:gd name="connsiteY1" fmla="*/ 156671 h 408253"/>
                <a:gd name="connsiteX2" fmla="*/ 241634 w 578185"/>
                <a:gd name="connsiteY2" fmla="*/ 10757 h 408253"/>
                <a:gd name="connsiteX3" fmla="*/ 255014 w 578185"/>
                <a:gd name="connsiteY3" fmla="*/ 5 h 408253"/>
                <a:gd name="connsiteX4" fmla="*/ 343468 w 578185"/>
                <a:gd name="connsiteY4" fmla="*/ 86 h 408253"/>
                <a:gd name="connsiteX5" fmla="*/ 356258 w 578185"/>
                <a:gd name="connsiteY5" fmla="*/ 9926 h 408253"/>
                <a:gd name="connsiteX6" fmla="*/ 402000 w 578185"/>
                <a:gd name="connsiteY6" fmla="*/ 237699 h 408253"/>
                <a:gd name="connsiteX7" fmla="*/ 406853 w 578185"/>
                <a:gd name="connsiteY7" fmla="*/ 247646 h 408253"/>
                <a:gd name="connsiteX8" fmla="*/ 443881 w 578185"/>
                <a:gd name="connsiteY8" fmla="*/ 88487 h 408253"/>
                <a:gd name="connsiteX9" fmla="*/ 418275 w 578185"/>
                <a:gd name="connsiteY9" fmla="*/ 64463 h 408253"/>
                <a:gd name="connsiteX10" fmla="*/ 418275 w 578185"/>
                <a:gd name="connsiteY10" fmla="*/ 1132 h 408253"/>
                <a:gd name="connsiteX11" fmla="*/ 578185 w 578185"/>
                <a:gd name="connsiteY11" fmla="*/ 1132 h 408253"/>
                <a:gd name="connsiteX12" fmla="*/ 578185 w 578185"/>
                <a:gd name="connsiteY12" fmla="*/ 65482 h 408253"/>
                <a:gd name="connsiteX13" fmla="*/ 535580 w 578185"/>
                <a:gd name="connsiteY13" fmla="*/ 107309 h 408253"/>
                <a:gd name="connsiteX14" fmla="*/ 450423 w 578185"/>
                <a:gd name="connsiteY14" fmla="*/ 398306 h 408253"/>
                <a:gd name="connsiteX15" fmla="*/ 447072 w 578185"/>
                <a:gd name="connsiteY15" fmla="*/ 408146 h 408253"/>
                <a:gd name="connsiteX16" fmla="*/ 338964 w 578185"/>
                <a:gd name="connsiteY16" fmla="*/ 408146 h 408253"/>
                <a:gd name="connsiteX17" fmla="*/ 289414 w 578185"/>
                <a:gd name="connsiteY17" fmla="*/ 183832 h 408253"/>
                <a:gd name="connsiteX18" fmla="*/ 287189 w 578185"/>
                <a:gd name="connsiteY18" fmla="*/ 183644 h 408253"/>
                <a:gd name="connsiteX19" fmla="*/ 234663 w 578185"/>
                <a:gd name="connsiteY19" fmla="*/ 408253 h 408253"/>
                <a:gd name="connsiteX20" fmla="*/ 124035 w 578185"/>
                <a:gd name="connsiteY20" fmla="*/ 408253 h 408253"/>
                <a:gd name="connsiteX21" fmla="*/ 101941 w 578185"/>
                <a:gd name="connsiteY21" fmla="*/ 325536 h 408253"/>
                <a:gd name="connsiteX22" fmla="*/ 42176 w 578185"/>
                <a:gd name="connsiteY22" fmla="*/ 100874 h 408253"/>
                <a:gd name="connsiteX23" fmla="*/ 0 w 578185"/>
                <a:gd name="connsiteY23" fmla="*/ 66072 h 408253"/>
                <a:gd name="connsiteX24" fmla="*/ 0 w 578185"/>
                <a:gd name="connsiteY24" fmla="*/ 1266 h 408253"/>
                <a:gd name="connsiteX25" fmla="*/ 183880 w 578185"/>
                <a:gd name="connsiteY25" fmla="*/ 1266 h 408253"/>
                <a:gd name="connsiteX26" fmla="*/ 183880 w 578185"/>
                <a:gd name="connsiteY26" fmla="*/ 64650 h 408253"/>
                <a:gd name="connsiteX27" fmla="*/ 157658 w 578185"/>
                <a:gd name="connsiteY27" fmla="*/ 101920 h 408253"/>
                <a:gd name="connsiteX28" fmla="*/ 185677 w 578185"/>
                <a:gd name="connsiteY28" fmla="*/ 247485 h 408253"/>
                <a:gd name="connsiteX29" fmla="*/ 188599 w 578185"/>
                <a:gd name="connsiteY29" fmla="*/ 247351 h 408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78185" h="408253">
                  <a:moveTo>
                    <a:pt x="188626" y="247351"/>
                  </a:moveTo>
                  <a:cubicBezTo>
                    <a:pt x="195436" y="217133"/>
                    <a:pt x="202300" y="186889"/>
                    <a:pt x="209084" y="156671"/>
                  </a:cubicBezTo>
                  <a:cubicBezTo>
                    <a:pt x="219997" y="108033"/>
                    <a:pt x="230883" y="59422"/>
                    <a:pt x="241634" y="10757"/>
                  </a:cubicBezTo>
                  <a:cubicBezTo>
                    <a:pt x="243297" y="3250"/>
                    <a:pt x="246461" y="-155"/>
                    <a:pt x="255014" y="5"/>
                  </a:cubicBezTo>
                  <a:cubicBezTo>
                    <a:pt x="284481" y="595"/>
                    <a:pt x="314001" y="461"/>
                    <a:pt x="343468" y="86"/>
                  </a:cubicBezTo>
                  <a:cubicBezTo>
                    <a:pt x="351056" y="-21"/>
                    <a:pt x="354756" y="2285"/>
                    <a:pt x="356258" y="9926"/>
                  </a:cubicBezTo>
                  <a:cubicBezTo>
                    <a:pt x="371353" y="85886"/>
                    <a:pt x="386690" y="161792"/>
                    <a:pt x="402000" y="237699"/>
                  </a:cubicBezTo>
                  <a:cubicBezTo>
                    <a:pt x="402670" y="241050"/>
                    <a:pt x="403770" y="244321"/>
                    <a:pt x="406853" y="247646"/>
                  </a:cubicBezTo>
                  <a:cubicBezTo>
                    <a:pt x="419240" y="194611"/>
                    <a:pt x="431896" y="141602"/>
                    <a:pt x="443881" y="88487"/>
                  </a:cubicBezTo>
                  <a:cubicBezTo>
                    <a:pt x="447367" y="73043"/>
                    <a:pt x="441843" y="68377"/>
                    <a:pt x="418275" y="64463"/>
                  </a:cubicBezTo>
                  <a:lnTo>
                    <a:pt x="418275" y="1132"/>
                  </a:lnTo>
                  <a:lnTo>
                    <a:pt x="578185" y="1132"/>
                  </a:lnTo>
                  <a:lnTo>
                    <a:pt x="578185" y="65482"/>
                  </a:lnTo>
                  <a:cubicBezTo>
                    <a:pt x="549657" y="64302"/>
                    <a:pt x="542122" y="84626"/>
                    <a:pt x="535580" y="107309"/>
                  </a:cubicBezTo>
                  <a:cubicBezTo>
                    <a:pt x="507534" y="204397"/>
                    <a:pt x="478871" y="301325"/>
                    <a:pt x="450423" y="398306"/>
                  </a:cubicBezTo>
                  <a:cubicBezTo>
                    <a:pt x="449431" y="401657"/>
                    <a:pt x="448171" y="404955"/>
                    <a:pt x="447072" y="408146"/>
                  </a:cubicBezTo>
                  <a:lnTo>
                    <a:pt x="338964" y="408146"/>
                  </a:lnTo>
                  <a:cubicBezTo>
                    <a:pt x="322367" y="333044"/>
                    <a:pt x="305904" y="258425"/>
                    <a:pt x="289414" y="183832"/>
                  </a:cubicBezTo>
                  <a:lnTo>
                    <a:pt x="287189" y="183644"/>
                  </a:lnTo>
                  <a:cubicBezTo>
                    <a:pt x="269707" y="258398"/>
                    <a:pt x="252225" y="333151"/>
                    <a:pt x="234663" y="408253"/>
                  </a:cubicBezTo>
                  <a:lnTo>
                    <a:pt x="124035" y="408253"/>
                  </a:lnTo>
                  <a:cubicBezTo>
                    <a:pt x="116742" y="381012"/>
                    <a:pt x="109315" y="353287"/>
                    <a:pt x="101941" y="325536"/>
                  </a:cubicBezTo>
                  <a:cubicBezTo>
                    <a:pt x="82019" y="250649"/>
                    <a:pt x="62151" y="175735"/>
                    <a:pt x="42176" y="100874"/>
                  </a:cubicBezTo>
                  <a:cubicBezTo>
                    <a:pt x="36519" y="79665"/>
                    <a:pt x="28207" y="61192"/>
                    <a:pt x="0" y="66072"/>
                  </a:cubicBezTo>
                  <a:lnTo>
                    <a:pt x="0" y="1266"/>
                  </a:lnTo>
                  <a:lnTo>
                    <a:pt x="183880" y="1266"/>
                  </a:lnTo>
                  <a:lnTo>
                    <a:pt x="183880" y="64650"/>
                  </a:lnTo>
                  <a:cubicBezTo>
                    <a:pt x="152107" y="68726"/>
                    <a:pt x="151437" y="69691"/>
                    <a:pt x="157658" y="101920"/>
                  </a:cubicBezTo>
                  <a:cubicBezTo>
                    <a:pt x="167015" y="150451"/>
                    <a:pt x="176346" y="198954"/>
                    <a:pt x="185677" y="247485"/>
                  </a:cubicBezTo>
                  <a:lnTo>
                    <a:pt x="188599" y="247351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" name="Freeform: Shape 6">
              <a:extLst>
                <a:ext uri="{FF2B5EF4-FFF2-40B4-BE49-F238E27FC236}">
                  <a16:creationId xmlns:a16="http://schemas.microsoft.com/office/drawing/2014/main" id="{C3C1F9AB-E8E0-AA2B-CD9B-2F945C07C28A}"/>
                </a:ext>
              </a:extLst>
            </p:cNvPr>
            <p:cNvSpPr/>
            <p:nvPr/>
          </p:nvSpPr>
          <p:spPr>
            <a:xfrm>
              <a:off x="8766811" y="259809"/>
              <a:ext cx="277264" cy="283641"/>
            </a:xfrm>
            <a:custGeom>
              <a:avLst/>
              <a:gdLst>
                <a:gd name="connsiteX0" fmla="*/ 0 w 404171"/>
                <a:gd name="connsiteY0" fmla="*/ 407794 h 413465"/>
                <a:gd name="connsiteX1" fmla="*/ 0 w 404171"/>
                <a:gd name="connsiteY1" fmla="*/ 342854 h 413465"/>
                <a:gd name="connsiteX2" fmla="*/ 21879 w 404171"/>
                <a:gd name="connsiteY2" fmla="*/ 341835 h 413465"/>
                <a:gd name="connsiteX3" fmla="*/ 38422 w 404171"/>
                <a:gd name="connsiteY3" fmla="*/ 324970 h 413465"/>
                <a:gd name="connsiteX4" fmla="*/ 38664 w 404171"/>
                <a:gd name="connsiteY4" fmla="*/ 280729 h 413465"/>
                <a:gd name="connsiteX5" fmla="*/ 38664 w 404171"/>
                <a:gd name="connsiteY5" fmla="*/ 99691 h 413465"/>
                <a:gd name="connsiteX6" fmla="*/ 6274 w 404171"/>
                <a:gd name="connsiteY6" fmla="*/ 65773 h 413465"/>
                <a:gd name="connsiteX7" fmla="*/ 134 w 404171"/>
                <a:gd name="connsiteY7" fmla="*/ 65076 h 413465"/>
                <a:gd name="connsiteX8" fmla="*/ 134 w 404171"/>
                <a:gd name="connsiteY8" fmla="*/ 860 h 413465"/>
                <a:gd name="connsiteX9" fmla="*/ 12843 w 404171"/>
                <a:gd name="connsiteY9" fmla="*/ 190 h 413465"/>
                <a:gd name="connsiteX10" fmla="*/ 156263 w 404171"/>
                <a:gd name="connsiteY10" fmla="*/ 2 h 413465"/>
                <a:gd name="connsiteX11" fmla="*/ 173852 w 404171"/>
                <a:gd name="connsiteY11" fmla="*/ 11961 h 413465"/>
                <a:gd name="connsiteX12" fmla="*/ 265605 w 404171"/>
                <a:gd name="connsiteY12" fmla="*/ 219811 h 413465"/>
                <a:gd name="connsiteX13" fmla="*/ 273675 w 404171"/>
                <a:gd name="connsiteY13" fmla="*/ 231260 h 413465"/>
                <a:gd name="connsiteX14" fmla="*/ 273675 w 404171"/>
                <a:gd name="connsiteY14" fmla="*/ 204153 h 413465"/>
                <a:gd name="connsiteX15" fmla="*/ 273675 w 404171"/>
                <a:gd name="connsiteY15" fmla="*/ 103579 h 413465"/>
                <a:gd name="connsiteX16" fmla="*/ 237103 w 404171"/>
                <a:gd name="connsiteY16" fmla="*/ 65130 h 413465"/>
                <a:gd name="connsiteX17" fmla="*/ 237103 w 404171"/>
                <a:gd name="connsiteY17" fmla="*/ 941 h 413465"/>
                <a:gd name="connsiteX18" fmla="*/ 404172 w 404171"/>
                <a:gd name="connsiteY18" fmla="*/ 941 h 413465"/>
                <a:gd name="connsiteX19" fmla="*/ 404172 w 404171"/>
                <a:gd name="connsiteY19" fmla="*/ 64245 h 413465"/>
                <a:gd name="connsiteX20" fmla="*/ 401759 w 404171"/>
                <a:gd name="connsiteY20" fmla="*/ 65398 h 413465"/>
                <a:gd name="connsiteX21" fmla="*/ 365374 w 404171"/>
                <a:gd name="connsiteY21" fmla="*/ 103445 h 413465"/>
                <a:gd name="connsiteX22" fmla="*/ 365508 w 404171"/>
                <a:gd name="connsiteY22" fmla="*/ 394441 h 413465"/>
                <a:gd name="connsiteX23" fmla="*/ 365508 w 404171"/>
                <a:gd name="connsiteY23" fmla="*/ 412004 h 413465"/>
                <a:gd name="connsiteX24" fmla="*/ 299201 w 404171"/>
                <a:gd name="connsiteY24" fmla="*/ 411977 h 413465"/>
                <a:gd name="connsiteX25" fmla="*/ 254665 w 404171"/>
                <a:gd name="connsiteY25" fmla="*/ 409698 h 413465"/>
                <a:gd name="connsiteX26" fmla="*/ 233752 w 404171"/>
                <a:gd name="connsiteY26" fmla="*/ 370498 h 413465"/>
                <a:gd name="connsiteX27" fmla="*/ 139613 w 404171"/>
                <a:gd name="connsiteY27" fmla="*/ 170986 h 413465"/>
                <a:gd name="connsiteX28" fmla="*/ 131569 w 404171"/>
                <a:gd name="connsiteY28" fmla="*/ 160019 h 413465"/>
                <a:gd name="connsiteX29" fmla="*/ 131569 w 404171"/>
                <a:gd name="connsiteY29" fmla="*/ 206191 h 413465"/>
                <a:gd name="connsiteX30" fmla="*/ 131489 w 404171"/>
                <a:gd name="connsiteY30" fmla="*/ 314808 h 413465"/>
                <a:gd name="connsiteX31" fmla="*/ 158355 w 404171"/>
                <a:gd name="connsiteY31" fmla="*/ 342211 h 413465"/>
                <a:gd name="connsiteX32" fmla="*/ 169830 w 404171"/>
                <a:gd name="connsiteY32" fmla="*/ 342211 h 413465"/>
                <a:gd name="connsiteX33" fmla="*/ 169830 w 404171"/>
                <a:gd name="connsiteY33" fmla="*/ 407740 h 413465"/>
                <a:gd name="connsiteX34" fmla="*/ 0 w 404171"/>
                <a:gd name="connsiteY34" fmla="*/ 407740 h 41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404171" h="413465">
                  <a:moveTo>
                    <a:pt x="0" y="407794"/>
                  </a:moveTo>
                  <a:lnTo>
                    <a:pt x="0" y="342854"/>
                  </a:lnTo>
                  <a:cubicBezTo>
                    <a:pt x="7776" y="342506"/>
                    <a:pt x="14827" y="342184"/>
                    <a:pt x="21879" y="341835"/>
                  </a:cubicBezTo>
                  <a:cubicBezTo>
                    <a:pt x="32550" y="341299"/>
                    <a:pt x="38342" y="335910"/>
                    <a:pt x="38422" y="324970"/>
                  </a:cubicBezTo>
                  <a:cubicBezTo>
                    <a:pt x="38530" y="310223"/>
                    <a:pt x="38664" y="295476"/>
                    <a:pt x="38664" y="280729"/>
                  </a:cubicBezTo>
                  <a:cubicBezTo>
                    <a:pt x="38664" y="220374"/>
                    <a:pt x="38664" y="160046"/>
                    <a:pt x="38664" y="99691"/>
                  </a:cubicBezTo>
                  <a:cubicBezTo>
                    <a:pt x="38664" y="69581"/>
                    <a:pt x="36197" y="67034"/>
                    <a:pt x="6274" y="65773"/>
                  </a:cubicBezTo>
                  <a:cubicBezTo>
                    <a:pt x="4531" y="65693"/>
                    <a:pt x="2789" y="65371"/>
                    <a:pt x="134" y="65076"/>
                  </a:cubicBezTo>
                  <a:lnTo>
                    <a:pt x="134" y="860"/>
                  </a:lnTo>
                  <a:cubicBezTo>
                    <a:pt x="4317" y="619"/>
                    <a:pt x="8580" y="190"/>
                    <a:pt x="12843" y="190"/>
                  </a:cubicBezTo>
                  <a:cubicBezTo>
                    <a:pt x="60650" y="190"/>
                    <a:pt x="108457" y="565"/>
                    <a:pt x="156263" y="2"/>
                  </a:cubicBezTo>
                  <a:cubicBezTo>
                    <a:pt x="166077" y="-105"/>
                    <a:pt x="170233" y="3649"/>
                    <a:pt x="173852" y="11961"/>
                  </a:cubicBezTo>
                  <a:cubicBezTo>
                    <a:pt x="204231" y="81351"/>
                    <a:pt x="234958" y="150555"/>
                    <a:pt x="265605" y="219811"/>
                  </a:cubicBezTo>
                  <a:cubicBezTo>
                    <a:pt x="267348" y="223753"/>
                    <a:pt x="269251" y="227641"/>
                    <a:pt x="273675" y="231260"/>
                  </a:cubicBezTo>
                  <a:cubicBezTo>
                    <a:pt x="273675" y="222224"/>
                    <a:pt x="273675" y="213189"/>
                    <a:pt x="273675" y="204153"/>
                  </a:cubicBezTo>
                  <a:cubicBezTo>
                    <a:pt x="273675" y="170637"/>
                    <a:pt x="273675" y="137095"/>
                    <a:pt x="273675" y="103579"/>
                  </a:cubicBezTo>
                  <a:cubicBezTo>
                    <a:pt x="273675" y="69152"/>
                    <a:pt x="272388" y="67784"/>
                    <a:pt x="237103" y="65130"/>
                  </a:cubicBezTo>
                  <a:lnTo>
                    <a:pt x="237103" y="941"/>
                  </a:lnTo>
                  <a:lnTo>
                    <a:pt x="404172" y="941"/>
                  </a:lnTo>
                  <a:lnTo>
                    <a:pt x="404172" y="64245"/>
                  </a:lnTo>
                  <a:cubicBezTo>
                    <a:pt x="403260" y="64701"/>
                    <a:pt x="402536" y="65344"/>
                    <a:pt x="401759" y="65398"/>
                  </a:cubicBezTo>
                  <a:cubicBezTo>
                    <a:pt x="365991" y="67168"/>
                    <a:pt x="365347" y="67838"/>
                    <a:pt x="365374" y="103445"/>
                  </a:cubicBezTo>
                  <a:cubicBezTo>
                    <a:pt x="365428" y="200453"/>
                    <a:pt x="365481" y="297434"/>
                    <a:pt x="365508" y="394441"/>
                  </a:cubicBezTo>
                  <a:cubicBezTo>
                    <a:pt x="365508" y="399723"/>
                    <a:pt x="365508" y="404979"/>
                    <a:pt x="365508" y="412004"/>
                  </a:cubicBezTo>
                  <a:cubicBezTo>
                    <a:pt x="342637" y="412004"/>
                    <a:pt x="320919" y="412111"/>
                    <a:pt x="299201" y="411977"/>
                  </a:cubicBezTo>
                  <a:cubicBezTo>
                    <a:pt x="284052" y="411870"/>
                    <a:pt x="265632" y="416615"/>
                    <a:pt x="254665" y="409698"/>
                  </a:cubicBezTo>
                  <a:cubicBezTo>
                    <a:pt x="243779" y="402834"/>
                    <a:pt x="240187" y="384145"/>
                    <a:pt x="233752" y="370498"/>
                  </a:cubicBezTo>
                  <a:cubicBezTo>
                    <a:pt x="202327" y="304030"/>
                    <a:pt x="171010" y="237481"/>
                    <a:pt x="139613" y="170986"/>
                  </a:cubicBezTo>
                  <a:cubicBezTo>
                    <a:pt x="137790" y="167125"/>
                    <a:pt x="135725" y="163398"/>
                    <a:pt x="131569" y="160019"/>
                  </a:cubicBezTo>
                  <a:cubicBezTo>
                    <a:pt x="131569" y="175410"/>
                    <a:pt x="131569" y="190800"/>
                    <a:pt x="131569" y="206191"/>
                  </a:cubicBezTo>
                  <a:cubicBezTo>
                    <a:pt x="131542" y="242388"/>
                    <a:pt x="131462" y="278611"/>
                    <a:pt x="131489" y="314808"/>
                  </a:cubicBezTo>
                  <a:cubicBezTo>
                    <a:pt x="131489" y="338618"/>
                    <a:pt x="134706" y="341835"/>
                    <a:pt x="158355" y="342211"/>
                  </a:cubicBezTo>
                  <a:cubicBezTo>
                    <a:pt x="161894" y="342264"/>
                    <a:pt x="165406" y="342211"/>
                    <a:pt x="169830" y="342211"/>
                  </a:cubicBezTo>
                  <a:lnTo>
                    <a:pt x="169830" y="407740"/>
                  </a:lnTo>
                  <a:lnTo>
                    <a:pt x="0" y="40774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Freeform: Shape 7">
              <a:extLst>
                <a:ext uri="{FF2B5EF4-FFF2-40B4-BE49-F238E27FC236}">
                  <a16:creationId xmlns:a16="http://schemas.microsoft.com/office/drawing/2014/main" id="{349086F7-7CFB-1109-9058-D0A691D081F7}"/>
                </a:ext>
              </a:extLst>
            </p:cNvPr>
            <p:cNvSpPr/>
            <p:nvPr/>
          </p:nvSpPr>
          <p:spPr>
            <a:xfrm>
              <a:off x="9085608" y="260399"/>
              <a:ext cx="223758" cy="279344"/>
            </a:xfrm>
            <a:custGeom>
              <a:avLst/>
              <a:gdLst>
                <a:gd name="connsiteX0" fmla="*/ 27 w 326174"/>
                <a:gd name="connsiteY0" fmla="*/ 0 h 407201"/>
                <a:gd name="connsiteX1" fmla="*/ 319981 w 326174"/>
                <a:gd name="connsiteY1" fmla="*/ 0 h 407201"/>
                <a:gd name="connsiteX2" fmla="*/ 319981 w 326174"/>
                <a:gd name="connsiteY2" fmla="*/ 119879 h 407201"/>
                <a:gd name="connsiteX3" fmla="*/ 235628 w 326174"/>
                <a:gd name="connsiteY3" fmla="*/ 119879 h 407201"/>
                <a:gd name="connsiteX4" fmla="*/ 235682 w 326174"/>
                <a:gd name="connsiteY4" fmla="*/ 98429 h 407201"/>
                <a:gd name="connsiteX5" fmla="*/ 218656 w 326174"/>
                <a:gd name="connsiteY5" fmla="*/ 78936 h 407201"/>
                <a:gd name="connsiteX6" fmla="*/ 152670 w 326174"/>
                <a:gd name="connsiteY6" fmla="*/ 78722 h 407201"/>
                <a:gd name="connsiteX7" fmla="*/ 152670 w 326174"/>
                <a:gd name="connsiteY7" fmla="*/ 156210 h 407201"/>
                <a:gd name="connsiteX8" fmla="*/ 271638 w 326174"/>
                <a:gd name="connsiteY8" fmla="*/ 156210 h 407201"/>
                <a:gd name="connsiteX9" fmla="*/ 271638 w 326174"/>
                <a:gd name="connsiteY9" fmla="*/ 238980 h 407201"/>
                <a:gd name="connsiteX10" fmla="*/ 152858 w 326174"/>
                <a:gd name="connsiteY10" fmla="*/ 238980 h 407201"/>
                <a:gd name="connsiteX11" fmla="*/ 152858 w 326174"/>
                <a:gd name="connsiteY11" fmla="*/ 327542 h 407201"/>
                <a:gd name="connsiteX12" fmla="*/ 227933 w 326174"/>
                <a:gd name="connsiteY12" fmla="*/ 327354 h 407201"/>
                <a:gd name="connsiteX13" fmla="*/ 243163 w 326174"/>
                <a:gd name="connsiteY13" fmla="*/ 308800 h 407201"/>
                <a:gd name="connsiteX14" fmla="*/ 243243 w 326174"/>
                <a:gd name="connsiteY14" fmla="*/ 282685 h 407201"/>
                <a:gd name="connsiteX15" fmla="*/ 326174 w 326174"/>
                <a:gd name="connsiteY15" fmla="*/ 282685 h 407201"/>
                <a:gd name="connsiteX16" fmla="*/ 326174 w 326174"/>
                <a:gd name="connsiteY16" fmla="*/ 407202 h 407201"/>
                <a:gd name="connsiteX17" fmla="*/ 0 w 326174"/>
                <a:gd name="connsiteY17" fmla="*/ 407202 h 407201"/>
                <a:gd name="connsiteX18" fmla="*/ 0 w 326174"/>
                <a:gd name="connsiteY18" fmla="*/ 341216 h 407201"/>
                <a:gd name="connsiteX19" fmla="*/ 17991 w 326174"/>
                <a:gd name="connsiteY19" fmla="*/ 341163 h 407201"/>
                <a:gd name="connsiteX20" fmla="*/ 37001 w 326174"/>
                <a:gd name="connsiteY20" fmla="*/ 321831 h 407201"/>
                <a:gd name="connsiteX21" fmla="*/ 37109 w 326174"/>
                <a:gd name="connsiteY21" fmla="*/ 198493 h 407201"/>
                <a:gd name="connsiteX22" fmla="*/ 37109 w 326174"/>
                <a:gd name="connsiteY22" fmla="*/ 92584 h 407201"/>
                <a:gd name="connsiteX23" fmla="*/ 10216 w 326174"/>
                <a:gd name="connsiteY23" fmla="*/ 64860 h 407201"/>
                <a:gd name="connsiteX24" fmla="*/ 27 w 326174"/>
                <a:gd name="connsiteY24" fmla="*/ 64404 h 407201"/>
                <a:gd name="connsiteX25" fmla="*/ 27 w 326174"/>
                <a:gd name="connsiteY25" fmla="*/ 0 h 407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26174" h="407201">
                  <a:moveTo>
                    <a:pt x="27" y="0"/>
                  </a:moveTo>
                  <a:lnTo>
                    <a:pt x="319981" y="0"/>
                  </a:lnTo>
                  <a:lnTo>
                    <a:pt x="319981" y="119879"/>
                  </a:lnTo>
                  <a:lnTo>
                    <a:pt x="235628" y="119879"/>
                  </a:lnTo>
                  <a:cubicBezTo>
                    <a:pt x="235628" y="112479"/>
                    <a:pt x="235333" y="105427"/>
                    <a:pt x="235682" y="98429"/>
                  </a:cubicBezTo>
                  <a:cubicBezTo>
                    <a:pt x="236272" y="86283"/>
                    <a:pt x="230185" y="79311"/>
                    <a:pt x="218656" y="78936"/>
                  </a:cubicBezTo>
                  <a:cubicBezTo>
                    <a:pt x="196911" y="78239"/>
                    <a:pt x="175139" y="78722"/>
                    <a:pt x="152670" y="78722"/>
                  </a:cubicBezTo>
                  <a:lnTo>
                    <a:pt x="152670" y="156210"/>
                  </a:lnTo>
                  <a:lnTo>
                    <a:pt x="271638" y="156210"/>
                  </a:lnTo>
                  <a:lnTo>
                    <a:pt x="271638" y="238980"/>
                  </a:lnTo>
                  <a:lnTo>
                    <a:pt x="152858" y="238980"/>
                  </a:lnTo>
                  <a:lnTo>
                    <a:pt x="152858" y="327542"/>
                  </a:lnTo>
                  <a:cubicBezTo>
                    <a:pt x="178196" y="327542"/>
                    <a:pt x="203078" y="327944"/>
                    <a:pt x="227933" y="327354"/>
                  </a:cubicBezTo>
                  <a:cubicBezTo>
                    <a:pt x="239007" y="327086"/>
                    <a:pt x="242680" y="318560"/>
                    <a:pt x="243163" y="308800"/>
                  </a:cubicBezTo>
                  <a:cubicBezTo>
                    <a:pt x="243565" y="300408"/>
                    <a:pt x="243243" y="291962"/>
                    <a:pt x="243243" y="282685"/>
                  </a:cubicBezTo>
                  <a:lnTo>
                    <a:pt x="326174" y="282685"/>
                  </a:lnTo>
                  <a:lnTo>
                    <a:pt x="326174" y="407202"/>
                  </a:lnTo>
                  <a:lnTo>
                    <a:pt x="0" y="407202"/>
                  </a:lnTo>
                  <a:lnTo>
                    <a:pt x="0" y="341216"/>
                  </a:lnTo>
                  <a:cubicBezTo>
                    <a:pt x="5872" y="341216"/>
                    <a:pt x="11932" y="341431"/>
                    <a:pt x="17991" y="341163"/>
                  </a:cubicBezTo>
                  <a:cubicBezTo>
                    <a:pt x="33301" y="340519"/>
                    <a:pt x="36948" y="337007"/>
                    <a:pt x="37001" y="321831"/>
                  </a:cubicBezTo>
                  <a:cubicBezTo>
                    <a:pt x="37162" y="280727"/>
                    <a:pt x="37082" y="239624"/>
                    <a:pt x="37109" y="198493"/>
                  </a:cubicBezTo>
                  <a:cubicBezTo>
                    <a:pt x="37109" y="163181"/>
                    <a:pt x="37109" y="127896"/>
                    <a:pt x="37109" y="92584"/>
                  </a:cubicBezTo>
                  <a:cubicBezTo>
                    <a:pt x="37109" y="69015"/>
                    <a:pt x="33650" y="65503"/>
                    <a:pt x="10216" y="64860"/>
                  </a:cubicBezTo>
                  <a:cubicBezTo>
                    <a:pt x="7132" y="64779"/>
                    <a:pt x="4049" y="64591"/>
                    <a:pt x="27" y="64404"/>
                  </a:cubicBezTo>
                  <a:lnTo>
                    <a:pt x="27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: Shape 8">
              <a:extLst>
                <a:ext uri="{FF2B5EF4-FFF2-40B4-BE49-F238E27FC236}">
                  <a16:creationId xmlns:a16="http://schemas.microsoft.com/office/drawing/2014/main" id="{31C32C18-FC6B-6961-EA43-6F71D068C2C1}"/>
                </a:ext>
              </a:extLst>
            </p:cNvPr>
            <p:cNvSpPr/>
            <p:nvPr/>
          </p:nvSpPr>
          <p:spPr>
            <a:xfrm>
              <a:off x="9761971" y="250670"/>
              <a:ext cx="204990" cy="298460"/>
            </a:xfrm>
            <a:custGeom>
              <a:avLst/>
              <a:gdLst>
                <a:gd name="connsiteX0" fmla="*/ 248 w 298816"/>
                <a:gd name="connsiteY0" fmla="*/ 286088 h 435066"/>
                <a:gd name="connsiteX1" fmla="*/ 91304 w 298816"/>
                <a:gd name="connsiteY1" fmla="*/ 286088 h 435066"/>
                <a:gd name="connsiteX2" fmla="*/ 91357 w 298816"/>
                <a:gd name="connsiteY2" fmla="*/ 318049 h 435066"/>
                <a:gd name="connsiteX3" fmla="*/ 163242 w 298816"/>
                <a:gd name="connsiteY3" fmla="*/ 359742 h 435066"/>
                <a:gd name="connsiteX4" fmla="*/ 170159 w 298816"/>
                <a:gd name="connsiteY4" fmla="*/ 288662 h 435066"/>
                <a:gd name="connsiteX5" fmla="*/ 124551 w 298816"/>
                <a:gd name="connsiteY5" fmla="*/ 258418 h 435066"/>
                <a:gd name="connsiteX6" fmla="*/ 55455 w 298816"/>
                <a:gd name="connsiteY6" fmla="*/ 215089 h 435066"/>
                <a:gd name="connsiteX7" fmla="*/ 543 w 298816"/>
                <a:gd name="connsiteY7" fmla="*/ 124221 h 435066"/>
                <a:gd name="connsiteX8" fmla="*/ 99240 w 298816"/>
                <a:gd name="connsiteY8" fmla="*/ 4074 h 435066"/>
                <a:gd name="connsiteX9" fmla="*/ 267891 w 298816"/>
                <a:gd name="connsiteY9" fmla="*/ 20430 h 435066"/>
                <a:gd name="connsiteX10" fmla="*/ 278509 w 298816"/>
                <a:gd name="connsiteY10" fmla="*/ 31021 h 435066"/>
                <a:gd name="connsiteX11" fmla="*/ 278991 w 298816"/>
                <a:gd name="connsiteY11" fmla="*/ 136501 h 435066"/>
                <a:gd name="connsiteX12" fmla="*/ 191153 w 298816"/>
                <a:gd name="connsiteY12" fmla="*/ 136501 h 435066"/>
                <a:gd name="connsiteX13" fmla="*/ 191019 w 298816"/>
                <a:gd name="connsiteY13" fmla="*/ 100706 h 435066"/>
                <a:gd name="connsiteX14" fmla="*/ 161928 w 298816"/>
                <a:gd name="connsiteY14" fmla="*/ 65796 h 435066"/>
                <a:gd name="connsiteX15" fmla="*/ 113933 w 298816"/>
                <a:gd name="connsiteY15" fmla="*/ 83493 h 435066"/>
                <a:gd name="connsiteX16" fmla="*/ 122165 w 298816"/>
                <a:gd name="connsiteY16" fmla="*/ 131648 h 435066"/>
                <a:gd name="connsiteX17" fmla="*/ 172438 w 298816"/>
                <a:gd name="connsiteY17" fmla="*/ 164386 h 435066"/>
                <a:gd name="connsiteX18" fmla="*/ 246360 w 298816"/>
                <a:gd name="connsiteY18" fmla="*/ 207447 h 435066"/>
                <a:gd name="connsiteX19" fmla="*/ 294945 w 298816"/>
                <a:gd name="connsiteY19" fmla="*/ 337836 h 435066"/>
                <a:gd name="connsiteX20" fmla="*/ 194746 w 298816"/>
                <a:gd name="connsiteY20" fmla="*/ 430259 h 435066"/>
                <a:gd name="connsiteX21" fmla="*/ 12448 w 298816"/>
                <a:gd name="connsiteY21" fmla="*/ 415432 h 435066"/>
                <a:gd name="connsiteX22" fmla="*/ 7 w 298816"/>
                <a:gd name="connsiteY22" fmla="*/ 398915 h 435066"/>
                <a:gd name="connsiteX23" fmla="*/ 275 w 298816"/>
                <a:gd name="connsiteY23" fmla="*/ 286088 h 4350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98816" h="435066">
                  <a:moveTo>
                    <a:pt x="248" y="286088"/>
                  </a:moveTo>
                  <a:lnTo>
                    <a:pt x="91304" y="286088"/>
                  </a:lnTo>
                  <a:cubicBezTo>
                    <a:pt x="91304" y="296921"/>
                    <a:pt x="90982" y="307485"/>
                    <a:pt x="91357" y="318049"/>
                  </a:cubicBezTo>
                  <a:cubicBezTo>
                    <a:pt x="92725" y="356283"/>
                    <a:pt x="129351" y="377439"/>
                    <a:pt x="163242" y="359742"/>
                  </a:cubicBezTo>
                  <a:cubicBezTo>
                    <a:pt x="188070" y="346765"/>
                    <a:pt x="192682" y="307994"/>
                    <a:pt x="170159" y="288662"/>
                  </a:cubicBezTo>
                  <a:cubicBezTo>
                    <a:pt x="156431" y="276865"/>
                    <a:pt x="139995" y="268151"/>
                    <a:pt x="124551" y="258418"/>
                  </a:cubicBezTo>
                  <a:cubicBezTo>
                    <a:pt x="101546" y="243912"/>
                    <a:pt x="77388" y="231015"/>
                    <a:pt x="55455" y="215089"/>
                  </a:cubicBezTo>
                  <a:cubicBezTo>
                    <a:pt x="24808" y="192834"/>
                    <a:pt x="2903" y="163823"/>
                    <a:pt x="543" y="124221"/>
                  </a:cubicBezTo>
                  <a:cubicBezTo>
                    <a:pt x="-3103" y="63142"/>
                    <a:pt x="37437" y="13405"/>
                    <a:pt x="99240" y="4074"/>
                  </a:cubicBezTo>
                  <a:cubicBezTo>
                    <a:pt x="156646" y="-4613"/>
                    <a:pt x="213140" y="481"/>
                    <a:pt x="267891" y="20430"/>
                  </a:cubicBezTo>
                  <a:cubicBezTo>
                    <a:pt x="272288" y="22038"/>
                    <a:pt x="278428" y="27321"/>
                    <a:pt x="278509" y="31021"/>
                  </a:cubicBezTo>
                  <a:cubicBezTo>
                    <a:pt x="279313" y="65823"/>
                    <a:pt x="278991" y="100653"/>
                    <a:pt x="278991" y="136501"/>
                  </a:cubicBezTo>
                  <a:lnTo>
                    <a:pt x="191153" y="136501"/>
                  </a:lnTo>
                  <a:cubicBezTo>
                    <a:pt x="191153" y="124543"/>
                    <a:pt x="191797" y="112584"/>
                    <a:pt x="191019" y="100706"/>
                  </a:cubicBezTo>
                  <a:cubicBezTo>
                    <a:pt x="189679" y="80677"/>
                    <a:pt x="179678" y="69202"/>
                    <a:pt x="161928" y="65796"/>
                  </a:cubicBezTo>
                  <a:cubicBezTo>
                    <a:pt x="140317" y="61641"/>
                    <a:pt x="122138" y="68370"/>
                    <a:pt x="113933" y="83493"/>
                  </a:cubicBezTo>
                  <a:cubicBezTo>
                    <a:pt x="104281" y="101323"/>
                    <a:pt x="105809" y="118349"/>
                    <a:pt x="122165" y="131648"/>
                  </a:cubicBezTo>
                  <a:cubicBezTo>
                    <a:pt x="137582" y="144196"/>
                    <a:pt x="155251" y="154117"/>
                    <a:pt x="172438" y="164386"/>
                  </a:cubicBezTo>
                  <a:cubicBezTo>
                    <a:pt x="196918" y="179026"/>
                    <a:pt x="222765" y="191547"/>
                    <a:pt x="246360" y="207447"/>
                  </a:cubicBezTo>
                  <a:cubicBezTo>
                    <a:pt x="290601" y="237236"/>
                    <a:pt x="307091" y="283863"/>
                    <a:pt x="294945" y="337836"/>
                  </a:cubicBezTo>
                  <a:cubicBezTo>
                    <a:pt x="284300" y="385161"/>
                    <a:pt x="244081" y="422081"/>
                    <a:pt x="194746" y="430259"/>
                  </a:cubicBezTo>
                  <a:cubicBezTo>
                    <a:pt x="132702" y="440555"/>
                    <a:pt x="72186" y="433718"/>
                    <a:pt x="12448" y="415432"/>
                  </a:cubicBezTo>
                  <a:cubicBezTo>
                    <a:pt x="3439" y="412670"/>
                    <a:pt x="-181" y="408970"/>
                    <a:pt x="7" y="398915"/>
                  </a:cubicBezTo>
                  <a:cubicBezTo>
                    <a:pt x="704" y="361834"/>
                    <a:pt x="275" y="324752"/>
                    <a:pt x="275" y="286088"/>
                  </a:cubicBezTo>
                  <a:close/>
                </a:path>
              </a:pathLst>
            </a:custGeom>
            <a:grpFill/>
            <a:ln w="254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16" name="Imagen 15">
            <a:extLst>
              <a:ext uri="{FF2B5EF4-FFF2-40B4-BE49-F238E27FC236}">
                <a16:creationId xmlns:a16="http://schemas.microsoft.com/office/drawing/2014/main" id="{B9F7F459-8541-0F26-9F43-A641BBA6C67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79989" y="62276"/>
            <a:ext cx="734387" cy="1440000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C519F010-4DAF-A32E-DCA1-7E1153732F2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27971" y="4221241"/>
            <a:ext cx="1666950" cy="367035"/>
          </a:xfrm>
          <a:prstGeom prst="rect">
            <a:avLst/>
          </a:prstGeom>
        </p:spPr>
      </p:pic>
      <p:pic>
        <p:nvPicPr>
          <p:cNvPr id="5" name="Imagen 4" descr="Una señal de alto&#10;&#10;Descripción generada automáticamente con confianza media">
            <a:extLst>
              <a:ext uri="{FF2B5EF4-FFF2-40B4-BE49-F238E27FC236}">
                <a16:creationId xmlns:a16="http://schemas.microsoft.com/office/drawing/2014/main" id="{23A3F836-CC58-6E71-9788-D6A32C6B6612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68139" y="-96090"/>
            <a:ext cx="2223133" cy="1250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336077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99EB0209-EB77-EC54-6287-86A43FDAD55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Pre-</a:t>
            </a:r>
            <a:r>
              <a:rPr lang="en-GB" dirty="0" err="1"/>
              <a:t>lanzamiento</a:t>
            </a:r>
            <a:r>
              <a:rPr lang="en-GB" dirty="0"/>
              <a:t> de </a:t>
            </a:r>
            <a:r>
              <a:rPr lang="en-GB" dirty="0" err="1"/>
              <a:t>nueva</a:t>
            </a:r>
            <a:r>
              <a:rPr lang="en-GB" dirty="0"/>
              <a:t> </a:t>
            </a:r>
            <a:r>
              <a:rPr lang="en-GB" dirty="0" err="1"/>
              <a:t>variedad</a:t>
            </a:r>
            <a:r>
              <a:rPr lang="en-GB" dirty="0"/>
              <a:t> España 2023/2024</a:t>
            </a:r>
          </a:p>
          <a:p>
            <a:endParaRPr lang="en-GB" dirty="0"/>
          </a:p>
        </p:txBody>
      </p:sp>
      <p:graphicFrame>
        <p:nvGraphicFramePr>
          <p:cNvPr id="7" name="Tabelle 7">
            <a:extLst>
              <a:ext uri="{FF2B5EF4-FFF2-40B4-BE49-F238E27FC236}">
                <a16:creationId xmlns:a16="http://schemas.microsoft.com/office/drawing/2014/main" id="{88067451-9D09-66D5-311B-02B960956BE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46858475"/>
              </p:ext>
            </p:extLst>
          </p:nvPr>
        </p:nvGraphicFramePr>
        <p:xfrm>
          <a:off x="380391" y="1103083"/>
          <a:ext cx="2795061" cy="3739440"/>
        </p:xfrm>
        <a:graphic>
          <a:graphicData uri="http://schemas.openxmlformats.org/drawingml/2006/table">
            <a:tbl>
              <a:tblPr firstRow="1" bandRow="1">
                <a:effectLst/>
                <a:tableStyleId>{21E4AEA4-8DFA-4A89-87EB-49C32662AFE0}</a:tableStyleId>
              </a:tblPr>
              <a:tblGrid>
                <a:gridCol w="2795061">
                  <a:extLst>
                    <a:ext uri="{9D8B030D-6E8A-4147-A177-3AD203B41FA5}">
                      <a16:colId xmlns:a16="http://schemas.microsoft.com/office/drawing/2014/main" val="4124971706"/>
                    </a:ext>
                  </a:extLst>
                </a:gridCol>
              </a:tblGrid>
              <a:tr h="504000">
                <a:tc>
                  <a:txBody>
                    <a:bodyPr/>
                    <a:lstStyle/>
                    <a:p>
                      <a:pPr algn="ctr"/>
                      <a:r>
                        <a:rPr lang="en-GB" sz="2000" dirty="0">
                          <a:solidFill>
                            <a:srgbClr val="E4032D"/>
                          </a:solidFill>
                        </a:rPr>
                        <a:t>LG ARMAD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7001518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Pre-</a:t>
                      </a:r>
                      <a:r>
                        <a:rPr lang="en-GB" sz="1400" dirty="0" err="1">
                          <a:solidFill>
                            <a:schemeClr val="tx1"/>
                          </a:solidFill>
                        </a:rPr>
                        <a:t>Lanzamiento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1317904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ctr"/>
                      <a:r>
                        <a:rPr lang="en-GB" sz="1400" b="1" dirty="0" err="1">
                          <a:solidFill>
                            <a:schemeClr val="tx1"/>
                          </a:solidFill>
                        </a:rPr>
                        <a:t>Próxima</a:t>
                      </a:r>
                      <a:r>
                        <a:rPr lang="en-GB" sz="1400" b="1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GB" sz="1400" b="1" dirty="0" err="1">
                          <a:solidFill>
                            <a:schemeClr val="tx1"/>
                          </a:solidFill>
                        </a:rPr>
                        <a:t>innovación</a:t>
                      </a:r>
                      <a:r>
                        <a:rPr lang="en-GB" sz="1400" b="1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GB" sz="1400" b="1" dirty="0" err="1">
                          <a:solidFill>
                            <a:schemeClr val="tx1"/>
                          </a:solidFill>
                        </a:rPr>
                        <a:t>genética</a:t>
                      </a:r>
                      <a:endParaRPr lang="en-GB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226035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ctr"/>
                      <a:r>
                        <a:rPr lang="en-GB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edio/Medio-</a:t>
                      </a:r>
                      <a:r>
                        <a:rPr lang="en-GB" sz="1400" b="1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ecoz</a:t>
                      </a:r>
                      <a:r>
                        <a:rPr lang="en-GB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en-GB" sz="1400" b="1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to</a:t>
                      </a:r>
                      <a:r>
                        <a:rPr lang="en-GB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++++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825963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342900" indent="-342900" algn="l">
                        <a:buFont typeface="+mj-lt"/>
                        <a:buAutoNum type="arabicPeriod"/>
                      </a:pPr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Resistencia a la </a:t>
                      </a:r>
                      <a:r>
                        <a:rPr lang="en-GB" sz="1200" dirty="0" err="1">
                          <a:solidFill>
                            <a:schemeClr val="tx1"/>
                          </a:solidFill>
                        </a:rPr>
                        <a:t>Dehiscencia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  <a:p>
                      <a:pPr marL="342900" marR="0" lvl="0" indent="-34290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Resistencia a la </a:t>
                      </a:r>
                      <a:r>
                        <a:rPr lang="en-GB" sz="1200" dirty="0" err="1">
                          <a:solidFill>
                            <a:schemeClr val="tx1"/>
                          </a:solidFill>
                        </a:rPr>
                        <a:t>virosis</a:t>
                      </a:r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GB" sz="1200" dirty="0" err="1">
                          <a:solidFill>
                            <a:schemeClr val="tx1"/>
                          </a:solidFill>
                        </a:rPr>
                        <a:t>TuYV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  <a:p>
                      <a:pPr marL="342900" marR="0" lvl="0" indent="-34290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GB" sz="1200" dirty="0" err="1">
                          <a:solidFill>
                            <a:schemeClr val="tx1"/>
                          </a:solidFill>
                        </a:rPr>
                        <a:t>Vigor</a:t>
                      </a:r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+</a:t>
                      </a:r>
                    </a:p>
                    <a:p>
                      <a:pPr marL="342900" indent="-342900" algn="l">
                        <a:buFont typeface="+mj-lt"/>
                        <a:buAutoNum type="arabicPeriod"/>
                      </a:pPr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N-FLEX</a:t>
                      </a:r>
                    </a:p>
                    <a:p>
                      <a:pPr marL="342900" indent="-342900" algn="l">
                        <a:buFont typeface="+mj-lt"/>
                        <a:buAutoNum type="arabicPeriod"/>
                      </a:pPr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STEM HEALTH</a:t>
                      </a:r>
                    </a:p>
                    <a:p>
                      <a:pPr marL="342900" indent="-342900" algn="l">
                        <a:buFont typeface="+mj-lt"/>
                        <a:buAutoNum type="arabicPeriod"/>
                      </a:pP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GB" sz="1400" b="1" dirty="0" err="1">
                          <a:solidFill>
                            <a:srgbClr val="E4032D"/>
                          </a:solidFill>
                        </a:rPr>
                        <a:t>Rendimiento</a:t>
                      </a:r>
                      <a:r>
                        <a:rPr lang="en-GB" sz="1400" b="1" dirty="0">
                          <a:solidFill>
                            <a:srgbClr val="E4032D"/>
                          </a:solidFill>
                        </a:rPr>
                        <a:t>, </a:t>
                      </a:r>
                      <a:r>
                        <a:rPr lang="en-GB" sz="1400" b="1" dirty="0" err="1">
                          <a:solidFill>
                            <a:srgbClr val="E4032D"/>
                          </a:solidFill>
                        </a:rPr>
                        <a:t>estabilidad</a:t>
                      </a:r>
                      <a:r>
                        <a:rPr lang="en-GB" sz="1400" b="1" dirty="0">
                          <a:solidFill>
                            <a:srgbClr val="E4032D"/>
                          </a:solidFill>
                        </a:rPr>
                        <a:t> </a:t>
                      </a: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GB" sz="1400" b="1" dirty="0">
                          <a:solidFill>
                            <a:srgbClr val="E4032D"/>
                          </a:solidFill>
                        </a:rPr>
                        <a:t>&amp; STEM HEALTH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6103064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algn="ctr"/>
                      <a:r>
                        <a:rPr lang="es-ES" sz="1200" dirty="0">
                          <a:solidFill>
                            <a:schemeClr val="tx1"/>
                          </a:solidFill>
                        </a:rPr>
                        <a:t>Agricultores que buscan un alto rendimiento bajo una alta presión de la enfermedad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8599362"/>
                  </a:ext>
                </a:extLst>
              </a:tr>
            </a:tbl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01573134-7BBE-7F99-ABB6-621FDC5A15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LG ARMADA</a:t>
            </a:r>
          </a:p>
        </p:txBody>
      </p:sp>
      <p:grpSp>
        <p:nvGrpSpPr>
          <p:cNvPr id="2" name="Group 9">
            <a:extLst>
              <a:ext uri="{FF2B5EF4-FFF2-40B4-BE49-F238E27FC236}">
                <a16:creationId xmlns:a16="http://schemas.microsoft.com/office/drawing/2014/main" id="{7B88FDE5-1EBD-9879-8224-86958E705E91}"/>
              </a:ext>
            </a:extLst>
          </p:cNvPr>
          <p:cNvGrpSpPr/>
          <p:nvPr/>
        </p:nvGrpSpPr>
        <p:grpSpPr>
          <a:xfrm rot="16200000">
            <a:off x="8457754" y="4009197"/>
            <a:ext cx="927501" cy="230656"/>
            <a:chOff x="8766811" y="250670"/>
            <a:chExt cx="1200150" cy="298460"/>
          </a:xfrm>
          <a:solidFill>
            <a:schemeClr val="bg1">
              <a:alpha val="42000"/>
            </a:schemeClr>
          </a:solidFill>
        </p:grpSpPr>
        <p:sp>
          <p:nvSpPr>
            <p:cNvPr id="3" name="Freeform: Shape 5">
              <a:extLst>
                <a:ext uri="{FF2B5EF4-FFF2-40B4-BE49-F238E27FC236}">
                  <a16:creationId xmlns:a16="http://schemas.microsoft.com/office/drawing/2014/main" id="{42702A6F-0DE8-6A75-D537-2D1473C6A08A}"/>
                </a:ext>
              </a:extLst>
            </p:cNvPr>
            <p:cNvSpPr/>
            <p:nvPr/>
          </p:nvSpPr>
          <p:spPr>
            <a:xfrm>
              <a:off x="9340947" y="259788"/>
              <a:ext cx="396639" cy="280066"/>
            </a:xfrm>
            <a:custGeom>
              <a:avLst/>
              <a:gdLst>
                <a:gd name="connsiteX0" fmla="*/ 188626 w 578185"/>
                <a:gd name="connsiteY0" fmla="*/ 247351 h 408253"/>
                <a:gd name="connsiteX1" fmla="*/ 209084 w 578185"/>
                <a:gd name="connsiteY1" fmla="*/ 156671 h 408253"/>
                <a:gd name="connsiteX2" fmla="*/ 241634 w 578185"/>
                <a:gd name="connsiteY2" fmla="*/ 10757 h 408253"/>
                <a:gd name="connsiteX3" fmla="*/ 255014 w 578185"/>
                <a:gd name="connsiteY3" fmla="*/ 5 h 408253"/>
                <a:gd name="connsiteX4" fmla="*/ 343468 w 578185"/>
                <a:gd name="connsiteY4" fmla="*/ 86 h 408253"/>
                <a:gd name="connsiteX5" fmla="*/ 356258 w 578185"/>
                <a:gd name="connsiteY5" fmla="*/ 9926 h 408253"/>
                <a:gd name="connsiteX6" fmla="*/ 402000 w 578185"/>
                <a:gd name="connsiteY6" fmla="*/ 237699 h 408253"/>
                <a:gd name="connsiteX7" fmla="*/ 406853 w 578185"/>
                <a:gd name="connsiteY7" fmla="*/ 247646 h 408253"/>
                <a:gd name="connsiteX8" fmla="*/ 443881 w 578185"/>
                <a:gd name="connsiteY8" fmla="*/ 88487 h 408253"/>
                <a:gd name="connsiteX9" fmla="*/ 418275 w 578185"/>
                <a:gd name="connsiteY9" fmla="*/ 64463 h 408253"/>
                <a:gd name="connsiteX10" fmla="*/ 418275 w 578185"/>
                <a:gd name="connsiteY10" fmla="*/ 1132 h 408253"/>
                <a:gd name="connsiteX11" fmla="*/ 578185 w 578185"/>
                <a:gd name="connsiteY11" fmla="*/ 1132 h 408253"/>
                <a:gd name="connsiteX12" fmla="*/ 578185 w 578185"/>
                <a:gd name="connsiteY12" fmla="*/ 65482 h 408253"/>
                <a:gd name="connsiteX13" fmla="*/ 535580 w 578185"/>
                <a:gd name="connsiteY13" fmla="*/ 107309 h 408253"/>
                <a:gd name="connsiteX14" fmla="*/ 450423 w 578185"/>
                <a:gd name="connsiteY14" fmla="*/ 398306 h 408253"/>
                <a:gd name="connsiteX15" fmla="*/ 447072 w 578185"/>
                <a:gd name="connsiteY15" fmla="*/ 408146 h 408253"/>
                <a:gd name="connsiteX16" fmla="*/ 338964 w 578185"/>
                <a:gd name="connsiteY16" fmla="*/ 408146 h 408253"/>
                <a:gd name="connsiteX17" fmla="*/ 289414 w 578185"/>
                <a:gd name="connsiteY17" fmla="*/ 183832 h 408253"/>
                <a:gd name="connsiteX18" fmla="*/ 287189 w 578185"/>
                <a:gd name="connsiteY18" fmla="*/ 183644 h 408253"/>
                <a:gd name="connsiteX19" fmla="*/ 234663 w 578185"/>
                <a:gd name="connsiteY19" fmla="*/ 408253 h 408253"/>
                <a:gd name="connsiteX20" fmla="*/ 124035 w 578185"/>
                <a:gd name="connsiteY20" fmla="*/ 408253 h 408253"/>
                <a:gd name="connsiteX21" fmla="*/ 101941 w 578185"/>
                <a:gd name="connsiteY21" fmla="*/ 325536 h 408253"/>
                <a:gd name="connsiteX22" fmla="*/ 42176 w 578185"/>
                <a:gd name="connsiteY22" fmla="*/ 100874 h 408253"/>
                <a:gd name="connsiteX23" fmla="*/ 0 w 578185"/>
                <a:gd name="connsiteY23" fmla="*/ 66072 h 408253"/>
                <a:gd name="connsiteX24" fmla="*/ 0 w 578185"/>
                <a:gd name="connsiteY24" fmla="*/ 1266 h 408253"/>
                <a:gd name="connsiteX25" fmla="*/ 183880 w 578185"/>
                <a:gd name="connsiteY25" fmla="*/ 1266 h 408253"/>
                <a:gd name="connsiteX26" fmla="*/ 183880 w 578185"/>
                <a:gd name="connsiteY26" fmla="*/ 64650 h 408253"/>
                <a:gd name="connsiteX27" fmla="*/ 157658 w 578185"/>
                <a:gd name="connsiteY27" fmla="*/ 101920 h 408253"/>
                <a:gd name="connsiteX28" fmla="*/ 185677 w 578185"/>
                <a:gd name="connsiteY28" fmla="*/ 247485 h 408253"/>
                <a:gd name="connsiteX29" fmla="*/ 188599 w 578185"/>
                <a:gd name="connsiteY29" fmla="*/ 247351 h 408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78185" h="408253">
                  <a:moveTo>
                    <a:pt x="188626" y="247351"/>
                  </a:moveTo>
                  <a:cubicBezTo>
                    <a:pt x="195436" y="217133"/>
                    <a:pt x="202300" y="186889"/>
                    <a:pt x="209084" y="156671"/>
                  </a:cubicBezTo>
                  <a:cubicBezTo>
                    <a:pt x="219997" y="108033"/>
                    <a:pt x="230883" y="59422"/>
                    <a:pt x="241634" y="10757"/>
                  </a:cubicBezTo>
                  <a:cubicBezTo>
                    <a:pt x="243297" y="3250"/>
                    <a:pt x="246461" y="-155"/>
                    <a:pt x="255014" y="5"/>
                  </a:cubicBezTo>
                  <a:cubicBezTo>
                    <a:pt x="284481" y="595"/>
                    <a:pt x="314001" y="461"/>
                    <a:pt x="343468" y="86"/>
                  </a:cubicBezTo>
                  <a:cubicBezTo>
                    <a:pt x="351056" y="-21"/>
                    <a:pt x="354756" y="2285"/>
                    <a:pt x="356258" y="9926"/>
                  </a:cubicBezTo>
                  <a:cubicBezTo>
                    <a:pt x="371353" y="85886"/>
                    <a:pt x="386690" y="161792"/>
                    <a:pt x="402000" y="237699"/>
                  </a:cubicBezTo>
                  <a:cubicBezTo>
                    <a:pt x="402670" y="241050"/>
                    <a:pt x="403770" y="244321"/>
                    <a:pt x="406853" y="247646"/>
                  </a:cubicBezTo>
                  <a:cubicBezTo>
                    <a:pt x="419240" y="194611"/>
                    <a:pt x="431896" y="141602"/>
                    <a:pt x="443881" y="88487"/>
                  </a:cubicBezTo>
                  <a:cubicBezTo>
                    <a:pt x="447367" y="73043"/>
                    <a:pt x="441843" y="68377"/>
                    <a:pt x="418275" y="64463"/>
                  </a:cubicBezTo>
                  <a:lnTo>
                    <a:pt x="418275" y="1132"/>
                  </a:lnTo>
                  <a:lnTo>
                    <a:pt x="578185" y="1132"/>
                  </a:lnTo>
                  <a:lnTo>
                    <a:pt x="578185" y="65482"/>
                  </a:lnTo>
                  <a:cubicBezTo>
                    <a:pt x="549657" y="64302"/>
                    <a:pt x="542122" y="84626"/>
                    <a:pt x="535580" y="107309"/>
                  </a:cubicBezTo>
                  <a:cubicBezTo>
                    <a:pt x="507534" y="204397"/>
                    <a:pt x="478871" y="301325"/>
                    <a:pt x="450423" y="398306"/>
                  </a:cubicBezTo>
                  <a:cubicBezTo>
                    <a:pt x="449431" y="401657"/>
                    <a:pt x="448171" y="404955"/>
                    <a:pt x="447072" y="408146"/>
                  </a:cubicBezTo>
                  <a:lnTo>
                    <a:pt x="338964" y="408146"/>
                  </a:lnTo>
                  <a:cubicBezTo>
                    <a:pt x="322367" y="333044"/>
                    <a:pt x="305904" y="258425"/>
                    <a:pt x="289414" y="183832"/>
                  </a:cubicBezTo>
                  <a:lnTo>
                    <a:pt x="287189" y="183644"/>
                  </a:lnTo>
                  <a:cubicBezTo>
                    <a:pt x="269707" y="258398"/>
                    <a:pt x="252225" y="333151"/>
                    <a:pt x="234663" y="408253"/>
                  </a:cubicBezTo>
                  <a:lnTo>
                    <a:pt x="124035" y="408253"/>
                  </a:lnTo>
                  <a:cubicBezTo>
                    <a:pt x="116742" y="381012"/>
                    <a:pt x="109315" y="353287"/>
                    <a:pt x="101941" y="325536"/>
                  </a:cubicBezTo>
                  <a:cubicBezTo>
                    <a:pt x="82019" y="250649"/>
                    <a:pt x="62151" y="175735"/>
                    <a:pt x="42176" y="100874"/>
                  </a:cubicBezTo>
                  <a:cubicBezTo>
                    <a:pt x="36519" y="79665"/>
                    <a:pt x="28207" y="61192"/>
                    <a:pt x="0" y="66072"/>
                  </a:cubicBezTo>
                  <a:lnTo>
                    <a:pt x="0" y="1266"/>
                  </a:lnTo>
                  <a:lnTo>
                    <a:pt x="183880" y="1266"/>
                  </a:lnTo>
                  <a:lnTo>
                    <a:pt x="183880" y="64650"/>
                  </a:lnTo>
                  <a:cubicBezTo>
                    <a:pt x="152107" y="68726"/>
                    <a:pt x="151437" y="69691"/>
                    <a:pt x="157658" y="101920"/>
                  </a:cubicBezTo>
                  <a:cubicBezTo>
                    <a:pt x="167015" y="150451"/>
                    <a:pt x="176346" y="198954"/>
                    <a:pt x="185677" y="247485"/>
                  </a:cubicBezTo>
                  <a:lnTo>
                    <a:pt x="188599" y="247351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" name="Freeform: Shape 6">
              <a:extLst>
                <a:ext uri="{FF2B5EF4-FFF2-40B4-BE49-F238E27FC236}">
                  <a16:creationId xmlns:a16="http://schemas.microsoft.com/office/drawing/2014/main" id="{C3C1F9AB-E8E0-AA2B-CD9B-2F945C07C28A}"/>
                </a:ext>
              </a:extLst>
            </p:cNvPr>
            <p:cNvSpPr/>
            <p:nvPr/>
          </p:nvSpPr>
          <p:spPr>
            <a:xfrm>
              <a:off x="8766811" y="259809"/>
              <a:ext cx="277264" cy="283641"/>
            </a:xfrm>
            <a:custGeom>
              <a:avLst/>
              <a:gdLst>
                <a:gd name="connsiteX0" fmla="*/ 0 w 404171"/>
                <a:gd name="connsiteY0" fmla="*/ 407794 h 413465"/>
                <a:gd name="connsiteX1" fmla="*/ 0 w 404171"/>
                <a:gd name="connsiteY1" fmla="*/ 342854 h 413465"/>
                <a:gd name="connsiteX2" fmla="*/ 21879 w 404171"/>
                <a:gd name="connsiteY2" fmla="*/ 341835 h 413465"/>
                <a:gd name="connsiteX3" fmla="*/ 38422 w 404171"/>
                <a:gd name="connsiteY3" fmla="*/ 324970 h 413465"/>
                <a:gd name="connsiteX4" fmla="*/ 38664 w 404171"/>
                <a:gd name="connsiteY4" fmla="*/ 280729 h 413465"/>
                <a:gd name="connsiteX5" fmla="*/ 38664 w 404171"/>
                <a:gd name="connsiteY5" fmla="*/ 99691 h 413465"/>
                <a:gd name="connsiteX6" fmla="*/ 6274 w 404171"/>
                <a:gd name="connsiteY6" fmla="*/ 65773 h 413465"/>
                <a:gd name="connsiteX7" fmla="*/ 134 w 404171"/>
                <a:gd name="connsiteY7" fmla="*/ 65076 h 413465"/>
                <a:gd name="connsiteX8" fmla="*/ 134 w 404171"/>
                <a:gd name="connsiteY8" fmla="*/ 860 h 413465"/>
                <a:gd name="connsiteX9" fmla="*/ 12843 w 404171"/>
                <a:gd name="connsiteY9" fmla="*/ 190 h 413465"/>
                <a:gd name="connsiteX10" fmla="*/ 156263 w 404171"/>
                <a:gd name="connsiteY10" fmla="*/ 2 h 413465"/>
                <a:gd name="connsiteX11" fmla="*/ 173852 w 404171"/>
                <a:gd name="connsiteY11" fmla="*/ 11961 h 413465"/>
                <a:gd name="connsiteX12" fmla="*/ 265605 w 404171"/>
                <a:gd name="connsiteY12" fmla="*/ 219811 h 413465"/>
                <a:gd name="connsiteX13" fmla="*/ 273675 w 404171"/>
                <a:gd name="connsiteY13" fmla="*/ 231260 h 413465"/>
                <a:gd name="connsiteX14" fmla="*/ 273675 w 404171"/>
                <a:gd name="connsiteY14" fmla="*/ 204153 h 413465"/>
                <a:gd name="connsiteX15" fmla="*/ 273675 w 404171"/>
                <a:gd name="connsiteY15" fmla="*/ 103579 h 413465"/>
                <a:gd name="connsiteX16" fmla="*/ 237103 w 404171"/>
                <a:gd name="connsiteY16" fmla="*/ 65130 h 413465"/>
                <a:gd name="connsiteX17" fmla="*/ 237103 w 404171"/>
                <a:gd name="connsiteY17" fmla="*/ 941 h 413465"/>
                <a:gd name="connsiteX18" fmla="*/ 404172 w 404171"/>
                <a:gd name="connsiteY18" fmla="*/ 941 h 413465"/>
                <a:gd name="connsiteX19" fmla="*/ 404172 w 404171"/>
                <a:gd name="connsiteY19" fmla="*/ 64245 h 413465"/>
                <a:gd name="connsiteX20" fmla="*/ 401759 w 404171"/>
                <a:gd name="connsiteY20" fmla="*/ 65398 h 413465"/>
                <a:gd name="connsiteX21" fmla="*/ 365374 w 404171"/>
                <a:gd name="connsiteY21" fmla="*/ 103445 h 413465"/>
                <a:gd name="connsiteX22" fmla="*/ 365508 w 404171"/>
                <a:gd name="connsiteY22" fmla="*/ 394441 h 413465"/>
                <a:gd name="connsiteX23" fmla="*/ 365508 w 404171"/>
                <a:gd name="connsiteY23" fmla="*/ 412004 h 413465"/>
                <a:gd name="connsiteX24" fmla="*/ 299201 w 404171"/>
                <a:gd name="connsiteY24" fmla="*/ 411977 h 413465"/>
                <a:gd name="connsiteX25" fmla="*/ 254665 w 404171"/>
                <a:gd name="connsiteY25" fmla="*/ 409698 h 413465"/>
                <a:gd name="connsiteX26" fmla="*/ 233752 w 404171"/>
                <a:gd name="connsiteY26" fmla="*/ 370498 h 413465"/>
                <a:gd name="connsiteX27" fmla="*/ 139613 w 404171"/>
                <a:gd name="connsiteY27" fmla="*/ 170986 h 413465"/>
                <a:gd name="connsiteX28" fmla="*/ 131569 w 404171"/>
                <a:gd name="connsiteY28" fmla="*/ 160019 h 413465"/>
                <a:gd name="connsiteX29" fmla="*/ 131569 w 404171"/>
                <a:gd name="connsiteY29" fmla="*/ 206191 h 413465"/>
                <a:gd name="connsiteX30" fmla="*/ 131489 w 404171"/>
                <a:gd name="connsiteY30" fmla="*/ 314808 h 413465"/>
                <a:gd name="connsiteX31" fmla="*/ 158355 w 404171"/>
                <a:gd name="connsiteY31" fmla="*/ 342211 h 413465"/>
                <a:gd name="connsiteX32" fmla="*/ 169830 w 404171"/>
                <a:gd name="connsiteY32" fmla="*/ 342211 h 413465"/>
                <a:gd name="connsiteX33" fmla="*/ 169830 w 404171"/>
                <a:gd name="connsiteY33" fmla="*/ 407740 h 413465"/>
                <a:gd name="connsiteX34" fmla="*/ 0 w 404171"/>
                <a:gd name="connsiteY34" fmla="*/ 407740 h 41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404171" h="413465">
                  <a:moveTo>
                    <a:pt x="0" y="407794"/>
                  </a:moveTo>
                  <a:lnTo>
                    <a:pt x="0" y="342854"/>
                  </a:lnTo>
                  <a:cubicBezTo>
                    <a:pt x="7776" y="342506"/>
                    <a:pt x="14827" y="342184"/>
                    <a:pt x="21879" y="341835"/>
                  </a:cubicBezTo>
                  <a:cubicBezTo>
                    <a:pt x="32550" y="341299"/>
                    <a:pt x="38342" y="335910"/>
                    <a:pt x="38422" y="324970"/>
                  </a:cubicBezTo>
                  <a:cubicBezTo>
                    <a:pt x="38530" y="310223"/>
                    <a:pt x="38664" y="295476"/>
                    <a:pt x="38664" y="280729"/>
                  </a:cubicBezTo>
                  <a:cubicBezTo>
                    <a:pt x="38664" y="220374"/>
                    <a:pt x="38664" y="160046"/>
                    <a:pt x="38664" y="99691"/>
                  </a:cubicBezTo>
                  <a:cubicBezTo>
                    <a:pt x="38664" y="69581"/>
                    <a:pt x="36197" y="67034"/>
                    <a:pt x="6274" y="65773"/>
                  </a:cubicBezTo>
                  <a:cubicBezTo>
                    <a:pt x="4531" y="65693"/>
                    <a:pt x="2789" y="65371"/>
                    <a:pt x="134" y="65076"/>
                  </a:cubicBezTo>
                  <a:lnTo>
                    <a:pt x="134" y="860"/>
                  </a:lnTo>
                  <a:cubicBezTo>
                    <a:pt x="4317" y="619"/>
                    <a:pt x="8580" y="190"/>
                    <a:pt x="12843" y="190"/>
                  </a:cubicBezTo>
                  <a:cubicBezTo>
                    <a:pt x="60650" y="190"/>
                    <a:pt x="108457" y="565"/>
                    <a:pt x="156263" y="2"/>
                  </a:cubicBezTo>
                  <a:cubicBezTo>
                    <a:pt x="166077" y="-105"/>
                    <a:pt x="170233" y="3649"/>
                    <a:pt x="173852" y="11961"/>
                  </a:cubicBezTo>
                  <a:cubicBezTo>
                    <a:pt x="204231" y="81351"/>
                    <a:pt x="234958" y="150555"/>
                    <a:pt x="265605" y="219811"/>
                  </a:cubicBezTo>
                  <a:cubicBezTo>
                    <a:pt x="267348" y="223753"/>
                    <a:pt x="269251" y="227641"/>
                    <a:pt x="273675" y="231260"/>
                  </a:cubicBezTo>
                  <a:cubicBezTo>
                    <a:pt x="273675" y="222224"/>
                    <a:pt x="273675" y="213189"/>
                    <a:pt x="273675" y="204153"/>
                  </a:cubicBezTo>
                  <a:cubicBezTo>
                    <a:pt x="273675" y="170637"/>
                    <a:pt x="273675" y="137095"/>
                    <a:pt x="273675" y="103579"/>
                  </a:cubicBezTo>
                  <a:cubicBezTo>
                    <a:pt x="273675" y="69152"/>
                    <a:pt x="272388" y="67784"/>
                    <a:pt x="237103" y="65130"/>
                  </a:cubicBezTo>
                  <a:lnTo>
                    <a:pt x="237103" y="941"/>
                  </a:lnTo>
                  <a:lnTo>
                    <a:pt x="404172" y="941"/>
                  </a:lnTo>
                  <a:lnTo>
                    <a:pt x="404172" y="64245"/>
                  </a:lnTo>
                  <a:cubicBezTo>
                    <a:pt x="403260" y="64701"/>
                    <a:pt x="402536" y="65344"/>
                    <a:pt x="401759" y="65398"/>
                  </a:cubicBezTo>
                  <a:cubicBezTo>
                    <a:pt x="365991" y="67168"/>
                    <a:pt x="365347" y="67838"/>
                    <a:pt x="365374" y="103445"/>
                  </a:cubicBezTo>
                  <a:cubicBezTo>
                    <a:pt x="365428" y="200453"/>
                    <a:pt x="365481" y="297434"/>
                    <a:pt x="365508" y="394441"/>
                  </a:cubicBezTo>
                  <a:cubicBezTo>
                    <a:pt x="365508" y="399723"/>
                    <a:pt x="365508" y="404979"/>
                    <a:pt x="365508" y="412004"/>
                  </a:cubicBezTo>
                  <a:cubicBezTo>
                    <a:pt x="342637" y="412004"/>
                    <a:pt x="320919" y="412111"/>
                    <a:pt x="299201" y="411977"/>
                  </a:cubicBezTo>
                  <a:cubicBezTo>
                    <a:pt x="284052" y="411870"/>
                    <a:pt x="265632" y="416615"/>
                    <a:pt x="254665" y="409698"/>
                  </a:cubicBezTo>
                  <a:cubicBezTo>
                    <a:pt x="243779" y="402834"/>
                    <a:pt x="240187" y="384145"/>
                    <a:pt x="233752" y="370498"/>
                  </a:cubicBezTo>
                  <a:cubicBezTo>
                    <a:pt x="202327" y="304030"/>
                    <a:pt x="171010" y="237481"/>
                    <a:pt x="139613" y="170986"/>
                  </a:cubicBezTo>
                  <a:cubicBezTo>
                    <a:pt x="137790" y="167125"/>
                    <a:pt x="135725" y="163398"/>
                    <a:pt x="131569" y="160019"/>
                  </a:cubicBezTo>
                  <a:cubicBezTo>
                    <a:pt x="131569" y="175410"/>
                    <a:pt x="131569" y="190800"/>
                    <a:pt x="131569" y="206191"/>
                  </a:cubicBezTo>
                  <a:cubicBezTo>
                    <a:pt x="131542" y="242388"/>
                    <a:pt x="131462" y="278611"/>
                    <a:pt x="131489" y="314808"/>
                  </a:cubicBezTo>
                  <a:cubicBezTo>
                    <a:pt x="131489" y="338618"/>
                    <a:pt x="134706" y="341835"/>
                    <a:pt x="158355" y="342211"/>
                  </a:cubicBezTo>
                  <a:cubicBezTo>
                    <a:pt x="161894" y="342264"/>
                    <a:pt x="165406" y="342211"/>
                    <a:pt x="169830" y="342211"/>
                  </a:cubicBezTo>
                  <a:lnTo>
                    <a:pt x="169830" y="407740"/>
                  </a:lnTo>
                  <a:lnTo>
                    <a:pt x="0" y="40774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Freeform: Shape 7">
              <a:extLst>
                <a:ext uri="{FF2B5EF4-FFF2-40B4-BE49-F238E27FC236}">
                  <a16:creationId xmlns:a16="http://schemas.microsoft.com/office/drawing/2014/main" id="{349086F7-7CFB-1109-9058-D0A691D081F7}"/>
                </a:ext>
              </a:extLst>
            </p:cNvPr>
            <p:cNvSpPr/>
            <p:nvPr/>
          </p:nvSpPr>
          <p:spPr>
            <a:xfrm>
              <a:off x="9085608" y="260399"/>
              <a:ext cx="223758" cy="279344"/>
            </a:xfrm>
            <a:custGeom>
              <a:avLst/>
              <a:gdLst>
                <a:gd name="connsiteX0" fmla="*/ 27 w 326174"/>
                <a:gd name="connsiteY0" fmla="*/ 0 h 407201"/>
                <a:gd name="connsiteX1" fmla="*/ 319981 w 326174"/>
                <a:gd name="connsiteY1" fmla="*/ 0 h 407201"/>
                <a:gd name="connsiteX2" fmla="*/ 319981 w 326174"/>
                <a:gd name="connsiteY2" fmla="*/ 119879 h 407201"/>
                <a:gd name="connsiteX3" fmla="*/ 235628 w 326174"/>
                <a:gd name="connsiteY3" fmla="*/ 119879 h 407201"/>
                <a:gd name="connsiteX4" fmla="*/ 235682 w 326174"/>
                <a:gd name="connsiteY4" fmla="*/ 98429 h 407201"/>
                <a:gd name="connsiteX5" fmla="*/ 218656 w 326174"/>
                <a:gd name="connsiteY5" fmla="*/ 78936 h 407201"/>
                <a:gd name="connsiteX6" fmla="*/ 152670 w 326174"/>
                <a:gd name="connsiteY6" fmla="*/ 78722 h 407201"/>
                <a:gd name="connsiteX7" fmla="*/ 152670 w 326174"/>
                <a:gd name="connsiteY7" fmla="*/ 156210 h 407201"/>
                <a:gd name="connsiteX8" fmla="*/ 271638 w 326174"/>
                <a:gd name="connsiteY8" fmla="*/ 156210 h 407201"/>
                <a:gd name="connsiteX9" fmla="*/ 271638 w 326174"/>
                <a:gd name="connsiteY9" fmla="*/ 238980 h 407201"/>
                <a:gd name="connsiteX10" fmla="*/ 152858 w 326174"/>
                <a:gd name="connsiteY10" fmla="*/ 238980 h 407201"/>
                <a:gd name="connsiteX11" fmla="*/ 152858 w 326174"/>
                <a:gd name="connsiteY11" fmla="*/ 327542 h 407201"/>
                <a:gd name="connsiteX12" fmla="*/ 227933 w 326174"/>
                <a:gd name="connsiteY12" fmla="*/ 327354 h 407201"/>
                <a:gd name="connsiteX13" fmla="*/ 243163 w 326174"/>
                <a:gd name="connsiteY13" fmla="*/ 308800 h 407201"/>
                <a:gd name="connsiteX14" fmla="*/ 243243 w 326174"/>
                <a:gd name="connsiteY14" fmla="*/ 282685 h 407201"/>
                <a:gd name="connsiteX15" fmla="*/ 326174 w 326174"/>
                <a:gd name="connsiteY15" fmla="*/ 282685 h 407201"/>
                <a:gd name="connsiteX16" fmla="*/ 326174 w 326174"/>
                <a:gd name="connsiteY16" fmla="*/ 407202 h 407201"/>
                <a:gd name="connsiteX17" fmla="*/ 0 w 326174"/>
                <a:gd name="connsiteY17" fmla="*/ 407202 h 407201"/>
                <a:gd name="connsiteX18" fmla="*/ 0 w 326174"/>
                <a:gd name="connsiteY18" fmla="*/ 341216 h 407201"/>
                <a:gd name="connsiteX19" fmla="*/ 17991 w 326174"/>
                <a:gd name="connsiteY19" fmla="*/ 341163 h 407201"/>
                <a:gd name="connsiteX20" fmla="*/ 37001 w 326174"/>
                <a:gd name="connsiteY20" fmla="*/ 321831 h 407201"/>
                <a:gd name="connsiteX21" fmla="*/ 37109 w 326174"/>
                <a:gd name="connsiteY21" fmla="*/ 198493 h 407201"/>
                <a:gd name="connsiteX22" fmla="*/ 37109 w 326174"/>
                <a:gd name="connsiteY22" fmla="*/ 92584 h 407201"/>
                <a:gd name="connsiteX23" fmla="*/ 10216 w 326174"/>
                <a:gd name="connsiteY23" fmla="*/ 64860 h 407201"/>
                <a:gd name="connsiteX24" fmla="*/ 27 w 326174"/>
                <a:gd name="connsiteY24" fmla="*/ 64404 h 407201"/>
                <a:gd name="connsiteX25" fmla="*/ 27 w 326174"/>
                <a:gd name="connsiteY25" fmla="*/ 0 h 407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26174" h="407201">
                  <a:moveTo>
                    <a:pt x="27" y="0"/>
                  </a:moveTo>
                  <a:lnTo>
                    <a:pt x="319981" y="0"/>
                  </a:lnTo>
                  <a:lnTo>
                    <a:pt x="319981" y="119879"/>
                  </a:lnTo>
                  <a:lnTo>
                    <a:pt x="235628" y="119879"/>
                  </a:lnTo>
                  <a:cubicBezTo>
                    <a:pt x="235628" y="112479"/>
                    <a:pt x="235333" y="105427"/>
                    <a:pt x="235682" y="98429"/>
                  </a:cubicBezTo>
                  <a:cubicBezTo>
                    <a:pt x="236272" y="86283"/>
                    <a:pt x="230185" y="79311"/>
                    <a:pt x="218656" y="78936"/>
                  </a:cubicBezTo>
                  <a:cubicBezTo>
                    <a:pt x="196911" y="78239"/>
                    <a:pt x="175139" y="78722"/>
                    <a:pt x="152670" y="78722"/>
                  </a:cubicBezTo>
                  <a:lnTo>
                    <a:pt x="152670" y="156210"/>
                  </a:lnTo>
                  <a:lnTo>
                    <a:pt x="271638" y="156210"/>
                  </a:lnTo>
                  <a:lnTo>
                    <a:pt x="271638" y="238980"/>
                  </a:lnTo>
                  <a:lnTo>
                    <a:pt x="152858" y="238980"/>
                  </a:lnTo>
                  <a:lnTo>
                    <a:pt x="152858" y="327542"/>
                  </a:lnTo>
                  <a:cubicBezTo>
                    <a:pt x="178196" y="327542"/>
                    <a:pt x="203078" y="327944"/>
                    <a:pt x="227933" y="327354"/>
                  </a:cubicBezTo>
                  <a:cubicBezTo>
                    <a:pt x="239007" y="327086"/>
                    <a:pt x="242680" y="318560"/>
                    <a:pt x="243163" y="308800"/>
                  </a:cubicBezTo>
                  <a:cubicBezTo>
                    <a:pt x="243565" y="300408"/>
                    <a:pt x="243243" y="291962"/>
                    <a:pt x="243243" y="282685"/>
                  </a:cubicBezTo>
                  <a:lnTo>
                    <a:pt x="326174" y="282685"/>
                  </a:lnTo>
                  <a:lnTo>
                    <a:pt x="326174" y="407202"/>
                  </a:lnTo>
                  <a:lnTo>
                    <a:pt x="0" y="407202"/>
                  </a:lnTo>
                  <a:lnTo>
                    <a:pt x="0" y="341216"/>
                  </a:lnTo>
                  <a:cubicBezTo>
                    <a:pt x="5872" y="341216"/>
                    <a:pt x="11932" y="341431"/>
                    <a:pt x="17991" y="341163"/>
                  </a:cubicBezTo>
                  <a:cubicBezTo>
                    <a:pt x="33301" y="340519"/>
                    <a:pt x="36948" y="337007"/>
                    <a:pt x="37001" y="321831"/>
                  </a:cubicBezTo>
                  <a:cubicBezTo>
                    <a:pt x="37162" y="280727"/>
                    <a:pt x="37082" y="239624"/>
                    <a:pt x="37109" y="198493"/>
                  </a:cubicBezTo>
                  <a:cubicBezTo>
                    <a:pt x="37109" y="163181"/>
                    <a:pt x="37109" y="127896"/>
                    <a:pt x="37109" y="92584"/>
                  </a:cubicBezTo>
                  <a:cubicBezTo>
                    <a:pt x="37109" y="69015"/>
                    <a:pt x="33650" y="65503"/>
                    <a:pt x="10216" y="64860"/>
                  </a:cubicBezTo>
                  <a:cubicBezTo>
                    <a:pt x="7132" y="64779"/>
                    <a:pt x="4049" y="64591"/>
                    <a:pt x="27" y="64404"/>
                  </a:cubicBezTo>
                  <a:lnTo>
                    <a:pt x="27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: Shape 8">
              <a:extLst>
                <a:ext uri="{FF2B5EF4-FFF2-40B4-BE49-F238E27FC236}">
                  <a16:creationId xmlns:a16="http://schemas.microsoft.com/office/drawing/2014/main" id="{31C32C18-FC6B-6961-EA43-6F71D068C2C1}"/>
                </a:ext>
              </a:extLst>
            </p:cNvPr>
            <p:cNvSpPr/>
            <p:nvPr/>
          </p:nvSpPr>
          <p:spPr>
            <a:xfrm>
              <a:off x="9761971" y="250670"/>
              <a:ext cx="204990" cy="298460"/>
            </a:xfrm>
            <a:custGeom>
              <a:avLst/>
              <a:gdLst>
                <a:gd name="connsiteX0" fmla="*/ 248 w 298816"/>
                <a:gd name="connsiteY0" fmla="*/ 286088 h 435066"/>
                <a:gd name="connsiteX1" fmla="*/ 91304 w 298816"/>
                <a:gd name="connsiteY1" fmla="*/ 286088 h 435066"/>
                <a:gd name="connsiteX2" fmla="*/ 91357 w 298816"/>
                <a:gd name="connsiteY2" fmla="*/ 318049 h 435066"/>
                <a:gd name="connsiteX3" fmla="*/ 163242 w 298816"/>
                <a:gd name="connsiteY3" fmla="*/ 359742 h 435066"/>
                <a:gd name="connsiteX4" fmla="*/ 170159 w 298816"/>
                <a:gd name="connsiteY4" fmla="*/ 288662 h 435066"/>
                <a:gd name="connsiteX5" fmla="*/ 124551 w 298816"/>
                <a:gd name="connsiteY5" fmla="*/ 258418 h 435066"/>
                <a:gd name="connsiteX6" fmla="*/ 55455 w 298816"/>
                <a:gd name="connsiteY6" fmla="*/ 215089 h 435066"/>
                <a:gd name="connsiteX7" fmla="*/ 543 w 298816"/>
                <a:gd name="connsiteY7" fmla="*/ 124221 h 435066"/>
                <a:gd name="connsiteX8" fmla="*/ 99240 w 298816"/>
                <a:gd name="connsiteY8" fmla="*/ 4074 h 435066"/>
                <a:gd name="connsiteX9" fmla="*/ 267891 w 298816"/>
                <a:gd name="connsiteY9" fmla="*/ 20430 h 435066"/>
                <a:gd name="connsiteX10" fmla="*/ 278509 w 298816"/>
                <a:gd name="connsiteY10" fmla="*/ 31021 h 435066"/>
                <a:gd name="connsiteX11" fmla="*/ 278991 w 298816"/>
                <a:gd name="connsiteY11" fmla="*/ 136501 h 435066"/>
                <a:gd name="connsiteX12" fmla="*/ 191153 w 298816"/>
                <a:gd name="connsiteY12" fmla="*/ 136501 h 435066"/>
                <a:gd name="connsiteX13" fmla="*/ 191019 w 298816"/>
                <a:gd name="connsiteY13" fmla="*/ 100706 h 435066"/>
                <a:gd name="connsiteX14" fmla="*/ 161928 w 298816"/>
                <a:gd name="connsiteY14" fmla="*/ 65796 h 435066"/>
                <a:gd name="connsiteX15" fmla="*/ 113933 w 298816"/>
                <a:gd name="connsiteY15" fmla="*/ 83493 h 435066"/>
                <a:gd name="connsiteX16" fmla="*/ 122165 w 298816"/>
                <a:gd name="connsiteY16" fmla="*/ 131648 h 435066"/>
                <a:gd name="connsiteX17" fmla="*/ 172438 w 298816"/>
                <a:gd name="connsiteY17" fmla="*/ 164386 h 435066"/>
                <a:gd name="connsiteX18" fmla="*/ 246360 w 298816"/>
                <a:gd name="connsiteY18" fmla="*/ 207447 h 435066"/>
                <a:gd name="connsiteX19" fmla="*/ 294945 w 298816"/>
                <a:gd name="connsiteY19" fmla="*/ 337836 h 435066"/>
                <a:gd name="connsiteX20" fmla="*/ 194746 w 298816"/>
                <a:gd name="connsiteY20" fmla="*/ 430259 h 435066"/>
                <a:gd name="connsiteX21" fmla="*/ 12448 w 298816"/>
                <a:gd name="connsiteY21" fmla="*/ 415432 h 435066"/>
                <a:gd name="connsiteX22" fmla="*/ 7 w 298816"/>
                <a:gd name="connsiteY22" fmla="*/ 398915 h 435066"/>
                <a:gd name="connsiteX23" fmla="*/ 275 w 298816"/>
                <a:gd name="connsiteY23" fmla="*/ 286088 h 4350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98816" h="435066">
                  <a:moveTo>
                    <a:pt x="248" y="286088"/>
                  </a:moveTo>
                  <a:lnTo>
                    <a:pt x="91304" y="286088"/>
                  </a:lnTo>
                  <a:cubicBezTo>
                    <a:pt x="91304" y="296921"/>
                    <a:pt x="90982" y="307485"/>
                    <a:pt x="91357" y="318049"/>
                  </a:cubicBezTo>
                  <a:cubicBezTo>
                    <a:pt x="92725" y="356283"/>
                    <a:pt x="129351" y="377439"/>
                    <a:pt x="163242" y="359742"/>
                  </a:cubicBezTo>
                  <a:cubicBezTo>
                    <a:pt x="188070" y="346765"/>
                    <a:pt x="192682" y="307994"/>
                    <a:pt x="170159" y="288662"/>
                  </a:cubicBezTo>
                  <a:cubicBezTo>
                    <a:pt x="156431" y="276865"/>
                    <a:pt x="139995" y="268151"/>
                    <a:pt x="124551" y="258418"/>
                  </a:cubicBezTo>
                  <a:cubicBezTo>
                    <a:pt x="101546" y="243912"/>
                    <a:pt x="77388" y="231015"/>
                    <a:pt x="55455" y="215089"/>
                  </a:cubicBezTo>
                  <a:cubicBezTo>
                    <a:pt x="24808" y="192834"/>
                    <a:pt x="2903" y="163823"/>
                    <a:pt x="543" y="124221"/>
                  </a:cubicBezTo>
                  <a:cubicBezTo>
                    <a:pt x="-3103" y="63142"/>
                    <a:pt x="37437" y="13405"/>
                    <a:pt x="99240" y="4074"/>
                  </a:cubicBezTo>
                  <a:cubicBezTo>
                    <a:pt x="156646" y="-4613"/>
                    <a:pt x="213140" y="481"/>
                    <a:pt x="267891" y="20430"/>
                  </a:cubicBezTo>
                  <a:cubicBezTo>
                    <a:pt x="272288" y="22038"/>
                    <a:pt x="278428" y="27321"/>
                    <a:pt x="278509" y="31021"/>
                  </a:cubicBezTo>
                  <a:cubicBezTo>
                    <a:pt x="279313" y="65823"/>
                    <a:pt x="278991" y="100653"/>
                    <a:pt x="278991" y="136501"/>
                  </a:cubicBezTo>
                  <a:lnTo>
                    <a:pt x="191153" y="136501"/>
                  </a:lnTo>
                  <a:cubicBezTo>
                    <a:pt x="191153" y="124543"/>
                    <a:pt x="191797" y="112584"/>
                    <a:pt x="191019" y="100706"/>
                  </a:cubicBezTo>
                  <a:cubicBezTo>
                    <a:pt x="189679" y="80677"/>
                    <a:pt x="179678" y="69202"/>
                    <a:pt x="161928" y="65796"/>
                  </a:cubicBezTo>
                  <a:cubicBezTo>
                    <a:pt x="140317" y="61641"/>
                    <a:pt x="122138" y="68370"/>
                    <a:pt x="113933" y="83493"/>
                  </a:cubicBezTo>
                  <a:cubicBezTo>
                    <a:pt x="104281" y="101323"/>
                    <a:pt x="105809" y="118349"/>
                    <a:pt x="122165" y="131648"/>
                  </a:cubicBezTo>
                  <a:cubicBezTo>
                    <a:pt x="137582" y="144196"/>
                    <a:pt x="155251" y="154117"/>
                    <a:pt x="172438" y="164386"/>
                  </a:cubicBezTo>
                  <a:cubicBezTo>
                    <a:pt x="196918" y="179026"/>
                    <a:pt x="222765" y="191547"/>
                    <a:pt x="246360" y="207447"/>
                  </a:cubicBezTo>
                  <a:cubicBezTo>
                    <a:pt x="290601" y="237236"/>
                    <a:pt x="307091" y="283863"/>
                    <a:pt x="294945" y="337836"/>
                  </a:cubicBezTo>
                  <a:cubicBezTo>
                    <a:pt x="284300" y="385161"/>
                    <a:pt x="244081" y="422081"/>
                    <a:pt x="194746" y="430259"/>
                  </a:cubicBezTo>
                  <a:cubicBezTo>
                    <a:pt x="132702" y="440555"/>
                    <a:pt x="72186" y="433718"/>
                    <a:pt x="12448" y="415432"/>
                  </a:cubicBezTo>
                  <a:cubicBezTo>
                    <a:pt x="3439" y="412670"/>
                    <a:pt x="-181" y="408970"/>
                    <a:pt x="7" y="398915"/>
                  </a:cubicBezTo>
                  <a:cubicBezTo>
                    <a:pt x="704" y="361834"/>
                    <a:pt x="275" y="324752"/>
                    <a:pt x="275" y="286088"/>
                  </a:cubicBezTo>
                  <a:close/>
                </a:path>
              </a:pathLst>
            </a:custGeom>
            <a:grpFill/>
            <a:ln w="254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5" name="Image 20">
            <a:extLst>
              <a:ext uri="{FF2B5EF4-FFF2-40B4-BE49-F238E27FC236}">
                <a16:creationId xmlns:a16="http://schemas.microsoft.com/office/drawing/2014/main" id="{3566A4FC-9CD4-4C40-1790-CA2EF4ACA01E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30698" y="3002316"/>
            <a:ext cx="485281" cy="483105"/>
          </a:xfrm>
          <a:prstGeom prst="rect">
            <a:avLst/>
          </a:prstGeom>
        </p:spPr>
      </p:pic>
      <p:pic>
        <p:nvPicPr>
          <p:cNvPr id="8" name="Grafik 8">
            <a:extLst>
              <a:ext uri="{FF2B5EF4-FFF2-40B4-BE49-F238E27FC236}">
                <a16:creationId xmlns:a16="http://schemas.microsoft.com/office/drawing/2014/main" id="{5A8C5FD5-D8DD-4008-52E4-996680B87DD9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30985" y="3073030"/>
            <a:ext cx="391979" cy="341675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52BAB010-8B9F-C228-DCB6-7C2FB991376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98517" y="1087293"/>
            <a:ext cx="4121509" cy="3596084"/>
          </a:xfrm>
          <a:prstGeom prst="rect">
            <a:avLst/>
          </a:prstGeom>
        </p:spPr>
      </p:pic>
      <p:pic>
        <p:nvPicPr>
          <p:cNvPr id="13" name="Imagen 12" descr="Una señal de alto&#10;&#10;Descripción generada automáticamente con confianza media">
            <a:extLst>
              <a:ext uri="{FF2B5EF4-FFF2-40B4-BE49-F238E27FC236}">
                <a16:creationId xmlns:a16="http://schemas.microsoft.com/office/drawing/2014/main" id="{A79A6F1D-C3AB-8F3D-15A2-BDC680384818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20867" y="-105508"/>
            <a:ext cx="2223133" cy="1250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755712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99EB0209-EB77-EC54-6287-86A43FDAD55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err="1"/>
              <a:t>Rendimiento</a:t>
            </a:r>
            <a:r>
              <a:rPr lang="en-US" dirty="0"/>
              <a:t> superior y </a:t>
            </a:r>
            <a:r>
              <a:rPr lang="en-US" dirty="0" err="1"/>
              <a:t>seguro</a:t>
            </a:r>
            <a:r>
              <a:rPr lang="en-US" dirty="0"/>
              <a:t>, </a:t>
            </a:r>
            <a:r>
              <a:rPr lang="en-US" dirty="0" err="1"/>
              <a:t>estable</a:t>
            </a:r>
            <a:r>
              <a:rPr lang="en-US" dirty="0"/>
              <a:t>, flexible</a:t>
            </a:r>
          </a:p>
          <a:p>
            <a:endParaRPr lang="en-GB" dirty="0"/>
          </a:p>
        </p:txBody>
      </p:sp>
      <p:graphicFrame>
        <p:nvGraphicFramePr>
          <p:cNvPr id="7" name="Tabelle 7">
            <a:extLst>
              <a:ext uri="{FF2B5EF4-FFF2-40B4-BE49-F238E27FC236}">
                <a16:creationId xmlns:a16="http://schemas.microsoft.com/office/drawing/2014/main" id="{88067451-9D09-66D5-311B-02B960956BE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20850725"/>
              </p:ext>
            </p:extLst>
          </p:nvPr>
        </p:nvGraphicFramePr>
        <p:xfrm>
          <a:off x="380391" y="1103083"/>
          <a:ext cx="2706623" cy="3564697"/>
        </p:xfrm>
        <a:graphic>
          <a:graphicData uri="http://schemas.openxmlformats.org/drawingml/2006/table">
            <a:tbl>
              <a:tblPr firstRow="1" bandRow="1">
                <a:effectLst/>
                <a:tableStyleId>{21E4AEA4-8DFA-4A89-87EB-49C32662AFE0}</a:tableStyleId>
              </a:tblPr>
              <a:tblGrid>
                <a:gridCol w="2706623">
                  <a:extLst>
                    <a:ext uri="{9D8B030D-6E8A-4147-A177-3AD203B41FA5}">
                      <a16:colId xmlns:a16="http://schemas.microsoft.com/office/drawing/2014/main" val="4124971706"/>
                    </a:ext>
                  </a:extLst>
                </a:gridCol>
              </a:tblGrid>
              <a:tr h="452750">
                <a:tc>
                  <a:txBody>
                    <a:bodyPr/>
                    <a:lstStyle/>
                    <a:p>
                      <a:pPr algn="ctr"/>
                      <a:r>
                        <a:rPr lang="en-GB" sz="2000" dirty="0">
                          <a:solidFill>
                            <a:srgbClr val="E4032D"/>
                          </a:solidFill>
                        </a:rPr>
                        <a:t>LG CONSTRUCTOR C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7001518"/>
                  </a:ext>
                </a:extLst>
              </a:tr>
              <a:tr h="291054"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Desarroll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1317904"/>
                  </a:ext>
                </a:extLst>
              </a:tr>
              <a:tr h="291054">
                <a:tc>
                  <a:txBody>
                    <a:bodyPr/>
                    <a:lstStyle/>
                    <a:p>
                      <a:pPr algn="ctr"/>
                      <a:r>
                        <a:rPr lang="en-GB" sz="1400" b="1" dirty="0" err="1">
                          <a:solidFill>
                            <a:schemeClr val="tx1"/>
                          </a:solidFill>
                        </a:rPr>
                        <a:t>Híbrido</a:t>
                      </a:r>
                      <a:r>
                        <a:rPr lang="en-GB" sz="1400" b="1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GB" sz="1400" b="1" dirty="0" err="1">
                          <a:solidFill>
                            <a:schemeClr val="tx1"/>
                          </a:solidFill>
                        </a:rPr>
                        <a:t>innovador</a:t>
                      </a:r>
                      <a:endParaRPr lang="en-GB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226035"/>
                  </a:ext>
                </a:extLst>
              </a:tr>
              <a:tr h="291054">
                <a:tc>
                  <a:txBody>
                    <a:bodyPr/>
                    <a:lstStyle/>
                    <a:p>
                      <a:pPr algn="ctr"/>
                      <a:r>
                        <a:rPr lang="en-GB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edio/Medio-</a:t>
                      </a:r>
                      <a:r>
                        <a:rPr lang="en-GB" sz="1400" b="1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ecoz</a:t>
                      </a:r>
                      <a:r>
                        <a:rPr lang="en-GB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en-GB" sz="1400" b="1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to</a:t>
                      </a:r>
                      <a:r>
                        <a:rPr lang="en-GB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+++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8259637"/>
                  </a:ext>
                </a:extLst>
              </a:tr>
              <a:tr h="1451171">
                <a:tc>
                  <a:txBody>
                    <a:bodyPr/>
                    <a:lstStyle/>
                    <a:p>
                      <a:pPr marL="342900" indent="-342900" algn="l">
                        <a:buFont typeface="+mj-lt"/>
                        <a:buAutoNum type="arabicPeriod"/>
                      </a:pPr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Resistencia a la </a:t>
                      </a:r>
                      <a:r>
                        <a:rPr lang="en-GB" sz="1200" dirty="0" err="1">
                          <a:solidFill>
                            <a:schemeClr val="tx1"/>
                          </a:solidFill>
                        </a:rPr>
                        <a:t>Dehiscencia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  <a:p>
                      <a:pPr marL="342900" marR="0" lvl="0" indent="-34290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Resistencia a la </a:t>
                      </a:r>
                      <a:r>
                        <a:rPr lang="en-GB" sz="1200" dirty="0" err="1">
                          <a:solidFill>
                            <a:schemeClr val="tx1"/>
                          </a:solidFill>
                        </a:rPr>
                        <a:t>virosis</a:t>
                      </a:r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GB" sz="1200" dirty="0" err="1">
                          <a:solidFill>
                            <a:schemeClr val="tx1"/>
                          </a:solidFill>
                        </a:rPr>
                        <a:t>TuYV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  <a:p>
                      <a:pPr marL="342900" indent="-342900" algn="l">
                        <a:buFont typeface="+mj-lt"/>
                        <a:buAutoNum type="arabicPeriod"/>
                      </a:pPr>
                      <a:r>
                        <a:rPr lang="en-GB" sz="1200" dirty="0" err="1">
                          <a:solidFill>
                            <a:schemeClr val="tx1"/>
                          </a:solidFill>
                        </a:rPr>
                        <a:t>Vigor</a:t>
                      </a:r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+</a:t>
                      </a:r>
                    </a:p>
                    <a:p>
                      <a:pPr marL="342900" indent="-342900" algn="l">
                        <a:buFont typeface="+mj-lt"/>
                        <a:buAutoNum type="arabicPeriod"/>
                      </a:pPr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Resistencia al </a:t>
                      </a:r>
                      <a:r>
                        <a:rPr lang="en-GB" sz="1200" dirty="0" err="1">
                          <a:solidFill>
                            <a:schemeClr val="tx1"/>
                          </a:solidFill>
                        </a:rPr>
                        <a:t>frío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  <a:p>
                      <a:pPr marL="342900" indent="-342900" algn="l">
                        <a:buFont typeface="+mj-lt"/>
                        <a:buAutoNum type="arabicPeriod"/>
                      </a:pPr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Fortaleza del </a:t>
                      </a:r>
                      <a:r>
                        <a:rPr lang="en-GB" sz="1200" dirty="0" err="1">
                          <a:solidFill>
                            <a:schemeClr val="tx1"/>
                          </a:solidFill>
                        </a:rPr>
                        <a:t>tallo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  <a:p>
                      <a:pPr marL="342900" indent="-342900" algn="l">
                        <a:buFont typeface="+mj-lt"/>
                        <a:buAutoNum type="arabicPeriod"/>
                      </a:pP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GB" sz="1400" b="1" dirty="0" err="1">
                          <a:solidFill>
                            <a:srgbClr val="E4032D"/>
                          </a:solidFill>
                        </a:rPr>
                        <a:t>Rendimiento</a:t>
                      </a:r>
                      <a:r>
                        <a:rPr lang="en-GB" sz="1400" b="1" dirty="0">
                          <a:solidFill>
                            <a:srgbClr val="E4032D"/>
                          </a:solidFill>
                        </a:rPr>
                        <a:t>, </a:t>
                      </a:r>
                      <a:r>
                        <a:rPr lang="en-GB" sz="1400" b="1" dirty="0" err="1">
                          <a:solidFill>
                            <a:srgbClr val="E4032D"/>
                          </a:solidFill>
                        </a:rPr>
                        <a:t>estabilidad</a:t>
                      </a:r>
                      <a:r>
                        <a:rPr lang="en-GB" sz="1400" b="1" dirty="0">
                          <a:solidFill>
                            <a:srgbClr val="E4032D"/>
                          </a:solidFill>
                        </a:rPr>
                        <a:t> </a:t>
                      </a: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GB" sz="1400" b="1" dirty="0">
                          <a:solidFill>
                            <a:srgbClr val="E4032D"/>
                          </a:solidFill>
                        </a:rPr>
                        <a:t>&amp; Fortaleza del </a:t>
                      </a:r>
                      <a:r>
                        <a:rPr lang="en-GB" sz="1400" b="1" dirty="0" err="1">
                          <a:solidFill>
                            <a:srgbClr val="E4032D"/>
                          </a:solidFill>
                        </a:rPr>
                        <a:t>tallo</a:t>
                      </a:r>
                      <a:endParaRPr lang="en-GB" sz="1400" b="1" dirty="0">
                        <a:solidFill>
                          <a:srgbClr val="E4032D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6103064"/>
                  </a:ext>
                </a:extLst>
              </a:tr>
              <a:tr h="582107">
                <a:tc>
                  <a:txBody>
                    <a:bodyPr/>
                    <a:lstStyle/>
                    <a:p>
                      <a:pPr algn="ctr" defTabSz="457189" rtl="0" eaLnBrk="1" latinLnBrk="0" hangingPunct="1"/>
                      <a:r>
                        <a:rPr lang="es-ES" sz="12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gricultores que buscan un alto rendimiento en condiciones difíciles</a:t>
                      </a:r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8599362"/>
                  </a:ext>
                </a:extLst>
              </a:tr>
            </a:tbl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01573134-7BBE-7F99-ABB6-621FDC5A15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LG CONSTRUCTOR CL</a:t>
            </a:r>
          </a:p>
        </p:txBody>
      </p:sp>
      <p:grpSp>
        <p:nvGrpSpPr>
          <p:cNvPr id="2" name="Group 9">
            <a:extLst>
              <a:ext uri="{FF2B5EF4-FFF2-40B4-BE49-F238E27FC236}">
                <a16:creationId xmlns:a16="http://schemas.microsoft.com/office/drawing/2014/main" id="{7B88FDE5-1EBD-9879-8224-86958E705E91}"/>
              </a:ext>
            </a:extLst>
          </p:cNvPr>
          <p:cNvGrpSpPr/>
          <p:nvPr/>
        </p:nvGrpSpPr>
        <p:grpSpPr>
          <a:xfrm rot="16200000">
            <a:off x="8457754" y="4009197"/>
            <a:ext cx="927501" cy="230656"/>
            <a:chOff x="8766811" y="250670"/>
            <a:chExt cx="1200150" cy="298460"/>
          </a:xfrm>
          <a:solidFill>
            <a:schemeClr val="bg1">
              <a:alpha val="42000"/>
            </a:schemeClr>
          </a:solidFill>
        </p:grpSpPr>
        <p:sp>
          <p:nvSpPr>
            <p:cNvPr id="3" name="Freeform: Shape 5">
              <a:extLst>
                <a:ext uri="{FF2B5EF4-FFF2-40B4-BE49-F238E27FC236}">
                  <a16:creationId xmlns:a16="http://schemas.microsoft.com/office/drawing/2014/main" id="{42702A6F-0DE8-6A75-D537-2D1473C6A08A}"/>
                </a:ext>
              </a:extLst>
            </p:cNvPr>
            <p:cNvSpPr/>
            <p:nvPr/>
          </p:nvSpPr>
          <p:spPr>
            <a:xfrm>
              <a:off x="9340947" y="259788"/>
              <a:ext cx="396639" cy="280066"/>
            </a:xfrm>
            <a:custGeom>
              <a:avLst/>
              <a:gdLst>
                <a:gd name="connsiteX0" fmla="*/ 188626 w 578185"/>
                <a:gd name="connsiteY0" fmla="*/ 247351 h 408253"/>
                <a:gd name="connsiteX1" fmla="*/ 209084 w 578185"/>
                <a:gd name="connsiteY1" fmla="*/ 156671 h 408253"/>
                <a:gd name="connsiteX2" fmla="*/ 241634 w 578185"/>
                <a:gd name="connsiteY2" fmla="*/ 10757 h 408253"/>
                <a:gd name="connsiteX3" fmla="*/ 255014 w 578185"/>
                <a:gd name="connsiteY3" fmla="*/ 5 h 408253"/>
                <a:gd name="connsiteX4" fmla="*/ 343468 w 578185"/>
                <a:gd name="connsiteY4" fmla="*/ 86 h 408253"/>
                <a:gd name="connsiteX5" fmla="*/ 356258 w 578185"/>
                <a:gd name="connsiteY5" fmla="*/ 9926 h 408253"/>
                <a:gd name="connsiteX6" fmla="*/ 402000 w 578185"/>
                <a:gd name="connsiteY6" fmla="*/ 237699 h 408253"/>
                <a:gd name="connsiteX7" fmla="*/ 406853 w 578185"/>
                <a:gd name="connsiteY7" fmla="*/ 247646 h 408253"/>
                <a:gd name="connsiteX8" fmla="*/ 443881 w 578185"/>
                <a:gd name="connsiteY8" fmla="*/ 88487 h 408253"/>
                <a:gd name="connsiteX9" fmla="*/ 418275 w 578185"/>
                <a:gd name="connsiteY9" fmla="*/ 64463 h 408253"/>
                <a:gd name="connsiteX10" fmla="*/ 418275 w 578185"/>
                <a:gd name="connsiteY10" fmla="*/ 1132 h 408253"/>
                <a:gd name="connsiteX11" fmla="*/ 578185 w 578185"/>
                <a:gd name="connsiteY11" fmla="*/ 1132 h 408253"/>
                <a:gd name="connsiteX12" fmla="*/ 578185 w 578185"/>
                <a:gd name="connsiteY12" fmla="*/ 65482 h 408253"/>
                <a:gd name="connsiteX13" fmla="*/ 535580 w 578185"/>
                <a:gd name="connsiteY13" fmla="*/ 107309 h 408253"/>
                <a:gd name="connsiteX14" fmla="*/ 450423 w 578185"/>
                <a:gd name="connsiteY14" fmla="*/ 398306 h 408253"/>
                <a:gd name="connsiteX15" fmla="*/ 447072 w 578185"/>
                <a:gd name="connsiteY15" fmla="*/ 408146 h 408253"/>
                <a:gd name="connsiteX16" fmla="*/ 338964 w 578185"/>
                <a:gd name="connsiteY16" fmla="*/ 408146 h 408253"/>
                <a:gd name="connsiteX17" fmla="*/ 289414 w 578185"/>
                <a:gd name="connsiteY17" fmla="*/ 183832 h 408253"/>
                <a:gd name="connsiteX18" fmla="*/ 287189 w 578185"/>
                <a:gd name="connsiteY18" fmla="*/ 183644 h 408253"/>
                <a:gd name="connsiteX19" fmla="*/ 234663 w 578185"/>
                <a:gd name="connsiteY19" fmla="*/ 408253 h 408253"/>
                <a:gd name="connsiteX20" fmla="*/ 124035 w 578185"/>
                <a:gd name="connsiteY20" fmla="*/ 408253 h 408253"/>
                <a:gd name="connsiteX21" fmla="*/ 101941 w 578185"/>
                <a:gd name="connsiteY21" fmla="*/ 325536 h 408253"/>
                <a:gd name="connsiteX22" fmla="*/ 42176 w 578185"/>
                <a:gd name="connsiteY22" fmla="*/ 100874 h 408253"/>
                <a:gd name="connsiteX23" fmla="*/ 0 w 578185"/>
                <a:gd name="connsiteY23" fmla="*/ 66072 h 408253"/>
                <a:gd name="connsiteX24" fmla="*/ 0 w 578185"/>
                <a:gd name="connsiteY24" fmla="*/ 1266 h 408253"/>
                <a:gd name="connsiteX25" fmla="*/ 183880 w 578185"/>
                <a:gd name="connsiteY25" fmla="*/ 1266 h 408253"/>
                <a:gd name="connsiteX26" fmla="*/ 183880 w 578185"/>
                <a:gd name="connsiteY26" fmla="*/ 64650 h 408253"/>
                <a:gd name="connsiteX27" fmla="*/ 157658 w 578185"/>
                <a:gd name="connsiteY27" fmla="*/ 101920 h 408253"/>
                <a:gd name="connsiteX28" fmla="*/ 185677 w 578185"/>
                <a:gd name="connsiteY28" fmla="*/ 247485 h 408253"/>
                <a:gd name="connsiteX29" fmla="*/ 188599 w 578185"/>
                <a:gd name="connsiteY29" fmla="*/ 247351 h 408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78185" h="408253">
                  <a:moveTo>
                    <a:pt x="188626" y="247351"/>
                  </a:moveTo>
                  <a:cubicBezTo>
                    <a:pt x="195436" y="217133"/>
                    <a:pt x="202300" y="186889"/>
                    <a:pt x="209084" y="156671"/>
                  </a:cubicBezTo>
                  <a:cubicBezTo>
                    <a:pt x="219997" y="108033"/>
                    <a:pt x="230883" y="59422"/>
                    <a:pt x="241634" y="10757"/>
                  </a:cubicBezTo>
                  <a:cubicBezTo>
                    <a:pt x="243297" y="3250"/>
                    <a:pt x="246461" y="-155"/>
                    <a:pt x="255014" y="5"/>
                  </a:cubicBezTo>
                  <a:cubicBezTo>
                    <a:pt x="284481" y="595"/>
                    <a:pt x="314001" y="461"/>
                    <a:pt x="343468" y="86"/>
                  </a:cubicBezTo>
                  <a:cubicBezTo>
                    <a:pt x="351056" y="-21"/>
                    <a:pt x="354756" y="2285"/>
                    <a:pt x="356258" y="9926"/>
                  </a:cubicBezTo>
                  <a:cubicBezTo>
                    <a:pt x="371353" y="85886"/>
                    <a:pt x="386690" y="161792"/>
                    <a:pt x="402000" y="237699"/>
                  </a:cubicBezTo>
                  <a:cubicBezTo>
                    <a:pt x="402670" y="241050"/>
                    <a:pt x="403770" y="244321"/>
                    <a:pt x="406853" y="247646"/>
                  </a:cubicBezTo>
                  <a:cubicBezTo>
                    <a:pt x="419240" y="194611"/>
                    <a:pt x="431896" y="141602"/>
                    <a:pt x="443881" y="88487"/>
                  </a:cubicBezTo>
                  <a:cubicBezTo>
                    <a:pt x="447367" y="73043"/>
                    <a:pt x="441843" y="68377"/>
                    <a:pt x="418275" y="64463"/>
                  </a:cubicBezTo>
                  <a:lnTo>
                    <a:pt x="418275" y="1132"/>
                  </a:lnTo>
                  <a:lnTo>
                    <a:pt x="578185" y="1132"/>
                  </a:lnTo>
                  <a:lnTo>
                    <a:pt x="578185" y="65482"/>
                  </a:lnTo>
                  <a:cubicBezTo>
                    <a:pt x="549657" y="64302"/>
                    <a:pt x="542122" y="84626"/>
                    <a:pt x="535580" y="107309"/>
                  </a:cubicBezTo>
                  <a:cubicBezTo>
                    <a:pt x="507534" y="204397"/>
                    <a:pt x="478871" y="301325"/>
                    <a:pt x="450423" y="398306"/>
                  </a:cubicBezTo>
                  <a:cubicBezTo>
                    <a:pt x="449431" y="401657"/>
                    <a:pt x="448171" y="404955"/>
                    <a:pt x="447072" y="408146"/>
                  </a:cubicBezTo>
                  <a:lnTo>
                    <a:pt x="338964" y="408146"/>
                  </a:lnTo>
                  <a:cubicBezTo>
                    <a:pt x="322367" y="333044"/>
                    <a:pt x="305904" y="258425"/>
                    <a:pt x="289414" y="183832"/>
                  </a:cubicBezTo>
                  <a:lnTo>
                    <a:pt x="287189" y="183644"/>
                  </a:lnTo>
                  <a:cubicBezTo>
                    <a:pt x="269707" y="258398"/>
                    <a:pt x="252225" y="333151"/>
                    <a:pt x="234663" y="408253"/>
                  </a:cubicBezTo>
                  <a:lnTo>
                    <a:pt x="124035" y="408253"/>
                  </a:lnTo>
                  <a:cubicBezTo>
                    <a:pt x="116742" y="381012"/>
                    <a:pt x="109315" y="353287"/>
                    <a:pt x="101941" y="325536"/>
                  </a:cubicBezTo>
                  <a:cubicBezTo>
                    <a:pt x="82019" y="250649"/>
                    <a:pt x="62151" y="175735"/>
                    <a:pt x="42176" y="100874"/>
                  </a:cubicBezTo>
                  <a:cubicBezTo>
                    <a:pt x="36519" y="79665"/>
                    <a:pt x="28207" y="61192"/>
                    <a:pt x="0" y="66072"/>
                  </a:cubicBezTo>
                  <a:lnTo>
                    <a:pt x="0" y="1266"/>
                  </a:lnTo>
                  <a:lnTo>
                    <a:pt x="183880" y="1266"/>
                  </a:lnTo>
                  <a:lnTo>
                    <a:pt x="183880" y="64650"/>
                  </a:lnTo>
                  <a:cubicBezTo>
                    <a:pt x="152107" y="68726"/>
                    <a:pt x="151437" y="69691"/>
                    <a:pt x="157658" y="101920"/>
                  </a:cubicBezTo>
                  <a:cubicBezTo>
                    <a:pt x="167015" y="150451"/>
                    <a:pt x="176346" y="198954"/>
                    <a:pt x="185677" y="247485"/>
                  </a:cubicBezTo>
                  <a:lnTo>
                    <a:pt x="188599" y="247351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" name="Freeform: Shape 6">
              <a:extLst>
                <a:ext uri="{FF2B5EF4-FFF2-40B4-BE49-F238E27FC236}">
                  <a16:creationId xmlns:a16="http://schemas.microsoft.com/office/drawing/2014/main" id="{C3C1F9AB-E8E0-AA2B-CD9B-2F945C07C28A}"/>
                </a:ext>
              </a:extLst>
            </p:cNvPr>
            <p:cNvSpPr/>
            <p:nvPr/>
          </p:nvSpPr>
          <p:spPr>
            <a:xfrm>
              <a:off x="8766811" y="259809"/>
              <a:ext cx="277264" cy="283641"/>
            </a:xfrm>
            <a:custGeom>
              <a:avLst/>
              <a:gdLst>
                <a:gd name="connsiteX0" fmla="*/ 0 w 404171"/>
                <a:gd name="connsiteY0" fmla="*/ 407794 h 413465"/>
                <a:gd name="connsiteX1" fmla="*/ 0 w 404171"/>
                <a:gd name="connsiteY1" fmla="*/ 342854 h 413465"/>
                <a:gd name="connsiteX2" fmla="*/ 21879 w 404171"/>
                <a:gd name="connsiteY2" fmla="*/ 341835 h 413465"/>
                <a:gd name="connsiteX3" fmla="*/ 38422 w 404171"/>
                <a:gd name="connsiteY3" fmla="*/ 324970 h 413465"/>
                <a:gd name="connsiteX4" fmla="*/ 38664 w 404171"/>
                <a:gd name="connsiteY4" fmla="*/ 280729 h 413465"/>
                <a:gd name="connsiteX5" fmla="*/ 38664 w 404171"/>
                <a:gd name="connsiteY5" fmla="*/ 99691 h 413465"/>
                <a:gd name="connsiteX6" fmla="*/ 6274 w 404171"/>
                <a:gd name="connsiteY6" fmla="*/ 65773 h 413465"/>
                <a:gd name="connsiteX7" fmla="*/ 134 w 404171"/>
                <a:gd name="connsiteY7" fmla="*/ 65076 h 413465"/>
                <a:gd name="connsiteX8" fmla="*/ 134 w 404171"/>
                <a:gd name="connsiteY8" fmla="*/ 860 h 413465"/>
                <a:gd name="connsiteX9" fmla="*/ 12843 w 404171"/>
                <a:gd name="connsiteY9" fmla="*/ 190 h 413465"/>
                <a:gd name="connsiteX10" fmla="*/ 156263 w 404171"/>
                <a:gd name="connsiteY10" fmla="*/ 2 h 413465"/>
                <a:gd name="connsiteX11" fmla="*/ 173852 w 404171"/>
                <a:gd name="connsiteY11" fmla="*/ 11961 h 413465"/>
                <a:gd name="connsiteX12" fmla="*/ 265605 w 404171"/>
                <a:gd name="connsiteY12" fmla="*/ 219811 h 413465"/>
                <a:gd name="connsiteX13" fmla="*/ 273675 w 404171"/>
                <a:gd name="connsiteY13" fmla="*/ 231260 h 413465"/>
                <a:gd name="connsiteX14" fmla="*/ 273675 w 404171"/>
                <a:gd name="connsiteY14" fmla="*/ 204153 h 413465"/>
                <a:gd name="connsiteX15" fmla="*/ 273675 w 404171"/>
                <a:gd name="connsiteY15" fmla="*/ 103579 h 413465"/>
                <a:gd name="connsiteX16" fmla="*/ 237103 w 404171"/>
                <a:gd name="connsiteY16" fmla="*/ 65130 h 413465"/>
                <a:gd name="connsiteX17" fmla="*/ 237103 w 404171"/>
                <a:gd name="connsiteY17" fmla="*/ 941 h 413465"/>
                <a:gd name="connsiteX18" fmla="*/ 404172 w 404171"/>
                <a:gd name="connsiteY18" fmla="*/ 941 h 413465"/>
                <a:gd name="connsiteX19" fmla="*/ 404172 w 404171"/>
                <a:gd name="connsiteY19" fmla="*/ 64245 h 413465"/>
                <a:gd name="connsiteX20" fmla="*/ 401759 w 404171"/>
                <a:gd name="connsiteY20" fmla="*/ 65398 h 413465"/>
                <a:gd name="connsiteX21" fmla="*/ 365374 w 404171"/>
                <a:gd name="connsiteY21" fmla="*/ 103445 h 413465"/>
                <a:gd name="connsiteX22" fmla="*/ 365508 w 404171"/>
                <a:gd name="connsiteY22" fmla="*/ 394441 h 413465"/>
                <a:gd name="connsiteX23" fmla="*/ 365508 w 404171"/>
                <a:gd name="connsiteY23" fmla="*/ 412004 h 413465"/>
                <a:gd name="connsiteX24" fmla="*/ 299201 w 404171"/>
                <a:gd name="connsiteY24" fmla="*/ 411977 h 413465"/>
                <a:gd name="connsiteX25" fmla="*/ 254665 w 404171"/>
                <a:gd name="connsiteY25" fmla="*/ 409698 h 413465"/>
                <a:gd name="connsiteX26" fmla="*/ 233752 w 404171"/>
                <a:gd name="connsiteY26" fmla="*/ 370498 h 413465"/>
                <a:gd name="connsiteX27" fmla="*/ 139613 w 404171"/>
                <a:gd name="connsiteY27" fmla="*/ 170986 h 413465"/>
                <a:gd name="connsiteX28" fmla="*/ 131569 w 404171"/>
                <a:gd name="connsiteY28" fmla="*/ 160019 h 413465"/>
                <a:gd name="connsiteX29" fmla="*/ 131569 w 404171"/>
                <a:gd name="connsiteY29" fmla="*/ 206191 h 413465"/>
                <a:gd name="connsiteX30" fmla="*/ 131489 w 404171"/>
                <a:gd name="connsiteY30" fmla="*/ 314808 h 413465"/>
                <a:gd name="connsiteX31" fmla="*/ 158355 w 404171"/>
                <a:gd name="connsiteY31" fmla="*/ 342211 h 413465"/>
                <a:gd name="connsiteX32" fmla="*/ 169830 w 404171"/>
                <a:gd name="connsiteY32" fmla="*/ 342211 h 413465"/>
                <a:gd name="connsiteX33" fmla="*/ 169830 w 404171"/>
                <a:gd name="connsiteY33" fmla="*/ 407740 h 413465"/>
                <a:gd name="connsiteX34" fmla="*/ 0 w 404171"/>
                <a:gd name="connsiteY34" fmla="*/ 407740 h 41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404171" h="413465">
                  <a:moveTo>
                    <a:pt x="0" y="407794"/>
                  </a:moveTo>
                  <a:lnTo>
                    <a:pt x="0" y="342854"/>
                  </a:lnTo>
                  <a:cubicBezTo>
                    <a:pt x="7776" y="342506"/>
                    <a:pt x="14827" y="342184"/>
                    <a:pt x="21879" y="341835"/>
                  </a:cubicBezTo>
                  <a:cubicBezTo>
                    <a:pt x="32550" y="341299"/>
                    <a:pt x="38342" y="335910"/>
                    <a:pt x="38422" y="324970"/>
                  </a:cubicBezTo>
                  <a:cubicBezTo>
                    <a:pt x="38530" y="310223"/>
                    <a:pt x="38664" y="295476"/>
                    <a:pt x="38664" y="280729"/>
                  </a:cubicBezTo>
                  <a:cubicBezTo>
                    <a:pt x="38664" y="220374"/>
                    <a:pt x="38664" y="160046"/>
                    <a:pt x="38664" y="99691"/>
                  </a:cubicBezTo>
                  <a:cubicBezTo>
                    <a:pt x="38664" y="69581"/>
                    <a:pt x="36197" y="67034"/>
                    <a:pt x="6274" y="65773"/>
                  </a:cubicBezTo>
                  <a:cubicBezTo>
                    <a:pt x="4531" y="65693"/>
                    <a:pt x="2789" y="65371"/>
                    <a:pt x="134" y="65076"/>
                  </a:cubicBezTo>
                  <a:lnTo>
                    <a:pt x="134" y="860"/>
                  </a:lnTo>
                  <a:cubicBezTo>
                    <a:pt x="4317" y="619"/>
                    <a:pt x="8580" y="190"/>
                    <a:pt x="12843" y="190"/>
                  </a:cubicBezTo>
                  <a:cubicBezTo>
                    <a:pt x="60650" y="190"/>
                    <a:pt x="108457" y="565"/>
                    <a:pt x="156263" y="2"/>
                  </a:cubicBezTo>
                  <a:cubicBezTo>
                    <a:pt x="166077" y="-105"/>
                    <a:pt x="170233" y="3649"/>
                    <a:pt x="173852" y="11961"/>
                  </a:cubicBezTo>
                  <a:cubicBezTo>
                    <a:pt x="204231" y="81351"/>
                    <a:pt x="234958" y="150555"/>
                    <a:pt x="265605" y="219811"/>
                  </a:cubicBezTo>
                  <a:cubicBezTo>
                    <a:pt x="267348" y="223753"/>
                    <a:pt x="269251" y="227641"/>
                    <a:pt x="273675" y="231260"/>
                  </a:cubicBezTo>
                  <a:cubicBezTo>
                    <a:pt x="273675" y="222224"/>
                    <a:pt x="273675" y="213189"/>
                    <a:pt x="273675" y="204153"/>
                  </a:cubicBezTo>
                  <a:cubicBezTo>
                    <a:pt x="273675" y="170637"/>
                    <a:pt x="273675" y="137095"/>
                    <a:pt x="273675" y="103579"/>
                  </a:cubicBezTo>
                  <a:cubicBezTo>
                    <a:pt x="273675" y="69152"/>
                    <a:pt x="272388" y="67784"/>
                    <a:pt x="237103" y="65130"/>
                  </a:cubicBezTo>
                  <a:lnTo>
                    <a:pt x="237103" y="941"/>
                  </a:lnTo>
                  <a:lnTo>
                    <a:pt x="404172" y="941"/>
                  </a:lnTo>
                  <a:lnTo>
                    <a:pt x="404172" y="64245"/>
                  </a:lnTo>
                  <a:cubicBezTo>
                    <a:pt x="403260" y="64701"/>
                    <a:pt x="402536" y="65344"/>
                    <a:pt x="401759" y="65398"/>
                  </a:cubicBezTo>
                  <a:cubicBezTo>
                    <a:pt x="365991" y="67168"/>
                    <a:pt x="365347" y="67838"/>
                    <a:pt x="365374" y="103445"/>
                  </a:cubicBezTo>
                  <a:cubicBezTo>
                    <a:pt x="365428" y="200453"/>
                    <a:pt x="365481" y="297434"/>
                    <a:pt x="365508" y="394441"/>
                  </a:cubicBezTo>
                  <a:cubicBezTo>
                    <a:pt x="365508" y="399723"/>
                    <a:pt x="365508" y="404979"/>
                    <a:pt x="365508" y="412004"/>
                  </a:cubicBezTo>
                  <a:cubicBezTo>
                    <a:pt x="342637" y="412004"/>
                    <a:pt x="320919" y="412111"/>
                    <a:pt x="299201" y="411977"/>
                  </a:cubicBezTo>
                  <a:cubicBezTo>
                    <a:pt x="284052" y="411870"/>
                    <a:pt x="265632" y="416615"/>
                    <a:pt x="254665" y="409698"/>
                  </a:cubicBezTo>
                  <a:cubicBezTo>
                    <a:pt x="243779" y="402834"/>
                    <a:pt x="240187" y="384145"/>
                    <a:pt x="233752" y="370498"/>
                  </a:cubicBezTo>
                  <a:cubicBezTo>
                    <a:pt x="202327" y="304030"/>
                    <a:pt x="171010" y="237481"/>
                    <a:pt x="139613" y="170986"/>
                  </a:cubicBezTo>
                  <a:cubicBezTo>
                    <a:pt x="137790" y="167125"/>
                    <a:pt x="135725" y="163398"/>
                    <a:pt x="131569" y="160019"/>
                  </a:cubicBezTo>
                  <a:cubicBezTo>
                    <a:pt x="131569" y="175410"/>
                    <a:pt x="131569" y="190800"/>
                    <a:pt x="131569" y="206191"/>
                  </a:cubicBezTo>
                  <a:cubicBezTo>
                    <a:pt x="131542" y="242388"/>
                    <a:pt x="131462" y="278611"/>
                    <a:pt x="131489" y="314808"/>
                  </a:cubicBezTo>
                  <a:cubicBezTo>
                    <a:pt x="131489" y="338618"/>
                    <a:pt x="134706" y="341835"/>
                    <a:pt x="158355" y="342211"/>
                  </a:cubicBezTo>
                  <a:cubicBezTo>
                    <a:pt x="161894" y="342264"/>
                    <a:pt x="165406" y="342211"/>
                    <a:pt x="169830" y="342211"/>
                  </a:cubicBezTo>
                  <a:lnTo>
                    <a:pt x="169830" y="407740"/>
                  </a:lnTo>
                  <a:lnTo>
                    <a:pt x="0" y="40774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Freeform: Shape 7">
              <a:extLst>
                <a:ext uri="{FF2B5EF4-FFF2-40B4-BE49-F238E27FC236}">
                  <a16:creationId xmlns:a16="http://schemas.microsoft.com/office/drawing/2014/main" id="{349086F7-7CFB-1109-9058-D0A691D081F7}"/>
                </a:ext>
              </a:extLst>
            </p:cNvPr>
            <p:cNvSpPr/>
            <p:nvPr/>
          </p:nvSpPr>
          <p:spPr>
            <a:xfrm>
              <a:off x="9085608" y="260399"/>
              <a:ext cx="223758" cy="279344"/>
            </a:xfrm>
            <a:custGeom>
              <a:avLst/>
              <a:gdLst>
                <a:gd name="connsiteX0" fmla="*/ 27 w 326174"/>
                <a:gd name="connsiteY0" fmla="*/ 0 h 407201"/>
                <a:gd name="connsiteX1" fmla="*/ 319981 w 326174"/>
                <a:gd name="connsiteY1" fmla="*/ 0 h 407201"/>
                <a:gd name="connsiteX2" fmla="*/ 319981 w 326174"/>
                <a:gd name="connsiteY2" fmla="*/ 119879 h 407201"/>
                <a:gd name="connsiteX3" fmla="*/ 235628 w 326174"/>
                <a:gd name="connsiteY3" fmla="*/ 119879 h 407201"/>
                <a:gd name="connsiteX4" fmla="*/ 235682 w 326174"/>
                <a:gd name="connsiteY4" fmla="*/ 98429 h 407201"/>
                <a:gd name="connsiteX5" fmla="*/ 218656 w 326174"/>
                <a:gd name="connsiteY5" fmla="*/ 78936 h 407201"/>
                <a:gd name="connsiteX6" fmla="*/ 152670 w 326174"/>
                <a:gd name="connsiteY6" fmla="*/ 78722 h 407201"/>
                <a:gd name="connsiteX7" fmla="*/ 152670 w 326174"/>
                <a:gd name="connsiteY7" fmla="*/ 156210 h 407201"/>
                <a:gd name="connsiteX8" fmla="*/ 271638 w 326174"/>
                <a:gd name="connsiteY8" fmla="*/ 156210 h 407201"/>
                <a:gd name="connsiteX9" fmla="*/ 271638 w 326174"/>
                <a:gd name="connsiteY9" fmla="*/ 238980 h 407201"/>
                <a:gd name="connsiteX10" fmla="*/ 152858 w 326174"/>
                <a:gd name="connsiteY10" fmla="*/ 238980 h 407201"/>
                <a:gd name="connsiteX11" fmla="*/ 152858 w 326174"/>
                <a:gd name="connsiteY11" fmla="*/ 327542 h 407201"/>
                <a:gd name="connsiteX12" fmla="*/ 227933 w 326174"/>
                <a:gd name="connsiteY12" fmla="*/ 327354 h 407201"/>
                <a:gd name="connsiteX13" fmla="*/ 243163 w 326174"/>
                <a:gd name="connsiteY13" fmla="*/ 308800 h 407201"/>
                <a:gd name="connsiteX14" fmla="*/ 243243 w 326174"/>
                <a:gd name="connsiteY14" fmla="*/ 282685 h 407201"/>
                <a:gd name="connsiteX15" fmla="*/ 326174 w 326174"/>
                <a:gd name="connsiteY15" fmla="*/ 282685 h 407201"/>
                <a:gd name="connsiteX16" fmla="*/ 326174 w 326174"/>
                <a:gd name="connsiteY16" fmla="*/ 407202 h 407201"/>
                <a:gd name="connsiteX17" fmla="*/ 0 w 326174"/>
                <a:gd name="connsiteY17" fmla="*/ 407202 h 407201"/>
                <a:gd name="connsiteX18" fmla="*/ 0 w 326174"/>
                <a:gd name="connsiteY18" fmla="*/ 341216 h 407201"/>
                <a:gd name="connsiteX19" fmla="*/ 17991 w 326174"/>
                <a:gd name="connsiteY19" fmla="*/ 341163 h 407201"/>
                <a:gd name="connsiteX20" fmla="*/ 37001 w 326174"/>
                <a:gd name="connsiteY20" fmla="*/ 321831 h 407201"/>
                <a:gd name="connsiteX21" fmla="*/ 37109 w 326174"/>
                <a:gd name="connsiteY21" fmla="*/ 198493 h 407201"/>
                <a:gd name="connsiteX22" fmla="*/ 37109 w 326174"/>
                <a:gd name="connsiteY22" fmla="*/ 92584 h 407201"/>
                <a:gd name="connsiteX23" fmla="*/ 10216 w 326174"/>
                <a:gd name="connsiteY23" fmla="*/ 64860 h 407201"/>
                <a:gd name="connsiteX24" fmla="*/ 27 w 326174"/>
                <a:gd name="connsiteY24" fmla="*/ 64404 h 407201"/>
                <a:gd name="connsiteX25" fmla="*/ 27 w 326174"/>
                <a:gd name="connsiteY25" fmla="*/ 0 h 407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26174" h="407201">
                  <a:moveTo>
                    <a:pt x="27" y="0"/>
                  </a:moveTo>
                  <a:lnTo>
                    <a:pt x="319981" y="0"/>
                  </a:lnTo>
                  <a:lnTo>
                    <a:pt x="319981" y="119879"/>
                  </a:lnTo>
                  <a:lnTo>
                    <a:pt x="235628" y="119879"/>
                  </a:lnTo>
                  <a:cubicBezTo>
                    <a:pt x="235628" y="112479"/>
                    <a:pt x="235333" y="105427"/>
                    <a:pt x="235682" y="98429"/>
                  </a:cubicBezTo>
                  <a:cubicBezTo>
                    <a:pt x="236272" y="86283"/>
                    <a:pt x="230185" y="79311"/>
                    <a:pt x="218656" y="78936"/>
                  </a:cubicBezTo>
                  <a:cubicBezTo>
                    <a:pt x="196911" y="78239"/>
                    <a:pt x="175139" y="78722"/>
                    <a:pt x="152670" y="78722"/>
                  </a:cubicBezTo>
                  <a:lnTo>
                    <a:pt x="152670" y="156210"/>
                  </a:lnTo>
                  <a:lnTo>
                    <a:pt x="271638" y="156210"/>
                  </a:lnTo>
                  <a:lnTo>
                    <a:pt x="271638" y="238980"/>
                  </a:lnTo>
                  <a:lnTo>
                    <a:pt x="152858" y="238980"/>
                  </a:lnTo>
                  <a:lnTo>
                    <a:pt x="152858" y="327542"/>
                  </a:lnTo>
                  <a:cubicBezTo>
                    <a:pt x="178196" y="327542"/>
                    <a:pt x="203078" y="327944"/>
                    <a:pt x="227933" y="327354"/>
                  </a:cubicBezTo>
                  <a:cubicBezTo>
                    <a:pt x="239007" y="327086"/>
                    <a:pt x="242680" y="318560"/>
                    <a:pt x="243163" y="308800"/>
                  </a:cubicBezTo>
                  <a:cubicBezTo>
                    <a:pt x="243565" y="300408"/>
                    <a:pt x="243243" y="291962"/>
                    <a:pt x="243243" y="282685"/>
                  </a:cubicBezTo>
                  <a:lnTo>
                    <a:pt x="326174" y="282685"/>
                  </a:lnTo>
                  <a:lnTo>
                    <a:pt x="326174" y="407202"/>
                  </a:lnTo>
                  <a:lnTo>
                    <a:pt x="0" y="407202"/>
                  </a:lnTo>
                  <a:lnTo>
                    <a:pt x="0" y="341216"/>
                  </a:lnTo>
                  <a:cubicBezTo>
                    <a:pt x="5872" y="341216"/>
                    <a:pt x="11932" y="341431"/>
                    <a:pt x="17991" y="341163"/>
                  </a:cubicBezTo>
                  <a:cubicBezTo>
                    <a:pt x="33301" y="340519"/>
                    <a:pt x="36948" y="337007"/>
                    <a:pt x="37001" y="321831"/>
                  </a:cubicBezTo>
                  <a:cubicBezTo>
                    <a:pt x="37162" y="280727"/>
                    <a:pt x="37082" y="239624"/>
                    <a:pt x="37109" y="198493"/>
                  </a:cubicBezTo>
                  <a:cubicBezTo>
                    <a:pt x="37109" y="163181"/>
                    <a:pt x="37109" y="127896"/>
                    <a:pt x="37109" y="92584"/>
                  </a:cubicBezTo>
                  <a:cubicBezTo>
                    <a:pt x="37109" y="69015"/>
                    <a:pt x="33650" y="65503"/>
                    <a:pt x="10216" y="64860"/>
                  </a:cubicBezTo>
                  <a:cubicBezTo>
                    <a:pt x="7132" y="64779"/>
                    <a:pt x="4049" y="64591"/>
                    <a:pt x="27" y="64404"/>
                  </a:cubicBezTo>
                  <a:lnTo>
                    <a:pt x="27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: Shape 8">
              <a:extLst>
                <a:ext uri="{FF2B5EF4-FFF2-40B4-BE49-F238E27FC236}">
                  <a16:creationId xmlns:a16="http://schemas.microsoft.com/office/drawing/2014/main" id="{31C32C18-FC6B-6961-EA43-6F71D068C2C1}"/>
                </a:ext>
              </a:extLst>
            </p:cNvPr>
            <p:cNvSpPr/>
            <p:nvPr/>
          </p:nvSpPr>
          <p:spPr>
            <a:xfrm>
              <a:off x="9761971" y="250670"/>
              <a:ext cx="204990" cy="298460"/>
            </a:xfrm>
            <a:custGeom>
              <a:avLst/>
              <a:gdLst>
                <a:gd name="connsiteX0" fmla="*/ 248 w 298816"/>
                <a:gd name="connsiteY0" fmla="*/ 286088 h 435066"/>
                <a:gd name="connsiteX1" fmla="*/ 91304 w 298816"/>
                <a:gd name="connsiteY1" fmla="*/ 286088 h 435066"/>
                <a:gd name="connsiteX2" fmla="*/ 91357 w 298816"/>
                <a:gd name="connsiteY2" fmla="*/ 318049 h 435066"/>
                <a:gd name="connsiteX3" fmla="*/ 163242 w 298816"/>
                <a:gd name="connsiteY3" fmla="*/ 359742 h 435066"/>
                <a:gd name="connsiteX4" fmla="*/ 170159 w 298816"/>
                <a:gd name="connsiteY4" fmla="*/ 288662 h 435066"/>
                <a:gd name="connsiteX5" fmla="*/ 124551 w 298816"/>
                <a:gd name="connsiteY5" fmla="*/ 258418 h 435066"/>
                <a:gd name="connsiteX6" fmla="*/ 55455 w 298816"/>
                <a:gd name="connsiteY6" fmla="*/ 215089 h 435066"/>
                <a:gd name="connsiteX7" fmla="*/ 543 w 298816"/>
                <a:gd name="connsiteY7" fmla="*/ 124221 h 435066"/>
                <a:gd name="connsiteX8" fmla="*/ 99240 w 298816"/>
                <a:gd name="connsiteY8" fmla="*/ 4074 h 435066"/>
                <a:gd name="connsiteX9" fmla="*/ 267891 w 298816"/>
                <a:gd name="connsiteY9" fmla="*/ 20430 h 435066"/>
                <a:gd name="connsiteX10" fmla="*/ 278509 w 298816"/>
                <a:gd name="connsiteY10" fmla="*/ 31021 h 435066"/>
                <a:gd name="connsiteX11" fmla="*/ 278991 w 298816"/>
                <a:gd name="connsiteY11" fmla="*/ 136501 h 435066"/>
                <a:gd name="connsiteX12" fmla="*/ 191153 w 298816"/>
                <a:gd name="connsiteY12" fmla="*/ 136501 h 435066"/>
                <a:gd name="connsiteX13" fmla="*/ 191019 w 298816"/>
                <a:gd name="connsiteY13" fmla="*/ 100706 h 435066"/>
                <a:gd name="connsiteX14" fmla="*/ 161928 w 298816"/>
                <a:gd name="connsiteY14" fmla="*/ 65796 h 435066"/>
                <a:gd name="connsiteX15" fmla="*/ 113933 w 298816"/>
                <a:gd name="connsiteY15" fmla="*/ 83493 h 435066"/>
                <a:gd name="connsiteX16" fmla="*/ 122165 w 298816"/>
                <a:gd name="connsiteY16" fmla="*/ 131648 h 435066"/>
                <a:gd name="connsiteX17" fmla="*/ 172438 w 298816"/>
                <a:gd name="connsiteY17" fmla="*/ 164386 h 435066"/>
                <a:gd name="connsiteX18" fmla="*/ 246360 w 298816"/>
                <a:gd name="connsiteY18" fmla="*/ 207447 h 435066"/>
                <a:gd name="connsiteX19" fmla="*/ 294945 w 298816"/>
                <a:gd name="connsiteY19" fmla="*/ 337836 h 435066"/>
                <a:gd name="connsiteX20" fmla="*/ 194746 w 298816"/>
                <a:gd name="connsiteY20" fmla="*/ 430259 h 435066"/>
                <a:gd name="connsiteX21" fmla="*/ 12448 w 298816"/>
                <a:gd name="connsiteY21" fmla="*/ 415432 h 435066"/>
                <a:gd name="connsiteX22" fmla="*/ 7 w 298816"/>
                <a:gd name="connsiteY22" fmla="*/ 398915 h 435066"/>
                <a:gd name="connsiteX23" fmla="*/ 275 w 298816"/>
                <a:gd name="connsiteY23" fmla="*/ 286088 h 4350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98816" h="435066">
                  <a:moveTo>
                    <a:pt x="248" y="286088"/>
                  </a:moveTo>
                  <a:lnTo>
                    <a:pt x="91304" y="286088"/>
                  </a:lnTo>
                  <a:cubicBezTo>
                    <a:pt x="91304" y="296921"/>
                    <a:pt x="90982" y="307485"/>
                    <a:pt x="91357" y="318049"/>
                  </a:cubicBezTo>
                  <a:cubicBezTo>
                    <a:pt x="92725" y="356283"/>
                    <a:pt x="129351" y="377439"/>
                    <a:pt x="163242" y="359742"/>
                  </a:cubicBezTo>
                  <a:cubicBezTo>
                    <a:pt x="188070" y="346765"/>
                    <a:pt x="192682" y="307994"/>
                    <a:pt x="170159" y="288662"/>
                  </a:cubicBezTo>
                  <a:cubicBezTo>
                    <a:pt x="156431" y="276865"/>
                    <a:pt x="139995" y="268151"/>
                    <a:pt x="124551" y="258418"/>
                  </a:cubicBezTo>
                  <a:cubicBezTo>
                    <a:pt x="101546" y="243912"/>
                    <a:pt x="77388" y="231015"/>
                    <a:pt x="55455" y="215089"/>
                  </a:cubicBezTo>
                  <a:cubicBezTo>
                    <a:pt x="24808" y="192834"/>
                    <a:pt x="2903" y="163823"/>
                    <a:pt x="543" y="124221"/>
                  </a:cubicBezTo>
                  <a:cubicBezTo>
                    <a:pt x="-3103" y="63142"/>
                    <a:pt x="37437" y="13405"/>
                    <a:pt x="99240" y="4074"/>
                  </a:cubicBezTo>
                  <a:cubicBezTo>
                    <a:pt x="156646" y="-4613"/>
                    <a:pt x="213140" y="481"/>
                    <a:pt x="267891" y="20430"/>
                  </a:cubicBezTo>
                  <a:cubicBezTo>
                    <a:pt x="272288" y="22038"/>
                    <a:pt x="278428" y="27321"/>
                    <a:pt x="278509" y="31021"/>
                  </a:cubicBezTo>
                  <a:cubicBezTo>
                    <a:pt x="279313" y="65823"/>
                    <a:pt x="278991" y="100653"/>
                    <a:pt x="278991" y="136501"/>
                  </a:cubicBezTo>
                  <a:lnTo>
                    <a:pt x="191153" y="136501"/>
                  </a:lnTo>
                  <a:cubicBezTo>
                    <a:pt x="191153" y="124543"/>
                    <a:pt x="191797" y="112584"/>
                    <a:pt x="191019" y="100706"/>
                  </a:cubicBezTo>
                  <a:cubicBezTo>
                    <a:pt x="189679" y="80677"/>
                    <a:pt x="179678" y="69202"/>
                    <a:pt x="161928" y="65796"/>
                  </a:cubicBezTo>
                  <a:cubicBezTo>
                    <a:pt x="140317" y="61641"/>
                    <a:pt x="122138" y="68370"/>
                    <a:pt x="113933" y="83493"/>
                  </a:cubicBezTo>
                  <a:cubicBezTo>
                    <a:pt x="104281" y="101323"/>
                    <a:pt x="105809" y="118349"/>
                    <a:pt x="122165" y="131648"/>
                  </a:cubicBezTo>
                  <a:cubicBezTo>
                    <a:pt x="137582" y="144196"/>
                    <a:pt x="155251" y="154117"/>
                    <a:pt x="172438" y="164386"/>
                  </a:cubicBezTo>
                  <a:cubicBezTo>
                    <a:pt x="196918" y="179026"/>
                    <a:pt x="222765" y="191547"/>
                    <a:pt x="246360" y="207447"/>
                  </a:cubicBezTo>
                  <a:cubicBezTo>
                    <a:pt x="290601" y="237236"/>
                    <a:pt x="307091" y="283863"/>
                    <a:pt x="294945" y="337836"/>
                  </a:cubicBezTo>
                  <a:cubicBezTo>
                    <a:pt x="284300" y="385161"/>
                    <a:pt x="244081" y="422081"/>
                    <a:pt x="194746" y="430259"/>
                  </a:cubicBezTo>
                  <a:cubicBezTo>
                    <a:pt x="132702" y="440555"/>
                    <a:pt x="72186" y="433718"/>
                    <a:pt x="12448" y="415432"/>
                  </a:cubicBezTo>
                  <a:cubicBezTo>
                    <a:pt x="3439" y="412670"/>
                    <a:pt x="-181" y="408970"/>
                    <a:pt x="7" y="398915"/>
                  </a:cubicBezTo>
                  <a:cubicBezTo>
                    <a:pt x="704" y="361834"/>
                    <a:pt x="275" y="324752"/>
                    <a:pt x="275" y="286088"/>
                  </a:cubicBezTo>
                  <a:close/>
                </a:path>
              </a:pathLst>
            </a:custGeom>
            <a:grpFill/>
            <a:ln w="254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13" name="Image 17">
            <a:extLst>
              <a:ext uri="{FF2B5EF4-FFF2-40B4-BE49-F238E27FC236}">
                <a16:creationId xmlns:a16="http://schemas.microsoft.com/office/drawing/2014/main" id="{DA946871-A95F-8077-FD6F-DB168F533170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49638" y="3048198"/>
            <a:ext cx="762980" cy="538164"/>
          </a:xfrm>
          <a:prstGeom prst="rect">
            <a:avLst/>
          </a:prstGeom>
        </p:spPr>
      </p:pic>
      <p:pic>
        <p:nvPicPr>
          <p:cNvPr id="14" name="Grafik 12" descr="Ein Bild, das Text enthält.&#10;&#10;Automatisch generierte Beschreibung">
            <a:extLst>
              <a:ext uri="{FF2B5EF4-FFF2-40B4-BE49-F238E27FC236}">
                <a16:creationId xmlns:a16="http://schemas.microsoft.com/office/drawing/2014/main" id="{0D1172F3-BEC5-765D-CB41-0E0303002764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68579" y="144738"/>
            <a:ext cx="1665847" cy="481707"/>
          </a:xfrm>
          <a:prstGeom prst="rect">
            <a:avLst/>
          </a:prstGeom>
        </p:spPr>
      </p:pic>
      <p:pic>
        <p:nvPicPr>
          <p:cNvPr id="15" name="Imagen 14">
            <a:extLst>
              <a:ext uri="{FF2B5EF4-FFF2-40B4-BE49-F238E27FC236}">
                <a16:creationId xmlns:a16="http://schemas.microsoft.com/office/drawing/2014/main" id="{EAAA94B1-BB00-701C-960A-7C96CBD91314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01808" y="1225011"/>
            <a:ext cx="3994752" cy="3442769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id="{51F10CBC-35CE-D9A2-739D-F648CC062E9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73896" y="639662"/>
            <a:ext cx="1401930" cy="11706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293811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99EB0209-EB77-EC54-6287-86A43FDAD55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Lo </a:t>
            </a:r>
            <a:r>
              <a:rPr lang="en-US" dirty="0" err="1"/>
              <a:t>tiene</a:t>
            </a:r>
            <a:r>
              <a:rPr lang="en-US" dirty="0"/>
              <a:t> </a:t>
            </a:r>
            <a:r>
              <a:rPr lang="en-US" dirty="0" err="1"/>
              <a:t>todo</a:t>
            </a:r>
            <a:endParaRPr lang="en-US" dirty="0"/>
          </a:p>
          <a:p>
            <a:endParaRPr lang="en-GB" dirty="0"/>
          </a:p>
        </p:txBody>
      </p:sp>
      <p:graphicFrame>
        <p:nvGraphicFramePr>
          <p:cNvPr id="7" name="Tabelle 7">
            <a:extLst>
              <a:ext uri="{FF2B5EF4-FFF2-40B4-BE49-F238E27FC236}">
                <a16:creationId xmlns:a16="http://schemas.microsoft.com/office/drawing/2014/main" id="{88067451-9D09-66D5-311B-02B960956BE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3860473"/>
              </p:ext>
            </p:extLst>
          </p:nvPr>
        </p:nvGraphicFramePr>
        <p:xfrm>
          <a:off x="380391" y="1103083"/>
          <a:ext cx="2706623" cy="3458401"/>
        </p:xfrm>
        <a:graphic>
          <a:graphicData uri="http://schemas.openxmlformats.org/drawingml/2006/table">
            <a:tbl>
              <a:tblPr firstRow="1" bandRow="1">
                <a:effectLst/>
                <a:tableStyleId>{21E4AEA4-8DFA-4A89-87EB-49C32662AFE0}</a:tableStyleId>
              </a:tblPr>
              <a:tblGrid>
                <a:gridCol w="2706623">
                  <a:extLst>
                    <a:ext uri="{9D8B030D-6E8A-4147-A177-3AD203B41FA5}">
                      <a16:colId xmlns:a16="http://schemas.microsoft.com/office/drawing/2014/main" val="4124971706"/>
                    </a:ext>
                  </a:extLst>
                </a:gridCol>
              </a:tblGrid>
              <a:tr h="452750">
                <a:tc>
                  <a:txBody>
                    <a:bodyPr/>
                    <a:lstStyle/>
                    <a:p>
                      <a:pPr algn="ctr"/>
                      <a:r>
                        <a:rPr lang="en-GB" sz="2000" dirty="0">
                          <a:solidFill>
                            <a:srgbClr val="E4032D"/>
                          </a:solidFill>
                        </a:rPr>
                        <a:t>LG CRYPTO C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7001518"/>
                  </a:ext>
                </a:extLst>
              </a:tr>
              <a:tr h="291054"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Lanzamient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1317904"/>
                  </a:ext>
                </a:extLst>
              </a:tr>
              <a:tr h="291054">
                <a:tc>
                  <a:txBody>
                    <a:bodyPr/>
                    <a:lstStyle/>
                    <a:p>
                      <a:pPr algn="ctr"/>
                      <a:r>
                        <a:rPr lang="en-GB" sz="1400" b="1" dirty="0" err="1">
                          <a:solidFill>
                            <a:schemeClr val="tx1"/>
                          </a:solidFill>
                        </a:rPr>
                        <a:t>Híbrido</a:t>
                      </a:r>
                      <a:r>
                        <a:rPr lang="en-GB" sz="1400" b="1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GB" sz="1400" b="1" dirty="0" err="1">
                          <a:solidFill>
                            <a:schemeClr val="tx1"/>
                          </a:solidFill>
                        </a:rPr>
                        <a:t>innovador</a:t>
                      </a:r>
                      <a:endParaRPr lang="en-GB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226035"/>
                  </a:ext>
                </a:extLst>
              </a:tr>
              <a:tr h="291054">
                <a:tc>
                  <a:txBody>
                    <a:bodyPr/>
                    <a:lstStyle/>
                    <a:p>
                      <a:pPr algn="ctr"/>
                      <a:r>
                        <a:rPr lang="en-GB" sz="1400" b="1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ecoz</a:t>
                      </a:r>
                      <a:r>
                        <a:rPr lang="en-GB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/Medio-</a:t>
                      </a:r>
                      <a:r>
                        <a:rPr lang="en-GB" sz="1400" b="1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ecoz</a:t>
                      </a:r>
                      <a:r>
                        <a:rPr lang="en-GB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en-GB" sz="1400" b="1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to</a:t>
                      </a:r>
                      <a:r>
                        <a:rPr lang="en-GB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+++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8259637"/>
                  </a:ext>
                </a:extLst>
              </a:tr>
              <a:tr h="1451171">
                <a:tc>
                  <a:txBody>
                    <a:bodyPr/>
                    <a:lstStyle/>
                    <a:p>
                      <a:pPr marL="342900" indent="-342900" algn="l">
                        <a:buFont typeface="+mj-lt"/>
                        <a:buAutoNum type="arabicPeriod"/>
                      </a:pPr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Resistencia a la </a:t>
                      </a:r>
                      <a:r>
                        <a:rPr lang="en-GB" sz="1200" dirty="0" err="1">
                          <a:solidFill>
                            <a:schemeClr val="tx1"/>
                          </a:solidFill>
                        </a:rPr>
                        <a:t>Dehiscencia</a:t>
                      </a:r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  <a:p>
                      <a:pPr marL="342900" indent="-342900" algn="l">
                        <a:buFont typeface="+mj-lt"/>
                        <a:buAutoNum type="arabicPeriod"/>
                      </a:pPr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Resistencia a la </a:t>
                      </a:r>
                      <a:r>
                        <a:rPr lang="en-GB" sz="1200" dirty="0" err="1">
                          <a:solidFill>
                            <a:schemeClr val="tx1"/>
                          </a:solidFill>
                        </a:rPr>
                        <a:t>virosis</a:t>
                      </a:r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GB" sz="1200" dirty="0" err="1">
                          <a:solidFill>
                            <a:schemeClr val="tx1"/>
                          </a:solidFill>
                        </a:rPr>
                        <a:t>TuYV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  <a:p>
                      <a:pPr marL="342900" indent="-342900" algn="l">
                        <a:buFont typeface="+mj-lt"/>
                        <a:buAutoNum type="arabicPeriod"/>
                      </a:pPr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N-FLEX</a:t>
                      </a:r>
                    </a:p>
                    <a:p>
                      <a:pPr marL="342900" indent="-342900" algn="l">
                        <a:buFont typeface="+mj-lt"/>
                        <a:buAutoNum type="arabicPeriod"/>
                      </a:pPr>
                      <a:r>
                        <a:rPr lang="en-GB" sz="1200" dirty="0" err="1">
                          <a:solidFill>
                            <a:schemeClr val="tx1"/>
                          </a:solidFill>
                        </a:rPr>
                        <a:t>Vigor</a:t>
                      </a:r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+</a:t>
                      </a:r>
                    </a:p>
                    <a:p>
                      <a:pPr marL="342900" indent="-342900" algn="l">
                        <a:buFont typeface="+mj-lt"/>
                        <a:buAutoNum type="arabicPeriod"/>
                      </a:pP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GB" sz="1400" b="1" dirty="0" err="1">
                          <a:solidFill>
                            <a:srgbClr val="E4032D"/>
                          </a:solidFill>
                        </a:rPr>
                        <a:t>Rendimiento</a:t>
                      </a:r>
                      <a:r>
                        <a:rPr lang="en-GB" sz="1400" b="1" dirty="0">
                          <a:solidFill>
                            <a:srgbClr val="E4032D"/>
                          </a:solidFill>
                        </a:rPr>
                        <a:t>, </a:t>
                      </a:r>
                      <a:r>
                        <a:rPr lang="en-GB" sz="1400" b="1" dirty="0" err="1">
                          <a:solidFill>
                            <a:srgbClr val="E4032D"/>
                          </a:solidFill>
                        </a:rPr>
                        <a:t>estabilidad</a:t>
                      </a:r>
                      <a:r>
                        <a:rPr lang="en-GB" sz="1400" b="1" dirty="0">
                          <a:solidFill>
                            <a:srgbClr val="E4032D"/>
                          </a:solidFill>
                        </a:rPr>
                        <a:t> </a:t>
                      </a:r>
                    </a:p>
                    <a:p>
                      <a:pPr marL="0" indent="0" algn="ctr">
                        <a:buFont typeface="+mj-lt"/>
                        <a:buNone/>
                      </a:pPr>
                      <a:r>
                        <a:rPr lang="en-GB" sz="1400" b="1" dirty="0">
                          <a:solidFill>
                            <a:srgbClr val="E4032D"/>
                          </a:solidFill>
                        </a:rPr>
                        <a:t>&amp; </a:t>
                      </a:r>
                      <a:r>
                        <a:rPr lang="en-GB" sz="1400" b="1" dirty="0" err="1">
                          <a:solidFill>
                            <a:srgbClr val="E4032D"/>
                          </a:solidFill>
                        </a:rPr>
                        <a:t>Precocidad</a:t>
                      </a:r>
                      <a:r>
                        <a:rPr lang="en-GB" sz="1400" b="1" dirty="0">
                          <a:solidFill>
                            <a:srgbClr val="E4032D"/>
                          </a:solidFill>
                        </a:rPr>
                        <a:t> </a:t>
                      </a:r>
                      <a:r>
                        <a:rPr lang="en-GB" sz="1400" b="1" dirty="0" err="1">
                          <a:solidFill>
                            <a:srgbClr val="E4032D"/>
                          </a:solidFill>
                        </a:rPr>
                        <a:t>en</a:t>
                      </a:r>
                      <a:r>
                        <a:rPr lang="en-GB" sz="1400" b="1" dirty="0">
                          <a:solidFill>
                            <a:srgbClr val="E4032D"/>
                          </a:solidFill>
                        </a:rPr>
                        <a:t> Clearfiel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6103064"/>
                  </a:ext>
                </a:extLst>
              </a:tr>
              <a:tr h="582107">
                <a:tc>
                  <a:txBody>
                    <a:bodyPr/>
                    <a:lstStyle/>
                    <a:p>
                      <a:pPr algn="ctr" defTabSz="457189" rtl="0" eaLnBrk="1" latinLnBrk="0" hangingPunct="1"/>
                      <a:r>
                        <a:rPr lang="es-ES" sz="12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gricultores que buscan un alto rendimiento en condiciones difíciles y con precocidad y Clearfield</a:t>
                      </a:r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8599362"/>
                  </a:ext>
                </a:extLst>
              </a:tr>
            </a:tbl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01573134-7BBE-7F99-ABB6-621FDC5A15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LG CRYPTO CL</a:t>
            </a:r>
          </a:p>
        </p:txBody>
      </p:sp>
      <p:grpSp>
        <p:nvGrpSpPr>
          <p:cNvPr id="2" name="Group 9">
            <a:extLst>
              <a:ext uri="{FF2B5EF4-FFF2-40B4-BE49-F238E27FC236}">
                <a16:creationId xmlns:a16="http://schemas.microsoft.com/office/drawing/2014/main" id="{7B88FDE5-1EBD-9879-8224-86958E705E91}"/>
              </a:ext>
            </a:extLst>
          </p:cNvPr>
          <p:cNvGrpSpPr/>
          <p:nvPr/>
        </p:nvGrpSpPr>
        <p:grpSpPr>
          <a:xfrm rot="16200000">
            <a:off x="8457754" y="4009197"/>
            <a:ext cx="927501" cy="230656"/>
            <a:chOff x="8766811" y="250670"/>
            <a:chExt cx="1200150" cy="298460"/>
          </a:xfrm>
          <a:solidFill>
            <a:schemeClr val="bg1">
              <a:alpha val="42000"/>
            </a:schemeClr>
          </a:solidFill>
        </p:grpSpPr>
        <p:sp>
          <p:nvSpPr>
            <p:cNvPr id="3" name="Freeform: Shape 5">
              <a:extLst>
                <a:ext uri="{FF2B5EF4-FFF2-40B4-BE49-F238E27FC236}">
                  <a16:creationId xmlns:a16="http://schemas.microsoft.com/office/drawing/2014/main" id="{42702A6F-0DE8-6A75-D537-2D1473C6A08A}"/>
                </a:ext>
              </a:extLst>
            </p:cNvPr>
            <p:cNvSpPr/>
            <p:nvPr/>
          </p:nvSpPr>
          <p:spPr>
            <a:xfrm>
              <a:off x="9340947" y="259788"/>
              <a:ext cx="396639" cy="280066"/>
            </a:xfrm>
            <a:custGeom>
              <a:avLst/>
              <a:gdLst>
                <a:gd name="connsiteX0" fmla="*/ 188626 w 578185"/>
                <a:gd name="connsiteY0" fmla="*/ 247351 h 408253"/>
                <a:gd name="connsiteX1" fmla="*/ 209084 w 578185"/>
                <a:gd name="connsiteY1" fmla="*/ 156671 h 408253"/>
                <a:gd name="connsiteX2" fmla="*/ 241634 w 578185"/>
                <a:gd name="connsiteY2" fmla="*/ 10757 h 408253"/>
                <a:gd name="connsiteX3" fmla="*/ 255014 w 578185"/>
                <a:gd name="connsiteY3" fmla="*/ 5 h 408253"/>
                <a:gd name="connsiteX4" fmla="*/ 343468 w 578185"/>
                <a:gd name="connsiteY4" fmla="*/ 86 h 408253"/>
                <a:gd name="connsiteX5" fmla="*/ 356258 w 578185"/>
                <a:gd name="connsiteY5" fmla="*/ 9926 h 408253"/>
                <a:gd name="connsiteX6" fmla="*/ 402000 w 578185"/>
                <a:gd name="connsiteY6" fmla="*/ 237699 h 408253"/>
                <a:gd name="connsiteX7" fmla="*/ 406853 w 578185"/>
                <a:gd name="connsiteY7" fmla="*/ 247646 h 408253"/>
                <a:gd name="connsiteX8" fmla="*/ 443881 w 578185"/>
                <a:gd name="connsiteY8" fmla="*/ 88487 h 408253"/>
                <a:gd name="connsiteX9" fmla="*/ 418275 w 578185"/>
                <a:gd name="connsiteY9" fmla="*/ 64463 h 408253"/>
                <a:gd name="connsiteX10" fmla="*/ 418275 w 578185"/>
                <a:gd name="connsiteY10" fmla="*/ 1132 h 408253"/>
                <a:gd name="connsiteX11" fmla="*/ 578185 w 578185"/>
                <a:gd name="connsiteY11" fmla="*/ 1132 h 408253"/>
                <a:gd name="connsiteX12" fmla="*/ 578185 w 578185"/>
                <a:gd name="connsiteY12" fmla="*/ 65482 h 408253"/>
                <a:gd name="connsiteX13" fmla="*/ 535580 w 578185"/>
                <a:gd name="connsiteY13" fmla="*/ 107309 h 408253"/>
                <a:gd name="connsiteX14" fmla="*/ 450423 w 578185"/>
                <a:gd name="connsiteY14" fmla="*/ 398306 h 408253"/>
                <a:gd name="connsiteX15" fmla="*/ 447072 w 578185"/>
                <a:gd name="connsiteY15" fmla="*/ 408146 h 408253"/>
                <a:gd name="connsiteX16" fmla="*/ 338964 w 578185"/>
                <a:gd name="connsiteY16" fmla="*/ 408146 h 408253"/>
                <a:gd name="connsiteX17" fmla="*/ 289414 w 578185"/>
                <a:gd name="connsiteY17" fmla="*/ 183832 h 408253"/>
                <a:gd name="connsiteX18" fmla="*/ 287189 w 578185"/>
                <a:gd name="connsiteY18" fmla="*/ 183644 h 408253"/>
                <a:gd name="connsiteX19" fmla="*/ 234663 w 578185"/>
                <a:gd name="connsiteY19" fmla="*/ 408253 h 408253"/>
                <a:gd name="connsiteX20" fmla="*/ 124035 w 578185"/>
                <a:gd name="connsiteY20" fmla="*/ 408253 h 408253"/>
                <a:gd name="connsiteX21" fmla="*/ 101941 w 578185"/>
                <a:gd name="connsiteY21" fmla="*/ 325536 h 408253"/>
                <a:gd name="connsiteX22" fmla="*/ 42176 w 578185"/>
                <a:gd name="connsiteY22" fmla="*/ 100874 h 408253"/>
                <a:gd name="connsiteX23" fmla="*/ 0 w 578185"/>
                <a:gd name="connsiteY23" fmla="*/ 66072 h 408253"/>
                <a:gd name="connsiteX24" fmla="*/ 0 w 578185"/>
                <a:gd name="connsiteY24" fmla="*/ 1266 h 408253"/>
                <a:gd name="connsiteX25" fmla="*/ 183880 w 578185"/>
                <a:gd name="connsiteY25" fmla="*/ 1266 h 408253"/>
                <a:gd name="connsiteX26" fmla="*/ 183880 w 578185"/>
                <a:gd name="connsiteY26" fmla="*/ 64650 h 408253"/>
                <a:gd name="connsiteX27" fmla="*/ 157658 w 578185"/>
                <a:gd name="connsiteY27" fmla="*/ 101920 h 408253"/>
                <a:gd name="connsiteX28" fmla="*/ 185677 w 578185"/>
                <a:gd name="connsiteY28" fmla="*/ 247485 h 408253"/>
                <a:gd name="connsiteX29" fmla="*/ 188599 w 578185"/>
                <a:gd name="connsiteY29" fmla="*/ 247351 h 408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78185" h="408253">
                  <a:moveTo>
                    <a:pt x="188626" y="247351"/>
                  </a:moveTo>
                  <a:cubicBezTo>
                    <a:pt x="195436" y="217133"/>
                    <a:pt x="202300" y="186889"/>
                    <a:pt x="209084" y="156671"/>
                  </a:cubicBezTo>
                  <a:cubicBezTo>
                    <a:pt x="219997" y="108033"/>
                    <a:pt x="230883" y="59422"/>
                    <a:pt x="241634" y="10757"/>
                  </a:cubicBezTo>
                  <a:cubicBezTo>
                    <a:pt x="243297" y="3250"/>
                    <a:pt x="246461" y="-155"/>
                    <a:pt x="255014" y="5"/>
                  </a:cubicBezTo>
                  <a:cubicBezTo>
                    <a:pt x="284481" y="595"/>
                    <a:pt x="314001" y="461"/>
                    <a:pt x="343468" y="86"/>
                  </a:cubicBezTo>
                  <a:cubicBezTo>
                    <a:pt x="351056" y="-21"/>
                    <a:pt x="354756" y="2285"/>
                    <a:pt x="356258" y="9926"/>
                  </a:cubicBezTo>
                  <a:cubicBezTo>
                    <a:pt x="371353" y="85886"/>
                    <a:pt x="386690" y="161792"/>
                    <a:pt x="402000" y="237699"/>
                  </a:cubicBezTo>
                  <a:cubicBezTo>
                    <a:pt x="402670" y="241050"/>
                    <a:pt x="403770" y="244321"/>
                    <a:pt x="406853" y="247646"/>
                  </a:cubicBezTo>
                  <a:cubicBezTo>
                    <a:pt x="419240" y="194611"/>
                    <a:pt x="431896" y="141602"/>
                    <a:pt x="443881" y="88487"/>
                  </a:cubicBezTo>
                  <a:cubicBezTo>
                    <a:pt x="447367" y="73043"/>
                    <a:pt x="441843" y="68377"/>
                    <a:pt x="418275" y="64463"/>
                  </a:cubicBezTo>
                  <a:lnTo>
                    <a:pt x="418275" y="1132"/>
                  </a:lnTo>
                  <a:lnTo>
                    <a:pt x="578185" y="1132"/>
                  </a:lnTo>
                  <a:lnTo>
                    <a:pt x="578185" y="65482"/>
                  </a:lnTo>
                  <a:cubicBezTo>
                    <a:pt x="549657" y="64302"/>
                    <a:pt x="542122" y="84626"/>
                    <a:pt x="535580" y="107309"/>
                  </a:cubicBezTo>
                  <a:cubicBezTo>
                    <a:pt x="507534" y="204397"/>
                    <a:pt x="478871" y="301325"/>
                    <a:pt x="450423" y="398306"/>
                  </a:cubicBezTo>
                  <a:cubicBezTo>
                    <a:pt x="449431" y="401657"/>
                    <a:pt x="448171" y="404955"/>
                    <a:pt x="447072" y="408146"/>
                  </a:cubicBezTo>
                  <a:lnTo>
                    <a:pt x="338964" y="408146"/>
                  </a:lnTo>
                  <a:cubicBezTo>
                    <a:pt x="322367" y="333044"/>
                    <a:pt x="305904" y="258425"/>
                    <a:pt x="289414" y="183832"/>
                  </a:cubicBezTo>
                  <a:lnTo>
                    <a:pt x="287189" y="183644"/>
                  </a:lnTo>
                  <a:cubicBezTo>
                    <a:pt x="269707" y="258398"/>
                    <a:pt x="252225" y="333151"/>
                    <a:pt x="234663" y="408253"/>
                  </a:cubicBezTo>
                  <a:lnTo>
                    <a:pt x="124035" y="408253"/>
                  </a:lnTo>
                  <a:cubicBezTo>
                    <a:pt x="116742" y="381012"/>
                    <a:pt x="109315" y="353287"/>
                    <a:pt x="101941" y="325536"/>
                  </a:cubicBezTo>
                  <a:cubicBezTo>
                    <a:pt x="82019" y="250649"/>
                    <a:pt x="62151" y="175735"/>
                    <a:pt x="42176" y="100874"/>
                  </a:cubicBezTo>
                  <a:cubicBezTo>
                    <a:pt x="36519" y="79665"/>
                    <a:pt x="28207" y="61192"/>
                    <a:pt x="0" y="66072"/>
                  </a:cubicBezTo>
                  <a:lnTo>
                    <a:pt x="0" y="1266"/>
                  </a:lnTo>
                  <a:lnTo>
                    <a:pt x="183880" y="1266"/>
                  </a:lnTo>
                  <a:lnTo>
                    <a:pt x="183880" y="64650"/>
                  </a:lnTo>
                  <a:cubicBezTo>
                    <a:pt x="152107" y="68726"/>
                    <a:pt x="151437" y="69691"/>
                    <a:pt x="157658" y="101920"/>
                  </a:cubicBezTo>
                  <a:cubicBezTo>
                    <a:pt x="167015" y="150451"/>
                    <a:pt x="176346" y="198954"/>
                    <a:pt x="185677" y="247485"/>
                  </a:cubicBezTo>
                  <a:lnTo>
                    <a:pt x="188599" y="247351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" name="Freeform: Shape 6">
              <a:extLst>
                <a:ext uri="{FF2B5EF4-FFF2-40B4-BE49-F238E27FC236}">
                  <a16:creationId xmlns:a16="http://schemas.microsoft.com/office/drawing/2014/main" id="{C3C1F9AB-E8E0-AA2B-CD9B-2F945C07C28A}"/>
                </a:ext>
              </a:extLst>
            </p:cNvPr>
            <p:cNvSpPr/>
            <p:nvPr/>
          </p:nvSpPr>
          <p:spPr>
            <a:xfrm>
              <a:off x="8766811" y="259809"/>
              <a:ext cx="277264" cy="283641"/>
            </a:xfrm>
            <a:custGeom>
              <a:avLst/>
              <a:gdLst>
                <a:gd name="connsiteX0" fmla="*/ 0 w 404171"/>
                <a:gd name="connsiteY0" fmla="*/ 407794 h 413465"/>
                <a:gd name="connsiteX1" fmla="*/ 0 w 404171"/>
                <a:gd name="connsiteY1" fmla="*/ 342854 h 413465"/>
                <a:gd name="connsiteX2" fmla="*/ 21879 w 404171"/>
                <a:gd name="connsiteY2" fmla="*/ 341835 h 413465"/>
                <a:gd name="connsiteX3" fmla="*/ 38422 w 404171"/>
                <a:gd name="connsiteY3" fmla="*/ 324970 h 413465"/>
                <a:gd name="connsiteX4" fmla="*/ 38664 w 404171"/>
                <a:gd name="connsiteY4" fmla="*/ 280729 h 413465"/>
                <a:gd name="connsiteX5" fmla="*/ 38664 w 404171"/>
                <a:gd name="connsiteY5" fmla="*/ 99691 h 413465"/>
                <a:gd name="connsiteX6" fmla="*/ 6274 w 404171"/>
                <a:gd name="connsiteY6" fmla="*/ 65773 h 413465"/>
                <a:gd name="connsiteX7" fmla="*/ 134 w 404171"/>
                <a:gd name="connsiteY7" fmla="*/ 65076 h 413465"/>
                <a:gd name="connsiteX8" fmla="*/ 134 w 404171"/>
                <a:gd name="connsiteY8" fmla="*/ 860 h 413465"/>
                <a:gd name="connsiteX9" fmla="*/ 12843 w 404171"/>
                <a:gd name="connsiteY9" fmla="*/ 190 h 413465"/>
                <a:gd name="connsiteX10" fmla="*/ 156263 w 404171"/>
                <a:gd name="connsiteY10" fmla="*/ 2 h 413465"/>
                <a:gd name="connsiteX11" fmla="*/ 173852 w 404171"/>
                <a:gd name="connsiteY11" fmla="*/ 11961 h 413465"/>
                <a:gd name="connsiteX12" fmla="*/ 265605 w 404171"/>
                <a:gd name="connsiteY12" fmla="*/ 219811 h 413465"/>
                <a:gd name="connsiteX13" fmla="*/ 273675 w 404171"/>
                <a:gd name="connsiteY13" fmla="*/ 231260 h 413465"/>
                <a:gd name="connsiteX14" fmla="*/ 273675 w 404171"/>
                <a:gd name="connsiteY14" fmla="*/ 204153 h 413465"/>
                <a:gd name="connsiteX15" fmla="*/ 273675 w 404171"/>
                <a:gd name="connsiteY15" fmla="*/ 103579 h 413465"/>
                <a:gd name="connsiteX16" fmla="*/ 237103 w 404171"/>
                <a:gd name="connsiteY16" fmla="*/ 65130 h 413465"/>
                <a:gd name="connsiteX17" fmla="*/ 237103 w 404171"/>
                <a:gd name="connsiteY17" fmla="*/ 941 h 413465"/>
                <a:gd name="connsiteX18" fmla="*/ 404172 w 404171"/>
                <a:gd name="connsiteY18" fmla="*/ 941 h 413465"/>
                <a:gd name="connsiteX19" fmla="*/ 404172 w 404171"/>
                <a:gd name="connsiteY19" fmla="*/ 64245 h 413465"/>
                <a:gd name="connsiteX20" fmla="*/ 401759 w 404171"/>
                <a:gd name="connsiteY20" fmla="*/ 65398 h 413465"/>
                <a:gd name="connsiteX21" fmla="*/ 365374 w 404171"/>
                <a:gd name="connsiteY21" fmla="*/ 103445 h 413465"/>
                <a:gd name="connsiteX22" fmla="*/ 365508 w 404171"/>
                <a:gd name="connsiteY22" fmla="*/ 394441 h 413465"/>
                <a:gd name="connsiteX23" fmla="*/ 365508 w 404171"/>
                <a:gd name="connsiteY23" fmla="*/ 412004 h 413465"/>
                <a:gd name="connsiteX24" fmla="*/ 299201 w 404171"/>
                <a:gd name="connsiteY24" fmla="*/ 411977 h 413465"/>
                <a:gd name="connsiteX25" fmla="*/ 254665 w 404171"/>
                <a:gd name="connsiteY25" fmla="*/ 409698 h 413465"/>
                <a:gd name="connsiteX26" fmla="*/ 233752 w 404171"/>
                <a:gd name="connsiteY26" fmla="*/ 370498 h 413465"/>
                <a:gd name="connsiteX27" fmla="*/ 139613 w 404171"/>
                <a:gd name="connsiteY27" fmla="*/ 170986 h 413465"/>
                <a:gd name="connsiteX28" fmla="*/ 131569 w 404171"/>
                <a:gd name="connsiteY28" fmla="*/ 160019 h 413465"/>
                <a:gd name="connsiteX29" fmla="*/ 131569 w 404171"/>
                <a:gd name="connsiteY29" fmla="*/ 206191 h 413465"/>
                <a:gd name="connsiteX30" fmla="*/ 131489 w 404171"/>
                <a:gd name="connsiteY30" fmla="*/ 314808 h 413465"/>
                <a:gd name="connsiteX31" fmla="*/ 158355 w 404171"/>
                <a:gd name="connsiteY31" fmla="*/ 342211 h 413465"/>
                <a:gd name="connsiteX32" fmla="*/ 169830 w 404171"/>
                <a:gd name="connsiteY32" fmla="*/ 342211 h 413465"/>
                <a:gd name="connsiteX33" fmla="*/ 169830 w 404171"/>
                <a:gd name="connsiteY33" fmla="*/ 407740 h 413465"/>
                <a:gd name="connsiteX34" fmla="*/ 0 w 404171"/>
                <a:gd name="connsiteY34" fmla="*/ 407740 h 41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404171" h="413465">
                  <a:moveTo>
                    <a:pt x="0" y="407794"/>
                  </a:moveTo>
                  <a:lnTo>
                    <a:pt x="0" y="342854"/>
                  </a:lnTo>
                  <a:cubicBezTo>
                    <a:pt x="7776" y="342506"/>
                    <a:pt x="14827" y="342184"/>
                    <a:pt x="21879" y="341835"/>
                  </a:cubicBezTo>
                  <a:cubicBezTo>
                    <a:pt x="32550" y="341299"/>
                    <a:pt x="38342" y="335910"/>
                    <a:pt x="38422" y="324970"/>
                  </a:cubicBezTo>
                  <a:cubicBezTo>
                    <a:pt x="38530" y="310223"/>
                    <a:pt x="38664" y="295476"/>
                    <a:pt x="38664" y="280729"/>
                  </a:cubicBezTo>
                  <a:cubicBezTo>
                    <a:pt x="38664" y="220374"/>
                    <a:pt x="38664" y="160046"/>
                    <a:pt x="38664" y="99691"/>
                  </a:cubicBezTo>
                  <a:cubicBezTo>
                    <a:pt x="38664" y="69581"/>
                    <a:pt x="36197" y="67034"/>
                    <a:pt x="6274" y="65773"/>
                  </a:cubicBezTo>
                  <a:cubicBezTo>
                    <a:pt x="4531" y="65693"/>
                    <a:pt x="2789" y="65371"/>
                    <a:pt x="134" y="65076"/>
                  </a:cubicBezTo>
                  <a:lnTo>
                    <a:pt x="134" y="860"/>
                  </a:lnTo>
                  <a:cubicBezTo>
                    <a:pt x="4317" y="619"/>
                    <a:pt x="8580" y="190"/>
                    <a:pt x="12843" y="190"/>
                  </a:cubicBezTo>
                  <a:cubicBezTo>
                    <a:pt x="60650" y="190"/>
                    <a:pt x="108457" y="565"/>
                    <a:pt x="156263" y="2"/>
                  </a:cubicBezTo>
                  <a:cubicBezTo>
                    <a:pt x="166077" y="-105"/>
                    <a:pt x="170233" y="3649"/>
                    <a:pt x="173852" y="11961"/>
                  </a:cubicBezTo>
                  <a:cubicBezTo>
                    <a:pt x="204231" y="81351"/>
                    <a:pt x="234958" y="150555"/>
                    <a:pt x="265605" y="219811"/>
                  </a:cubicBezTo>
                  <a:cubicBezTo>
                    <a:pt x="267348" y="223753"/>
                    <a:pt x="269251" y="227641"/>
                    <a:pt x="273675" y="231260"/>
                  </a:cubicBezTo>
                  <a:cubicBezTo>
                    <a:pt x="273675" y="222224"/>
                    <a:pt x="273675" y="213189"/>
                    <a:pt x="273675" y="204153"/>
                  </a:cubicBezTo>
                  <a:cubicBezTo>
                    <a:pt x="273675" y="170637"/>
                    <a:pt x="273675" y="137095"/>
                    <a:pt x="273675" y="103579"/>
                  </a:cubicBezTo>
                  <a:cubicBezTo>
                    <a:pt x="273675" y="69152"/>
                    <a:pt x="272388" y="67784"/>
                    <a:pt x="237103" y="65130"/>
                  </a:cubicBezTo>
                  <a:lnTo>
                    <a:pt x="237103" y="941"/>
                  </a:lnTo>
                  <a:lnTo>
                    <a:pt x="404172" y="941"/>
                  </a:lnTo>
                  <a:lnTo>
                    <a:pt x="404172" y="64245"/>
                  </a:lnTo>
                  <a:cubicBezTo>
                    <a:pt x="403260" y="64701"/>
                    <a:pt x="402536" y="65344"/>
                    <a:pt x="401759" y="65398"/>
                  </a:cubicBezTo>
                  <a:cubicBezTo>
                    <a:pt x="365991" y="67168"/>
                    <a:pt x="365347" y="67838"/>
                    <a:pt x="365374" y="103445"/>
                  </a:cubicBezTo>
                  <a:cubicBezTo>
                    <a:pt x="365428" y="200453"/>
                    <a:pt x="365481" y="297434"/>
                    <a:pt x="365508" y="394441"/>
                  </a:cubicBezTo>
                  <a:cubicBezTo>
                    <a:pt x="365508" y="399723"/>
                    <a:pt x="365508" y="404979"/>
                    <a:pt x="365508" y="412004"/>
                  </a:cubicBezTo>
                  <a:cubicBezTo>
                    <a:pt x="342637" y="412004"/>
                    <a:pt x="320919" y="412111"/>
                    <a:pt x="299201" y="411977"/>
                  </a:cubicBezTo>
                  <a:cubicBezTo>
                    <a:pt x="284052" y="411870"/>
                    <a:pt x="265632" y="416615"/>
                    <a:pt x="254665" y="409698"/>
                  </a:cubicBezTo>
                  <a:cubicBezTo>
                    <a:pt x="243779" y="402834"/>
                    <a:pt x="240187" y="384145"/>
                    <a:pt x="233752" y="370498"/>
                  </a:cubicBezTo>
                  <a:cubicBezTo>
                    <a:pt x="202327" y="304030"/>
                    <a:pt x="171010" y="237481"/>
                    <a:pt x="139613" y="170986"/>
                  </a:cubicBezTo>
                  <a:cubicBezTo>
                    <a:pt x="137790" y="167125"/>
                    <a:pt x="135725" y="163398"/>
                    <a:pt x="131569" y="160019"/>
                  </a:cubicBezTo>
                  <a:cubicBezTo>
                    <a:pt x="131569" y="175410"/>
                    <a:pt x="131569" y="190800"/>
                    <a:pt x="131569" y="206191"/>
                  </a:cubicBezTo>
                  <a:cubicBezTo>
                    <a:pt x="131542" y="242388"/>
                    <a:pt x="131462" y="278611"/>
                    <a:pt x="131489" y="314808"/>
                  </a:cubicBezTo>
                  <a:cubicBezTo>
                    <a:pt x="131489" y="338618"/>
                    <a:pt x="134706" y="341835"/>
                    <a:pt x="158355" y="342211"/>
                  </a:cubicBezTo>
                  <a:cubicBezTo>
                    <a:pt x="161894" y="342264"/>
                    <a:pt x="165406" y="342211"/>
                    <a:pt x="169830" y="342211"/>
                  </a:cubicBezTo>
                  <a:lnTo>
                    <a:pt x="169830" y="407740"/>
                  </a:lnTo>
                  <a:lnTo>
                    <a:pt x="0" y="40774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Freeform: Shape 7">
              <a:extLst>
                <a:ext uri="{FF2B5EF4-FFF2-40B4-BE49-F238E27FC236}">
                  <a16:creationId xmlns:a16="http://schemas.microsoft.com/office/drawing/2014/main" id="{349086F7-7CFB-1109-9058-D0A691D081F7}"/>
                </a:ext>
              </a:extLst>
            </p:cNvPr>
            <p:cNvSpPr/>
            <p:nvPr/>
          </p:nvSpPr>
          <p:spPr>
            <a:xfrm>
              <a:off x="9085608" y="260399"/>
              <a:ext cx="223758" cy="279344"/>
            </a:xfrm>
            <a:custGeom>
              <a:avLst/>
              <a:gdLst>
                <a:gd name="connsiteX0" fmla="*/ 27 w 326174"/>
                <a:gd name="connsiteY0" fmla="*/ 0 h 407201"/>
                <a:gd name="connsiteX1" fmla="*/ 319981 w 326174"/>
                <a:gd name="connsiteY1" fmla="*/ 0 h 407201"/>
                <a:gd name="connsiteX2" fmla="*/ 319981 w 326174"/>
                <a:gd name="connsiteY2" fmla="*/ 119879 h 407201"/>
                <a:gd name="connsiteX3" fmla="*/ 235628 w 326174"/>
                <a:gd name="connsiteY3" fmla="*/ 119879 h 407201"/>
                <a:gd name="connsiteX4" fmla="*/ 235682 w 326174"/>
                <a:gd name="connsiteY4" fmla="*/ 98429 h 407201"/>
                <a:gd name="connsiteX5" fmla="*/ 218656 w 326174"/>
                <a:gd name="connsiteY5" fmla="*/ 78936 h 407201"/>
                <a:gd name="connsiteX6" fmla="*/ 152670 w 326174"/>
                <a:gd name="connsiteY6" fmla="*/ 78722 h 407201"/>
                <a:gd name="connsiteX7" fmla="*/ 152670 w 326174"/>
                <a:gd name="connsiteY7" fmla="*/ 156210 h 407201"/>
                <a:gd name="connsiteX8" fmla="*/ 271638 w 326174"/>
                <a:gd name="connsiteY8" fmla="*/ 156210 h 407201"/>
                <a:gd name="connsiteX9" fmla="*/ 271638 w 326174"/>
                <a:gd name="connsiteY9" fmla="*/ 238980 h 407201"/>
                <a:gd name="connsiteX10" fmla="*/ 152858 w 326174"/>
                <a:gd name="connsiteY10" fmla="*/ 238980 h 407201"/>
                <a:gd name="connsiteX11" fmla="*/ 152858 w 326174"/>
                <a:gd name="connsiteY11" fmla="*/ 327542 h 407201"/>
                <a:gd name="connsiteX12" fmla="*/ 227933 w 326174"/>
                <a:gd name="connsiteY12" fmla="*/ 327354 h 407201"/>
                <a:gd name="connsiteX13" fmla="*/ 243163 w 326174"/>
                <a:gd name="connsiteY13" fmla="*/ 308800 h 407201"/>
                <a:gd name="connsiteX14" fmla="*/ 243243 w 326174"/>
                <a:gd name="connsiteY14" fmla="*/ 282685 h 407201"/>
                <a:gd name="connsiteX15" fmla="*/ 326174 w 326174"/>
                <a:gd name="connsiteY15" fmla="*/ 282685 h 407201"/>
                <a:gd name="connsiteX16" fmla="*/ 326174 w 326174"/>
                <a:gd name="connsiteY16" fmla="*/ 407202 h 407201"/>
                <a:gd name="connsiteX17" fmla="*/ 0 w 326174"/>
                <a:gd name="connsiteY17" fmla="*/ 407202 h 407201"/>
                <a:gd name="connsiteX18" fmla="*/ 0 w 326174"/>
                <a:gd name="connsiteY18" fmla="*/ 341216 h 407201"/>
                <a:gd name="connsiteX19" fmla="*/ 17991 w 326174"/>
                <a:gd name="connsiteY19" fmla="*/ 341163 h 407201"/>
                <a:gd name="connsiteX20" fmla="*/ 37001 w 326174"/>
                <a:gd name="connsiteY20" fmla="*/ 321831 h 407201"/>
                <a:gd name="connsiteX21" fmla="*/ 37109 w 326174"/>
                <a:gd name="connsiteY21" fmla="*/ 198493 h 407201"/>
                <a:gd name="connsiteX22" fmla="*/ 37109 w 326174"/>
                <a:gd name="connsiteY22" fmla="*/ 92584 h 407201"/>
                <a:gd name="connsiteX23" fmla="*/ 10216 w 326174"/>
                <a:gd name="connsiteY23" fmla="*/ 64860 h 407201"/>
                <a:gd name="connsiteX24" fmla="*/ 27 w 326174"/>
                <a:gd name="connsiteY24" fmla="*/ 64404 h 407201"/>
                <a:gd name="connsiteX25" fmla="*/ 27 w 326174"/>
                <a:gd name="connsiteY25" fmla="*/ 0 h 407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26174" h="407201">
                  <a:moveTo>
                    <a:pt x="27" y="0"/>
                  </a:moveTo>
                  <a:lnTo>
                    <a:pt x="319981" y="0"/>
                  </a:lnTo>
                  <a:lnTo>
                    <a:pt x="319981" y="119879"/>
                  </a:lnTo>
                  <a:lnTo>
                    <a:pt x="235628" y="119879"/>
                  </a:lnTo>
                  <a:cubicBezTo>
                    <a:pt x="235628" y="112479"/>
                    <a:pt x="235333" y="105427"/>
                    <a:pt x="235682" y="98429"/>
                  </a:cubicBezTo>
                  <a:cubicBezTo>
                    <a:pt x="236272" y="86283"/>
                    <a:pt x="230185" y="79311"/>
                    <a:pt x="218656" y="78936"/>
                  </a:cubicBezTo>
                  <a:cubicBezTo>
                    <a:pt x="196911" y="78239"/>
                    <a:pt x="175139" y="78722"/>
                    <a:pt x="152670" y="78722"/>
                  </a:cubicBezTo>
                  <a:lnTo>
                    <a:pt x="152670" y="156210"/>
                  </a:lnTo>
                  <a:lnTo>
                    <a:pt x="271638" y="156210"/>
                  </a:lnTo>
                  <a:lnTo>
                    <a:pt x="271638" y="238980"/>
                  </a:lnTo>
                  <a:lnTo>
                    <a:pt x="152858" y="238980"/>
                  </a:lnTo>
                  <a:lnTo>
                    <a:pt x="152858" y="327542"/>
                  </a:lnTo>
                  <a:cubicBezTo>
                    <a:pt x="178196" y="327542"/>
                    <a:pt x="203078" y="327944"/>
                    <a:pt x="227933" y="327354"/>
                  </a:cubicBezTo>
                  <a:cubicBezTo>
                    <a:pt x="239007" y="327086"/>
                    <a:pt x="242680" y="318560"/>
                    <a:pt x="243163" y="308800"/>
                  </a:cubicBezTo>
                  <a:cubicBezTo>
                    <a:pt x="243565" y="300408"/>
                    <a:pt x="243243" y="291962"/>
                    <a:pt x="243243" y="282685"/>
                  </a:cubicBezTo>
                  <a:lnTo>
                    <a:pt x="326174" y="282685"/>
                  </a:lnTo>
                  <a:lnTo>
                    <a:pt x="326174" y="407202"/>
                  </a:lnTo>
                  <a:lnTo>
                    <a:pt x="0" y="407202"/>
                  </a:lnTo>
                  <a:lnTo>
                    <a:pt x="0" y="341216"/>
                  </a:lnTo>
                  <a:cubicBezTo>
                    <a:pt x="5872" y="341216"/>
                    <a:pt x="11932" y="341431"/>
                    <a:pt x="17991" y="341163"/>
                  </a:cubicBezTo>
                  <a:cubicBezTo>
                    <a:pt x="33301" y="340519"/>
                    <a:pt x="36948" y="337007"/>
                    <a:pt x="37001" y="321831"/>
                  </a:cubicBezTo>
                  <a:cubicBezTo>
                    <a:pt x="37162" y="280727"/>
                    <a:pt x="37082" y="239624"/>
                    <a:pt x="37109" y="198493"/>
                  </a:cubicBezTo>
                  <a:cubicBezTo>
                    <a:pt x="37109" y="163181"/>
                    <a:pt x="37109" y="127896"/>
                    <a:pt x="37109" y="92584"/>
                  </a:cubicBezTo>
                  <a:cubicBezTo>
                    <a:pt x="37109" y="69015"/>
                    <a:pt x="33650" y="65503"/>
                    <a:pt x="10216" y="64860"/>
                  </a:cubicBezTo>
                  <a:cubicBezTo>
                    <a:pt x="7132" y="64779"/>
                    <a:pt x="4049" y="64591"/>
                    <a:pt x="27" y="64404"/>
                  </a:cubicBezTo>
                  <a:lnTo>
                    <a:pt x="27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: Shape 8">
              <a:extLst>
                <a:ext uri="{FF2B5EF4-FFF2-40B4-BE49-F238E27FC236}">
                  <a16:creationId xmlns:a16="http://schemas.microsoft.com/office/drawing/2014/main" id="{31C32C18-FC6B-6961-EA43-6F71D068C2C1}"/>
                </a:ext>
              </a:extLst>
            </p:cNvPr>
            <p:cNvSpPr/>
            <p:nvPr/>
          </p:nvSpPr>
          <p:spPr>
            <a:xfrm>
              <a:off x="9761971" y="250670"/>
              <a:ext cx="204990" cy="298460"/>
            </a:xfrm>
            <a:custGeom>
              <a:avLst/>
              <a:gdLst>
                <a:gd name="connsiteX0" fmla="*/ 248 w 298816"/>
                <a:gd name="connsiteY0" fmla="*/ 286088 h 435066"/>
                <a:gd name="connsiteX1" fmla="*/ 91304 w 298816"/>
                <a:gd name="connsiteY1" fmla="*/ 286088 h 435066"/>
                <a:gd name="connsiteX2" fmla="*/ 91357 w 298816"/>
                <a:gd name="connsiteY2" fmla="*/ 318049 h 435066"/>
                <a:gd name="connsiteX3" fmla="*/ 163242 w 298816"/>
                <a:gd name="connsiteY3" fmla="*/ 359742 h 435066"/>
                <a:gd name="connsiteX4" fmla="*/ 170159 w 298816"/>
                <a:gd name="connsiteY4" fmla="*/ 288662 h 435066"/>
                <a:gd name="connsiteX5" fmla="*/ 124551 w 298816"/>
                <a:gd name="connsiteY5" fmla="*/ 258418 h 435066"/>
                <a:gd name="connsiteX6" fmla="*/ 55455 w 298816"/>
                <a:gd name="connsiteY6" fmla="*/ 215089 h 435066"/>
                <a:gd name="connsiteX7" fmla="*/ 543 w 298816"/>
                <a:gd name="connsiteY7" fmla="*/ 124221 h 435066"/>
                <a:gd name="connsiteX8" fmla="*/ 99240 w 298816"/>
                <a:gd name="connsiteY8" fmla="*/ 4074 h 435066"/>
                <a:gd name="connsiteX9" fmla="*/ 267891 w 298816"/>
                <a:gd name="connsiteY9" fmla="*/ 20430 h 435066"/>
                <a:gd name="connsiteX10" fmla="*/ 278509 w 298816"/>
                <a:gd name="connsiteY10" fmla="*/ 31021 h 435066"/>
                <a:gd name="connsiteX11" fmla="*/ 278991 w 298816"/>
                <a:gd name="connsiteY11" fmla="*/ 136501 h 435066"/>
                <a:gd name="connsiteX12" fmla="*/ 191153 w 298816"/>
                <a:gd name="connsiteY12" fmla="*/ 136501 h 435066"/>
                <a:gd name="connsiteX13" fmla="*/ 191019 w 298816"/>
                <a:gd name="connsiteY13" fmla="*/ 100706 h 435066"/>
                <a:gd name="connsiteX14" fmla="*/ 161928 w 298816"/>
                <a:gd name="connsiteY14" fmla="*/ 65796 h 435066"/>
                <a:gd name="connsiteX15" fmla="*/ 113933 w 298816"/>
                <a:gd name="connsiteY15" fmla="*/ 83493 h 435066"/>
                <a:gd name="connsiteX16" fmla="*/ 122165 w 298816"/>
                <a:gd name="connsiteY16" fmla="*/ 131648 h 435066"/>
                <a:gd name="connsiteX17" fmla="*/ 172438 w 298816"/>
                <a:gd name="connsiteY17" fmla="*/ 164386 h 435066"/>
                <a:gd name="connsiteX18" fmla="*/ 246360 w 298816"/>
                <a:gd name="connsiteY18" fmla="*/ 207447 h 435066"/>
                <a:gd name="connsiteX19" fmla="*/ 294945 w 298816"/>
                <a:gd name="connsiteY19" fmla="*/ 337836 h 435066"/>
                <a:gd name="connsiteX20" fmla="*/ 194746 w 298816"/>
                <a:gd name="connsiteY20" fmla="*/ 430259 h 435066"/>
                <a:gd name="connsiteX21" fmla="*/ 12448 w 298816"/>
                <a:gd name="connsiteY21" fmla="*/ 415432 h 435066"/>
                <a:gd name="connsiteX22" fmla="*/ 7 w 298816"/>
                <a:gd name="connsiteY22" fmla="*/ 398915 h 435066"/>
                <a:gd name="connsiteX23" fmla="*/ 275 w 298816"/>
                <a:gd name="connsiteY23" fmla="*/ 286088 h 4350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98816" h="435066">
                  <a:moveTo>
                    <a:pt x="248" y="286088"/>
                  </a:moveTo>
                  <a:lnTo>
                    <a:pt x="91304" y="286088"/>
                  </a:lnTo>
                  <a:cubicBezTo>
                    <a:pt x="91304" y="296921"/>
                    <a:pt x="90982" y="307485"/>
                    <a:pt x="91357" y="318049"/>
                  </a:cubicBezTo>
                  <a:cubicBezTo>
                    <a:pt x="92725" y="356283"/>
                    <a:pt x="129351" y="377439"/>
                    <a:pt x="163242" y="359742"/>
                  </a:cubicBezTo>
                  <a:cubicBezTo>
                    <a:pt x="188070" y="346765"/>
                    <a:pt x="192682" y="307994"/>
                    <a:pt x="170159" y="288662"/>
                  </a:cubicBezTo>
                  <a:cubicBezTo>
                    <a:pt x="156431" y="276865"/>
                    <a:pt x="139995" y="268151"/>
                    <a:pt x="124551" y="258418"/>
                  </a:cubicBezTo>
                  <a:cubicBezTo>
                    <a:pt x="101546" y="243912"/>
                    <a:pt x="77388" y="231015"/>
                    <a:pt x="55455" y="215089"/>
                  </a:cubicBezTo>
                  <a:cubicBezTo>
                    <a:pt x="24808" y="192834"/>
                    <a:pt x="2903" y="163823"/>
                    <a:pt x="543" y="124221"/>
                  </a:cubicBezTo>
                  <a:cubicBezTo>
                    <a:pt x="-3103" y="63142"/>
                    <a:pt x="37437" y="13405"/>
                    <a:pt x="99240" y="4074"/>
                  </a:cubicBezTo>
                  <a:cubicBezTo>
                    <a:pt x="156646" y="-4613"/>
                    <a:pt x="213140" y="481"/>
                    <a:pt x="267891" y="20430"/>
                  </a:cubicBezTo>
                  <a:cubicBezTo>
                    <a:pt x="272288" y="22038"/>
                    <a:pt x="278428" y="27321"/>
                    <a:pt x="278509" y="31021"/>
                  </a:cubicBezTo>
                  <a:cubicBezTo>
                    <a:pt x="279313" y="65823"/>
                    <a:pt x="278991" y="100653"/>
                    <a:pt x="278991" y="136501"/>
                  </a:cubicBezTo>
                  <a:lnTo>
                    <a:pt x="191153" y="136501"/>
                  </a:lnTo>
                  <a:cubicBezTo>
                    <a:pt x="191153" y="124543"/>
                    <a:pt x="191797" y="112584"/>
                    <a:pt x="191019" y="100706"/>
                  </a:cubicBezTo>
                  <a:cubicBezTo>
                    <a:pt x="189679" y="80677"/>
                    <a:pt x="179678" y="69202"/>
                    <a:pt x="161928" y="65796"/>
                  </a:cubicBezTo>
                  <a:cubicBezTo>
                    <a:pt x="140317" y="61641"/>
                    <a:pt x="122138" y="68370"/>
                    <a:pt x="113933" y="83493"/>
                  </a:cubicBezTo>
                  <a:cubicBezTo>
                    <a:pt x="104281" y="101323"/>
                    <a:pt x="105809" y="118349"/>
                    <a:pt x="122165" y="131648"/>
                  </a:cubicBezTo>
                  <a:cubicBezTo>
                    <a:pt x="137582" y="144196"/>
                    <a:pt x="155251" y="154117"/>
                    <a:pt x="172438" y="164386"/>
                  </a:cubicBezTo>
                  <a:cubicBezTo>
                    <a:pt x="196918" y="179026"/>
                    <a:pt x="222765" y="191547"/>
                    <a:pt x="246360" y="207447"/>
                  </a:cubicBezTo>
                  <a:cubicBezTo>
                    <a:pt x="290601" y="237236"/>
                    <a:pt x="307091" y="283863"/>
                    <a:pt x="294945" y="337836"/>
                  </a:cubicBezTo>
                  <a:cubicBezTo>
                    <a:pt x="284300" y="385161"/>
                    <a:pt x="244081" y="422081"/>
                    <a:pt x="194746" y="430259"/>
                  </a:cubicBezTo>
                  <a:cubicBezTo>
                    <a:pt x="132702" y="440555"/>
                    <a:pt x="72186" y="433718"/>
                    <a:pt x="12448" y="415432"/>
                  </a:cubicBezTo>
                  <a:cubicBezTo>
                    <a:pt x="3439" y="412670"/>
                    <a:pt x="-181" y="408970"/>
                    <a:pt x="7" y="398915"/>
                  </a:cubicBezTo>
                  <a:cubicBezTo>
                    <a:pt x="704" y="361834"/>
                    <a:pt x="275" y="324752"/>
                    <a:pt x="275" y="286088"/>
                  </a:cubicBezTo>
                  <a:close/>
                </a:path>
              </a:pathLst>
            </a:custGeom>
            <a:grpFill/>
            <a:ln w="254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14" name="Grafik 12" descr="Ein Bild, das Text enthält.&#10;&#10;Automatisch generierte Beschreibung">
            <a:extLst>
              <a:ext uri="{FF2B5EF4-FFF2-40B4-BE49-F238E27FC236}">
                <a16:creationId xmlns:a16="http://schemas.microsoft.com/office/drawing/2014/main" id="{0D1172F3-BEC5-765D-CB41-0E0303002764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68579" y="144738"/>
            <a:ext cx="1665847" cy="481707"/>
          </a:xfrm>
          <a:prstGeom prst="rect">
            <a:avLst/>
          </a:prstGeom>
        </p:spPr>
      </p:pic>
      <p:pic>
        <p:nvPicPr>
          <p:cNvPr id="5" name="Image 20">
            <a:extLst>
              <a:ext uri="{FF2B5EF4-FFF2-40B4-BE49-F238E27FC236}">
                <a16:creationId xmlns:a16="http://schemas.microsoft.com/office/drawing/2014/main" id="{E9CE64A5-0B8E-19A4-C765-33F3B7C679B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29658" y="2883020"/>
            <a:ext cx="608087" cy="605360"/>
          </a:xfrm>
          <a:prstGeom prst="rect">
            <a:avLst/>
          </a:prstGeom>
        </p:spPr>
      </p:pic>
      <p:pic>
        <p:nvPicPr>
          <p:cNvPr id="8" name="Grafik 12" descr="Ein Bild, das Text enthält.&#10;&#10;Automatisch generierte Beschreibung">
            <a:extLst>
              <a:ext uri="{FF2B5EF4-FFF2-40B4-BE49-F238E27FC236}">
                <a16:creationId xmlns:a16="http://schemas.microsoft.com/office/drawing/2014/main" id="{F0FB239F-5E2E-CE70-4F59-3D3A4FDF1790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52539" y="3067668"/>
            <a:ext cx="751595" cy="217336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F1A62797-ADCD-1CCC-2E8E-0A97D845D778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79421" y="1087293"/>
            <a:ext cx="3984583" cy="3500983"/>
          </a:xfrm>
          <a:prstGeom prst="rect">
            <a:avLst/>
          </a:prstGeom>
        </p:spPr>
      </p:pic>
      <p:pic>
        <p:nvPicPr>
          <p:cNvPr id="17" name="Imagen 16">
            <a:extLst>
              <a:ext uri="{FF2B5EF4-FFF2-40B4-BE49-F238E27FC236}">
                <a16:creationId xmlns:a16="http://schemas.microsoft.com/office/drawing/2014/main" id="{D211DB0B-96FD-CCD3-AB9E-996AC427EE31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64004" y="598281"/>
            <a:ext cx="1328990" cy="1136518"/>
          </a:xfrm>
          <a:prstGeom prst="rect">
            <a:avLst/>
          </a:prstGeom>
        </p:spPr>
      </p:pic>
      <p:pic>
        <p:nvPicPr>
          <p:cNvPr id="15" name="Imagen 14" descr="Una señal de alto&#10;&#10;Descripción generada automáticamente con confianza media">
            <a:extLst>
              <a:ext uri="{FF2B5EF4-FFF2-40B4-BE49-F238E27FC236}">
                <a16:creationId xmlns:a16="http://schemas.microsoft.com/office/drawing/2014/main" id="{C28DD54B-CD15-8DA0-8300-BAA221A04EEF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20155" y="-105508"/>
            <a:ext cx="2223133" cy="1250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785823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82AEC64-4138-4C3F-A4EF-AD83CCCE12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55" progId="TCLayout.ActiveDocument.1">
                  <p:embed/>
                </p:oleObj>
              </mc:Choice>
              <mc:Fallback>
                <p:oleObj name="think-cell Slide" r:id="rId3" imgW="359" imgH="35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82AEC64-4138-4C3F-A4EF-AD83CCCE12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lock Arc 16"/>
          <p:cNvSpPr/>
          <p:nvPr/>
        </p:nvSpPr>
        <p:spPr>
          <a:xfrm>
            <a:off x="106112" y="305971"/>
            <a:ext cx="4991711" cy="4991711"/>
          </a:xfrm>
          <a:prstGeom prst="blockArc">
            <a:avLst>
              <a:gd name="adj1" fmla="val 18900000"/>
              <a:gd name="adj2" fmla="val 2700000"/>
              <a:gd name="adj3" fmla="val 433"/>
            </a:avLst>
          </a:prstGeom>
          <a:ln cap="rnd">
            <a:solidFill>
              <a:schemeClr val="bg1">
                <a:lumMod val="95000"/>
              </a:schemeClr>
            </a:solidFill>
          </a:ln>
        </p:spPr>
        <p:style>
          <a:lnRef idx="2">
            <a:scrgbClr r="0" g="0" b="0"/>
          </a:lnRef>
          <a:fillRef idx="0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179767" y="241629"/>
            <a:ext cx="6603387" cy="619737"/>
          </a:xfrm>
        </p:spPr>
        <p:txBody>
          <a:bodyPr/>
          <a:lstStyle/>
          <a:p>
            <a:r>
              <a:rPr lang="en-US" dirty="0" err="1"/>
              <a:t>Próximamente</a:t>
            </a:r>
            <a:r>
              <a:rPr lang="en-US" dirty="0"/>
              <a:t>…</a:t>
            </a:r>
          </a:p>
        </p:txBody>
      </p:sp>
      <p:sp>
        <p:nvSpPr>
          <p:cNvPr id="34" name="Freeform 4">
            <a:extLst>
              <a:ext uri="{FF2B5EF4-FFF2-40B4-BE49-F238E27FC236}">
                <a16:creationId xmlns:a16="http://schemas.microsoft.com/office/drawing/2014/main" id="{A0A5223E-80E9-411A-B656-8AE175A03E01}"/>
              </a:ext>
            </a:extLst>
          </p:cNvPr>
          <p:cNvSpPr/>
          <p:nvPr/>
        </p:nvSpPr>
        <p:spPr>
          <a:xfrm>
            <a:off x="4722144" y="1298188"/>
            <a:ext cx="4233180" cy="390171"/>
          </a:xfrm>
          <a:custGeom>
            <a:avLst/>
            <a:gdLst>
              <a:gd name="connsiteX0" fmla="*/ 0 w 4233180"/>
              <a:gd name="connsiteY0" fmla="*/ 0 h 390171"/>
              <a:gd name="connsiteX1" fmla="*/ 4233180 w 4233180"/>
              <a:gd name="connsiteY1" fmla="*/ 0 h 390171"/>
              <a:gd name="connsiteX2" fmla="*/ 4233180 w 4233180"/>
              <a:gd name="connsiteY2" fmla="*/ 390171 h 390171"/>
              <a:gd name="connsiteX3" fmla="*/ 0 w 4233180"/>
              <a:gd name="connsiteY3" fmla="*/ 390171 h 390171"/>
              <a:gd name="connsiteX4" fmla="*/ 0 w 4233180"/>
              <a:gd name="connsiteY4" fmla="*/ 0 h 3901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33180" h="390171">
                <a:moveTo>
                  <a:pt x="0" y="0"/>
                </a:moveTo>
                <a:lnTo>
                  <a:pt x="4233180" y="0"/>
                </a:lnTo>
                <a:lnTo>
                  <a:pt x="4233180" y="390171"/>
                </a:lnTo>
                <a:lnTo>
                  <a:pt x="0" y="390171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09699" tIns="45720" rIns="45720" bIns="45720" numCol="1" spcCol="1270" anchor="ctr" anchorCtr="0">
            <a:noAutofit/>
          </a:bodyPr>
          <a:lstStyle/>
          <a:p>
            <a:r>
              <a:rPr lang="es-ES" sz="1200" dirty="0">
                <a:solidFill>
                  <a:schemeClr val="tx1"/>
                </a:solidFill>
              </a:rPr>
              <a:t>Lanzamientos Colza Valladolid y Toledo.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B4740932-A44C-4935-A2A5-FDD88A0E9EAB}"/>
              </a:ext>
            </a:extLst>
          </p:cNvPr>
          <p:cNvSpPr/>
          <p:nvPr/>
        </p:nvSpPr>
        <p:spPr>
          <a:xfrm>
            <a:off x="4498300" y="1269430"/>
            <a:ext cx="447688" cy="447688"/>
          </a:xfrm>
          <a:prstGeom prst="ellipse">
            <a:avLst/>
          </a:prstGeom>
          <a:solidFill>
            <a:schemeClr val="tx2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anchor="ctr" anchorCtr="0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36" name="Freeform 6">
            <a:extLst>
              <a:ext uri="{FF2B5EF4-FFF2-40B4-BE49-F238E27FC236}">
                <a16:creationId xmlns:a16="http://schemas.microsoft.com/office/drawing/2014/main" id="{326544B8-48AD-4CDC-8442-F24758C0805B}"/>
              </a:ext>
            </a:extLst>
          </p:cNvPr>
          <p:cNvSpPr/>
          <p:nvPr/>
        </p:nvSpPr>
        <p:spPr>
          <a:xfrm>
            <a:off x="5043086" y="2114459"/>
            <a:ext cx="3912238" cy="390171"/>
          </a:xfrm>
          <a:custGeom>
            <a:avLst/>
            <a:gdLst>
              <a:gd name="connsiteX0" fmla="*/ 0 w 3912238"/>
              <a:gd name="connsiteY0" fmla="*/ 0 h 390171"/>
              <a:gd name="connsiteX1" fmla="*/ 3912238 w 3912238"/>
              <a:gd name="connsiteY1" fmla="*/ 0 h 390171"/>
              <a:gd name="connsiteX2" fmla="*/ 3912238 w 3912238"/>
              <a:gd name="connsiteY2" fmla="*/ 390171 h 390171"/>
              <a:gd name="connsiteX3" fmla="*/ 0 w 3912238"/>
              <a:gd name="connsiteY3" fmla="*/ 390171 h 390171"/>
              <a:gd name="connsiteX4" fmla="*/ 0 w 3912238"/>
              <a:gd name="connsiteY4" fmla="*/ 0 h 3901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12238" h="390171">
                <a:moveTo>
                  <a:pt x="0" y="0"/>
                </a:moveTo>
                <a:lnTo>
                  <a:pt x="3912238" y="0"/>
                </a:lnTo>
                <a:lnTo>
                  <a:pt x="3912238" y="390171"/>
                </a:lnTo>
                <a:lnTo>
                  <a:pt x="0" y="390171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09699" tIns="45720" rIns="45720" bIns="45720" numCol="1" spcCol="1270" anchor="ctr" anchorCtr="0">
            <a:noAutofit/>
          </a:bodyPr>
          <a:lstStyle/>
          <a:p>
            <a:pPr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endParaRPr lang="en-GB" sz="1200" dirty="0">
              <a:solidFill>
                <a:schemeClr val="tx1"/>
              </a:solidFill>
            </a:endParaRPr>
          </a:p>
          <a:p>
            <a:r>
              <a:rPr lang="es-ES" sz="1200" dirty="0">
                <a:solidFill>
                  <a:schemeClr val="tx1"/>
                </a:solidFill>
              </a:rPr>
              <a:t>Catálogos en web.</a:t>
            </a:r>
          </a:p>
          <a:p>
            <a:pPr marL="0" marR="0" lvl="0" indent="0" algn="l" defTabSz="8001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EE002D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FD1DB7CC-5E8A-45D0-84CF-700CCC701107}"/>
              </a:ext>
            </a:extLst>
          </p:cNvPr>
          <p:cNvSpPr/>
          <p:nvPr/>
        </p:nvSpPr>
        <p:spPr>
          <a:xfrm>
            <a:off x="4819242" y="2085701"/>
            <a:ext cx="447688" cy="447688"/>
          </a:xfrm>
          <a:prstGeom prst="ellipse">
            <a:avLst/>
          </a:prstGeom>
          <a:solidFill>
            <a:schemeClr val="tx2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anchor="ctr" anchorCtr="0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</a:p>
        </p:txBody>
      </p:sp>
      <p:sp>
        <p:nvSpPr>
          <p:cNvPr id="38" name="Freeform 8">
            <a:extLst>
              <a:ext uri="{FF2B5EF4-FFF2-40B4-BE49-F238E27FC236}">
                <a16:creationId xmlns:a16="http://schemas.microsoft.com/office/drawing/2014/main" id="{0098DC74-94B0-41B5-8496-ECA1C0CDFCA8}"/>
              </a:ext>
            </a:extLst>
          </p:cNvPr>
          <p:cNvSpPr/>
          <p:nvPr/>
        </p:nvSpPr>
        <p:spPr>
          <a:xfrm>
            <a:off x="5063099" y="2966660"/>
            <a:ext cx="3765479" cy="390171"/>
          </a:xfrm>
          <a:custGeom>
            <a:avLst/>
            <a:gdLst>
              <a:gd name="connsiteX0" fmla="*/ 0 w 3765479"/>
              <a:gd name="connsiteY0" fmla="*/ 0 h 390171"/>
              <a:gd name="connsiteX1" fmla="*/ 3765479 w 3765479"/>
              <a:gd name="connsiteY1" fmla="*/ 0 h 390171"/>
              <a:gd name="connsiteX2" fmla="*/ 3765479 w 3765479"/>
              <a:gd name="connsiteY2" fmla="*/ 390171 h 390171"/>
              <a:gd name="connsiteX3" fmla="*/ 0 w 3765479"/>
              <a:gd name="connsiteY3" fmla="*/ 390171 h 390171"/>
              <a:gd name="connsiteX4" fmla="*/ 0 w 3765479"/>
              <a:gd name="connsiteY4" fmla="*/ 0 h 3901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65479" h="390171">
                <a:moveTo>
                  <a:pt x="0" y="0"/>
                </a:moveTo>
                <a:lnTo>
                  <a:pt x="3765479" y="0"/>
                </a:lnTo>
                <a:lnTo>
                  <a:pt x="3765479" y="390171"/>
                </a:lnTo>
                <a:lnTo>
                  <a:pt x="0" y="390171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09699" tIns="45720" rIns="45720" bIns="45720" numCol="1" spcCol="1270" anchor="ctr" anchorCtr="0">
            <a:noAutofit/>
          </a:bodyPr>
          <a:lstStyle/>
          <a:p>
            <a:pPr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en-GB" sz="1200" dirty="0" err="1">
                <a:solidFill>
                  <a:schemeClr val="tx1"/>
                </a:solidFill>
              </a:rPr>
              <a:t>Resultados</a:t>
            </a:r>
            <a:r>
              <a:rPr lang="en-GB" sz="1200" dirty="0">
                <a:solidFill>
                  <a:schemeClr val="tx1"/>
                </a:solidFill>
              </a:rPr>
              <a:t> de </a:t>
            </a:r>
            <a:r>
              <a:rPr lang="en-GB" sz="1200" dirty="0" err="1">
                <a:solidFill>
                  <a:schemeClr val="tx1"/>
                </a:solidFill>
              </a:rPr>
              <a:t>ensayos</a:t>
            </a:r>
            <a:r>
              <a:rPr lang="en-GB" sz="12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82030292-92B4-4A1A-AA62-91E5BFD1A63C}"/>
              </a:ext>
            </a:extLst>
          </p:cNvPr>
          <p:cNvSpPr/>
          <p:nvPr/>
        </p:nvSpPr>
        <p:spPr>
          <a:xfrm>
            <a:off x="4839255" y="2937902"/>
            <a:ext cx="447688" cy="447688"/>
          </a:xfrm>
          <a:prstGeom prst="ellipse">
            <a:avLst/>
          </a:prstGeom>
          <a:solidFill>
            <a:schemeClr val="tx2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anchor="ctr" anchorCtr="0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</a:t>
            </a:r>
          </a:p>
        </p:txBody>
      </p:sp>
      <p:sp>
        <p:nvSpPr>
          <p:cNvPr id="40" name="Freeform 10">
            <a:extLst>
              <a:ext uri="{FF2B5EF4-FFF2-40B4-BE49-F238E27FC236}">
                <a16:creationId xmlns:a16="http://schemas.microsoft.com/office/drawing/2014/main" id="{5B649BF5-05F0-4FB4-BFE0-49A28D67C000}"/>
              </a:ext>
            </a:extLst>
          </p:cNvPr>
          <p:cNvSpPr/>
          <p:nvPr/>
        </p:nvSpPr>
        <p:spPr>
          <a:xfrm>
            <a:off x="4861387" y="3804446"/>
            <a:ext cx="3701202" cy="390171"/>
          </a:xfrm>
          <a:custGeom>
            <a:avLst/>
            <a:gdLst>
              <a:gd name="connsiteX0" fmla="*/ 0 w 3701202"/>
              <a:gd name="connsiteY0" fmla="*/ 0 h 390171"/>
              <a:gd name="connsiteX1" fmla="*/ 3701202 w 3701202"/>
              <a:gd name="connsiteY1" fmla="*/ 0 h 390171"/>
              <a:gd name="connsiteX2" fmla="*/ 3701202 w 3701202"/>
              <a:gd name="connsiteY2" fmla="*/ 390171 h 390171"/>
              <a:gd name="connsiteX3" fmla="*/ 0 w 3701202"/>
              <a:gd name="connsiteY3" fmla="*/ 390171 h 390171"/>
              <a:gd name="connsiteX4" fmla="*/ 0 w 3701202"/>
              <a:gd name="connsiteY4" fmla="*/ 0 h 3901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01202" h="390171">
                <a:moveTo>
                  <a:pt x="0" y="0"/>
                </a:moveTo>
                <a:lnTo>
                  <a:pt x="3701202" y="0"/>
                </a:lnTo>
                <a:lnTo>
                  <a:pt x="3701202" y="390171"/>
                </a:lnTo>
                <a:lnTo>
                  <a:pt x="0" y="390171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09699" tIns="45720" rIns="45720" bIns="45720" numCol="1" spcCol="1270" anchor="ctr" anchorCtr="0">
            <a:noAutofit/>
          </a:bodyPr>
          <a:lstStyle/>
          <a:p>
            <a:r>
              <a:rPr lang="es-ES" sz="1200" dirty="0">
                <a:solidFill>
                  <a:schemeClr val="tx1"/>
                </a:solidFill>
              </a:rPr>
              <a:t>Análisis del mercado con datos PAC.</a:t>
            </a: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B3FC0B19-468E-40D9-B3A0-7B0FC28F2B17}"/>
              </a:ext>
            </a:extLst>
          </p:cNvPr>
          <p:cNvSpPr/>
          <p:nvPr/>
        </p:nvSpPr>
        <p:spPr>
          <a:xfrm>
            <a:off x="4615411" y="3775688"/>
            <a:ext cx="447688" cy="447688"/>
          </a:xfrm>
          <a:prstGeom prst="ellipse">
            <a:avLst/>
          </a:prstGeom>
          <a:solidFill>
            <a:schemeClr val="tx2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anchor="ctr" anchorCtr="0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656159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444550B-5AED-3232-7430-9E70844C4B7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444550B-5AED-3232-7430-9E70844C4B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7582907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9669DA-C5C7-4E53-BAB3-4018D7C8653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9771435-4CD8-4F0B-973A-1D0AAF7D3E4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79505" y="3447246"/>
            <a:ext cx="7958455" cy="723422"/>
          </a:xfrm>
        </p:spPr>
        <p:txBody>
          <a:bodyPr/>
          <a:lstStyle/>
          <a:p>
            <a:r>
              <a:rPr lang="en-GB" dirty="0" err="1"/>
              <a:t>Lanzamiento</a:t>
            </a:r>
            <a:r>
              <a:rPr lang="en-GB" dirty="0"/>
              <a:t> y días de campo colza 2023/2024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6753601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02D3179-3106-4986-07DB-82233B9B5B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9767" y="144738"/>
            <a:ext cx="7507033" cy="375010"/>
          </a:xfrm>
        </p:spPr>
        <p:txBody>
          <a:bodyPr/>
          <a:lstStyle/>
          <a:p>
            <a:r>
              <a:rPr lang="en-GB" dirty="0"/>
              <a:t>Lanzamiento de Colza 2023/2024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85ADC26-48C1-1C80-694E-05309BF4B7E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09-10 de Mayo de 2023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B4D1F63D-0D02-2337-B408-E2654AE78D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1" y="1200154"/>
            <a:ext cx="5406470" cy="3394472"/>
          </a:xfrm>
        </p:spPr>
        <p:txBody>
          <a:bodyPr/>
          <a:lstStyle/>
          <a:p>
            <a:pPr marL="0" indent="0">
              <a:buNone/>
            </a:pPr>
            <a:r>
              <a:rPr lang="en-GB" sz="1400" b="1" dirty="0" err="1">
                <a:solidFill>
                  <a:srgbClr val="E4032D"/>
                </a:solidFill>
              </a:rPr>
              <a:t>Objetivos</a:t>
            </a:r>
            <a:r>
              <a:rPr lang="en-GB" sz="1400" b="1" dirty="0">
                <a:solidFill>
                  <a:srgbClr val="E4032D"/>
                </a:solidFill>
              </a:rPr>
              <a:t> claves del </a:t>
            </a:r>
            <a:r>
              <a:rPr lang="en-GB" sz="1400" b="1" dirty="0" err="1">
                <a:solidFill>
                  <a:srgbClr val="E4032D"/>
                </a:solidFill>
              </a:rPr>
              <a:t>lanzamiento</a:t>
            </a:r>
            <a:endParaRPr lang="en-GB" sz="1400" b="1" dirty="0">
              <a:solidFill>
                <a:srgbClr val="E4032D"/>
              </a:solidFill>
            </a:endParaRPr>
          </a:p>
          <a:p>
            <a:r>
              <a:rPr lang="es-ES" sz="1200" dirty="0">
                <a:solidFill>
                  <a:srgbClr val="000000"/>
                </a:solidFill>
              </a:rPr>
              <a:t>Aumentar nuestro conocimiento y reflexión en la práctica sobre temas y problemas del cultivo de colza
Consolidar nuestros mensajes clave y fortalecer nuestra comunicación con las partes interesadas externas de una manera clara, consistente y segura
Ganar confianza en los méritos de nuestros productos sobre la competencia y cómo responden mejor a las necesidades de nuestros clientes  </a:t>
            </a:r>
          </a:p>
          <a:p>
            <a:pPr marL="0" indent="0">
              <a:buNone/>
            </a:pPr>
            <a:endParaRPr lang="en-GB" sz="1200" dirty="0"/>
          </a:p>
          <a:p>
            <a:pPr marL="0" indent="0">
              <a:buNone/>
            </a:pPr>
            <a:r>
              <a:rPr lang="en-GB" sz="1400" b="1" dirty="0" err="1">
                <a:solidFill>
                  <a:srgbClr val="E4032D"/>
                </a:solidFill>
              </a:rPr>
              <a:t>Partes</a:t>
            </a:r>
            <a:r>
              <a:rPr lang="en-GB" sz="1400" b="1" dirty="0">
                <a:solidFill>
                  <a:srgbClr val="E4032D"/>
                </a:solidFill>
              </a:rPr>
              <a:t> del </a:t>
            </a:r>
            <a:r>
              <a:rPr lang="en-GB" sz="1400" b="1" dirty="0" err="1">
                <a:solidFill>
                  <a:srgbClr val="E4032D"/>
                </a:solidFill>
              </a:rPr>
              <a:t>lanzamiento</a:t>
            </a:r>
            <a:endParaRPr lang="en-GB" sz="1400" b="1" dirty="0">
              <a:solidFill>
                <a:srgbClr val="E4032D"/>
              </a:solidFill>
            </a:endParaRPr>
          </a:p>
          <a:p>
            <a:r>
              <a:rPr lang="en-GB" sz="1200" dirty="0" err="1"/>
              <a:t>Reunión</a:t>
            </a:r>
            <a:r>
              <a:rPr lang="en-GB" sz="1200" dirty="0"/>
              <a:t> </a:t>
            </a:r>
            <a:r>
              <a:rPr lang="en-GB" sz="1200" dirty="0" err="1"/>
              <a:t>en</a:t>
            </a:r>
            <a:r>
              <a:rPr lang="en-GB" sz="1200" dirty="0"/>
              <a:t> </a:t>
            </a:r>
            <a:r>
              <a:rPr lang="en-GB" sz="1200" dirty="0" err="1"/>
              <a:t>sala</a:t>
            </a:r>
            <a:r>
              <a:rPr lang="en-GB" sz="1200" dirty="0"/>
              <a:t> (Hotel 3 Reyes, Pamplona, 09-mayo-23)</a:t>
            </a:r>
          </a:p>
          <a:p>
            <a:pPr lvl="1"/>
            <a:r>
              <a:rPr lang="en-GB" sz="800" dirty="0"/>
              <a:t>Mercado: </a:t>
            </a:r>
            <a:r>
              <a:rPr lang="en-GB" sz="800" dirty="0" err="1"/>
              <a:t>Análisis</a:t>
            </a:r>
            <a:r>
              <a:rPr lang="en-GB" sz="800" dirty="0"/>
              <a:t> </a:t>
            </a:r>
            <a:r>
              <a:rPr lang="en-GB" sz="800" dirty="0" err="1"/>
              <a:t>contexto</a:t>
            </a:r>
            <a:r>
              <a:rPr lang="en-GB" sz="800" dirty="0"/>
              <a:t> </a:t>
            </a:r>
            <a:r>
              <a:rPr lang="en-GB" sz="800" dirty="0" err="1"/>
              <a:t>climático</a:t>
            </a:r>
            <a:r>
              <a:rPr lang="en-GB" sz="800" dirty="0"/>
              <a:t> </a:t>
            </a:r>
          </a:p>
          <a:p>
            <a:pPr lvl="1"/>
            <a:r>
              <a:rPr lang="en-GB" sz="800" dirty="0"/>
              <a:t>Mercado: </a:t>
            </a:r>
            <a:r>
              <a:rPr lang="en-GB" sz="800" dirty="0" err="1"/>
              <a:t>Precios</a:t>
            </a:r>
            <a:r>
              <a:rPr lang="en-GB" sz="800" dirty="0"/>
              <a:t> inputs &amp; </a:t>
            </a:r>
            <a:r>
              <a:rPr lang="en-GB" sz="800" dirty="0" err="1"/>
              <a:t>grano</a:t>
            </a:r>
            <a:endParaRPr lang="en-GB" sz="800" dirty="0"/>
          </a:p>
          <a:p>
            <a:pPr lvl="1"/>
            <a:r>
              <a:rPr lang="en-GB" sz="800" dirty="0"/>
              <a:t>Mercado </a:t>
            </a:r>
            <a:r>
              <a:rPr lang="en-GB" sz="800" dirty="0" err="1"/>
              <a:t>semilla</a:t>
            </a:r>
            <a:r>
              <a:rPr lang="en-GB" sz="800" dirty="0"/>
              <a:t>: Europa y España</a:t>
            </a:r>
          </a:p>
          <a:p>
            <a:pPr lvl="1"/>
            <a:r>
              <a:rPr lang="en-GB" sz="800" dirty="0"/>
              <a:t>Portfolio y </a:t>
            </a:r>
            <a:r>
              <a:rPr lang="en-GB" sz="800" dirty="0" err="1"/>
              <a:t>disponibles</a:t>
            </a:r>
            <a:r>
              <a:rPr lang="en-GB" sz="800" dirty="0"/>
              <a:t>: </a:t>
            </a:r>
            <a:r>
              <a:rPr lang="en-GB" sz="800" dirty="0" err="1"/>
              <a:t>novedades</a:t>
            </a:r>
            <a:r>
              <a:rPr lang="en-GB" sz="800" dirty="0"/>
              <a:t>: LG ATLAS, LG AMBASSADOR, LG CONTRUCTOR CL, LG ARMADA</a:t>
            </a:r>
          </a:p>
          <a:p>
            <a:pPr lvl="1"/>
            <a:r>
              <a:rPr lang="en-GB" sz="800" dirty="0" err="1"/>
              <a:t>Tratamiento</a:t>
            </a:r>
            <a:r>
              <a:rPr lang="en-GB" sz="800" dirty="0"/>
              <a:t> de </a:t>
            </a:r>
            <a:r>
              <a:rPr lang="en-GB" sz="800" dirty="0" err="1"/>
              <a:t>semillas</a:t>
            </a:r>
            <a:endParaRPr lang="en-GB" sz="800" dirty="0"/>
          </a:p>
          <a:p>
            <a:r>
              <a:rPr lang="en-GB" sz="1200" dirty="0" err="1"/>
              <a:t>Visita</a:t>
            </a:r>
            <a:r>
              <a:rPr lang="en-GB" sz="1200" dirty="0"/>
              <a:t> de campo (SOS del Rey </a:t>
            </a:r>
            <a:r>
              <a:rPr lang="en-GB" sz="1200" dirty="0" err="1"/>
              <a:t>Católico</a:t>
            </a:r>
            <a:r>
              <a:rPr lang="en-GB" sz="1200" dirty="0"/>
              <a:t>, 10-mayo-23)</a:t>
            </a:r>
          </a:p>
          <a:p>
            <a:pPr lvl="1"/>
            <a:r>
              <a:rPr lang="en-GB" sz="800" dirty="0" err="1"/>
              <a:t>Ensayo</a:t>
            </a:r>
            <a:r>
              <a:rPr lang="en-GB" sz="800" dirty="0"/>
              <a:t> </a:t>
            </a:r>
            <a:r>
              <a:rPr lang="en-GB" sz="800" dirty="0" err="1"/>
              <a:t>en</a:t>
            </a:r>
            <a:r>
              <a:rPr lang="en-GB" sz="800" dirty="0"/>
              <a:t> </a:t>
            </a:r>
            <a:r>
              <a:rPr lang="en-GB" sz="800" dirty="0" err="1"/>
              <a:t>bandas</a:t>
            </a:r>
            <a:endParaRPr lang="en-GB" sz="800" dirty="0"/>
          </a:p>
          <a:p>
            <a:pPr marL="457188" lvl="1" indent="0">
              <a:buNone/>
            </a:pPr>
            <a:endParaRPr lang="en-GB" sz="800" dirty="0"/>
          </a:p>
        </p:txBody>
      </p:sp>
      <p:grpSp>
        <p:nvGrpSpPr>
          <p:cNvPr id="5" name="Group 9">
            <a:extLst>
              <a:ext uri="{FF2B5EF4-FFF2-40B4-BE49-F238E27FC236}">
                <a16:creationId xmlns:a16="http://schemas.microsoft.com/office/drawing/2014/main" id="{D4F7DB9C-7679-15E9-1089-DEBE9C881D3D}"/>
              </a:ext>
            </a:extLst>
          </p:cNvPr>
          <p:cNvGrpSpPr/>
          <p:nvPr/>
        </p:nvGrpSpPr>
        <p:grpSpPr>
          <a:xfrm rot="16200000">
            <a:off x="8457754" y="4009197"/>
            <a:ext cx="927501" cy="230656"/>
            <a:chOff x="8766811" y="250670"/>
            <a:chExt cx="1200150" cy="298460"/>
          </a:xfrm>
          <a:solidFill>
            <a:schemeClr val="bg1">
              <a:alpha val="42000"/>
            </a:schemeClr>
          </a:solidFill>
        </p:grpSpPr>
        <p:sp>
          <p:nvSpPr>
            <p:cNvPr id="7" name="Freeform: Shape 5">
              <a:extLst>
                <a:ext uri="{FF2B5EF4-FFF2-40B4-BE49-F238E27FC236}">
                  <a16:creationId xmlns:a16="http://schemas.microsoft.com/office/drawing/2014/main" id="{20669547-3C9C-57CE-5B20-1ECB4B44939C}"/>
                </a:ext>
              </a:extLst>
            </p:cNvPr>
            <p:cNvSpPr/>
            <p:nvPr/>
          </p:nvSpPr>
          <p:spPr>
            <a:xfrm>
              <a:off x="9340947" y="259788"/>
              <a:ext cx="396639" cy="280066"/>
            </a:xfrm>
            <a:custGeom>
              <a:avLst/>
              <a:gdLst>
                <a:gd name="connsiteX0" fmla="*/ 188626 w 578185"/>
                <a:gd name="connsiteY0" fmla="*/ 247351 h 408253"/>
                <a:gd name="connsiteX1" fmla="*/ 209084 w 578185"/>
                <a:gd name="connsiteY1" fmla="*/ 156671 h 408253"/>
                <a:gd name="connsiteX2" fmla="*/ 241634 w 578185"/>
                <a:gd name="connsiteY2" fmla="*/ 10757 h 408253"/>
                <a:gd name="connsiteX3" fmla="*/ 255014 w 578185"/>
                <a:gd name="connsiteY3" fmla="*/ 5 h 408253"/>
                <a:gd name="connsiteX4" fmla="*/ 343468 w 578185"/>
                <a:gd name="connsiteY4" fmla="*/ 86 h 408253"/>
                <a:gd name="connsiteX5" fmla="*/ 356258 w 578185"/>
                <a:gd name="connsiteY5" fmla="*/ 9926 h 408253"/>
                <a:gd name="connsiteX6" fmla="*/ 402000 w 578185"/>
                <a:gd name="connsiteY6" fmla="*/ 237699 h 408253"/>
                <a:gd name="connsiteX7" fmla="*/ 406853 w 578185"/>
                <a:gd name="connsiteY7" fmla="*/ 247646 h 408253"/>
                <a:gd name="connsiteX8" fmla="*/ 443881 w 578185"/>
                <a:gd name="connsiteY8" fmla="*/ 88487 h 408253"/>
                <a:gd name="connsiteX9" fmla="*/ 418275 w 578185"/>
                <a:gd name="connsiteY9" fmla="*/ 64463 h 408253"/>
                <a:gd name="connsiteX10" fmla="*/ 418275 w 578185"/>
                <a:gd name="connsiteY10" fmla="*/ 1132 h 408253"/>
                <a:gd name="connsiteX11" fmla="*/ 578185 w 578185"/>
                <a:gd name="connsiteY11" fmla="*/ 1132 h 408253"/>
                <a:gd name="connsiteX12" fmla="*/ 578185 w 578185"/>
                <a:gd name="connsiteY12" fmla="*/ 65482 h 408253"/>
                <a:gd name="connsiteX13" fmla="*/ 535580 w 578185"/>
                <a:gd name="connsiteY13" fmla="*/ 107309 h 408253"/>
                <a:gd name="connsiteX14" fmla="*/ 450423 w 578185"/>
                <a:gd name="connsiteY14" fmla="*/ 398306 h 408253"/>
                <a:gd name="connsiteX15" fmla="*/ 447072 w 578185"/>
                <a:gd name="connsiteY15" fmla="*/ 408146 h 408253"/>
                <a:gd name="connsiteX16" fmla="*/ 338964 w 578185"/>
                <a:gd name="connsiteY16" fmla="*/ 408146 h 408253"/>
                <a:gd name="connsiteX17" fmla="*/ 289414 w 578185"/>
                <a:gd name="connsiteY17" fmla="*/ 183832 h 408253"/>
                <a:gd name="connsiteX18" fmla="*/ 287189 w 578185"/>
                <a:gd name="connsiteY18" fmla="*/ 183644 h 408253"/>
                <a:gd name="connsiteX19" fmla="*/ 234663 w 578185"/>
                <a:gd name="connsiteY19" fmla="*/ 408253 h 408253"/>
                <a:gd name="connsiteX20" fmla="*/ 124035 w 578185"/>
                <a:gd name="connsiteY20" fmla="*/ 408253 h 408253"/>
                <a:gd name="connsiteX21" fmla="*/ 101941 w 578185"/>
                <a:gd name="connsiteY21" fmla="*/ 325536 h 408253"/>
                <a:gd name="connsiteX22" fmla="*/ 42176 w 578185"/>
                <a:gd name="connsiteY22" fmla="*/ 100874 h 408253"/>
                <a:gd name="connsiteX23" fmla="*/ 0 w 578185"/>
                <a:gd name="connsiteY23" fmla="*/ 66072 h 408253"/>
                <a:gd name="connsiteX24" fmla="*/ 0 w 578185"/>
                <a:gd name="connsiteY24" fmla="*/ 1266 h 408253"/>
                <a:gd name="connsiteX25" fmla="*/ 183880 w 578185"/>
                <a:gd name="connsiteY25" fmla="*/ 1266 h 408253"/>
                <a:gd name="connsiteX26" fmla="*/ 183880 w 578185"/>
                <a:gd name="connsiteY26" fmla="*/ 64650 h 408253"/>
                <a:gd name="connsiteX27" fmla="*/ 157658 w 578185"/>
                <a:gd name="connsiteY27" fmla="*/ 101920 h 408253"/>
                <a:gd name="connsiteX28" fmla="*/ 185677 w 578185"/>
                <a:gd name="connsiteY28" fmla="*/ 247485 h 408253"/>
                <a:gd name="connsiteX29" fmla="*/ 188599 w 578185"/>
                <a:gd name="connsiteY29" fmla="*/ 247351 h 408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78185" h="408253">
                  <a:moveTo>
                    <a:pt x="188626" y="247351"/>
                  </a:moveTo>
                  <a:cubicBezTo>
                    <a:pt x="195436" y="217133"/>
                    <a:pt x="202300" y="186889"/>
                    <a:pt x="209084" y="156671"/>
                  </a:cubicBezTo>
                  <a:cubicBezTo>
                    <a:pt x="219997" y="108033"/>
                    <a:pt x="230883" y="59422"/>
                    <a:pt x="241634" y="10757"/>
                  </a:cubicBezTo>
                  <a:cubicBezTo>
                    <a:pt x="243297" y="3250"/>
                    <a:pt x="246461" y="-155"/>
                    <a:pt x="255014" y="5"/>
                  </a:cubicBezTo>
                  <a:cubicBezTo>
                    <a:pt x="284481" y="595"/>
                    <a:pt x="314001" y="461"/>
                    <a:pt x="343468" y="86"/>
                  </a:cubicBezTo>
                  <a:cubicBezTo>
                    <a:pt x="351056" y="-21"/>
                    <a:pt x="354756" y="2285"/>
                    <a:pt x="356258" y="9926"/>
                  </a:cubicBezTo>
                  <a:cubicBezTo>
                    <a:pt x="371353" y="85886"/>
                    <a:pt x="386690" y="161792"/>
                    <a:pt x="402000" y="237699"/>
                  </a:cubicBezTo>
                  <a:cubicBezTo>
                    <a:pt x="402670" y="241050"/>
                    <a:pt x="403770" y="244321"/>
                    <a:pt x="406853" y="247646"/>
                  </a:cubicBezTo>
                  <a:cubicBezTo>
                    <a:pt x="419240" y="194611"/>
                    <a:pt x="431896" y="141602"/>
                    <a:pt x="443881" y="88487"/>
                  </a:cubicBezTo>
                  <a:cubicBezTo>
                    <a:pt x="447367" y="73043"/>
                    <a:pt x="441843" y="68377"/>
                    <a:pt x="418275" y="64463"/>
                  </a:cubicBezTo>
                  <a:lnTo>
                    <a:pt x="418275" y="1132"/>
                  </a:lnTo>
                  <a:lnTo>
                    <a:pt x="578185" y="1132"/>
                  </a:lnTo>
                  <a:lnTo>
                    <a:pt x="578185" y="65482"/>
                  </a:lnTo>
                  <a:cubicBezTo>
                    <a:pt x="549657" y="64302"/>
                    <a:pt x="542122" y="84626"/>
                    <a:pt x="535580" y="107309"/>
                  </a:cubicBezTo>
                  <a:cubicBezTo>
                    <a:pt x="507534" y="204397"/>
                    <a:pt x="478871" y="301325"/>
                    <a:pt x="450423" y="398306"/>
                  </a:cubicBezTo>
                  <a:cubicBezTo>
                    <a:pt x="449431" y="401657"/>
                    <a:pt x="448171" y="404955"/>
                    <a:pt x="447072" y="408146"/>
                  </a:cubicBezTo>
                  <a:lnTo>
                    <a:pt x="338964" y="408146"/>
                  </a:lnTo>
                  <a:cubicBezTo>
                    <a:pt x="322367" y="333044"/>
                    <a:pt x="305904" y="258425"/>
                    <a:pt x="289414" y="183832"/>
                  </a:cubicBezTo>
                  <a:lnTo>
                    <a:pt x="287189" y="183644"/>
                  </a:lnTo>
                  <a:cubicBezTo>
                    <a:pt x="269707" y="258398"/>
                    <a:pt x="252225" y="333151"/>
                    <a:pt x="234663" y="408253"/>
                  </a:cubicBezTo>
                  <a:lnTo>
                    <a:pt x="124035" y="408253"/>
                  </a:lnTo>
                  <a:cubicBezTo>
                    <a:pt x="116742" y="381012"/>
                    <a:pt x="109315" y="353287"/>
                    <a:pt x="101941" y="325536"/>
                  </a:cubicBezTo>
                  <a:cubicBezTo>
                    <a:pt x="82019" y="250649"/>
                    <a:pt x="62151" y="175735"/>
                    <a:pt x="42176" y="100874"/>
                  </a:cubicBezTo>
                  <a:cubicBezTo>
                    <a:pt x="36519" y="79665"/>
                    <a:pt x="28207" y="61192"/>
                    <a:pt x="0" y="66072"/>
                  </a:cubicBezTo>
                  <a:lnTo>
                    <a:pt x="0" y="1266"/>
                  </a:lnTo>
                  <a:lnTo>
                    <a:pt x="183880" y="1266"/>
                  </a:lnTo>
                  <a:lnTo>
                    <a:pt x="183880" y="64650"/>
                  </a:lnTo>
                  <a:cubicBezTo>
                    <a:pt x="152107" y="68726"/>
                    <a:pt x="151437" y="69691"/>
                    <a:pt x="157658" y="101920"/>
                  </a:cubicBezTo>
                  <a:cubicBezTo>
                    <a:pt x="167015" y="150451"/>
                    <a:pt x="176346" y="198954"/>
                    <a:pt x="185677" y="247485"/>
                  </a:cubicBezTo>
                  <a:lnTo>
                    <a:pt x="188599" y="247351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Freeform: Shape 6">
              <a:extLst>
                <a:ext uri="{FF2B5EF4-FFF2-40B4-BE49-F238E27FC236}">
                  <a16:creationId xmlns:a16="http://schemas.microsoft.com/office/drawing/2014/main" id="{099A6E63-57E8-AC58-5929-FE5FEB16D86A}"/>
                </a:ext>
              </a:extLst>
            </p:cNvPr>
            <p:cNvSpPr/>
            <p:nvPr/>
          </p:nvSpPr>
          <p:spPr>
            <a:xfrm>
              <a:off x="8766811" y="259809"/>
              <a:ext cx="277264" cy="283641"/>
            </a:xfrm>
            <a:custGeom>
              <a:avLst/>
              <a:gdLst>
                <a:gd name="connsiteX0" fmla="*/ 0 w 404171"/>
                <a:gd name="connsiteY0" fmla="*/ 407794 h 413465"/>
                <a:gd name="connsiteX1" fmla="*/ 0 w 404171"/>
                <a:gd name="connsiteY1" fmla="*/ 342854 h 413465"/>
                <a:gd name="connsiteX2" fmla="*/ 21879 w 404171"/>
                <a:gd name="connsiteY2" fmla="*/ 341835 h 413465"/>
                <a:gd name="connsiteX3" fmla="*/ 38422 w 404171"/>
                <a:gd name="connsiteY3" fmla="*/ 324970 h 413465"/>
                <a:gd name="connsiteX4" fmla="*/ 38664 w 404171"/>
                <a:gd name="connsiteY4" fmla="*/ 280729 h 413465"/>
                <a:gd name="connsiteX5" fmla="*/ 38664 w 404171"/>
                <a:gd name="connsiteY5" fmla="*/ 99691 h 413465"/>
                <a:gd name="connsiteX6" fmla="*/ 6274 w 404171"/>
                <a:gd name="connsiteY6" fmla="*/ 65773 h 413465"/>
                <a:gd name="connsiteX7" fmla="*/ 134 w 404171"/>
                <a:gd name="connsiteY7" fmla="*/ 65076 h 413465"/>
                <a:gd name="connsiteX8" fmla="*/ 134 w 404171"/>
                <a:gd name="connsiteY8" fmla="*/ 860 h 413465"/>
                <a:gd name="connsiteX9" fmla="*/ 12843 w 404171"/>
                <a:gd name="connsiteY9" fmla="*/ 190 h 413465"/>
                <a:gd name="connsiteX10" fmla="*/ 156263 w 404171"/>
                <a:gd name="connsiteY10" fmla="*/ 2 h 413465"/>
                <a:gd name="connsiteX11" fmla="*/ 173852 w 404171"/>
                <a:gd name="connsiteY11" fmla="*/ 11961 h 413465"/>
                <a:gd name="connsiteX12" fmla="*/ 265605 w 404171"/>
                <a:gd name="connsiteY12" fmla="*/ 219811 h 413465"/>
                <a:gd name="connsiteX13" fmla="*/ 273675 w 404171"/>
                <a:gd name="connsiteY13" fmla="*/ 231260 h 413465"/>
                <a:gd name="connsiteX14" fmla="*/ 273675 w 404171"/>
                <a:gd name="connsiteY14" fmla="*/ 204153 h 413465"/>
                <a:gd name="connsiteX15" fmla="*/ 273675 w 404171"/>
                <a:gd name="connsiteY15" fmla="*/ 103579 h 413465"/>
                <a:gd name="connsiteX16" fmla="*/ 237103 w 404171"/>
                <a:gd name="connsiteY16" fmla="*/ 65130 h 413465"/>
                <a:gd name="connsiteX17" fmla="*/ 237103 w 404171"/>
                <a:gd name="connsiteY17" fmla="*/ 941 h 413465"/>
                <a:gd name="connsiteX18" fmla="*/ 404172 w 404171"/>
                <a:gd name="connsiteY18" fmla="*/ 941 h 413465"/>
                <a:gd name="connsiteX19" fmla="*/ 404172 w 404171"/>
                <a:gd name="connsiteY19" fmla="*/ 64245 h 413465"/>
                <a:gd name="connsiteX20" fmla="*/ 401759 w 404171"/>
                <a:gd name="connsiteY20" fmla="*/ 65398 h 413465"/>
                <a:gd name="connsiteX21" fmla="*/ 365374 w 404171"/>
                <a:gd name="connsiteY21" fmla="*/ 103445 h 413465"/>
                <a:gd name="connsiteX22" fmla="*/ 365508 w 404171"/>
                <a:gd name="connsiteY22" fmla="*/ 394441 h 413465"/>
                <a:gd name="connsiteX23" fmla="*/ 365508 w 404171"/>
                <a:gd name="connsiteY23" fmla="*/ 412004 h 413465"/>
                <a:gd name="connsiteX24" fmla="*/ 299201 w 404171"/>
                <a:gd name="connsiteY24" fmla="*/ 411977 h 413465"/>
                <a:gd name="connsiteX25" fmla="*/ 254665 w 404171"/>
                <a:gd name="connsiteY25" fmla="*/ 409698 h 413465"/>
                <a:gd name="connsiteX26" fmla="*/ 233752 w 404171"/>
                <a:gd name="connsiteY26" fmla="*/ 370498 h 413465"/>
                <a:gd name="connsiteX27" fmla="*/ 139613 w 404171"/>
                <a:gd name="connsiteY27" fmla="*/ 170986 h 413465"/>
                <a:gd name="connsiteX28" fmla="*/ 131569 w 404171"/>
                <a:gd name="connsiteY28" fmla="*/ 160019 h 413465"/>
                <a:gd name="connsiteX29" fmla="*/ 131569 w 404171"/>
                <a:gd name="connsiteY29" fmla="*/ 206191 h 413465"/>
                <a:gd name="connsiteX30" fmla="*/ 131489 w 404171"/>
                <a:gd name="connsiteY30" fmla="*/ 314808 h 413465"/>
                <a:gd name="connsiteX31" fmla="*/ 158355 w 404171"/>
                <a:gd name="connsiteY31" fmla="*/ 342211 h 413465"/>
                <a:gd name="connsiteX32" fmla="*/ 169830 w 404171"/>
                <a:gd name="connsiteY32" fmla="*/ 342211 h 413465"/>
                <a:gd name="connsiteX33" fmla="*/ 169830 w 404171"/>
                <a:gd name="connsiteY33" fmla="*/ 407740 h 413465"/>
                <a:gd name="connsiteX34" fmla="*/ 0 w 404171"/>
                <a:gd name="connsiteY34" fmla="*/ 407740 h 41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404171" h="413465">
                  <a:moveTo>
                    <a:pt x="0" y="407794"/>
                  </a:moveTo>
                  <a:lnTo>
                    <a:pt x="0" y="342854"/>
                  </a:lnTo>
                  <a:cubicBezTo>
                    <a:pt x="7776" y="342506"/>
                    <a:pt x="14827" y="342184"/>
                    <a:pt x="21879" y="341835"/>
                  </a:cubicBezTo>
                  <a:cubicBezTo>
                    <a:pt x="32550" y="341299"/>
                    <a:pt x="38342" y="335910"/>
                    <a:pt x="38422" y="324970"/>
                  </a:cubicBezTo>
                  <a:cubicBezTo>
                    <a:pt x="38530" y="310223"/>
                    <a:pt x="38664" y="295476"/>
                    <a:pt x="38664" y="280729"/>
                  </a:cubicBezTo>
                  <a:cubicBezTo>
                    <a:pt x="38664" y="220374"/>
                    <a:pt x="38664" y="160046"/>
                    <a:pt x="38664" y="99691"/>
                  </a:cubicBezTo>
                  <a:cubicBezTo>
                    <a:pt x="38664" y="69581"/>
                    <a:pt x="36197" y="67034"/>
                    <a:pt x="6274" y="65773"/>
                  </a:cubicBezTo>
                  <a:cubicBezTo>
                    <a:pt x="4531" y="65693"/>
                    <a:pt x="2789" y="65371"/>
                    <a:pt x="134" y="65076"/>
                  </a:cubicBezTo>
                  <a:lnTo>
                    <a:pt x="134" y="860"/>
                  </a:lnTo>
                  <a:cubicBezTo>
                    <a:pt x="4317" y="619"/>
                    <a:pt x="8580" y="190"/>
                    <a:pt x="12843" y="190"/>
                  </a:cubicBezTo>
                  <a:cubicBezTo>
                    <a:pt x="60650" y="190"/>
                    <a:pt x="108457" y="565"/>
                    <a:pt x="156263" y="2"/>
                  </a:cubicBezTo>
                  <a:cubicBezTo>
                    <a:pt x="166077" y="-105"/>
                    <a:pt x="170233" y="3649"/>
                    <a:pt x="173852" y="11961"/>
                  </a:cubicBezTo>
                  <a:cubicBezTo>
                    <a:pt x="204231" y="81351"/>
                    <a:pt x="234958" y="150555"/>
                    <a:pt x="265605" y="219811"/>
                  </a:cubicBezTo>
                  <a:cubicBezTo>
                    <a:pt x="267348" y="223753"/>
                    <a:pt x="269251" y="227641"/>
                    <a:pt x="273675" y="231260"/>
                  </a:cubicBezTo>
                  <a:cubicBezTo>
                    <a:pt x="273675" y="222224"/>
                    <a:pt x="273675" y="213189"/>
                    <a:pt x="273675" y="204153"/>
                  </a:cubicBezTo>
                  <a:cubicBezTo>
                    <a:pt x="273675" y="170637"/>
                    <a:pt x="273675" y="137095"/>
                    <a:pt x="273675" y="103579"/>
                  </a:cubicBezTo>
                  <a:cubicBezTo>
                    <a:pt x="273675" y="69152"/>
                    <a:pt x="272388" y="67784"/>
                    <a:pt x="237103" y="65130"/>
                  </a:cubicBezTo>
                  <a:lnTo>
                    <a:pt x="237103" y="941"/>
                  </a:lnTo>
                  <a:lnTo>
                    <a:pt x="404172" y="941"/>
                  </a:lnTo>
                  <a:lnTo>
                    <a:pt x="404172" y="64245"/>
                  </a:lnTo>
                  <a:cubicBezTo>
                    <a:pt x="403260" y="64701"/>
                    <a:pt x="402536" y="65344"/>
                    <a:pt x="401759" y="65398"/>
                  </a:cubicBezTo>
                  <a:cubicBezTo>
                    <a:pt x="365991" y="67168"/>
                    <a:pt x="365347" y="67838"/>
                    <a:pt x="365374" y="103445"/>
                  </a:cubicBezTo>
                  <a:cubicBezTo>
                    <a:pt x="365428" y="200453"/>
                    <a:pt x="365481" y="297434"/>
                    <a:pt x="365508" y="394441"/>
                  </a:cubicBezTo>
                  <a:cubicBezTo>
                    <a:pt x="365508" y="399723"/>
                    <a:pt x="365508" y="404979"/>
                    <a:pt x="365508" y="412004"/>
                  </a:cubicBezTo>
                  <a:cubicBezTo>
                    <a:pt x="342637" y="412004"/>
                    <a:pt x="320919" y="412111"/>
                    <a:pt x="299201" y="411977"/>
                  </a:cubicBezTo>
                  <a:cubicBezTo>
                    <a:pt x="284052" y="411870"/>
                    <a:pt x="265632" y="416615"/>
                    <a:pt x="254665" y="409698"/>
                  </a:cubicBezTo>
                  <a:cubicBezTo>
                    <a:pt x="243779" y="402834"/>
                    <a:pt x="240187" y="384145"/>
                    <a:pt x="233752" y="370498"/>
                  </a:cubicBezTo>
                  <a:cubicBezTo>
                    <a:pt x="202327" y="304030"/>
                    <a:pt x="171010" y="237481"/>
                    <a:pt x="139613" y="170986"/>
                  </a:cubicBezTo>
                  <a:cubicBezTo>
                    <a:pt x="137790" y="167125"/>
                    <a:pt x="135725" y="163398"/>
                    <a:pt x="131569" y="160019"/>
                  </a:cubicBezTo>
                  <a:cubicBezTo>
                    <a:pt x="131569" y="175410"/>
                    <a:pt x="131569" y="190800"/>
                    <a:pt x="131569" y="206191"/>
                  </a:cubicBezTo>
                  <a:cubicBezTo>
                    <a:pt x="131542" y="242388"/>
                    <a:pt x="131462" y="278611"/>
                    <a:pt x="131489" y="314808"/>
                  </a:cubicBezTo>
                  <a:cubicBezTo>
                    <a:pt x="131489" y="338618"/>
                    <a:pt x="134706" y="341835"/>
                    <a:pt x="158355" y="342211"/>
                  </a:cubicBezTo>
                  <a:cubicBezTo>
                    <a:pt x="161894" y="342264"/>
                    <a:pt x="165406" y="342211"/>
                    <a:pt x="169830" y="342211"/>
                  </a:cubicBezTo>
                  <a:lnTo>
                    <a:pt x="169830" y="407740"/>
                  </a:lnTo>
                  <a:lnTo>
                    <a:pt x="0" y="40774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: Shape 7">
              <a:extLst>
                <a:ext uri="{FF2B5EF4-FFF2-40B4-BE49-F238E27FC236}">
                  <a16:creationId xmlns:a16="http://schemas.microsoft.com/office/drawing/2014/main" id="{12BA9759-F6C0-BD49-8E49-7E442A0D67F6}"/>
                </a:ext>
              </a:extLst>
            </p:cNvPr>
            <p:cNvSpPr/>
            <p:nvPr/>
          </p:nvSpPr>
          <p:spPr>
            <a:xfrm>
              <a:off x="9085608" y="260399"/>
              <a:ext cx="223758" cy="279344"/>
            </a:xfrm>
            <a:custGeom>
              <a:avLst/>
              <a:gdLst>
                <a:gd name="connsiteX0" fmla="*/ 27 w 326174"/>
                <a:gd name="connsiteY0" fmla="*/ 0 h 407201"/>
                <a:gd name="connsiteX1" fmla="*/ 319981 w 326174"/>
                <a:gd name="connsiteY1" fmla="*/ 0 h 407201"/>
                <a:gd name="connsiteX2" fmla="*/ 319981 w 326174"/>
                <a:gd name="connsiteY2" fmla="*/ 119879 h 407201"/>
                <a:gd name="connsiteX3" fmla="*/ 235628 w 326174"/>
                <a:gd name="connsiteY3" fmla="*/ 119879 h 407201"/>
                <a:gd name="connsiteX4" fmla="*/ 235682 w 326174"/>
                <a:gd name="connsiteY4" fmla="*/ 98429 h 407201"/>
                <a:gd name="connsiteX5" fmla="*/ 218656 w 326174"/>
                <a:gd name="connsiteY5" fmla="*/ 78936 h 407201"/>
                <a:gd name="connsiteX6" fmla="*/ 152670 w 326174"/>
                <a:gd name="connsiteY6" fmla="*/ 78722 h 407201"/>
                <a:gd name="connsiteX7" fmla="*/ 152670 w 326174"/>
                <a:gd name="connsiteY7" fmla="*/ 156210 h 407201"/>
                <a:gd name="connsiteX8" fmla="*/ 271638 w 326174"/>
                <a:gd name="connsiteY8" fmla="*/ 156210 h 407201"/>
                <a:gd name="connsiteX9" fmla="*/ 271638 w 326174"/>
                <a:gd name="connsiteY9" fmla="*/ 238980 h 407201"/>
                <a:gd name="connsiteX10" fmla="*/ 152858 w 326174"/>
                <a:gd name="connsiteY10" fmla="*/ 238980 h 407201"/>
                <a:gd name="connsiteX11" fmla="*/ 152858 w 326174"/>
                <a:gd name="connsiteY11" fmla="*/ 327542 h 407201"/>
                <a:gd name="connsiteX12" fmla="*/ 227933 w 326174"/>
                <a:gd name="connsiteY12" fmla="*/ 327354 h 407201"/>
                <a:gd name="connsiteX13" fmla="*/ 243163 w 326174"/>
                <a:gd name="connsiteY13" fmla="*/ 308800 h 407201"/>
                <a:gd name="connsiteX14" fmla="*/ 243243 w 326174"/>
                <a:gd name="connsiteY14" fmla="*/ 282685 h 407201"/>
                <a:gd name="connsiteX15" fmla="*/ 326174 w 326174"/>
                <a:gd name="connsiteY15" fmla="*/ 282685 h 407201"/>
                <a:gd name="connsiteX16" fmla="*/ 326174 w 326174"/>
                <a:gd name="connsiteY16" fmla="*/ 407202 h 407201"/>
                <a:gd name="connsiteX17" fmla="*/ 0 w 326174"/>
                <a:gd name="connsiteY17" fmla="*/ 407202 h 407201"/>
                <a:gd name="connsiteX18" fmla="*/ 0 w 326174"/>
                <a:gd name="connsiteY18" fmla="*/ 341216 h 407201"/>
                <a:gd name="connsiteX19" fmla="*/ 17991 w 326174"/>
                <a:gd name="connsiteY19" fmla="*/ 341163 h 407201"/>
                <a:gd name="connsiteX20" fmla="*/ 37001 w 326174"/>
                <a:gd name="connsiteY20" fmla="*/ 321831 h 407201"/>
                <a:gd name="connsiteX21" fmla="*/ 37109 w 326174"/>
                <a:gd name="connsiteY21" fmla="*/ 198493 h 407201"/>
                <a:gd name="connsiteX22" fmla="*/ 37109 w 326174"/>
                <a:gd name="connsiteY22" fmla="*/ 92584 h 407201"/>
                <a:gd name="connsiteX23" fmla="*/ 10216 w 326174"/>
                <a:gd name="connsiteY23" fmla="*/ 64860 h 407201"/>
                <a:gd name="connsiteX24" fmla="*/ 27 w 326174"/>
                <a:gd name="connsiteY24" fmla="*/ 64404 h 407201"/>
                <a:gd name="connsiteX25" fmla="*/ 27 w 326174"/>
                <a:gd name="connsiteY25" fmla="*/ 0 h 407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26174" h="407201">
                  <a:moveTo>
                    <a:pt x="27" y="0"/>
                  </a:moveTo>
                  <a:lnTo>
                    <a:pt x="319981" y="0"/>
                  </a:lnTo>
                  <a:lnTo>
                    <a:pt x="319981" y="119879"/>
                  </a:lnTo>
                  <a:lnTo>
                    <a:pt x="235628" y="119879"/>
                  </a:lnTo>
                  <a:cubicBezTo>
                    <a:pt x="235628" y="112479"/>
                    <a:pt x="235333" y="105427"/>
                    <a:pt x="235682" y="98429"/>
                  </a:cubicBezTo>
                  <a:cubicBezTo>
                    <a:pt x="236272" y="86283"/>
                    <a:pt x="230185" y="79311"/>
                    <a:pt x="218656" y="78936"/>
                  </a:cubicBezTo>
                  <a:cubicBezTo>
                    <a:pt x="196911" y="78239"/>
                    <a:pt x="175139" y="78722"/>
                    <a:pt x="152670" y="78722"/>
                  </a:cubicBezTo>
                  <a:lnTo>
                    <a:pt x="152670" y="156210"/>
                  </a:lnTo>
                  <a:lnTo>
                    <a:pt x="271638" y="156210"/>
                  </a:lnTo>
                  <a:lnTo>
                    <a:pt x="271638" y="238980"/>
                  </a:lnTo>
                  <a:lnTo>
                    <a:pt x="152858" y="238980"/>
                  </a:lnTo>
                  <a:lnTo>
                    <a:pt x="152858" y="327542"/>
                  </a:lnTo>
                  <a:cubicBezTo>
                    <a:pt x="178196" y="327542"/>
                    <a:pt x="203078" y="327944"/>
                    <a:pt x="227933" y="327354"/>
                  </a:cubicBezTo>
                  <a:cubicBezTo>
                    <a:pt x="239007" y="327086"/>
                    <a:pt x="242680" y="318560"/>
                    <a:pt x="243163" y="308800"/>
                  </a:cubicBezTo>
                  <a:cubicBezTo>
                    <a:pt x="243565" y="300408"/>
                    <a:pt x="243243" y="291962"/>
                    <a:pt x="243243" y="282685"/>
                  </a:cubicBezTo>
                  <a:lnTo>
                    <a:pt x="326174" y="282685"/>
                  </a:lnTo>
                  <a:lnTo>
                    <a:pt x="326174" y="407202"/>
                  </a:lnTo>
                  <a:lnTo>
                    <a:pt x="0" y="407202"/>
                  </a:lnTo>
                  <a:lnTo>
                    <a:pt x="0" y="341216"/>
                  </a:lnTo>
                  <a:cubicBezTo>
                    <a:pt x="5872" y="341216"/>
                    <a:pt x="11932" y="341431"/>
                    <a:pt x="17991" y="341163"/>
                  </a:cubicBezTo>
                  <a:cubicBezTo>
                    <a:pt x="33301" y="340519"/>
                    <a:pt x="36948" y="337007"/>
                    <a:pt x="37001" y="321831"/>
                  </a:cubicBezTo>
                  <a:cubicBezTo>
                    <a:pt x="37162" y="280727"/>
                    <a:pt x="37082" y="239624"/>
                    <a:pt x="37109" y="198493"/>
                  </a:cubicBezTo>
                  <a:cubicBezTo>
                    <a:pt x="37109" y="163181"/>
                    <a:pt x="37109" y="127896"/>
                    <a:pt x="37109" y="92584"/>
                  </a:cubicBezTo>
                  <a:cubicBezTo>
                    <a:pt x="37109" y="69015"/>
                    <a:pt x="33650" y="65503"/>
                    <a:pt x="10216" y="64860"/>
                  </a:cubicBezTo>
                  <a:cubicBezTo>
                    <a:pt x="7132" y="64779"/>
                    <a:pt x="4049" y="64591"/>
                    <a:pt x="27" y="64404"/>
                  </a:cubicBezTo>
                  <a:lnTo>
                    <a:pt x="27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: Shape 8">
              <a:extLst>
                <a:ext uri="{FF2B5EF4-FFF2-40B4-BE49-F238E27FC236}">
                  <a16:creationId xmlns:a16="http://schemas.microsoft.com/office/drawing/2014/main" id="{1A10A88B-7F07-6EBE-1881-7C13BB1D86B4}"/>
                </a:ext>
              </a:extLst>
            </p:cNvPr>
            <p:cNvSpPr/>
            <p:nvPr/>
          </p:nvSpPr>
          <p:spPr>
            <a:xfrm>
              <a:off x="9761971" y="250670"/>
              <a:ext cx="204990" cy="298460"/>
            </a:xfrm>
            <a:custGeom>
              <a:avLst/>
              <a:gdLst>
                <a:gd name="connsiteX0" fmla="*/ 248 w 298816"/>
                <a:gd name="connsiteY0" fmla="*/ 286088 h 435066"/>
                <a:gd name="connsiteX1" fmla="*/ 91304 w 298816"/>
                <a:gd name="connsiteY1" fmla="*/ 286088 h 435066"/>
                <a:gd name="connsiteX2" fmla="*/ 91357 w 298816"/>
                <a:gd name="connsiteY2" fmla="*/ 318049 h 435066"/>
                <a:gd name="connsiteX3" fmla="*/ 163242 w 298816"/>
                <a:gd name="connsiteY3" fmla="*/ 359742 h 435066"/>
                <a:gd name="connsiteX4" fmla="*/ 170159 w 298816"/>
                <a:gd name="connsiteY4" fmla="*/ 288662 h 435066"/>
                <a:gd name="connsiteX5" fmla="*/ 124551 w 298816"/>
                <a:gd name="connsiteY5" fmla="*/ 258418 h 435066"/>
                <a:gd name="connsiteX6" fmla="*/ 55455 w 298816"/>
                <a:gd name="connsiteY6" fmla="*/ 215089 h 435066"/>
                <a:gd name="connsiteX7" fmla="*/ 543 w 298816"/>
                <a:gd name="connsiteY7" fmla="*/ 124221 h 435066"/>
                <a:gd name="connsiteX8" fmla="*/ 99240 w 298816"/>
                <a:gd name="connsiteY8" fmla="*/ 4074 h 435066"/>
                <a:gd name="connsiteX9" fmla="*/ 267891 w 298816"/>
                <a:gd name="connsiteY9" fmla="*/ 20430 h 435066"/>
                <a:gd name="connsiteX10" fmla="*/ 278509 w 298816"/>
                <a:gd name="connsiteY10" fmla="*/ 31021 h 435066"/>
                <a:gd name="connsiteX11" fmla="*/ 278991 w 298816"/>
                <a:gd name="connsiteY11" fmla="*/ 136501 h 435066"/>
                <a:gd name="connsiteX12" fmla="*/ 191153 w 298816"/>
                <a:gd name="connsiteY12" fmla="*/ 136501 h 435066"/>
                <a:gd name="connsiteX13" fmla="*/ 191019 w 298816"/>
                <a:gd name="connsiteY13" fmla="*/ 100706 h 435066"/>
                <a:gd name="connsiteX14" fmla="*/ 161928 w 298816"/>
                <a:gd name="connsiteY14" fmla="*/ 65796 h 435066"/>
                <a:gd name="connsiteX15" fmla="*/ 113933 w 298816"/>
                <a:gd name="connsiteY15" fmla="*/ 83493 h 435066"/>
                <a:gd name="connsiteX16" fmla="*/ 122165 w 298816"/>
                <a:gd name="connsiteY16" fmla="*/ 131648 h 435066"/>
                <a:gd name="connsiteX17" fmla="*/ 172438 w 298816"/>
                <a:gd name="connsiteY17" fmla="*/ 164386 h 435066"/>
                <a:gd name="connsiteX18" fmla="*/ 246360 w 298816"/>
                <a:gd name="connsiteY18" fmla="*/ 207447 h 435066"/>
                <a:gd name="connsiteX19" fmla="*/ 294945 w 298816"/>
                <a:gd name="connsiteY19" fmla="*/ 337836 h 435066"/>
                <a:gd name="connsiteX20" fmla="*/ 194746 w 298816"/>
                <a:gd name="connsiteY20" fmla="*/ 430259 h 435066"/>
                <a:gd name="connsiteX21" fmla="*/ 12448 w 298816"/>
                <a:gd name="connsiteY21" fmla="*/ 415432 h 435066"/>
                <a:gd name="connsiteX22" fmla="*/ 7 w 298816"/>
                <a:gd name="connsiteY22" fmla="*/ 398915 h 435066"/>
                <a:gd name="connsiteX23" fmla="*/ 275 w 298816"/>
                <a:gd name="connsiteY23" fmla="*/ 286088 h 4350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98816" h="435066">
                  <a:moveTo>
                    <a:pt x="248" y="286088"/>
                  </a:moveTo>
                  <a:lnTo>
                    <a:pt x="91304" y="286088"/>
                  </a:lnTo>
                  <a:cubicBezTo>
                    <a:pt x="91304" y="296921"/>
                    <a:pt x="90982" y="307485"/>
                    <a:pt x="91357" y="318049"/>
                  </a:cubicBezTo>
                  <a:cubicBezTo>
                    <a:pt x="92725" y="356283"/>
                    <a:pt x="129351" y="377439"/>
                    <a:pt x="163242" y="359742"/>
                  </a:cubicBezTo>
                  <a:cubicBezTo>
                    <a:pt x="188070" y="346765"/>
                    <a:pt x="192682" y="307994"/>
                    <a:pt x="170159" y="288662"/>
                  </a:cubicBezTo>
                  <a:cubicBezTo>
                    <a:pt x="156431" y="276865"/>
                    <a:pt x="139995" y="268151"/>
                    <a:pt x="124551" y="258418"/>
                  </a:cubicBezTo>
                  <a:cubicBezTo>
                    <a:pt x="101546" y="243912"/>
                    <a:pt x="77388" y="231015"/>
                    <a:pt x="55455" y="215089"/>
                  </a:cubicBezTo>
                  <a:cubicBezTo>
                    <a:pt x="24808" y="192834"/>
                    <a:pt x="2903" y="163823"/>
                    <a:pt x="543" y="124221"/>
                  </a:cubicBezTo>
                  <a:cubicBezTo>
                    <a:pt x="-3103" y="63142"/>
                    <a:pt x="37437" y="13405"/>
                    <a:pt x="99240" y="4074"/>
                  </a:cubicBezTo>
                  <a:cubicBezTo>
                    <a:pt x="156646" y="-4613"/>
                    <a:pt x="213140" y="481"/>
                    <a:pt x="267891" y="20430"/>
                  </a:cubicBezTo>
                  <a:cubicBezTo>
                    <a:pt x="272288" y="22038"/>
                    <a:pt x="278428" y="27321"/>
                    <a:pt x="278509" y="31021"/>
                  </a:cubicBezTo>
                  <a:cubicBezTo>
                    <a:pt x="279313" y="65823"/>
                    <a:pt x="278991" y="100653"/>
                    <a:pt x="278991" y="136501"/>
                  </a:cubicBezTo>
                  <a:lnTo>
                    <a:pt x="191153" y="136501"/>
                  </a:lnTo>
                  <a:cubicBezTo>
                    <a:pt x="191153" y="124543"/>
                    <a:pt x="191797" y="112584"/>
                    <a:pt x="191019" y="100706"/>
                  </a:cubicBezTo>
                  <a:cubicBezTo>
                    <a:pt x="189679" y="80677"/>
                    <a:pt x="179678" y="69202"/>
                    <a:pt x="161928" y="65796"/>
                  </a:cubicBezTo>
                  <a:cubicBezTo>
                    <a:pt x="140317" y="61641"/>
                    <a:pt x="122138" y="68370"/>
                    <a:pt x="113933" y="83493"/>
                  </a:cubicBezTo>
                  <a:cubicBezTo>
                    <a:pt x="104281" y="101323"/>
                    <a:pt x="105809" y="118349"/>
                    <a:pt x="122165" y="131648"/>
                  </a:cubicBezTo>
                  <a:cubicBezTo>
                    <a:pt x="137582" y="144196"/>
                    <a:pt x="155251" y="154117"/>
                    <a:pt x="172438" y="164386"/>
                  </a:cubicBezTo>
                  <a:cubicBezTo>
                    <a:pt x="196918" y="179026"/>
                    <a:pt x="222765" y="191547"/>
                    <a:pt x="246360" y="207447"/>
                  </a:cubicBezTo>
                  <a:cubicBezTo>
                    <a:pt x="290601" y="237236"/>
                    <a:pt x="307091" y="283863"/>
                    <a:pt x="294945" y="337836"/>
                  </a:cubicBezTo>
                  <a:cubicBezTo>
                    <a:pt x="284300" y="385161"/>
                    <a:pt x="244081" y="422081"/>
                    <a:pt x="194746" y="430259"/>
                  </a:cubicBezTo>
                  <a:cubicBezTo>
                    <a:pt x="132702" y="440555"/>
                    <a:pt x="72186" y="433718"/>
                    <a:pt x="12448" y="415432"/>
                  </a:cubicBezTo>
                  <a:cubicBezTo>
                    <a:pt x="3439" y="412670"/>
                    <a:pt x="-181" y="408970"/>
                    <a:pt x="7" y="398915"/>
                  </a:cubicBezTo>
                  <a:cubicBezTo>
                    <a:pt x="704" y="361834"/>
                    <a:pt x="275" y="324752"/>
                    <a:pt x="275" y="286088"/>
                  </a:cubicBezTo>
                  <a:close/>
                </a:path>
              </a:pathLst>
            </a:custGeom>
            <a:grpFill/>
            <a:ln w="254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10" name="Imagen 9" descr="Un grupo de personas en un salón&#10;&#10;Descripción generada automáticamente con confianza media">
            <a:extLst>
              <a:ext uri="{FF2B5EF4-FFF2-40B4-BE49-F238E27FC236}">
                <a16:creationId xmlns:a16="http://schemas.microsoft.com/office/drawing/2014/main" id="{DB462841-3406-BDBC-A15F-FFBA06A9DD5A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37030" y="1200154"/>
            <a:ext cx="2233247" cy="1674935"/>
          </a:xfrm>
          <a:prstGeom prst="rect">
            <a:avLst/>
          </a:prstGeom>
        </p:spPr>
      </p:pic>
      <p:pic>
        <p:nvPicPr>
          <p:cNvPr id="14" name="Imagen 13" descr="Grupo de personas en medio de campo&#10;&#10;Descripción generada automáticamente">
            <a:extLst>
              <a:ext uri="{FF2B5EF4-FFF2-40B4-BE49-F238E27FC236}">
                <a16:creationId xmlns:a16="http://schemas.microsoft.com/office/drawing/2014/main" id="{7121F9F7-E6E5-6AA9-CE51-F89F172A400F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37030" y="2875088"/>
            <a:ext cx="2233247" cy="16749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381883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BB92681-FB88-45E3-3C72-346164C2A2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9767" y="144738"/>
            <a:ext cx="7520681" cy="375010"/>
          </a:xfrm>
        </p:spPr>
        <p:txBody>
          <a:bodyPr/>
          <a:lstStyle/>
          <a:p>
            <a:r>
              <a:rPr lang="en-GB" dirty="0"/>
              <a:t>Días de campo 2023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7D900A45-C741-FD34-A8C2-555C15BCCD1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Mayo/Junio 2023</a:t>
            </a:r>
          </a:p>
        </p:txBody>
      </p:sp>
      <p:grpSp>
        <p:nvGrpSpPr>
          <p:cNvPr id="5" name="Group 9">
            <a:extLst>
              <a:ext uri="{FF2B5EF4-FFF2-40B4-BE49-F238E27FC236}">
                <a16:creationId xmlns:a16="http://schemas.microsoft.com/office/drawing/2014/main" id="{51A68D77-E509-9CA7-502C-3AD1A29886E8}"/>
              </a:ext>
            </a:extLst>
          </p:cNvPr>
          <p:cNvGrpSpPr/>
          <p:nvPr/>
        </p:nvGrpSpPr>
        <p:grpSpPr>
          <a:xfrm rot="16200000">
            <a:off x="8457754" y="4009197"/>
            <a:ext cx="927501" cy="230656"/>
            <a:chOff x="8766811" y="250670"/>
            <a:chExt cx="1200150" cy="298460"/>
          </a:xfrm>
          <a:solidFill>
            <a:schemeClr val="bg1">
              <a:alpha val="42000"/>
            </a:schemeClr>
          </a:solidFill>
        </p:grpSpPr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03E3B24B-4A1C-0A5F-3F5E-9D0FE1F6B565}"/>
                </a:ext>
              </a:extLst>
            </p:cNvPr>
            <p:cNvSpPr/>
            <p:nvPr/>
          </p:nvSpPr>
          <p:spPr>
            <a:xfrm>
              <a:off x="9340947" y="259788"/>
              <a:ext cx="396639" cy="280066"/>
            </a:xfrm>
            <a:custGeom>
              <a:avLst/>
              <a:gdLst>
                <a:gd name="connsiteX0" fmla="*/ 188626 w 578185"/>
                <a:gd name="connsiteY0" fmla="*/ 247351 h 408253"/>
                <a:gd name="connsiteX1" fmla="*/ 209084 w 578185"/>
                <a:gd name="connsiteY1" fmla="*/ 156671 h 408253"/>
                <a:gd name="connsiteX2" fmla="*/ 241634 w 578185"/>
                <a:gd name="connsiteY2" fmla="*/ 10757 h 408253"/>
                <a:gd name="connsiteX3" fmla="*/ 255014 w 578185"/>
                <a:gd name="connsiteY3" fmla="*/ 5 h 408253"/>
                <a:gd name="connsiteX4" fmla="*/ 343468 w 578185"/>
                <a:gd name="connsiteY4" fmla="*/ 86 h 408253"/>
                <a:gd name="connsiteX5" fmla="*/ 356258 w 578185"/>
                <a:gd name="connsiteY5" fmla="*/ 9926 h 408253"/>
                <a:gd name="connsiteX6" fmla="*/ 402000 w 578185"/>
                <a:gd name="connsiteY6" fmla="*/ 237699 h 408253"/>
                <a:gd name="connsiteX7" fmla="*/ 406853 w 578185"/>
                <a:gd name="connsiteY7" fmla="*/ 247646 h 408253"/>
                <a:gd name="connsiteX8" fmla="*/ 443881 w 578185"/>
                <a:gd name="connsiteY8" fmla="*/ 88487 h 408253"/>
                <a:gd name="connsiteX9" fmla="*/ 418275 w 578185"/>
                <a:gd name="connsiteY9" fmla="*/ 64463 h 408253"/>
                <a:gd name="connsiteX10" fmla="*/ 418275 w 578185"/>
                <a:gd name="connsiteY10" fmla="*/ 1132 h 408253"/>
                <a:gd name="connsiteX11" fmla="*/ 578185 w 578185"/>
                <a:gd name="connsiteY11" fmla="*/ 1132 h 408253"/>
                <a:gd name="connsiteX12" fmla="*/ 578185 w 578185"/>
                <a:gd name="connsiteY12" fmla="*/ 65482 h 408253"/>
                <a:gd name="connsiteX13" fmla="*/ 535580 w 578185"/>
                <a:gd name="connsiteY13" fmla="*/ 107309 h 408253"/>
                <a:gd name="connsiteX14" fmla="*/ 450423 w 578185"/>
                <a:gd name="connsiteY14" fmla="*/ 398306 h 408253"/>
                <a:gd name="connsiteX15" fmla="*/ 447072 w 578185"/>
                <a:gd name="connsiteY15" fmla="*/ 408146 h 408253"/>
                <a:gd name="connsiteX16" fmla="*/ 338964 w 578185"/>
                <a:gd name="connsiteY16" fmla="*/ 408146 h 408253"/>
                <a:gd name="connsiteX17" fmla="*/ 289414 w 578185"/>
                <a:gd name="connsiteY17" fmla="*/ 183832 h 408253"/>
                <a:gd name="connsiteX18" fmla="*/ 287189 w 578185"/>
                <a:gd name="connsiteY18" fmla="*/ 183644 h 408253"/>
                <a:gd name="connsiteX19" fmla="*/ 234663 w 578185"/>
                <a:gd name="connsiteY19" fmla="*/ 408253 h 408253"/>
                <a:gd name="connsiteX20" fmla="*/ 124035 w 578185"/>
                <a:gd name="connsiteY20" fmla="*/ 408253 h 408253"/>
                <a:gd name="connsiteX21" fmla="*/ 101941 w 578185"/>
                <a:gd name="connsiteY21" fmla="*/ 325536 h 408253"/>
                <a:gd name="connsiteX22" fmla="*/ 42176 w 578185"/>
                <a:gd name="connsiteY22" fmla="*/ 100874 h 408253"/>
                <a:gd name="connsiteX23" fmla="*/ 0 w 578185"/>
                <a:gd name="connsiteY23" fmla="*/ 66072 h 408253"/>
                <a:gd name="connsiteX24" fmla="*/ 0 w 578185"/>
                <a:gd name="connsiteY24" fmla="*/ 1266 h 408253"/>
                <a:gd name="connsiteX25" fmla="*/ 183880 w 578185"/>
                <a:gd name="connsiteY25" fmla="*/ 1266 h 408253"/>
                <a:gd name="connsiteX26" fmla="*/ 183880 w 578185"/>
                <a:gd name="connsiteY26" fmla="*/ 64650 h 408253"/>
                <a:gd name="connsiteX27" fmla="*/ 157658 w 578185"/>
                <a:gd name="connsiteY27" fmla="*/ 101920 h 408253"/>
                <a:gd name="connsiteX28" fmla="*/ 185677 w 578185"/>
                <a:gd name="connsiteY28" fmla="*/ 247485 h 408253"/>
                <a:gd name="connsiteX29" fmla="*/ 188599 w 578185"/>
                <a:gd name="connsiteY29" fmla="*/ 247351 h 408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78185" h="408253">
                  <a:moveTo>
                    <a:pt x="188626" y="247351"/>
                  </a:moveTo>
                  <a:cubicBezTo>
                    <a:pt x="195436" y="217133"/>
                    <a:pt x="202300" y="186889"/>
                    <a:pt x="209084" y="156671"/>
                  </a:cubicBezTo>
                  <a:cubicBezTo>
                    <a:pt x="219997" y="108033"/>
                    <a:pt x="230883" y="59422"/>
                    <a:pt x="241634" y="10757"/>
                  </a:cubicBezTo>
                  <a:cubicBezTo>
                    <a:pt x="243297" y="3250"/>
                    <a:pt x="246461" y="-155"/>
                    <a:pt x="255014" y="5"/>
                  </a:cubicBezTo>
                  <a:cubicBezTo>
                    <a:pt x="284481" y="595"/>
                    <a:pt x="314001" y="461"/>
                    <a:pt x="343468" y="86"/>
                  </a:cubicBezTo>
                  <a:cubicBezTo>
                    <a:pt x="351056" y="-21"/>
                    <a:pt x="354756" y="2285"/>
                    <a:pt x="356258" y="9926"/>
                  </a:cubicBezTo>
                  <a:cubicBezTo>
                    <a:pt x="371353" y="85886"/>
                    <a:pt x="386690" y="161792"/>
                    <a:pt x="402000" y="237699"/>
                  </a:cubicBezTo>
                  <a:cubicBezTo>
                    <a:pt x="402670" y="241050"/>
                    <a:pt x="403770" y="244321"/>
                    <a:pt x="406853" y="247646"/>
                  </a:cubicBezTo>
                  <a:cubicBezTo>
                    <a:pt x="419240" y="194611"/>
                    <a:pt x="431896" y="141602"/>
                    <a:pt x="443881" y="88487"/>
                  </a:cubicBezTo>
                  <a:cubicBezTo>
                    <a:pt x="447367" y="73043"/>
                    <a:pt x="441843" y="68377"/>
                    <a:pt x="418275" y="64463"/>
                  </a:cubicBezTo>
                  <a:lnTo>
                    <a:pt x="418275" y="1132"/>
                  </a:lnTo>
                  <a:lnTo>
                    <a:pt x="578185" y="1132"/>
                  </a:lnTo>
                  <a:lnTo>
                    <a:pt x="578185" y="65482"/>
                  </a:lnTo>
                  <a:cubicBezTo>
                    <a:pt x="549657" y="64302"/>
                    <a:pt x="542122" y="84626"/>
                    <a:pt x="535580" y="107309"/>
                  </a:cubicBezTo>
                  <a:cubicBezTo>
                    <a:pt x="507534" y="204397"/>
                    <a:pt x="478871" y="301325"/>
                    <a:pt x="450423" y="398306"/>
                  </a:cubicBezTo>
                  <a:cubicBezTo>
                    <a:pt x="449431" y="401657"/>
                    <a:pt x="448171" y="404955"/>
                    <a:pt x="447072" y="408146"/>
                  </a:cubicBezTo>
                  <a:lnTo>
                    <a:pt x="338964" y="408146"/>
                  </a:lnTo>
                  <a:cubicBezTo>
                    <a:pt x="322367" y="333044"/>
                    <a:pt x="305904" y="258425"/>
                    <a:pt x="289414" y="183832"/>
                  </a:cubicBezTo>
                  <a:lnTo>
                    <a:pt x="287189" y="183644"/>
                  </a:lnTo>
                  <a:cubicBezTo>
                    <a:pt x="269707" y="258398"/>
                    <a:pt x="252225" y="333151"/>
                    <a:pt x="234663" y="408253"/>
                  </a:cubicBezTo>
                  <a:lnTo>
                    <a:pt x="124035" y="408253"/>
                  </a:lnTo>
                  <a:cubicBezTo>
                    <a:pt x="116742" y="381012"/>
                    <a:pt x="109315" y="353287"/>
                    <a:pt x="101941" y="325536"/>
                  </a:cubicBezTo>
                  <a:cubicBezTo>
                    <a:pt x="82019" y="250649"/>
                    <a:pt x="62151" y="175735"/>
                    <a:pt x="42176" y="100874"/>
                  </a:cubicBezTo>
                  <a:cubicBezTo>
                    <a:pt x="36519" y="79665"/>
                    <a:pt x="28207" y="61192"/>
                    <a:pt x="0" y="66072"/>
                  </a:cubicBezTo>
                  <a:lnTo>
                    <a:pt x="0" y="1266"/>
                  </a:lnTo>
                  <a:lnTo>
                    <a:pt x="183880" y="1266"/>
                  </a:lnTo>
                  <a:lnTo>
                    <a:pt x="183880" y="64650"/>
                  </a:lnTo>
                  <a:cubicBezTo>
                    <a:pt x="152107" y="68726"/>
                    <a:pt x="151437" y="69691"/>
                    <a:pt x="157658" y="101920"/>
                  </a:cubicBezTo>
                  <a:cubicBezTo>
                    <a:pt x="167015" y="150451"/>
                    <a:pt x="176346" y="198954"/>
                    <a:pt x="185677" y="247485"/>
                  </a:cubicBezTo>
                  <a:lnTo>
                    <a:pt x="188599" y="247351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615BDDC7-4C87-A1BF-9DFD-929C73E6DFC7}"/>
                </a:ext>
              </a:extLst>
            </p:cNvPr>
            <p:cNvSpPr/>
            <p:nvPr/>
          </p:nvSpPr>
          <p:spPr>
            <a:xfrm>
              <a:off x="8766811" y="259809"/>
              <a:ext cx="277264" cy="283641"/>
            </a:xfrm>
            <a:custGeom>
              <a:avLst/>
              <a:gdLst>
                <a:gd name="connsiteX0" fmla="*/ 0 w 404171"/>
                <a:gd name="connsiteY0" fmla="*/ 407794 h 413465"/>
                <a:gd name="connsiteX1" fmla="*/ 0 w 404171"/>
                <a:gd name="connsiteY1" fmla="*/ 342854 h 413465"/>
                <a:gd name="connsiteX2" fmla="*/ 21879 w 404171"/>
                <a:gd name="connsiteY2" fmla="*/ 341835 h 413465"/>
                <a:gd name="connsiteX3" fmla="*/ 38422 w 404171"/>
                <a:gd name="connsiteY3" fmla="*/ 324970 h 413465"/>
                <a:gd name="connsiteX4" fmla="*/ 38664 w 404171"/>
                <a:gd name="connsiteY4" fmla="*/ 280729 h 413465"/>
                <a:gd name="connsiteX5" fmla="*/ 38664 w 404171"/>
                <a:gd name="connsiteY5" fmla="*/ 99691 h 413465"/>
                <a:gd name="connsiteX6" fmla="*/ 6274 w 404171"/>
                <a:gd name="connsiteY6" fmla="*/ 65773 h 413465"/>
                <a:gd name="connsiteX7" fmla="*/ 134 w 404171"/>
                <a:gd name="connsiteY7" fmla="*/ 65076 h 413465"/>
                <a:gd name="connsiteX8" fmla="*/ 134 w 404171"/>
                <a:gd name="connsiteY8" fmla="*/ 860 h 413465"/>
                <a:gd name="connsiteX9" fmla="*/ 12843 w 404171"/>
                <a:gd name="connsiteY9" fmla="*/ 190 h 413465"/>
                <a:gd name="connsiteX10" fmla="*/ 156263 w 404171"/>
                <a:gd name="connsiteY10" fmla="*/ 2 h 413465"/>
                <a:gd name="connsiteX11" fmla="*/ 173852 w 404171"/>
                <a:gd name="connsiteY11" fmla="*/ 11961 h 413465"/>
                <a:gd name="connsiteX12" fmla="*/ 265605 w 404171"/>
                <a:gd name="connsiteY12" fmla="*/ 219811 h 413465"/>
                <a:gd name="connsiteX13" fmla="*/ 273675 w 404171"/>
                <a:gd name="connsiteY13" fmla="*/ 231260 h 413465"/>
                <a:gd name="connsiteX14" fmla="*/ 273675 w 404171"/>
                <a:gd name="connsiteY14" fmla="*/ 204153 h 413465"/>
                <a:gd name="connsiteX15" fmla="*/ 273675 w 404171"/>
                <a:gd name="connsiteY15" fmla="*/ 103579 h 413465"/>
                <a:gd name="connsiteX16" fmla="*/ 237103 w 404171"/>
                <a:gd name="connsiteY16" fmla="*/ 65130 h 413465"/>
                <a:gd name="connsiteX17" fmla="*/ 237103 w 404171"/>
                <a:gd name="connsiteY17" fmla="*/ 941 h 413465"/>
                <a:gd name="connsiteX18" fmla="*/ 404172 w 404171"/>
                <a:gd name="connsiteY18" fmla="*/ 941 h 413465"/>
                <a:gd name="connsiteX19" fmla="*/ 404172 w 404171"/>
                <a:gd name="connsiteY19" fmla="*/ 64245 h 413465"/>
                <a:gd name="connsiteX20" fmla="*/ 401759 w 404171"/>
                <a:gd name="connsiteY20" fmla="*/ 65398 h 413465"/>
                <a:gd name="connsiteX21" fmla="*/ 365374 w 404171"/>
                <a:gd name="connsiteY21" fmla="*/ 103445 h 413465"/>
                <a:gd name="connsiteX22" fmla="*/ 365508 w 404171"/>
                <a:gd name="connsiteY22" fmla="*/ 394441 h 413465"/>
                <a:gd name="connsiteX23" fmla="*/ 365508 w 404171"/>
                <a:gd name="connsiteY23" fmla="*/ 412004 h 413465"/>
                <a:gd name="connsiteX24" fmla="*/ 299201 w 404171"/>
                <a:gd name="connsiteY24" fmla="*/ 411977 h 413465"/>
                <a:gd name="connsiteX25" fmla="*/ 254665 w 404171"/>
                <a:gd name="connsiteY25" fmla="*/ 409698 h 413465"/>
                <a:gd name="connsiteX26" fmla="*/ 233752 w 404171"/>
                <a:gd name="connsiteY26" fmla="*/ 370498 h 413465"/>
                <a:gd name="connsiteX27" fmla="*/ 139613 w 404171"/>
                <a:gd name="connsiteY27" fmla="*/ 170986 h 413465"/>
                <a:gd name="connsiteX28" fmla="*/ 131569 w 404171"/>
                <a:gd name="connsiteY28" fmla="*/ 160019 h 413465"/>
                <a:gd name="connsiteX29" fmla="*/ 131569 w 404171"/>
                <a:gd name="connsiteY29" fmla="*/ 206191 h 413465"/>
                <a:gd name="connsiteX30" fmla="*/ 131489 w 404171"/>
                <a:gd name="connsiteY30" fmla="*/ 314808 h 413465"/>
                <a:gd name="connsiteX31" fmla="*/ 158355 w 404171"/>
                <a:gd name="connsiteY31" fmla="*/ 342211 h 413465"/>
                <a:gd name="connsiteX32" fmla="*/ 169830 w 404171"/>
                <a:gd name="connsiteY32" fmla="*/ 342211 h 413465"/>
                <a:gd name="connsiteX33" fmla="*/ 169830 w 404171"/>
                <a:gd name="connsiteY33" fmla="*/ 407740 h 413465"/>
                <a:gd name="connsiteX34" fmla="*/ 0 w 404171"/>
                <a:gd name="connsiteY34" fmla="*/ 407740 h 41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404171" h="413465">
                  <a:moveTo>
                    <a:pt x="0" y="407794"/>
                  </a:moveTo>
                  <a:lnTo>
                    <a:pt x="0" y="342854"/>
                  </a:lnTo>
                  <a:cubicBezTo>
                    <a:pt x="7776" y="342506"/>
                    <a:pt x="14827" y="342184"/>
                    <a:pt x="21879" y="341835"/>
                  </a:cubicBezTo>
                  <a:cubicBezTo>
                    <a:pt x="32550" y="341299"/>
                    <a:pt x="38342" y="335910"/>
                    <a:pt x="38422" y="324970"/>
                  </a:cubicBezTo>
                  <a:cubicBezTo>
                    <a:pt x="38530" y="310223"/>
                    <a:pt x="38664" y="295476"/>
                    <a:pt x="38664" y="280729"/>
                  </a:cubicBezTo>
                  <a:cubicBezTo>
                    <a:pt x="38664" y="220374"/>
                    <a:pt x="38664" y="160046"/>
                    <a:pt x="38664" y="99691"/>
                  </a:cubicBezTo>
                  <a:cubicBezTo>
                    <a:pt x="38664" y="69581"/>
                    <a:pt x="36197" y="67034"/>
                    <a:pt x="6274" y="65773"/>
                  </a:cubicBezTo>
                  <a:cubicBezTo>
                    <a:pt x="4531" y="65693"/>
                    <a:pt x="2789" y="65371"/>
                    <a:pt x="134" y="65076"/>
                  </a:cubicBezTo>
                  <a:lnTo>
                    <a:pt x="134" y="860"/>
                  </a:lnTo>
                  <a:cubicBezTo>
                    <a:pt x="4317" y="619"/>
                    <a:pt x="8580" y="190"/>
                    <a:pt x="12843" y="190"/>
                  </a:cubicBezTo>
                  <a:cubicBezTo>
                    <a:pt x="60650" y="190"/>
                    <a:pt x="108457" y="565"/>
                    <a:pt x="156263" y="2"/>
                  </a:cubicBezTo>
                  <a:cubicBezTo>
                    <a:pt x="166077" y="-105"/>
                    <a:pt x="170233" y="3649"/>
                    <a:pt x="173852" y="11961"/>
                  </a:cubicBezTo>
                  <a:cubicBezTo>
                    <a:pt x="204231" y="81351"/>
                    <a:pt x="234958" y="150555"/>
                    <a:pt x="265605" y="219811"/>
                  </a:cubicBezTo>
                  <a:cubicBezTo>
                    <a:pt x="267348" y="223753"/>
                    <a:pt x="269251" y="227641"/>
                    <a:pt x="273675" y="231260"/>
                  </a:cubicBezTo>
                  <a:cubicBezTo>
                    <a:pt x="273675" y="222224"/>
                    <a:pt x="273675" y="213189"/>
                    <a:pt x="273675" y="204153"/>
                  </a:cubicBezTo>
                  <a:cubicBezTo>
                    <a:pt x="273675" y="170637"/>
                    <a:pt x="273675" y="137095"/>
                    <a:pt x="273675" y="103579"/>
                  </a:cubicBezTo>
                  <a:cubicBezTo>
                    <a:pt x="273675" y="69152"/>
                    <a:pt x="272388" y="67784"/>
                    <a:pt x="237103" y="65130"/>
                  </a:cubicBezTo>
                  <a:lnTo>
                    <a:pt x="237103" y="941"/>
                  </a:lnTo>
                  <a:lnTo>
                    <a:pt x="404172" y="941"/>
                  </a:lnTo>
                  <a:lnTo>
                    <a:pt x="404172" y="64245"/>
                  </a:lnTo>
                  <a:cubicBezTo>
                    <a:pt x="403260" y="64701"/>
                    <a:pt x="402536" y="65344"/>
                    <a:pt x="401759" y="65398"/>
                  </a:cubicBezTo>
                  <a:cubicBezTo>
                    <a:pt x="365991" y="67168"/>
                    <a:pt x="365347" y="67838"/>
                    <a:pt x="365374" y="103445"/>
                  </a:cubicBezTo>
                  <a:cubicBezTo>
                    <a:pt x="365428" y="200453"/>
                    <a:pt x="365481" y="297434"/>
                    <a:pt x="365508" y="394441"/>
                  </a:cubicBezTo>
                  <a:cubicBezTo>
                    <a:pt x="365508" y="399723"/>
                    <a:pt x="365508" y="404979"/>
                    <a:pt x="365508" y="412004"/>
                  </a:cubicBezTo>
                  <a:cubicBezTo>
                    <a:pt x="342637" y="412004"/>
                    <a:pt x="320919" y="412111"/>
                    <a:pt x="299201" y="411977"/>
                  </a:cubicBezTo>
                  <a:cubicBezTo>
                    <a:pt x="284052" y="411870"/>
                    <a:pt x="265632" y="416615"/>
                    <a:pt x="254665" y="409698"/>
                  </a:cubicBezTo>
                  <a:cubicBezTo>
                    <a:pt x="243779" y="402834"/>
                    <a:pt x="240187" y="384145"/>
                    <a:pt x="233752" y="370498"/>
                  </a:cubicBezTo>
                  <a:cubicBezTo>
                    <a:pt x="202327" y="304030"/>
                    <a:pt x="171010" y="237481"/>
                    <a:pt x="139613" y="170986"/>
                  </a:cubicBezTo>
                  <a:cubicBezTo>
                    <a:pt x="137790" y="167125"/>
                    <a:pt x="135725" y="163398"/>
                    <a:pt x="131569" y="160019"/>
                  </a:cubicBezTo>
                  <a:cubicBezTo>
                    <a:pt x="131569" y="175410"/>
                    <a:pt x="131569" y="190800"/>
                    <a:pt x="131569" y="206191"/>
                  </a:cubicBezTo>
                  <a:cubicBezTo>
                    <a:pt x="131542" y="242388"/>
                    <a:pt x="131462" y="278611"/>
                    <a:pt x="131489" y="314808"/>
                  </a:cubicBezTo>
                  <a:cubicBezTo>
                    <a:pt x="131489" y="338618"/>
                    <a:pt x="134706" y="341835"/>
                    <a:pt x="158355" y="342211"/>
                  </a:cubicBezTo>
                  <a:cubicBezTo>
                    <a:pt x="161894" y="342264"/>
                    <a:pt x="165406" y="342211"/>
                    <a:pt x="169830" y="342211"/>
                  </a:cubicBezTo>
                  <a:lnTo>
                    <a:pt x="169830" y="407740"/>
                  </a:lnTo>
                  <a:lnTo>
                    <a:pt x="0" y="40774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B4AE5FD3-B6BF-597F-33DA-DED2069FBF83}"/>
                </a:ext>
              </a:extLst>
            </p:cNvPr>
            <p:cNvSpPr/>
            <p:nvPr/>
          </p:nvSpPr>
          <p:spPr>
            <a:xfrm>
              <a:off x="9085608" y="260399"/>
              <a:ext cx="223758" cy="279344"/>
            </a:xfrm>
            <a:custGeom>
              <a:avLst/>
              <a:gdLst>
                <a:gd name="connsiteX0" fmla="*/ 27 w 326174"/>
                <a:gd name="connsiteY0" fmla="*/ 0 h 407201"/>
                <a:gd name="connsiteX1" fmla="*/ 319981 w 326174"/>
                <a:gd name="connsiteY1" fmla="*/ 0 h 407201"/>
                <a:gd name="connsiteX2" fmla="*/ 319981 w 326174"/>
                <a:gd name="connsiteY2" fmla="*/ 119879 h 407201"/>
                <a:gd name="connsiteX3" fmla="*/ 235628 w 326174"/>
                <a:gd name="connsiteY3" fmla="*/ 119879 h 407201"/>
                <a:gd name="connsiteX4" fmla="*/ 235682 w 326174"/>
                <a:gd name="connsiteY4" fmla="*/ 98429 h 407201"/>
                <a:gd name="connsiteX5" fmla="*/ 218656 w 326174"/>
                <a:gd name="connsiteY5" fmla="*/ 78936 h 407201"/>
                <a:gd name="connsiteX6" fmla="*/ 152670 w 326174"/>
                <a:gd name="connsiteY6" fmla="*/ 78722 h 407201"/>
                <a:gd name="connsiteX7" fmla="*/ 152670 w 326174"/>
                <a:gd name="connsiteY7" fmla="*/ 156210 h 407201"/>
                <a:gd name="connsiteX8" fmla="*/ 271638 w 326174"/>
                <a:gd name="connsiteY8" fmla="*/ 156210 h 407201"/>
                <a:gd name="connsiteX9" fmla="*/ 271638 w 326174"/>
                <a:gd name="connsiteY9" fmla="*/ 238980 h 407201"/>
                <a:gd name="connsiteX10" fmla="*/ 152858 w 326174"/>
                <a:gd name="connsiteY10" fmla="*/ 238980 h 407201"/>
                <a:gd name="connsiteX11" fmla="*/ 152858 w 326174"/>
                <a:gd name="connsiteY11" fmla="*/ 327542 h 407201"/>
                <a:gd name="connsiteX12" fmla="*/ 227933 w 326174"/>
                <a:gd name="connsiteY12" fmla="*/ 327354 h 407201"/>
                <a:gd name="connsiteX13" fmla="*/ 243163 w 326174"/>
                <a:gd name="connsiteY13" fmla="*/ 308800 h 407201"/>
                <a:gd name="connsiteX14" fmla="*/ 243243 w 326174"/>
                <a:gd name="connsiteY14" fmla="*/ 282685 h 407201"/>
                <a:gd name="connsiteX15" fmla="*/ 326174 w 326174"/>
                <a:gd name="connsiteY15" fmla="*/ 282685 h 407201"/>
                <a:gd name="connsiteX16" fmla="*/ 326174 w 326174"/>
                <a:gd name="connsiteY16" fmla="*/ 407202 h 407201"/>
                <a:gd name="connsiteX17" fmla="*/ 0 w 326174"/>
                <a:gd name="connsiteY17" fmla="*/ 407202 h 407201"/>
                <a:gd name="connsiteX18" fmla="*/ 0 w 326174"/>
                <a:gd name="connsiteY18" fmla="*/ 341216 h 407201"/>
                <a:gd name="connsiteX19" fmla="*/ 17991 w 326174"/>
                <a:gd name="connsiteY19" fmla="*/ 341163 h 407201"/>
                <a:gd name="connsiteX20" fmla="*/ 37001 w 326174"/>
                <a:gd name="connsiteY20" fmla="*/ 321831 h 407201"/>
                <a:gd name="connsiteX21" fmla="*/ 37109 w 326174"/>
                <a:gd name="connsiteY21" fmla="*/ 198493 h 407201"/>
                <a:gd name="connsiteX22" fmla="*/ 37109 w 326174"/>
                <a:gd name="connsiteY22" fmla="*/ 92584 h 407201"/>
                <a:gd name="connsiteX23" fmla="*/ 10216 w 326174"/>
                <a:gd name="connsiteY23" fmla="*/ 64860 h 407201"/>
                <a:gd name="connsiteX24" fmla="*/ 27 w 326174"/>
                <a:gd name="connsiteY24" fmla="*/ 64404 h 407201"/>
                <a:gd name="connsiteX25" fmla="*/ 27 w 326174"/>
                <a:gd name="connsiteY25" fmla="*/ 0 h 407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26174" h="407201">
                  <a:moveTo>
                    <a:pt x="27" y="0"/>
                  </a:moveTo>
                  <a:lnTo>
                    <a:pt x="319981" y="0"/>
                  </a:lnTo>
                  <a:lnTo>
                    <a:pt x="319981" y="119879"/>
                  </a:lnTo>
                  <a:lnTo>
                    <a:pt x="235628" y="119879"/>
                  </a:lnTo>
                  <a:cubicBezTo>
                    <a:pt x="235628" y="112479"/>
                    <a:pt x="235333" y="105427"/>
                    <a:pt x="235682" y="98429"/>
                  </a:cubicBezTo>
                  <a:cubicBezTo>
                    <a:pt x="236272" y="86283"/>
                    <a:pt x="230185" y="79311"/>
                    <a:pt x="218656" y="78936"/>
                  </a:cubicBezTo>
                  <a:cubicBezTo>
                    <a:pt x="196911" y="78239"/>
                    <a:pt x="175139" y="78722"/>
                    <a:pt x="152670" y="78722"/>
                  </a:cubicBezTo>
                  <a:lnTo>
                    <a:pt x="152670" y="156210"/>
                  </a:lnTo>
                  <a:lnTo>
                    <a:pt x="271638" y="156210"/>
                  </a:lnTo>
                  <a:lnTo>
                    <a:pt x="271638" y="238980"/>
                  </a:lnTo>
                  <a:lnTo>
                    <a:pt x="152858" y="238980"/>
                  </a:lnTo>
                  <a:lnTo>
                    <a:pt x="152858" y="327542"/>
                  </a:lnTo>
                  <a:cubicBezTo>
                    <a:pt x="178196" y="327542"/>
                    <a:pt x="203078" y="327944"/>
                    <a:pt x="227933" y="327354"/>
                  </a:cubicBezTo>
                  <a:cubicBezTo>
                    <a:pt x="239007" y="327086"/>
                    <a:pt x="242680" y="318560"/>
                    <a:pt x="243163" y="308800"/>
                  </a:cubicBezTo>
                  <a:cubicBezTo>
                    <a:pt x="243565" y="300408"/>
                    <a:pt x="243243" y="291962"/>
                    <a:pt x="243243" y="282685"/>
                  </a:cubicBezTo>
                  <a:lnTo>
                    <a:pt x="326174" y="282685"/>
                  </a:lnTo>
                  <a:lnTo>
                    <a:pt x="326174" y="407202"/>
                  </a:lnTo>
                  <a:lnTo>
                    <a:pt x="0" y="407202"/>
                  </a:lnTo>
                  <a:lnTo>
                    <a:pt x="0" y="341216"/>
                  </a:lnTo>
                  <a:cubicBezTo>
                    <a:pt x="5872" y="341216"/>
                    <a:pt x="11932" y="341431"/>
                    <a:pt x="17991" y="341163"/>
                  </a:cubicBezTo>
                  <a:cubicBezTo>
                    <a:pt x="33301" y="340519"/>
                    <a:pt x="36948" y="337007"/>
                    <a:pt x="37001" y="321831"/>
                  </a:cubicBezTo>
                  <a:cubicBezTo>
                    <a:pt x="37162" y="280727"/>
                    <a:pt x="37082" y="239624"/>
                    <a:pt x="37109" y="198493"/>
                  </a:cubicBezTo>
                  <a:cubicBezTo>
                    <a:pt x="37109" y="163181"/>
                    <a:pt x="37109" y="127896"/>
                    <a:pt x="37109" y="92584"/>
                  </a:cubicBezTo>
                  <a:cubicBezTo>
                    <a:pt x="37109" y="69015"/>
                    <a:pt x="33650" y="65503"/>
                    <a:pt x="10216" y="64860"/>
                  </a:cubicBezTo>
                  <a:cubicBezTo>
                    <a:pt x="7132" y="64779"/>
                    <a:pt x="4049" y="64591"/>
                    <a:pt x="27" y="64404"/>
                  </a:cubicBezTo>
                  <a:lnTo>
                    <a:pt x="27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42C91083-1177-1D33-1E0A-78B3858FCFA5}"/>
                </a:ext>
              </a:extLst>
            </p:cNvPr>
            <p:cNvSpPr/>
            <p:nvPr/>
          </p:nvSpPr>
          <p:spPr>
            <a:xfrm>
              <a:off x="9761971" y="250670"/>
              <a:ext cx="204990" cy="298460"/>
            </a:xfrm>
            <a:custGeom>
              <a:avLst/>
              <a:gdLst>
                <a:gd name="connsiteX0" fmla="*/ 248 w 298816"/>
                <a:gd name="connsiteY0" fmla="*/ 286088 h 435066"/>
                <a:gd name="connsiteX1" fmla="*/ 91304 w 298816"/>
                <a:gd name="connsiteY1" fmla="*/ 286088 h 435066"/>
                <a:gd name="connsiteX2" fmla="*/ 91357 w 298816"/>
                <a:gd name="connsiteY2" fmla="*/ 318049 h 435066"/>
                <a:gd name="connsiteX3" fmla="*/ 163242 w 298816"/>
                <a:gd name="connsiteY3" fmla="*/ 359742 h 435066"/>
                <a:gd name="connsiteX4" fmla="*/ 170159 w 298816"/>
                <a:gd name="connsiteY4" fmla="*/ 288662 h 435066"/>
                <a:gd name="connsiteX5" fmla="*/ 124551 w 298816"/>
                <a:gd name="connsiteY5" fmla="*/ 258418 h 435066"/>
                <a:gd name="connsiteX6" fmla="*/ 55455 w 298816"/>
                <a:gd name="connsiteY6" fmla="*/ 215089 h 435066"/>
                <a:gd name="connsiteX7" fmla="*/ 543 w 298816"/>
                <a:gd name="connsiteY7" fmla="*/ 124221 h 435066"/>
                <a:gd name="connsiteX8" fmla="*/ 99240 w 298816"/>
                <a:gd name="connsiteY8" fmla="*/ 4074 h 435066"/>
                <a:gd name="connsiteX9" fmla="*/ 267891 w 298816"/>
                <a:gd name="connsiteY9" fmla="*/ 20430 h 435066"/>
                <a:gd name="connsiteX10" fmla="*/ 278509 w 298816"/>
                <a:gd name="connsiteY10" fmla="*/ 31021 h 435066"/>
                <a:gd name="connsiteX11" fmla="*/ 278991 w 298816"/>
                <a:gd name="connsiteY11" fmla="*/ 136501 h 435066"/>
                <a:gd name="connsiteX12" fmla="*/ 191153 w 298816"/>
                <a:gd name="connsiteY12" fmla="*/ 136501 h 435066"/>
                <a:gd name="connsiteX13" fmla="*/ 191019 w 298816"/>
                <a:gd name="connsiteY13" fmla="*/ 100706 h 435066"/>
                <a:gd name="connsiteX14" fmla="*/ 161928 w 298816"/>
                <a:gd name="connsiteY14" fmla="*/ 65796 h 435066"/>
                <a:gd name="connsiteX15" fmla="*/ 113933 w 298816"/>
                <a:gd name="connsiteY15" fmla="*/ 83493 h 435066"/>
                <a:gd name="connsiteX16" fmla="*/ 122165 w 298816"/>
                <a:gd name="connsiteY16" fmla="*/ 131648 h 435066"/>
                <a:gd name="connsiteX17" fmla="*/ 172438 w 298816"/>
                <a:gd name="connsiteY17" fmla="*/ 164386 h 435066"/>
                <a:gd name="connsiteX18" fmla="*/ 246360 w 298816"/>
                <a:gd name="connsiteY18" fmla="*/ 207447 h 435066"/>
                <a:gd name="connsiteX19" fmla="*/ 294945 w 298816"/>
                <a:gd name="connsiteY19" fmla="*/ 337836 h 435066"/>
                <a:gd name="connsiteX20" fmla="*/ 194746 w 298816"/>
                <a:gd name="connsiteY20" fmla="*/ 430259 h 435066"/>
                <a:gd name="connsiteX21" fmla="*/ 12448 w 298816"/>
                <a:gd name="connsiteY21" fmla="*/ 415432 h 435066"/>
                <a:gd name="connsiteX22" fmla="*/ 7 w 298816"/>
                <a:gd name="connsiteY22" fmla="*/ 398915 h 435066"/>
                <a:gd name="connsiteX23" fmla="*/ 275 w 298816"/>
                <a:gd name="connsiteY23" fmla="*/ 286088 h 4350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98816" h="435066">
                  <a:moveTo>
                    <a:pt x="248" y="286088"/>
                  </a:moveTo>
                  <a:lnTo>
                    <a:pt x="91304" y="286088"/>
                  </a:lnTo>
                  <a:cubicBezTo>
                    <a:pt x="91304" y="296921"/>
                    <a:pt x="90982" y="307485"/>
                    <a:pt x="91357" y="318049"/>
                  </a:cubicBezTo>
                  <a:cubicBezTo>
                    <a:pt x="92725" y="356283"/>
                    <a:pt x="129351" y="377439"/>
                    <a:pt x="163242" y="359742"/>
                  </a:cubicBezTo>
                  <a:cubicBezTo>
                    <a:pt x="188070" y="346765"/>
                    <a:pt x="192682" y="307994"/>
                    <a:pt x="170159" y="288662"/>
                  </a:cubicBezTo>
                  <a:cubicBezTo>
                    <a:pt x="156431" y="276865"/>
                    <a:pt x="139995" y="268151"/>
                    <a:pt x="124551" y="258418"/>
                  </a:cubicBezTo>
                  <a:cubicBezTo>
                    <a:pt x="101546" y="243912"/>
                    <a:pt x="77388" y="231015"/>
                    <a:pt x="55455" y="215089"/>
                  </a:cubicBezTo>
                  <a:cubicBezTo>
                    <a:pt x="24808" y="192834"/>
                    <a:pt x="2903" y="163823"/>
                    <a:pt x="543" y="124221"/>
                  </a:cubicBezTo>
                  <a:cubicBezTo>
                    <a:pt x="-3103" y="63142"/>
                    <a:pt x="37437" y="13405"/>
                    <a:pt x="99240" y="4074"/>
                  </a:cubicBezTo>
                  <a:cubicBezTo>
                    <a:pt x="156646" y="-4613"/>
                    <a:pt x="213140" y="481"/>
                    <a:pt x="267891" y="20430"/>
                  </a:cubicBezTo>
                  <a:cubicBezTo>
                    <a:pt x="272288" y="22038"/>
                    <a:pt x="278428" y="27321"/>
                    <a:pt x="278509" y="31021"/>
                  </a:cubicBezTo>
                  <a:cubicBezTo>
                    <a:pt x="279313" y="65823"/>
                    <a:pt x="278991" y="100653"/>
                    <a:pt x="278991" y="136501"/>
                  </a:cubicBezTo>
                  <a:lnTo>
                    <a:pt x="191153" y="136501"/>
                  </a:lnTo>
                  <a:cubicBezTo>
                    <a:pt x="191153" y="124543"/>
                    <a:pt x="191797" y="112584"/>
                    <a:pt x="191019" y="100706"/>
                  </a:cubicBezTo>
                  <a:cubicBezTo>
                    <a:pt x="189679" y="80677"/>
                    <a:pt x="179678" y="69202"/>
                    <a:pt x="161928" y="65796"/>
                  </a:cubicBezTo>
                  <a:cubicBezTo>
                    <a:pt x="140317" y="61641"/>
                    <a:pt x="122138" y="68370"/>
                    <a:pt x="113933" y="83493"/>
                  </a:cubicBezTo>
                  <a:cubicBezTo>
                    <a:pt x="104281" y="101323"/>
                    <a:pt x="105809" y="118349"/>
                    <a:pt x="122165" y="131648"/>
                  </a:cubicBezTo>
                  <a:cubicBezTo>
                    <a:pt x="137582" y="144196"/>
                    <a:pt x="155251" y="154117"/>
                    <a:pt x="172438" y="164386"/>
                  </a:cubicBezTo>
                  <a:cubicBezTo>
                    <a:pt x="196918" y="179026"/>
                    <a:pt x="222765" y="191547"/>
                    <a:pt x="246360" y="207447"/>
                  </a:cubicBezTo>
                  <a:cubicBezTo>
                    <a:pt x="290601" y="237236"/>
                    <a:pt x="307091" y="283863"/>
                    <a:pt x="294945" y="337836"/>
                  </a:cubicBezTo>
                  <a:cubicBezTo>
                    <a:pt x="284300" y="385161"/>
                    <a:pt x="244081" y="422081"/>
                    <a:pt x="194746" y="430259"/>
                  </a:cubicBezTo>
                  <a:cubicBezTo>
                    <a:pt x="132702" y="440555"/>
                    <a:pt x="72186" y="433718"/>
                    <a:pt x="12448" y="415432"/>
                  </a:cubicBezTo>
                  <a:cubicBezTo>
                    <a:pt x="3439" y="412670"/>
                    <a:pt x="-181" y="408970"/>
                    <a:pt x="7" y="398915"/>
                  </a:cubicBezTo>
                  <a:cubicBezTo>
                    <a:pt x="704" y="361834"/>
                    <a:pt x="275" y="324752"/>
                    <a:pt x="275" y="286088"/>
                  </a:cubicBezTo>
                  <a:close/>
                </a:path>
              </a:pathLst>
            </a:custGeom>
            <a:grpFill/>
            <a:ln w="254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4" name="Imagen 3" descr="Imagen que contiene exterior, pasto, campo, papalote&#10;&#10;Descripción generada automáticamente">
            <a:extLst>
              <a:ext uri="{FF2B5EF4-FFF2-40B4-BE49-F238E27FC236}">
                <a16:creationId xmlns:a16="http://schemas.microsoft.com/office/drawing/2014/main" id="{55CD2F38-3C2E-31F4-4C0F-75B90BFCAF1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0273" y="2150173"/>
            <a:ext cx="3182672" cy="2144623"/>
          </a:xfrm>
          <a:prstGeom prst="rect">
            <a:avLst/>
          </a:prstGeom>
          <a:ln w="34925">
            <a:solidFill>
              <a:schemeClr val="accent1"/>
            </a:solidFill>
          </a:ln>
        </p:spPr>
      </p:pic>
      <p:pic>
        <p:nvPicPr>
          <p:cNvPr id="13" name="Imagen 12" descr="Un campo de pasto&#10;&#10;Descripción generada automáticamente con confianza media">
            <a:extLst>
              <a:ext uri="{FF2B5EF4-FFF2-40B4-BE49-F238E27FC236}">
                <a16:creationId xmlns:a16="http://schemas.microsoft.com/office/drawing/2014/main" id="{C50E2ABA-D9BB-0E92-DA54-23F2FD707725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3215740" y="1218070"/>
            <a:ext cx="1645126" cy="1233845"/>
          </a:xfrm>
          <a:prstGeom prst="rect">
            <a:avLst/>
          </a:prstGeom>
          <a:ln w="34925">
            <a:solidFill>
              <a:schemeClr val="accent1"/>
            </a:solidFill>
          </a:ln>
        </p:spPr>
      </p:pic>
      <p:pic>
        <p:nvPicPr>
          <p:cNvPr id="16" name="Imagen 15" descr="Un campo de pasto&#10;&#10;Descripción generada automáticamente">
            <a:extLst>
              <a:ext uri="{FF2B5EF4-FFF2-40B4-BE49-F238E27FC236}">
                <a16:creationId xmlns:a16="http://schemas.microsoft.com/office/drawing/2014/main" id="{356F795F-D2F0-4DFA-915A-3E35E0540D0F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4707" y="1065848"/>
            <a:ext cx="1946175" cy="1459632"/>
          </a:xfrm>
          <a:prstGeom prst="rect">
            <a:avLst/>
          </a:prstGeom>
          <a:ln w="34925">
            <a:solidFill>
              <a:schemeClr val="accent1"/>
            </a:solidFill>
          </a:ln>
        </p:spPr>
      </p:pic>
      <p:sp>
        <p:nvSpPr>
          <p:cNvPr id="10" name="CuadroTexto 9">
            <a:extLst>
              <a:ext uri="{FF2B5EF4-FFF2-40B4-BE49-F238E27FC236}">
                <a16:creationId xmlns:a16="http://schemas.microsoft.com/office/drawing/2014/main" id="{DC85664F-39BD-7224-D88D-DFF035AA8D40}"/>
              </a:ext>
            </a:extLst>
          </p:cNvPr>
          <p:cNvSpPr txBox="1"/>
          <p:nvPr/>
        </p:nvSpPr>
        <p:spPr>
          <a:xfrm>
            <a:off x="192372" y="4371100"/>
            <a:ext cx="284168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ctr">
              <a:buNone/>
            </a:pPr>
            <a:r>
              <a:rPr lang="en-GB" sz="1400" b="1" dirty="0" err="1">
                <a:solidFill>
                  <a:srgbClr val="E4032D"/>
                </a:solidFill>
              </a:rPr>
              <a:t>Sos</a:t>
            </a:r>
            <a:r>
              <a:rPr lang="en-GB" sz="1400" b="1" dirty="0">
                <a:solidFill>
                  <a:srgbClr val="E4032D"/>
                </a:solidFill>
              </a:rPr>
              <a:t> del Rey </a:t>
            </a:r>
            <a:r>
              <a:rPr lang="en-GB" sz="1400" b="1" dirty="0" err="1">
                <a:solidFill>
                  <a:srgbClr val="E4032D"/>
                </a:solidFill>
              </a:rPr>
              <a:t>Católico</a:t>
            </a:r>
            <a:r>
              <a:rPr lang="en-GB" sz="1400" b="1" dirty="0">
                <a:solidFill>
                  <a:srgbClr val="E4032D"/>
                </a:solidFill>
              </a:rPr>
              <a:t> (Za)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1F738FEC-280F-B605-F800-E805767A482D}"/>
              </a:ext>
            </a:extLst>
          </p:cNvPr>
          <p:cNvSpPr txBox="1"/>
          <p:nvPr/>
        </p:nvSpPr>
        <p:spPr>
          <a:xfrm>
            <a:off x="3027567" y="4398340"/>
            <a:ext cx="199848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ctr">
              <a:buNone/>
            </a:pPr>
            <a:r>
              <a:rPr lang="en-GB" sz="1400" b="1" dirty="0" err="1">
                <a:solidFill>
                  <a:srgbClr val="E4032D"/>
                </a:solidFill>
              </a:rPr>
              <a:t>Lupiñén</a:t>
            </a:r>
            <a:r>
              <a:rPr lang="en-GB" sz="1400" b="1" dirty="0">
                <a:solidFill>
                  <a:srgbClr val="E4032D"/>
                </a:solidFill>
              </a:rPr>
              <a:t> (Hu)</a:t>
            </a: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A9A12957-63F9-D55A-DBBF-5290E95A8B8C}"/>
              </a:ext>
            </a:extLst>
          </p:cNvPr>
          <p:cNvSpPr txBox="1"/>
          <p:nvPr/>
        </p:nvSpPr>
        <p:spPr>
          <a:xfrm>
            <a:off x="5340273" y="4341903"/>
            <a:ext cx="318267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ctr">
              <a:buNone/>
            </a:pPr>
            <a:r>
              <a:rPr lang="en-GB" sz="1400" b="1" dirty="0" err="1">
                <a:solidFill>
                  <a:srgbClr val="E4032D"/>
                </a:solidFill>
              </a:rPr>
              <a:t>Torrecilla</a:t>
            </a:r>
            <a:r>
              <a:rPr lang="en-GB" sz="1400" b="1" dirty="0">
                <a:solidFill>
                  <a:srgbClr val="E4032D"/>
                </a:solidFill>
              </a:rPr>
              <a:t> de la </a:t>
            </a:r>
            <a:r>
              <a:rPr lang="en-GB" sz="1400" b="1" dirty="0" err="1">
                <a:solidFill>
                  <a:srgbClr val="E4032D"/>
                </a:solidFill>
              </a:rPr>
              <a:t>Abadesa</a:t>
            </a:r>
            <a:r>
              <a:rPr lang="en-GB" sz="1400" b="1" dirty="0">
                <a:solidFill>
                  <a:srgbClr val="E4032D"/>
                </a:solidFill>
              </a:rPr>
              <a:t> (</a:t>
            </a:r>
            <a:r>
              <a:rPr lang="en-GB" sz="1400" b="1" dirty="0" err="1">
                <a:solidFill>
                  <a:srgbClr val="E4032D"/>
                </a:solidFill>
              </a:rPr>
              <a:t>Va</a:t>
            </a:r>
            <a:r>
              <a:rPr lang="en-GB" sz="1400" b="1" dirty="0">
                <a:solidFill>
                  <a:srgbClr val="E4032D"/>
                </a:solidFill>
              </a:rPr>
              <a:t>)</a:t>
            </a:r>
          </a:p>
        </p:txBody>
      </p:sp>
      <p:pic>
        <p:nvPicPr>
          <p:cNvPr id="12" name="Imagen 11" descr="Un grupo de personas en un parque&#10;&#10;Descripción generada automáticamente">
            <a:extLst>
              <a:ext uri="{FF2B5EF4-FFF2-40B4-BE49-F238E27FC236}">
                <a16:creationId xmlns:a16="http://schemas.microsoft.com/office/drawing/2014/main" id="{3DEDEDB4-C98C-4A4B-0133-1BD2183BA418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40272" y="464508"/>
            <a:ext cx="3189021" cy="1471496"/>
          </a:xfrm>
          <a:prstGeom prst="rect">
            <a:avLst/>
          </a:prstGeom>
          <a:ln w="34925">
            <a:solidFill>
              <a:schemeClr val="accent1"/>
            </a:solidFill>
          </a:ln>
        </p:spPr>
      </p:pic>
      <p:pic>
        <p:nvPicPr>
          <p:cNvPr id="3" name="Imagen 2">
            <a:extLst>
              <a:ext uri="{FF2B5EF4-FFF2-40B4-BE49-F238E27FC236}">
                <a16:creationId xmlns:a16="http://schemas.microsoft.com/office/drawing/2014/main" id="{5827D9B9-1FAD-80F4-266C-CFAC0925342D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34052" y="2840642"/>
            <a:ext cx="2001682" cy="1501261"/>
          </a:xfrm>
          <a:prstGeom prst="rect">
            <a:avLst/>
          </a:prstGeom>
          <a:ln w="34925">
            <a:solidFill>
              <a:schemeClr val="accent1"/>
            </a:solidFill>
          </a:ln>
        </p:spPr>
      </p:pic>
      <p:pic>
        <p:nvPicPr>
          <p:cNvPr id="18" name="Imagen 17" descr="Un par de personas de pie sobre superficie terrosa&#10;&#10;Descripción generada automáticamente con confianza media">
            <a:extLst>
              <a:ext uri="{FF2B5EF4-FFF2-40B4-BE49-F238E27FC236}">
                <a16:creationId xmlns:a16="http://schemas.microsoft.com/office/drawing/2014/main" id="{A07444BC-91E6-86E6-C2C4-1C5312D211E0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19955"/>
          <a:stretch/>
        </p:blipFill>
        <p:spPr>
          <a:xfrm>
            <a:off x="789512" y="2640130"/>
            <a:ext cx="1647399" cy="1758210"/>
          </a:xfrm>
          <a:prstGeom prst="rect">
            <a:avLst/>
          </a:prstGeom>
          <a:ln w="34925"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294178266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9669DA-C5C7-4E53-BAB3-4018D7C8653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9771435-4CD8-4F0B-973A-1D0AAF7D3E4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79505" y="3447246"/>
            <a:ext cx="7958455" cy="723422"/>
          </a:xfrm>
        </p:spPr>
        <p:txBody>
          <a:bodyPr/>
          <a:lstStyle/>
          <a:p>
            <a:pPr>
              <a:spcBef>
                <a:spcPts val="600"/>
              </a:spcBef>
            </a:pPr>
            <a:r>
              <a:rPr lang="en-GB" dirty="0"/>
              <a:t>COLZA: </a:t>
            </a:r>
            <a:r>
              <a:rPr lang="en-GB" dirty="0" err="1"/>
              <a:t>actualización</a:t>
            </a:r>
            <a:r>
              <a:rPr lang="en-GB" dirty="0"/>
              <a:t> del mercado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0685784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3">
            <a:extLst>
              <a:ext uri="{FF2B5EF4-FFF2-40B4-BE49-F238E27FC236}">
                <a16:creationId xmlns:a16="http://schemas.microsoft.com/office/drawing/2014/main" id="{AD7C4758-7BF8-950A-A99F-9C8EFD712FB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9101" y="3376573"/>
            <a:ext cx="5112492" cy="1235594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6CB7335E-8A8E-70F7-71F4-DE679E104C9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07445" y="3216619"/>
            <a:ext cx="2888037" cy="1458646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7F6325E-49AF-5C3E-B89E-8053381C3BF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9101" y="813177"/>
            <a:ext cx="4598168" cy="2148827"/>
          </a:xfrm>
        </p:spPr>
        <p:txBody>
          <a:bodyPr/>
          <a:lstStyle/>
          <a:p>
            <a:r>
              <a:rPr lang="es-ES" sz="1100" dirty="0"/>
              <a:t>Se prevé que la producción de colza de la Unión Europea en 2023 sea la más alta de los últimos 9 años
Razones: Aumento de la superficie de cultivo (&gt;6 </a:t>
            </a:r>
            <a:r>
              <a:rPr lang="es-ES" sz="1100" dirty="0" err="1"/>
              <a:t>Mha</a:t>
            </a:r>
            <a:r>
              <a:rPr lang="es-ES" sz="1100" dirty="0"/>
              <a:t>) y previsión de alto rendimiento (3,38 t/ha)
Se prevé que la producción mundial de colza sea inferior a la del año pasado (86,1 Mt 23/24 vs. 88,2 Mt 22/23)
El alto </a:t>
            </a:r>
            <a:r>
              <a:rPr lang="es-ES" sz="1100" dirty="0" err="1"/>
              <a:t>carry</a:t>
            </a:r>
            <a:r>
              <a:rPr lang="es-ES" sz="1100" dirty="0"/>
              <a:t>-in 23/24 (producción récord de colza 22/23) compensa la menor producción 23/24 y conduce a un ligero aumento de la relación stock/uso</a:t>
            </a:r>
            <a:endParaRPr lang="en-US" sz="1100" dirty="0"/>
          </a:p>
          <a:p>
            <a:r>
              <a:rPr lang="es-ES" sz="1100" dirty="0"/>
              <a:t>El precio de la colza se mantiene en un nivel alto (&gt;400 €/t)
La combinación de previsiones de alto rendimiento (Ø 3,38 t/ha) y un alto nivel de precios de las materias primas (&gt;400 €/t) conduce a una alta facturación de &gt;1.350 €/ha y sigue siendo una buena rentabilidad de los cultivos en Europa.</a:t>
            </a:r>
            <a:endParaRPr lang="en-US" sz="1100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E4C9932B-C866-14BE-4885-60C26F94F63F}"/>
              </a:ext>
            </a:extLst>
          </p:cNvPr>
          <p:cNvGrpSpPr/>
          <p:nvPr/>
        </p:nvGrpSpPr>
        <p:grpSpPr>
          <a:xfrm rot="16200000">
            <a:off x="8457754" y="4009197"/>
            <a:ext cx="927501" cy="230656"/>
            <a:chOff x="8766811" y="250670"/>
            <a:chExt cx="1200150" cy="298460"/>
          </a:xfrm>
          <a:solidFill>
            <a:schemeClr val="bg1">
              <a:alpha val="42000"/>
            </a:schemeClr>
          </a:solidFill>
        </p:grpSpPr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EFEC1AA4-7D09-848D-E759-B0117AFC7B9A}"/>
                </a:ext>
              </a:extLst>
            </p:cNvPr>
            <p:cNvSpPr/>
            <p:nvPr/>
          </p:nvSpPr>
          <p:spPr>
            <a:xfrm>
              <a:off x="9340947" y="259788"/>
              <a:ext cx="396639" cy="280066"/>
            </a:xfrm>
            <a:custGeom>
              <a:avLst/>
              <a:gdLst>
                <a:gd name="connsiteX0" fmla="*/ 188626 w 578185"/>
                <a:gd name="connsiteY0" fmla="*/ 247351 h 408253"/>
                <a:gd name="connsiteX1" fmla="*/ 209084 w 578185"/>
                <a:gd name="connsiteY1" fmla="*/ 156671 h 408253"/>
                <a:gd name="connsiteX2" fmla="*/ 241634 w 578185"/>
                <a:gd name="connsiteY2" fmla="*/ 10757 h 408253"/>
                <a:gd name="connsiteX3" fmla="*/ 255014 w 578185"/>
                <a:gd name="connsiteY3" fmla="*/ 5 h 408253"/>
                <a:gd name="connsiteX4" fmla="*/ 343468 w 578185"/>
                <a:gd name="connsiteY4" fmla="*/ 86 h 408253"/>
                <a:gd name="connsiteX5" fmla="*/ 356258 w 578185"/>
                <a:gd name="connsiteY5" fmla="*/ 9926 h 408253"/>
                <a:gd name="connsiteX6" fmla="*/ 402000 w 578185"/>
                <a:gd name="connsiteY6" fmla="*/ 237699 h 408253"/>
                <a:gd name="connsiteX7" fmla="*/ 406853 w 578185"/>
                <a:gd name="connsiteY7" fmla="*/ 247646 h 408253"/>
                <a:gd name="connsiteX8" fmla="*/ 443881 w 578185"/>
                <a:gd name="connsiteY8" fmla="*/ 88487 h 408253"/>
                <a:gd name="connsiteX9" fmla="*/ 418275 w 578185"/>
                <a:gd name="connsiteY9" fmla="*/ 64463 h 408253"/>
                <a:gd name="connsiteX10" fmla="*/ 418275 w 578185"/>
                <a:gd name="connsiteY10" fmla="*/ 1132 h 408253"/>
                <a:gd name="connsiteX11" fmla="*/ 578185 w 578185"/>
                <a:gd name="connsiteY11" fmla="*/ 1132 h 408253"/>
                <a:gd name="connsiteX12" fmla="*/ 578185 w 578185"/>
                <a:gd name="connsiteY12" fmla="*/ 65482 h 408253"/>
                <a:gd name="connsiteX13" fmla="*/ 535580 w 578185"/>
                <a:gd name="connsiteY13" fmla="*/ 107309 h 408253"/>
                <a:gd name="connsiteX14" fmla="*/ 450423 w 578185"/>
                <a:gd name="connsiteY14" fmla="*/ 398306 h 408253"/>
                <a:gd name="connsiteX15" fmla="*/ 447072 w 578185"/>
                <a:gd name="connsiteY15" fmla="*/ 408146 h 408253"/>
                <a:gd name="connsiteX16" fmla="*/ 338964 w 578185"/>
                <a:gd name="connsiteY16" fmla="*/ 408146 h 408253"/>
                <a:gd name="connsiteX17" fmla="*/ 289414 w 578185"/>
                <a:gd name="connsiteY17" fmla="*/ 183832 h 408253"/>
                <a:gd name="connsiteX18" fmla="*/ 287189 w 578185"/>
                <a:gd name="connsiteY18" fmla="*/ 183644 h 408253"/>
                <a:gd name="connsiteX19" fmla="*/ 234663 w 578185"/>
                <a:gd name="connsiteY19" fmla="*/ 408253 h 408253"/>
                <a:gd name="connsiteX20" fmla="*/ 124035 w 578185"/>
                <a:gd name="connsiteY20" fmla="*/ 408253 h 408253"/>
                <a:gd name="connsiteX21" fmla="*/ 101941 w 578185"/>
                <a:gd name="connsiteY21" fmla="*/ 325536 h 408253"/>
                <a:gd name="connsiteX22" fmla="*/ 42176 w 578185"/>
                <a:gd name="connsiteY22" fmla="*/ 100874 h 408253"/>
                <a:gd name="connsiteX23" fmla="*/ 0 w 578185"/>
                <a:gd name="connsiteY23" fmla="*/ 66072 h 408253"/>
                <a:gd name="connsiteX24" fmla="*/ 0 w 578185"/>
                <a:gd name="connsiteY24" fmla="*/ 1266 h 408253"/>
                <a:gd name="connsiteX25" fmla="*/ 183880 w 578185"/>
                <a:gd name="connsiteY25" fmla="*/ 1266 h 408253"/>
                <a:gd name="connsiteX26" fmla="*/ 183880 w 578185"/>
                <a:gd name="connsiteY26" fmla="*/ 64650 h 408253"/>
                <a:gd name="connsiteX27" fmla="*/ 157658 w 578185"/>
                <a:gd name="connsiteY27" fmla="*/ 101920 h 408253"/>
                <a:gd name="connsiteX28" fmla="*/ 185677 w 578185"/>
                <a:gd name="connsiteY28" fmla="*/ 247485 h 408253"/>
                <a:gd name="connsiteX29" fmla="*/ 188599 w 578185"/>
                <a:gd name="connsiteY29" fmla="*/ 247351 h 408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78185" h="408253">
                  <a:moveTo>
                    <a:pt x="188626" y="247351"/>
                  </a:moveTo>
                  <a:cubicBezTo>
                    <a:pt x="195436" y="217133"/>
                    <a:pt x="202300" y="186889"/>
                    <a:pt x="209084" y="156671"/>
                  </a:cubicBezTo>
                  <a:cubicBezTo>
                    <a:pt x="219997" y="108033"/>
                    <a:pt x="230883" y="59422"/>
                    <a:pt x="241634" y="10757"/>
                  </a:cubicBezTo>
                  <a:cubicBezTo>
                    <a:pt x="243297" y="3250"/>
                    <a:pt x="246461" y="-155"/>
                    <a:pt x="255014" y="5"/>
                  </a:cubicBezTo>
                  <a:cubicBezTo>
                    <a:pt x="284481" y="595"/>
                    <a:pt x="314001" y="461"/>
                    <a:pt x="343468" y="86"/>
                  </a:cubicBezTo>
                  <a:cubicBezTo>
                    <a:pt x="351056" y="-21"/>
                    <a:pt x="354756" y="2285"/>
                    <a:pt x="356258" y="9926"/>
                  </a:cubicBezTo>
                  <a:cubicBezTo>
                    <a:pt x="371353" y="85886"/>
                    <a:pt x="386690" y="161792"/>
                    <a:pt x="402000" y="237699"/>
                  </a:cubicBezTo>
                  <a:cubicBezTo>
                    <a:pt x="402670" y="241050"/>
                    <a:pt x="403770" y="244321"/>
                    <a:pt x="406853" y="247646"/>
                  </a:cubicBezTo>
                  <a:cubicBezTo>
                    <a:pt x="419240" y="194611"/>
                    <a:pt x="431896" y="141602"/>
                    <a:pt x="443881" y="88487"/>
                  </a:cubicBezTo>
                  <a:cubicBezTo>
                    <a:pt x="447367" y="73043"/>
                    <a:pt x="441843" y="68377"/>
                    <a:pt x="418275" y="64463"/>
                  </a:cubicBezTo>
                  <a:lnTo>
                    <a:pt x="418275" y="1132"/>
                  </a:lnTo>
                  <a:lnTo>
                    <a:pt x="578185" y="1132"/>
                  </a:lnTo>
                  <a:lnTo>
                    <a:pt x="578185" y="65482"/>
                  </a:lnTo>
                  <a:cubicBezTo>
                    <a:pt x="549657" y="64302"/>
                    <a:pt x="542122" y="84626"/>
                    <a:pt x="535580" y="107309"/>
                  </a:cubicBezTo>
                  <a:cubicBezTo>
                    <a:pt x="507534" y="204397"/>
                    <a:pt x="478871" y="301325"/>
                    <a:pt x="450423" y="398306"/>
                  </a:cubicBezTo>
                  <a:cubicBezTo>
                    <a:pt x="449431" y="401657"/>
                    <a:pt x="448171" y="404955"/>
                    <a:pt x="447072" y="408146"/>
                  </a:cubicBezTo>
                  <a:lnTo>
                    <a:pt x="338964" y="408146"/>
                  </a:lnTo>
                  <a:cubicBezTo>
                    <a:pt x="322367" y="333044"/>
                    <a:pt x="305904" y="258425"/>
                    <a:pt x="289414" y="183832"/>
                  </a:cubicBezTo>
                  <a:lnTo>
                    <a:pt x="287189" y="183644"/>
                  </a:lnTo>
                  <a:cubicBezTo>
                    <a:pt x="269707" y="258398"/>
                    <a:pt x="252225" y="333151"/>
                    <a:pt x="234663" y="408253"/>
                  </a:cubicBezTo>
                  <a:lnTo>
                    <a:pt x="124035" y="408253"/>
                  </a:lnTo>
                  <a:cubicBezTo>
                    <a:pt x="116742" y="381012"/>
                    <a:pt x="109315" y="353287"/>
                    <a:pt x="101941" y="325536"/>
                  </a:cubicBezTo>
                  <a:cubicBezTo>
                    <a:pt x="82019" y="250649"/>
                    <a:pt x="62151" y="175735"/>
                    <a:pt x="42176" y="100874"/>
                  </a:cubicBezTo>
                  <a:cubicBezTo>
                    <a:pt x="36519" y="79665"/>
                    <a:pt x="28207" y="61192"/>
                    <a:pt x="0" y="66072"/>
                  </a:cubicBezTo>
                  <a:lnTo>
                    <a:pt x="0" y="1266"/>
                  </a:lnTo>
                  <a:lnTo>
                    <a:pt x="183880" y="1266"/>
                  </a:lnTo>
                  <a:lnTo>
                    <a:pt x="183880" y="64650"/>
                  </a:lnTo>
                  <a:cubicBezTo>
                    <a:pt x="152107" y="68726"/>
                    <a:pt x="151437" y="69691"/>
                    <a:pt x="157658" y="101920"/>
                  </a:cubicBezTo>
                  <a:cubicBezTo>
                    <a:pt x="167015" y="150451"/>
                    <a:pt x="176346" y="198954"/>
                    <a:pt x="185677" y="247485"/>
                  </a:cubicBezTo>
                  <a:lnTo>
                    <a:pt x="188599" y="247351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1A2B25BD-E5AD-B61D-F4C8-A3655B2AA193}"/>
                </a:ext>
              </a:extLst>
            </p:cNvPr>
            <p:cNvSpPr/>
            <p:nvPr/>
          </p:nvSpPr>
          <p:spPr>
            <a:xfrm>
              <a:off x="8766811" y="259809"/>
              <a:ext cx="277264" cy="283641"/>
            </a:xfrm>
            <a:custGeom>
              <a:avLst/>
              <a:gdLst>
                <a:gd name="connsiteX0" fmla="*/ 0 w 404171"/>
                <a:gd name="connsiteY0" fmla="*/ 407794 h 413465"/>
                <a:gd name="connsiteX1" fmla="*/ 0 w 404171"/>
                <a:gd name="connsiteY1" fmla="*/ 342854 h 413465"/>
                <a:gd name="connsiteX2" fmla="*/ 21879 w 404171"/>
                <a:gd name="connsiteY2" fmla="*/ 341835 h 413465"/>
                <a:gd name="connsiteX3" fmla="*/ 38422 w 404171"/>
                <a:gd name="connsiteY3" fmla="*/ 324970 h 413465"/>
                <a:gd name="connsiteX4" fmla="*/ 38664 w 404171"/>
                <a:gd name="connsiteY4" fmla="*/ 280729 h 413465"/>
                <a:gd name="connsiteX5" fmla="*/ 38664 w 404171"/>
                <a:gd name="connsiteY5" fmla="*/ 99691 h 413465"/>
                <a:gd name="connsiteX6" fmla="*/ 6274 w 404171"/>
                <a:gd name="connsiteY6" fmla="*/ 65773 h 413465"/>
                <a:gd name="connsiteX7" fmla="*/ 134 w 404171"/>
                <a:gd name="connsiteY7" fmla="*/ 65076 h 413465"/>
                <a:gd name="connsiteX8" fmla="*/ 134 w 404171"/>
                <a:gd name="connsiteY8" fmla="*/ 860 h 413465"/>
                <a:gd name="connsiteX9" fmla="*/ 12843 w 404171"/>
                <a:gd name="connsiteY9" fmla="*/ 190 h 413465"/>
                <a:gd name="connsiteX10" fmla="*/ 156263 w 404171"/>
                <a:gd name="connsiteY10" fmla="*/ 2 h 413465"/>
                <a:gd name="connsiteX11" fmla="*/ 173852 w 404171"/>
                <a:gd name="connsiteY11" fmla="*/ 11961 h 413465"/>
                <a:gd name="connsiteX12" fmla="*/ 265605 w 404171"/>
                <a:gd name="connsiteY12" fmla="*/ 219811 h 413465"/>
                <a:gd name="connsiteX13" fmla="*/ 273675 w 404171"/>
                <a:gd name="connsiteY13" fmla="*/ 231260 h 413465"/>
                <a:gd name="connsiteX14" fmla="*/ 273675 w 404171"/>
                <a:gd name="connsiteY14" fmla="*/ 204153 h 413465"/>
                <a:gd name="connsiteX15" fmla="*/ 273675 w 404171"/>
                <a:gd name="connsiteY15" fmla="*/ 103579 h 413465"/>
                <a:gd name="connsiteX16" fmla="*/ 237103 w 404171"/>
                <a:gd name="connsiteY16" fmla="*/ 65130 h 413465"/>
                <a:gd name="connsiteX17" fmla="*/ 237103 w 404171"/>
                <a:gd name="connsiteY17" fmla="*/ 941 h 413465"/>
                <a:gd name="connsiteX18" fmla="*/ 404172 w 404171"/>
                <a:gd name="connsiteY18" fmla="*/ 941 h 413465"/>
                <a:gd name="connsiteX19" fmla="*/ 404172 w 404171"/>
                <a:gd name="connsiteY19" fmla="*/ 64245 h 413465"/>
                <a:gd name="connsiteX20" fmla="*/ 401759 w 404171"/>
                <a:gd name="connsiteY20" fmla="*/ 65398 h 413465"/>
                <a:gd name="connsiteX21" fmla="*/ 365374 w 404171"/>
                <a:gd name="connsiteY21" fmla="*/ 103445 h 413465"/>
                <a:gd name="connsiteX22" fmla="*/ 365508 w 404171"/>
                <a:gd name="connsiteY22" fmla="*/ 394441 h 413465"/>
                <a:gd name="connsiteX23" fmla="*/ 365508 w 404171"/>
                <a:gd name="connsiteY23" fmla="*/ 412004 h 413465"/>
                <a:gd name="connsiteX24" fmla="*/ 299201 w 404171"/>
                <a:gd name="connsiteY24" fmla="*/ 411977 h 413465"/>
                <a:gd name="connsiteX25" fmla="*/ 254665 w 404171"/>
                <a:gd name="connsiteY25" fmla="*/ 409698 h 413465"/>
                <a:gd name="connsiteX26" fmla="*/ 233752 w 404171"/>
                <a:gd name="connsiteY26" fmla="*/ 370498 h 413465"/>
                <a:gd name="connsiteX27" fmla="*/ 139613 w 404171"/>
                <a:gd name="connsiteY27" fmla="*/ 170986 h 413465"/>
                <a:gd name="connsiteX28" fmla="*/ 131569 w 404171"/>
                <a:gd name="connsiteY28" fmla="*/ 160019 h 413465"/>
                <a:gd name="connsiteX29" fmla="*/ 131569 w 404171"/>
                <a:gd name="connsiteY29" fmla="*/ 206191 h 413465"/>
                <a:gd name="connsiteX30" fmla="*/ 131489 w 404171"/>
                <a:gd name="connsiteY30" fmla="*/ 314808 h 413465"/>
                <a:gd name="connsiteX31" fmla="*/ 158355 w 404171"/>
                <a:gd name="connsiteY31" fmla="*/ 342211 h 413465"/>
                <a:gd name="connsiteX32" fmla="*/ 169830 w 404171"/>
                <a:gd name="connsiteY32" fmla="*/ 342211 h 413465"/>
                <a:gd name="connsiteX33" fmla="*/ 169830 w 404171"/>
                <a:gd name="connsiteY33" fmla="*/ 407740 h 413465"/>
                <a:gd name="connsiteX34" fmla="*/ 0 w 404171"/>
                <a:gd name="connsiteY34" fmla="*/ 407740 h 41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404171" h="413465">
                  <a:moveTo>
                    <a:pt x="0" y="407794"/>
                  </a:moveTo>
                  <a:lnTo>
                    <a:pt x="0" y="342854"/>
                  </a:lnTo>
                  <a:cubicBezTo>
                    <a:pt x="7776" y="342506"/>
                    <a:pt x="14827" y="342184"/>
                    <a:pt x="21879" y="341835"/>
                  </a:cubicBezTo>
                  <a:cubicBezTo>
                    <a:pt x="32550" y="341299"/>
                    <a:pt x="38342" y="335910"/>
                    <a:pt x="38422" y="324970"/>
                  </a:cubicBezTo>
                  <a:cubicBezTo>
                    <a:pt x="38530" y="310223"/>
                    <a:pt x="38664" y="295476"/>
                    <a:pt x="38664" y="280729"/>
                  </a:cubicBezTo>
                  <a:cubicBezTo>
                    <a:pt x="38664" y="220374"/>
                    <a:pt x="38664" y="160046"/>
                    <a:pt x="38664" y="99691"/>
                  </a:cubicBezTo>
                  <a:cubicBezTo>
                    <a:pt x="38664" y="69581"/>
                    <a:pt x="36197" y="67034"/>
                    <a:pt x="6274" y="65773"/>
                  </a:cubicBezTo>
                  <a:cubicBezTo>
                    <a:pt x="4531" y="65693"/>
                    <a:pt x="2789" y="65371"/>
                    <a:pt x="134" y="65076"/>
                  </a:cubicBezTo>
                  <a:lnTo>
                    <a:pt x="134" y="860"/>
                  </a:lnTo>
                  <a:cubicBezTo>
                    <a:pt x="4317" y="619"/>
                    <a:pt x="8580" y="190"/>
                    <a:pt x="12843" y="190"/>
                  </a:cubicBezTo>
                  <a:cubicBezTo>
                    <a:pt x="60650" y="190"/>
                    <a:pt x="108457" y="565"/>
                    <a:pt x="156263" y="2"/>
                  </a:cubicBezTo>
                  <a:cubicBezTo>
                    <a:pt x="166077" y="-105"/>
                    <a:pt x="170233" y="3649"/>
                    <a:pt x="173852" y="11961"/>
                  </a:cubicBezTo>
                  <a:cubicBezTo>
                    <a:pt x="204231" y="81351"/>
                    <a:pt x="234958" y="150555"/>
                    <a:pt x="265605" y="219811"/>
                  </a:cubicBezTo>
                  <a:cubicBezTo>
                    <a:pt x="267348" y="223753"/>
                    <a:pt x="269251" y="227641"/>
                    <a:pt x="273675" y="231260"/>
                  </a:cubicBezTo>
                  <a:cubicBezTo>
                    <a:pt x="273675" y="222224"/>
                    <a:pt x="273675" y="213189"/>
                    <a:pt x="273675" y="204153"/>
                  </a:cubicBezTo>
                  <a:cubicBezTo>
                    <a:pt x="273675" y="170637"/>
                    <a:pt x="273675" y="137095"/>
                    <a:pt x="273675" y="103579"/>
                  </a:cubicBezTo>
                  <a:cubicBezTo>
                    <a:pt x="273675" y="69152"/>
                    <a:pt x="272388" y="67784"/>
                    <a:pt x="237103" y="65130"/>
                  </a:cubicBezTo>
                  <a:lnTo>
                    <a:pt x="237103" y="941"/>
                  </a:lnTo>
                  <a:lnTo>
                    <a:pt x="404172" y="941"/>
                  </a:lnTo>
                  <a:lnTo>
                    <a:pt x="404172" y="64245"/>
                  </a:lnTo>
                  <a:cubicBezTo>
                    <a:pt x="403260" y="64701"/>
                    <a:pt x="402536" y="65344"/>
                    <a:pt x="401759" y="65398"/>
                  </a:cubicBezTo>
                  <a:cubicBezTo>
                    <a:pt x="365991" y="67168"/>
                    <a:pt x="365347" y="67838"/>
                    <a:pt x="365374" y="103445"/>
                  </a:cubicBezTo>
                  <a:cubicBezTo>
                    <a:pt x="365428" y="200453"/>
                    <a:pt x="365481" y="297434"/>
                    <a:pt x="365508" y="394441"/>
                  </a:cubicBezTo>
                  <a:cubicBezTo>
                    <a:pt x="365508" y="399723"/>
                    <a:pt x="365508" y="404979"/>
                    <a:pt x="365508" y="412004"/>
                  </a:cubicBezTo>
                  <a:cubicBezTo>
                    <a:pt x="342637" y="412004"/>
                    <a:pt x="320919" y="412111"/>
                    <a:pt x="299201" y="411977"/>
                  </a:cubicBezTo>
                  <a:cubicBezTo>
                    <a:pt x="284052" y="411870"/>
                    <a:pt x="265632" y="416615"/>
                    <a:pt x="254665" y="409698"/>
                  </a:cubicBezTo>
                  <a:cubicBezTo>
                    <a:pt x="243779" y="402834"/>
                    <a:pt x="240187" y="384145"/>
                    <a:pt x="233752" y="370498"/>
                  </a:cubicBezTo>
                  <a:cubicBezTo>
                    <a:pt x="202327" y="304030"/>
                    <a:pt x="171010" y="237481"/>
                    <a:pt x="139613" y="170986"/>
                  </a:cubicBezTo>
                  <a:cubicBezTo>
                    <a:pt x="137790" y="167125"/>
                    <a:pt x="135725" y="163398"/>
                    <a:pt x="131569" y="160019"/>
                  </a:cubicBezTo>
                  <a:cubicBezTo>
                    <a:pt x="131569" y="175410"/>
                    <a:pt x="131569" y="190800"/>
                    <a:pt x="131569" y="206191"/>
                  </a:cubicBezTo>
                  <a:cubicBezTo>
                    <a:pt x="131542" y="242388"/>
                    <a:pt x="131462" y="278611"/>
                    <a:pt x="131489" y="314808"/>
                  </a:cubicBezTo>
                  <a:cubicBezTo>
                    <a:pt x="131489" y="338618"/>
                    <a:pt x="134706" y="341835"/>
                    <a:pt x="158355" y="342211"/>
                  </a:cubicBezTo>
                  <a:cubicBezTo>
                    <a:pt x="161894" y="342264"/>
                    <a:pt x="165406" y="342211"/>
                    <a:pt x="169830" y="342211"/>
                  </a:cubicBezTo>
                  <a:lnTo>
                    <a:pt x="169830" y="407740"/>
                  </a:lnTo>
                  <a:lnTo>
                    <a:pt x="0" y="40774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F3C6054F-22BE-C664-DB2B-40F8D5B22FDC}"/>
                </a:ext>
              </a:extLst>
            </p:cNvPr>
            <p:cNvSpPr/>
            <p:nvPr/>
          </p:nvSpPr>
          <p:spPr>
            <a:xfrm>
              <a:off x="9085608" y="260399"/>
              <a:ext cx="223758" cy="279344"/>
            </a:xfrm>
            <a:custGeom>
              <a:avLst/>
              <a:gdLst>
                <a:gd name="connsiteX0" fmla="*/ 27 w 326174"/>
                <a:gd name="connsiteY0" fmla="*/ 0 h 407201"/>
                <a:gd name="connsiteX1" fmla="*/ 319981 w 326174"/>
                <a:gd name="connsiteY1" fmla="*/ 0 h 407201"/>
                <a:gd name="connsiteX2" fmla="*/ 319981 w 326174"/>
                <a:gd name="connsiteY2" fmla="*/ 119879 h 407201"/>
                <a:gd name="connsiteX3" fmla="*/ 235628 w 326174"/>
                <a:gd name="connsiteY3" fmla="*/ 119879 h 407201"/>
                <a:gd name="connsiteX4" fmla="*/ 235682 w 326174"/>
                <a:gd name="connsiteY4" fmla="*/ 98429 h 407201"/>
                <a:gd name="connsiteX5" fmla="*/ 218656 w 326174"/>
                <a:gd name="connsiteY5" fmla="*/ 78936 h 407201"/>
                <a:gd name="connsiteX6" fmla="*/ 152670 w 326174"/>
                <a:gd name="connsiteY6" fmla="*/ 78722 h 407201"/>
                <a:gd name="connsiteX7" fmla="*/ 152670 w 326174"/>
                <a:gd name="connsiteY7" fmla="*/ 156210 h 407201"/>
                <a:gd name="connsiteX8" fmla="*/ 271638 w 326174"/>
                <a:gd name="connsiteY8" fmla="*/ 156210 h 407201"/>
                <a:gd name="connsiteX9" fmla="*/ 271638 w 326174"/>
                <a:gd name="connsiteY9" fmla="*/ 238980 h 407201"/>
                <a:gd name="connsiteX10" fmla="*/ 152858 w 326174"/>
                <a:gd name="connsiteY10" fmla="*/ 238980 h 407201"/>
                <a:gd name="connsiteX11" fmla="*/ 152858 w 326174"/>
                <a:gd name="connsiteY11" fmla="*/ 327542 h 407201"/>
                <a:gd name="connsiteX12" fmla="*/ 227933 w 326174"/>
                <a:gd name="connsiteY12" fmla="*/ 327354 h 407201"/>
                <a:gd name="connsiteX13" fmla="*/ 243163 w 326174"/>
                <a:gd name="connsiteY13" fmla="*/ 308800 h 407201"/>
                <a:gd name="connsiteX14" fmla="*/ 243243 w 326174"/>
                <a:gd name="connsiteY14" fmla="*/ 282685 h 407201"/>
                <a:gd name="connsiteX15" fmla="*/ 326174 w 326174"/>
                <a:gd name="connsiteY15" fmla="*/ 282685 h 407201"/>
                <a:gd name="connsiteX16" fmla="*/ 326174 w 326174"/>
                <a:gd name="connsiteY16" fmla="*/ 407202 h 407201"/>
                <a:gd name="connsiteX17" fmla="*/ 0 w 326174"/>
                <a:gd name="connsiteY17" fmla="*/ 407202 h 407201"/>
                <a:gd name="connsiteX18" fmla="*/ 0 w 326174"/>
                <a:gd name="connsiteY18" fmla="*/ 341216 h 407201"/>
                <a:gd name="connsiteX19" fmla="*/ 17991 w 326174"/>
                <a:gd name="connsiteY19" fmla="*/ 341163 h 407201"/>
                <a:gd name="connsiteX20" fmla="*/ 37001 w 326174"/>
                <a:gd name="connsiteY20" fmla="*/ 321831 h 407201"/>
                <a:gd name="connsiteX21" fmla="*/ 37109 w 326174"/>
                <a:gd name="connsiteY21" fmla="*/ 198493 h 407201"/>
                <a:gd name="connsiteX22" fmla="*/ 37109 w 326174"/>
                <a:gd name="connsiteY22" fmla="*/ 92584 h 407201"/>
                <a:gd name="connsiteX23" fmla="*/ 10216 w 326174"/>
                <a:gd name="connsiteY23" fmla="*/ 64860 h 407201"/>
                <a:gd name="connsiteX24" fmla="*/ 27 w 326174"/>
                <a:gd name="connsiteY24" fmla="*/ 64404 h 407201"/>
                <a:gd name="connsiteX25" fmla="*/ 27 w 326174"/>
                <a:gd name="connsiteY25" fmla="*/ 0 h 407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26174" h="407201">
                  <a:moveTo>
                    <a:pt x="27" y="0"/>
                  </a:moveTo>
                  <a:lnTo>
                    <a:pt x="319981" y="0"/>
                  </a:lnTo>
                  <a:lnTo>
                    <a:pt x="319981" y="119879"/>
                  </a:lnTo>
                  <a:lnTo>
                    <a:pt x="235628" y="119879"/>
                  </a:lnTo>
                  <a:cubicBezTo>
                    <a:pt x="235628" y="112479"/>
                    <a:pt x="235333" y="105427"/>
                    <a:pt x="235682" y="98429"/>
                  </a:cubicBezTo>
                  <a:cubicBezTo>
                    <a:pt x="236272" y="86283"/>
                    <a:pt x="230185" y="79311"/>
                    <a:pt x="218656" y="78936"/>
                  </a:cubicBezTo>
                  <a:cubicBezTo>
                    <a:pt x="196911" y="78239"/>
                    <a:pt x="175139" y="78722"/>
                    <a:pt x="152670" y="78722"/>
                  </a:cubicBezTo>
                  <a:lnTo>
                    <a:pt x="152670" y="156210"/>
                  </a:lnTo>
                  <a:lnTo>
                    <a:pt x="271638" y="156210"/>
                  </a:lnTo>
                  <a:lnTo>
                    <a:pt x="271638" y="238980"/>
                  </a:lnTo>
                  <a:lnTo>
                    <a:pt x="152858" y="238980"/>
                  </a:lnTo>
                  <a:lnTo>
                    <a:pt x="152858" y="327542"/>
                  </a:lnTo>
                  <a:cubicBezTo>
                    <a:pt x="178196" y="327542"/>
                    <a:pt x="203078" y="327944"/>
                    <a:pt x="227933" y="327354"/>
                  </a:cubicBezTo>
                  <a:cubicBezTo>
                    <a:pt x="239007" y="327086"/>
                    <a:pt x="242680" y="318560"/>
                    <a:pt x="243163" y="308800"/>
                  </a:cubicBezTo>
                  <a:cubicBezTo>
                    <a:pt x="243565" y="300408"/>
                    <a:pt x="243243" y="291962"/>
                    <a:pt x="243243" y="282685"/>
                  </a:cubicBezTo>
                  <a:lnTo>
                    <a:pt x="326174" y="282685"/>
                  </a:lnTo>
                  <a:lnTo>
                    <a:pt x="326174" y="407202"/>
                  </a:lnTo>
                  <a:lnTo>
                    <a:pt x="0" y="407202"/>
                  </a:lnTo>
                  <a:lnTo>
                    <a:pt x="0" y="341216"/>
                  </a:lnTo>
                  <a:cubicBezTo>
                    <a:pt x="5872" y="341216"/>
                    <a:pt x="11932" y="341431"/>
                    <a:pt x="17991" y="341163"/>
                  </a:cubicBezTo>
                  <a:cubicBezTo>
                    <a:pt x="33301" y="340519"/>
                    <a:pt x="36948" y="337007"/>
                    <a:pt x="37001" y="321831"/>
                  </a:cubicBezTo>
                  <a:cubicBezTo>
                    <a:pt x="37162" y="280727"/>
                    <a:pt x="37082" y="239624"/>
                    <a:pt x="37109" y="198493"/>
                  </a:cubicBezTo>
                  <a:cubicBezTo>
                    <a:pt x="37109" y="163181"/>
                    <a:pt x="37109" y="127896"/>
                    <a:pt x="37109" y="92584"/>
                  </a:cubicBezTo>
                  <a:cubicBezTo>
                    <a:pt x="37109" y="69015"/>
                    <a:pt x="33650" y="65503"/>
                    <a:pt x="10216" y="64860"/>
                  </a:cubicBezTo>
                  <a:cubicBezTo>
                    <a:pt x="7132" y="64779"/>
                    <a:pt x="4049" y="64591"/>
                    <a:pt x="27" y="64404"/>
                  </a:cubicBezTo>
                  <a:lnTo>
                    <a:pt x="27" y="0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5266F5BE-C675-A109-BDAD-25417785A428}"/>
                </a:ext>
              </a:extLst>
            </p:cNvPr>
            <p:cNvSpPr/>
            <p:nvPr/>
          </p:nvSpPr>
          <p:spPr>
            <a:xfrm>
              <a:off x="9761971" y="250670"/>
              <a:ext cx="204990" cy="298460"/>
            </a:xfrm>
            <a:custGeom>
              <a:avLst/>
              <a:gdLst>
                <a:gd name="connsiteX0" fmla="*/ 248 w 298816"/>
                <a:gd name="connsiteY0" fmla="*/ 286088 h 435066"/>
                <a:gd name="connsiteX1" fmla="*/ 91304 w 298816"/>
                <a:gd name="connsiteY1" fmla="*/ 286088 h 435066"/>
                <a:gd name="connsiteX2" fmla="*/ 91357 w 298816"/>
                <a:gd name="connsiteY2" fmla="*/ 318049 h 435066"/>
                <a:gd name="connsiteX3" fmla="*/ 163242 w 298816"/>
                <a:gd name="connsiteY3" fmla="*/ 359742 h 435066"/>
                <a:gd name="connsiteX4" fmla="*/ 170159 w 298816"/>
                <a:gd name="connsiteY4" fmla="*/ 288662 h 435066"/>
                <a:gd name="connsiteX5" fmla="*/ 124551 w 298816"/>
                <a:gd name="connsiteY5" fmla="*/ 258418 h 435066"/>
                <a:gd name="connsiteX6" fmla="*/ 55455 w 298816"/>
                <a:gd name="connsiteY6" fmla="*/ 215089 h 435066"/>
                <a:gd name="connsiteX7" fmla="*/ 543 w 298816"/>
                <a:gd name="connsiteY7" fmla="*/ 124221 h 435066"/>
                <a:gd name="connsiteX8" fmla="*/ 99240 w 298816"/>
                <a:gd name="connsiteY8" fmla="*/ 4074 h 435066"/>
                <a:gd name="connsiteX9" fmla="*/ 267891 w 298816"/>
                <a:gd name="connsiteY9" fmla="*/ 20430 h 435066"/>
                <a:gd name="connsiteX10" fmla="*/ 278509 w 298816"/>
                <a:gd name="connsiteY10" fmla="*/ 31021 h 435066"/>
                <a:gd name="connsiteX11" fmla="*/ 278991 w 298816"/>
                <a:gd name="connsiteY11" fmla="*/ 136501 h 435066"/>
                <a:gd name="connsiteX12" fmla="*/ 191153 w 298816"/>
                <a:gd name="connsiteY12" fmla="*/ 136501 h 435066"/>
                <a:gd name="connsiteX13" fmla="*/ 191019 w 298816"/>
                <a:gd name="connsiteY13" fmla="*/ 100706 h 435066"/>
                <a:gd name="connsiteX14" fmla="*/ 161928 w 298816"/>
                <a:gd name="connsiteY14" fmla="*/ 65796 h 435066"/>
                <a:gd name="connsiteX15" fmla="*/ 113933 w 298816"/>
                <a:gd name="connsiteY15" fmla="*/ 83493 h 435066"/>
                <a:gd name="connsiteX16" fmla="*/ 122165 w 298816"/>
                <a:gd name="connsiteY16" fmla="*/ 131648 h 435066"/>
                <a:gd name="connsiteX17" fmla="*/ 172438 w 298816"/>
                <a:gd name="connsiteY17" fmla="*/ 164386 h 435066"/>
                <a:gd name="connsiteX18" fmla="*/ 246360 w 298816"/>
                <a:gd name="connsiteY18" fmla="*/ 207447 h 435066"/>
                <a:gd name="connsiteX19" fmla="*/ 294945 w 298816"/>
                <a:gd name="connsiteY19" fmla="*/ 337836 h 435066"/>
                <a:gd name="connsiteX20" fmla="*/ 194746 w 298816"/>
                <a:gd name="connsiteY20" fmla="*/ 430259 h 435066"/>
                <a:gd name="connsiteX21" fmla="*/ 12448 w 298816"/>
                <a:gd name="connsiteY21" fmla="*/ 415432 h 435066"/>
                <a:gd name="connsiteX22" fmla="*/ 7 w 298816"/>
                <a:gd name="connsiteY22" fmla="*/ 398915 h 435066"/>
                <a:gd name="connsiteX23" fmla="*/ 275 w 298816"/>
                <a:gd name="connsiteY23" fmla="*/ 286088 h 4350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98816" h="435066">
                  <a:moveTo>
                    <a:pt x="248" y="286088"/>
                  </a:moveTo>
                  <a:lnTo>
                    <a:pt x="91304" y="286088"/>
                  </a:lnTo>
                  <a:cubicBezTo>
                    <a:pt x="91304" y="296921"/>
                    <a:pt x="90982" y="307485"/>
                    <a:pt x="91357" y="318049"/>
                  </a:cubicBezTo>
                  <a:cubicBezTo>
                    <a:pt x="92725" y="356283"/>
                    <a:pt x="129351" y="377439"/>
                    <a:pt x="163242" y="359742"/>
                  </a:cubicBezTo>
                  <a:cubicBezTo>
                    <a:pt x="188070" y="346765"/>
                    <a:pt x="192682" y="307994"/>
                    <a:pt x="170159" y="288662"/>
                  </a:cubicBezTo>
                  <a:cubicBezTo>
                    <a:pt x="156431" y="276865"/>
                    <a:pt x="139995" y="268151"/>
                    <a:pt x="124551" y="258418"/>
                  </a:cubicBezTo>
                  <a:cubicBezTo>
                    <a:pt x="101546" y="243912"/>
                    <a:pt x="77388" y="231015"/>
                    <a:pt x="55455" y="215089"/>
                  </a:cubicBezTo>
                  <a:cubicBezTo>
                    <a:pt x="24808" y="192834"/>
                    <a:pt x="2903" y="163823"/>
                    <a:pt x="543" y="124221"/>
                  </a:cubicBezTo>
                  <a:cubicBezTo>
                    <a:pt x="-3103" y="63142"/>
                    <a:pt x="37437" y="13405"/>
                    <a:pt x="99240" y="4074"/>
                  </a:cubicBezTo>
                  <a:cubicBezTo>
                    <a:pt x="156646" y="-4613"/>
                    <a:pt x="213140" y="481"/>
                    <a:pt x="267891" y="20430"/>
                  </a:cubicBezTo>
                  <a:cubicBezTo>
                    <a:pt x="272288" y="22038"/>
                    <a:pt x="278428" y="27321"/>
                    <a:pt x="278509" y="31021"/>
                  </a:cubicBezTo>
                  <a:cubicBezTo>
                    <a:pt x="279313" y="65823"/>
                    <a:pt x="278991" y="100653"/>
                    <a:pt x="278991" y="136501"/>
                  </a:cubicBezTo>
                  <a:lnTo>
                    <a:pt x="191153" y="136501"/>
                  </a:lnTo>
                  <a:cubicBezTo>
                    <a:pt x="191153" y="124543"/>
                    <a:pt x="191797" y="112584"/>
                    <a:pt x="191019" y="100706"/>
                  </a:cubicBezTo>
                  <a:cubicBezTo>
                    <a:pt x="189679" y="80677"/>
                    <a:pt x="179678" y="69202"/>
                    <a:pt x="161928" y="65796"/>
                  </a:cubicBezTo>
                  <a:cubicBezTo>
                    <a:pt x="140317" y="61641"/>
                    <a:pt x="122138" y="68370"/>
                    <a:pt x="113933" y="83493"/>
                  </a:cubicBezTo>
                  <a:cubicBezTo>
                    <a:pt x="104281" y="101323"/>
                    <a:pt x="105809" y="118349"/>
                    <a:pt x="122165" y="131648"/>
                  </a:cubicBezTo>
                  <a:cubicBezTo>
                    <a:pt x="137582" y="144196"/>
                    <a:pt x="155251" y="154117"/>
                    <a:pt x="172438" y="164386"/>
                  </a:cubicBezTo>
                  <a:cubicBezTo>
                    <a:pt x="196918" y="179026"/>
                    <a:pt x="222765" y="191547"/>
                    <a:pt x="246360" y="207447"/>
                  </a:cubicBezTo>
                  <a:cubicBezTo>
                    <a:pt x="290601" y="237236"/>
                    <a:pt x="307091" y="283863"/>
                    <a:pt x="294945" y="337836"/>
                  </a:cubicBezTo>
                  <a:cubicBezTo>
                    <a:pt x="284300" y="385161"/>
                    <a:pt x="244081" y="422081"/>
                    <a:pt x="194746" y="430259"/>
                  </a:cubicBezTo>
                  <a:cubicBezTo>
                    <a:pt x="132702" y="440555"/>
                    <a:pt x="72186" y="433718"/>
                    <a:pt x="12448" y="415432"/>
                  </a:cubicBezTo>
                  <a:cubicBezTo>
                    <a:pt x="3439" y="412670"/>
                    <a:pt x="-181" y="408970"/>
                    <a:pt x="7" y="398915"/>
                  </a:cubicBezTo>
                  <a:cubicBezTo>
                    <a:pt x="704" y="361834"/>
                    <a:pt x="275" y="324752"/>
                    <a:pt x="275" y="286088"/>
                  </a:cubicBezTo>
                  <a:close/>
                </a:path>
              </a:pathLst>
            </a:custGeom>
            <a:grpFill/>
            <a:ln w="254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13" name="Grafik 12">
            <a:extLst>
              <a:ext uri="{FF2B5EF4-FFF2-40B4-BE49-F238E27FC236}">
                <a16:creationId xmlns:a16="http://schemas.microsoft.com/office/drawing/2014/main" id="{4BC4631E-AD37-2AE4-10E2-2A64D1896B9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87364" y="372917"/>
            <a:ext cx="3998372" cy="2718751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2178F2E3-12F0-0BA8-B717-9C42D9216836}"/>
              </a:ext>
            </a:extLst>
          </p:cNvPr>
          <p:cNvSpPr txBox="1"/>
          <p:nvPr/>
        </p:nvSpPr>
        <p:spPr>
          <a:xfrm>
            <a:off x="3717579" y="4588416"/>
            <a:ext cx="1534014" cy="190500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rmAutofit/>
          </a:bodyPr>
          <a:lstStyle/>
          <a:p>
            <a:pPr algn="r"/>
            <a:r>
              <a:rPr lang="en-GB" sz="600" dirty="0"/>
              <a:t>Source: Euronext, 06.06.2023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6AD84408-3905-C76D-E65C-DB3A03BB29B6}"/>
              </a:ext>
            </a:extLst>
          </p:cNvPr>
          <p:cNvSpPr txBox="1"/>
          <p:nvPr/>
        </p:nvSpPr>
        <p:spPr>
          <a:xfrm>
            <a:off x="6400451" y="4595970"/>
            <a:ext cx="1695379" cy="190500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rmAutofit/>
          </a:bodyPr>
          <a:lstStyle/>
          <a:p>
            <a:pPr algn="r"/>
            <a:r>
              <a:rPr lang="en-GB" sz="600" dirty="0"/>
              <a:t>Source: Worlds Oilseed report N° 50, 02.06.2023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0FA4ABAC-C55E-FAE1-C6B4-480571C7E180}"/>
              </a:ext>
            </a:extLst>
          </p:cNvPr>
          <p:cNvSpPr/>
          <p:nvPr/>
        </p:nvSpPr>
        <p:spPr>
          <a:xfrm>
            <a:off x="6971837" y="3767823"/>
            <a:ext cx="364693" cy="144000"/>
          </a:xfrm>
          <a:prstGeom prst="rect">
            <a:avLst/>
          </a:prstGeom>
          <a:noFill/>
          <a:ln w="19050"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3A80089A-A445-E4B8-2EF6-FE4B2B2C1206}"/>
              </a:ext>
            </a:extLst>
          </p:cNvPr>
          <p:cNvSpPr/>
          <p:nvPr/>
        </p:nvSpPr>
        <p:spPr>
          <a:xfrm>
            <a:off x="7716232" y="3767823"/>
            <a:ext cx="364693" cy="144000"/>
          </a:xfrm>
          <a:prstGeom prst="rect">
            <a:avLst/>
          </a:prstGeom>
          <a:noFill/>
          <a:ln w="19050"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23E5C20D-4230-94BB-C44A-8B8986AAD9E3}"/>
              </a:ext>
            </a:extLst>
          </p:cNvPr>
          <p:cNvSpPr/>
          <p:nvPr/>
        </p:nvSpPr>
        <p:spPr>
          <a:xfrm>
            <a:off x="7716232" y="3625152"/>
            <a:ext cx="364693" cy="144000"/>
          </a:xfrm>
          <a:prstGeom prst="rect">
            <a:avLst/>
          </a:prstGeom>
          <a:noFill/>
          <a:ln w="19050"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5811A265-9792-5E80-9769-1C62BB6446BE}"/>
              </a:ext>
            </a:extLst>
          </p:cNvPr>
          <p:cNvSpPr/>
          <p:nvPr/>
        </p:nvSpPr>
        <p:spPr>
          <a:xfrm>
            <a:off x="6974200" y="4450626"/>
            <a:ext cx="364693" cy="144000"/>
          </a:xfrm>
          <a:prstGeom prst="rect">
            <a:avLst/>
          </a:prstGeom>
          <a:noFill/>
          <a:ln w="19050"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00E77D77-AA46-629A-2C99-6EB7C5531DAF}"/>
              </a:ext>
            </a:extLst>
          </p:cNvPr>
          <p:cNvSpPr/>
          <p:nvPr/>
        </p:nvSpPr>
        <p:spPr>
          <a:xfrm>
            <a:off x="7708094" y="4450626"/>
            <a:ext cx="364693" cy="144000"/>
          </a:xfrm>
          <a:prstGeom prst="rect">
            <a:avLst/>
          </a:prstGeom>
          <a:noFill/>
          <a:ln w="19050"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B245EAD0-AB08-B947-DE52-D3551FA95A83}"/>
              </a:ext>
            </a:extLst>
          </p:cNvPr>
          <p:cNvSpPr/>
          <p:nvPr/>
        </p:nvSpPr>
        <p:spPr>
          <a:xfrm>
            <a:off x="4391025" y="3692115"/>
            <a:ext cx="361950" cy="905772"/>
          </a:xfrm>
          <a:prstGeom prst="rect">
            <a:avLst/>
          </a:prstGeom>
          <a:noFill/>
          <a:ln w="19050"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A65B252F-7353-5E1E-8F0E-872D0F4993F4}"/>
              </a:ext>
            </a:extLst>
          </p:cNvPr>
          <p:cNvSpPr/>
          <p:nvPr/>
        </p:nvSpPr>
        <p:spPr>
          <a:xfrm>
            <a:off x="7872761" y="49306"/>
            <a:ext cx="812975" cy="3240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700" b="1" dirty="0" err="1"/>
              <a:t>Pronóstico</a:t>
            </a:r>
            <a:r>
              <a:rPr lang="en-GB" sz="700" b="1" dirty="0"/>
              <a:t> de alto </a:t>
            </a:r>
            <a:r>
              <a:rPr lang="en-GB" sz="700" b="1" dirty="0" err="1"/>
              <a:t>rendimiento</a:t>
            </a:r>
            <a:r>
              <a:rPr lang="en-GB" sz="700" b="1" dirty="0"/>
              <a:t>
</a:t>
            </a:r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B786D251-5887-659C-6078-405950011FA4}"/>
              </a:ext>
            </a:extLst>
          </p:cNvPr>
          <p:cNvCxnSpPr>
            <a:cxnSpLocks/>
            <a:stCxn id="4" idx="2"/>
          </p:cNvCxnSpPr>
          <p:nvPr/>
        </p:nvCxnSpPr>
        <p:spPr>
          <a:xfrm flipH="1">
            <a:off x="8134350" y="373306"/>
            <a:ext cx="144899" cy="185973"/>
          </a:xfrm>
          <a:prstGeom prst="straightConnector1">
            <a:avLst/>
          </a:prstGeom>
          <a:ln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Rechteck 32">
            <a:extLst>
              <a:ext uri="{FF2B5EF4-FFF2-40B4-BE49-F238E27FC236}">
                <a16:creationId xmlns:a16="http://schemas.microsoft.com/office/drawing/2014/main" id="{74F08CD7-E896-9415-A74F-DF0F02DE041D}"/>
              </a:ext>
            </a:extLst>
          </p:cNvPr>
          <p:cNvSpPr/>
          <p:nvPr/>
        </p:nvSpPr>
        <p:spPr>
          <a:xfrm>
            <a:off x="8393068" y="1545337"/>
            <a:ext cx="750932" cy="3240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700" b="1" dirty="0"/>
              <a:t>Alta </a:t>
            </a:r>
            <a:r>
              <a:rPr lang="en-GB" sz="700" b="1" dirty="0" err="1"/>
              <a:t>superficie</a:t>
            </a:r>
            <a:r>
              <a:rPr lang="en-GB" sz="700" b="1" dirty="0"/>
              <a:t> de </a:t>
            </a:r>
            <a:r>
              <a:rPr lang="en-GB" sz="700" b="1" dirty="0" err="1"/>
              <a:t>cultivo</a:t>
            </a:r>
            <a:endParaRPr lang="en-GB" sz="700" b="1" dirty="0"/>
          </a:p>
        </p:txBody>
      </p:sp>
      <p:cxnSp>
        <p:nvCxnSpPr>
          <p:cNvPr id="34" name="Gerade Verbindung mit Pfeil 33">
            <a:extLst>
              <a:ext uri="{FF2B5EF4-FFF2-40B4-BE49-F238E27FC236}">
                <a16:creationId xmlns:a16="http://schemas.microsoft.com/office/drawing/2014/main" id="{AD2601E5-1B78-DD1F-77B8-8D6A701BCAD6}"/>
              </a:ext>
            </a:extLst>
          </p:cNvPr>
          <p:cNvCxnSpPr>
            <a:cxnSpLocks/>
            <a:stCxn id="33" idx="1"/>
          </p:cNvCxnSpPr>
          <p:nvPr/>
        </p:nvCxnSpPr>
        <p:spPr>
          <a:xfrm flipH="1">
            <a:off x="8242102" y="1707337"/>
            <a:ext cx="150966" cy="217969"/>
          </a:xfrm>
          <a:prstGeom prst="straightConnector1">
            <a:avLst/>
          </a:prstGeom>
          <a:ln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4" name="Rechteck 53">
            <a:extLst>
              <a:ext uri="{FF2B5EF4-FFF2-40B4-BE49-F238E27FC236}">
                <a16:creationId xmlns:a16="http://schemas.microsoft.com/office/drawing/2014/main" id="{233F3289-0446-F119-C439-17A600F9AC76}"/>
              </a:ext>
            </a:extLst>
          </p:cNvPr>
          <p:cNvSpPr/>
          <p:nvPr/>
        </p:nvSpPr>
        <p:spPr>
          <a:xfrm>
            <a:off x="4064000" y="3104457"/>
            <a:ext cx="803868" cy="3240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700" b="1" dirty="0"/>
              <a:t>Alto </a:t>
            </a:r>
            <a:r>
              <a:rPr lang="en-GB" sz="700" b="1" dirty="0" err="1"/>
              <a:t>precio</a:t>
            </a:r>
            <a:r>
              <a:rPr lang="en-GB" sz="700" b="1" dirty="0"/>
              <a:t> de la </a:t>
            </a:r>
            <a:r>
              <a:rPr lang="en-GB" sz="700" b="1" dirty="0" err="1"/>
              <a:t>materia</a:t>
            </a:r>
            <a:r>
              <a:rPr lang="en-GB" sz="700" b="1" dirty="0"/>
              <a:t> prima</a:t>
            </a:r>
          </a:p>
        </p:txBody>
      </p:sp>
      <p:cxnSp>
        <p:nvCxnSpPr>
          <p:cNvPr id="55" name="Gerade Verbindung mit Pfeil 54">
            <a:extLst>
              <a:ext uri="{FF2B5EF4-FFF2-40B4-BE49-F238E27FC236}">
                <a16:creationId xmlns:a16="http://schemas.microsoft.com/office/drawing/2014/main" id="{7A4AEA79-4D00-5B43-325A-1AA509EC8310}"/>
              </a:ext>
            </a:extLst>
          </p:cNvPr>
          <p:cNvCxnSpPr>
            <a:cxnSpLocks/>
            <a:stCxn id="54" idx="2"/>
          </p:cNvCxnSpPr>
          <p:nvPr/>
        </p:nvCxnSpPr>
        <p:spPr>
          <a:xfrm>
            <a:off x="4465934" y="3428457"/>
            <a:ext cx="106066" cy="232317"/>
          </a:xfrm>
          <a:prstGeom prst="straightConnector1">
            <a:avLst/>
          </a:prstGeom>
          <a:ln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0" name="Rechteck 59">
            <a:extLst>
              <a:ext uri="{FF2B5EF4-FFF2-40B4-BE49-F238E27FC236}">
                <a16:creationId xmlns:a16="http://schemas.microsoft.com/office/drawing/2014/main" id="{BD6A32AD-4159-17A7-9852-1BD7E4CFD672}"/>
              </a:ext>
            </a:extLst>
          </p:cNvPr>
          <p:cNvSpPr/>
          <p:nvPr/>
        </p:nvSpPr>
        <p:spPr>
          <a:xfrm>
            <a:off x="8255666" y="3566122"/>
            <a:ext cx="888334" cy="406115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700" b="1" dirty="0"/>
              <a:t>Menor producción pero alto </a:t>
            </a:r>
            <a:r>
              <a:rPr lang="es-ES" sz="700" b="1" dirty="0" err="1"/>
              <a:t>carry</a:t>
            </a:r>
            <a:r>
              <a:rPr lang="es-ES" sz="700" b="1" dirty="0"/>
              <a:t>-in</a:t>
            </a:r>
            <a:endParaRPr lang="en-GB" sz="700" b="1" dirty="0"/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8F60A7C0-0EEB-11A5-0C8D-0A1D06E60F8B}"/>
              </a:ext>
            </a:extLst>
          </p:cNvPr>
          <p:cNvSpPr/>
          <p:nvPr/>
        </p:nvSpPr>
        <p:spPr>
          <a:xfrm>
            <a:off x="8266692" y="4317933"/>
            <a:ext cx="877307" cy="4068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700" b="1" dirty="0"/>
              <a:t>Ligero aumento de la relación stock/uso</a:t>
            </a:r>
            <a:endParaRPr lang="en-GB" sz="700" b="1" dirty="0"/>
          </a:p>
        </p:txBody>
      </p: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id="{F56C6CB9-3971-2193-D49B-5446B8E49485}"/>
              </a:ext>
            </a:extLst>
          </p:cNvPr>
          <p:cNvCxnSpPr>
            <a:cxnSpLocks/>
            <a:stCxn id="60" idx="1"/>
          </p:cNvCxnSpPr>
          <p:nvPr/>
        </p:nvCxnSpPr>
        <p:spPr>
          <a:xfrm flipH="1">
            <a:off x="8092865" y="3769180"/>
            <a:ext cx="162801" cy="0"/>
          </a:xfrm>
          <a:prstGeom prst="straightConnector1">
            <a:avLst/>
          </a:prstGeom>
          <a:ln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9" name="Gerade Verbindung mit Pfeil 68">
            <a:extLst>
              <a:ext uri="{FF2B5EF4-FFF2-40B4-BE49-F238E27FC236}">
                <a16:creationId xmlns:a16="http://schemas.microsoft.com/office/drawing/2014/main" id="{D08C2281-7E86-F4EA-50DC-A06D604BFC78}"/>
              </a:ext>
            </a:extLst>
          </p:cNvPr>
          <p:cNvCxnSpPr>
            <a:cxnSpLocks/>
            <a:stCxn id="61" idx="1"/>
            <a:endCxn id="27" idx="3"/>
          </p:cNvCxnSpPr>
          <p:nvPr/>
        </p:nvCxnSpPr>
        <p:spPr>
          <a:xfrm flipH="1">
            <a:off x="8072787" y="4521333"/>
            <a:ext cx="193905" cy="1293"/>
          </a:xfrm>
          <a:prstGeom prst="straightConnector1">
            <a:avLst/>
          </a:prstGeom>
          <a:ln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D54EE423-83A4-50D4-A47D-8F2DEFC3DE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err="1"/>
              <a:t>Actualización</a:t>
            </a:r>
            <a:r>
              <a:rPr lang="en-US" sz="2400" dirty="0"/>
              <a:t> mercado - Europa</a:t>
            </a:r>
          </a:p>
        </p:txBody>
      </p:sp>
    </p:spTree>
    <p:extLst>
      <p:ext uri="{BB962C8B-B14F-4D97-AF65-F5344CB8AC3E}">
        <p14:creationId xmlns:p14="http://schemas.microsoft.com/office/powerpoint/2010/main" val="346009947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0746C16-1664-0955-324F-2CEFA46C2C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 err="1"/>
              <a:t>Actualización</a:t>
            </a:r>
            <a:r>
              <a:rPr lang="en-US" sz="2800" dirty="0"/>
              <a:t> mercado - España</a:t>
            </a:r>
            <a:endParaRPr lang="es-ES" dirty="0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4749D6A3-8BC0-70C2-EA3A-61BA3C938ED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s-ES" dirty="0"/>
              <a:t>Evolución de Superficies y Producciones de Colza en España</a:t>
            </a:r>
          </a:p>
        </p:txBody>
      </p:sp>
      <p:pic>
        <p:nvPicPr>
          <p:cNvPr id="8" name="Marcador de contenido 7">
            <a:extLst>
              <a:ext uri="{FF2B5EF4-FFF2-40B4-BE49-F238E27FC236}">
                <a16:creationId xmlns:a16="http://schemas.microsoft.com/office/drawing/2014/main" id="{85ECCC82-1C65-D0C9-B478-89AF37AF8A8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00174" y="1483271"/>
            <a:ext cx="4166347" cy="2459494"/>
          </a:xfr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CD16504A-7DE5-2A7C-300E-0654186D8D45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744" y="1483271"/>
            <a:ext cx="4178386" cy="24594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220459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9669DA-C5C7-4E53-BAB3-4018D7C8653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9771435-4CD8-4F0B-973A-1D0AAF7D3E4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79505" y="3447246"/>
            <a:ext cx="7958455" cy="723422"/>
          </a:xfrm>
        </p:spPr>
        <p:txBody>
          <a:bodyPr/>
          <a:lstStyle/>
          <a:p>
            <a:pPr>
              <a:spcBef>
                <a:spcPts val="600"/>
              </a:spcBef>
            </a:pPr>
            <a:r>
              <a:rPr lang="en-GB" dirty="0"/>
              <a:t>COLZA: </a:t>
            </a:r>
            <a:r>
              <a:rPr lang="en-GB" sz="2000" dirty="0" err="1"/>
              <a:t>condiciones</a:t>
            </a:r>
            <a:r>
              <a:rPr lang="en-GB" sz="2000" dirty="0"/>
              <a:t> de </a:t>
            </a:r>
            <a:r>
              <a:rPr lang="en-GB" sz="2000" dirty="0" err="1"/>
              <a:t>cultivo</a:t>
            </a:r>
            <a:r>
              <a:rPr lang="en-GB" sz="2000" dirty="0"/>
              <a:t> y </a:t>
            </a:r>
            <a:r>
              <a:rPr lang="en-GB" sz="2000" dirty="0" err="1"/>
              <a:t>estimación</a:t>
            </a:r>
            <a:r>
              <a:rPr lang="en-GB" sz="2000" dirty="0"/>
              <a:t> del </a:t>
            </a:r>
            <a:r>
              <a:rPr lang="en-GB" sz="2000" dirty="0" err="1"/>
              <a:t>rendimiento</a:t>
            </a:r>
            <a:r>
              <a:rPr lang="en-GB" sz="2000" dirty="0"/>
              <a:t> 2023</a:t>
            </a:r>
            <a:endParaRPr lang="en-GB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477997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8.7ypDDw0u3geX4fuOXh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AmPlxTRiU.KmwvPsAD6E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zcn6GntGka6MR_0x9cBV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zcn6GntGka6MR_0x9cBV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UpdoHvz6_kCM_mp2MdoTr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zcn6GntGka6MR_0x9cBV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UpdoHvz6_kCM_mp2MdoTr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zcn6GntGka6MR_0x9cBV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8.7ypDDw0u3geX4fuOXh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zcn6GntGka6MR_0x9cBV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LG_Master_4-3_v23a">
  <a:themeElements>
    <a:clrScheme name="Custom 7">
      <a:dk1>
        <a:srgbClr val="000000"/>
      </a:dk1>
      <a:lt1>
        <a:sysClr val="window" lastClr="FFFFFF"/>
      </a:lt1>
      <a:dk2>
        <a:srgbClr val="EE002D"/>
      </a:dk2>
      <a:lt2>
        <a:srgbClr val="FFFFFF"/>
      </a:lt2>
      <a:accent1>
        <a:srgbClr val="CD042D"/>
      </a:accent1>
      <a:accent2>
        <a:srgbClr val="646568"/>
      </a:accent2>
      <a:accent3>
        <a:srgbClr val="CE0042"/>
      </a:accent3>
      <a:accent4>
        <a:srgbClr val="E30028"/>
      </a:accent4>
      <a:accent5>
        <a:srgbClr val="E2000F"/>
      </a:accent5>
      <a:accent6>
        <a:srgbClr val="009900"/>
      </a:accent6>
      <a:hlink>
        <a:srgbClr val="FF0000"/>
      </a:hlink>
      <a:folHlink>
        <a:srgbClr val="646568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vert="horz" lIns="91440" tIns="45720" rIns="91440" bIns="45720" rtlCol="0" anchor="ctr">
        <a:normAutofit/>
      </a:bodyPr>
      <a:lstStyle>
        <a:defPPr>
          <a:defRPr dirty="0" smtClean="0">
            <a:solidFill>
              <a:srgbClr val="77777A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ésentation5" id="{57D3FA62-5676-4C3B-9867-23A7E0CA81BF}" vid="{16CD9440-0E36-435B-83FF-DFFDE483A441}"/>
    </a:ext>
  </a:extLst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LFS-PowerPoint-Master 2019-Version Long</Template>
  <TotalTime>0</TotalTime>
  <Words>1791</Words>
  <Application>Microsoft Office PowerPoint</Application>
  <PresentationFormat>Presentación en pantalla (16:9)</PresentationFormat>
  <Paragraphs>259</Paragraphs>
  <Slides>29</Slides>
  <Notes>0</Notes>
  <HiddenSlides>0</HiddenSlides>
  <MMClips>0</MMClips>
  <ScaleCrop>false</ScaleCrop>
  <HeadingPairs>
    <vt:vector size="8" baseType="variant">
      <vt:variant>
        <vt:lpstr>Fuentes usadas</vt:lpstr>
      </vt:variant>
      <vt:variant>
        <vt:i4>4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9</vt:i4>
      </vt:variant>
    </vt:vector>
  </HeadingPairs>
  <TitlesOfParts>
    <vt:vector size="35" baseType="lpstr">
      <vt:lpstr>Amasis MT Pro Black</vt:lpstr>
      <vt:lpstr>Arial</vt:lpstr>
      <vt:lpstr>Calibri</vt:lpstr>
      <vt:lpstr>Wingdings</vt:lpstr>
      <vt:lpstr>3_LG_Master_4-3_v23a</vt:lpstr>
      <vt:lpstr>think-cell Slide</vt:lpstr>
      <vt:lpstr>Presentación de PowerPoint</vt:lpstr>
      <vt:lpstr>Índice</vt:lpstr>
      <vt:lpstr>Presentación de PowerPoint</vt:lpstr>
      <vt:lpstr>Lanzamiento de Colza 2023/2024</vt:lpstr>
      <vt:lpstr>Días de campo 2023</vt:lpstr>
      <vt:lpstr>Presentación de PowerPoint</vt:lpstr>
      <vt:lpstr>Actualización mercado - Europa</vt:lpstr>
      <vt:lpstr>Actualización mercado - España</vt:lpstr>
      <vt:lpstr>Presentación de PowerPoint</vt:lpstr>
      <vt:lpstr>Condiciones de cultivo en Europa
</vt:lpstr>
      <vt:lpstr>Condiciones de cultivo en España
</vt:lpstr>
      <vt:lpstr>Precipitaciones suficientes en la mayoría de los países en primavera
</vt:lpstr>
      <vt:lpstr>Muy buen pronóstico de rendimiento Colza 2023</vt:lpstr>
      <vt:lpstr>Presentación de PowerPoint</vt:lpstr>
      <vt:lpstr>Larga experiencia de Limagrain en el monitoreo de TuYV  </vt:lpstr>
      <vt:lpstr>Larga experiencia de Limagrain en el monitoreo de TuYV  </vt:lpstr>
      <vt:lpstr>Basado en el panel del mercado europeo Kynetec WOSR 2022/2023
</vt:lpstr>
      <vt:lpstr>Limagrain breeder Nº 1 en Europa 2022-23 23% MS</vt:lpstr>
      <vt:lpstr>¡LG AMBASSADOR, de nuevo Nº 1 en Europa!</vt:lpstr>
      <vt:lpstr>Presentación de PowerPoint</vt:lpstr>
      <vt:lpstr>LG AMBASSADOR</vt:lpstr>
      <vt:lpstr>LG AMBASSADOR</vt:lpstr>
      <vt:lpstr>LG AVIRON</vt:lpstr>
      <vt:lpstr>LG ATLAS</vt:lpstr>
      <vt:lpstr>LG ARMADA</vt:lpstr>
      <vt:lpstr>LG CONSTRUCTOR CL</vt:lpstr>
      <vt:lpstr>LG CRYPTO CL</vt:lpstr>
      <vt:lpstr>Próximamente…</vt:lpstr>
      <vt:lpstr>Presentación de PowerPoint</vt:lpstr>
    </vt:vector>
  </TitlesOfParts>
  <Company>BC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uYV kitcom 2019</dc:title>
  <dc:creator>Simaje</dc:creator>
  <cp:lastModifiedBy>BAYO, Paula</cp:lastModifiedBy>
  <cp:revision>1183</cp:revision>
  <cp:lastPrinted>2019-11-26T18:05:38Z</cp:lastPrinted>
  <dcterms:created xsi:type="dcterms:W3CDTF">2019-03-25T14:41:35Z</dcterms:created>
  <dcterms:modified xsi:type="dcterms:W3CDTF">2023-07-05T12:44:43Z</dcterms:modified>
</cp:coreProperties>
</file>